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9.xml" ContentType="application/vnd.openxmlformats-officedocument.theme+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0.xml" ContentType="application/vnd.openxmlformats-officedocument.theme+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1.xml" ContentType="application/vnd.openxmlformats-officedocument.theme+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2.xml" ContentType="application/vnd.openxmlformats-officedocument.theme+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notesSlides/notesSlide2.xml" ContentType="application/vnd.openxmlformats-officedocument.presentationml.notesSlide+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notesSlides/notesSlide3.xml" ContentType="application/vnd.openxmlformats-officedocument.presentationml.notesSlide+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notesSlides/notesSlide4.xml" ContentType="application/vnd.openxmlformats-officedocument.presentationml.notesSlide+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notesSlides/notesSlide5.xml" ContentType="application/vnd.openxmlformats-officedocument.presentationml.notesSlide+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64" r:id="rId5"/>
    <p:sldMasterId id="2147483897" r:id="rId6"/>
    <p:sldMasterId id="2147483912" r:id="rId7"/>
    <p:sldMasterId id="2147483931" r:id="rId8"/>
    <p:sldMasterId id="2147483947" r:id="rId9"/>
    <p:sldMasterId id="2147483963" r:id="rId10"/>
    <p:sldMasterId id="2147483981" r:id="rId11"/>
    <p:sldMasterId id="2147483998" r:id="rId12"/>
    <p:sldMasterId id="2147484023" r:id="rId13"/>
    <p:sldMasterId id="2147484041" r:id="rId14"/>
    <p:sldMasterId id="2147484062" r:id="rId15"/>
  </p:sldMasterIdLst>
  <p:notesMasterIdLst>
    <p:notesMasterId r:id="rId41"/>
  </p:notesMasterIdLst>
  <p:handoutMasterIdLst>
    <p:handoutMasterId r:id="rId42"/>
  </p:handoutMasterIdLst>
  <p:sldIdLst>
    <p:sldId id="2147481590" r:id="rId16"/>
    <p:sldId id="2147476524" r:id="rId17"/>
    <p:sldId id="2147476517" r:id="rId18"/>
    <p:sldId id="1448943282" r:id="rId19"/>
    <p:sldId id="2147473541" r:id="rId20"/>
    <p:sldId id="2147470044" r:id="rId21"/>
    <p:sldId id="2147476459" r:id="rId22"/>
    <p:sldId id="2147476460" r:id="rId23"/>
    <p:sldId id="2147470053" r:id="rId24"/>
    <p:sldId id="2147476496" r:id="rId25"/>
    <p:sldId id="2147480390" r:id="rId26"/>
    <p:sldId id="2147476463" r:id="rId27"/>
    <p:sldId id="2147476563" r:id="rId28"/>
    <p:sldId id="2147476624" r:id="rId29"/>
    <p:sldId id="2147481610" r:id="rId30"/>
    <p:sldId id="2147481614" r:id="rId31"/>
    <p:sldId id="2147481591" r:id="rId32"/>
    <p:sldId id="2147481584" r:id="rId33"/>
    <p:sldId id="2147481592" r:id="rId34"/>
    <p:sldId id="2147481593" r:id="rId35"/>
    <p:sldId id="2147481596" r:id="rId36"/>
    <p:sldId id="2147480659" r:id="rId37"/>
    <p:sldId id="2147481594" r:id="rId38"/>
    <p:sldId id="2147481595" r:id="rId39"/>
    <p:sldId id="2147481618" r:id="rId40"/>
  </p:sldIdLst>
  <p:sldSz cx="12192000" cy="6858000"/>
  <p:notesSz cx="7102475" cy="9388475"/>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4CFC3AB-3212-48FA-B5BB-5521BE471FF9}">
          <p14:sldIdLst>
            <p14:sldId id="2147481590"/>
            <p14:sldId id="2147476524"/>
            <p14:sldId id="2147476517"/>
            <p14:sldId id="1448943282"/>
            <p14:sldId id="2147473541"/>
            <p14:sldId id="2147470044"/>
            <p14:sldId id="2147476459"/>
            <p14:sldId id="2147476460"/>
            <p14:sldId id="2147470053"/>
            <p14:sldId id="2147476496"/>
            <p14:sldId id="2147480390"/>
            <p14:sldId id="2147476463"/>
            <p14:sldId id="2147476563"/>
            <p14:sldId id="2147476624"/>
            <p14:sldId id="2147481610"/>
            <p14:sldId id="2147481614"/>
            <p14:sldId id="2147481591"/>
            <p14:sldId id="2147481584"/>
            <p14:sldId id="2147481592"/>
            <p14:sldId id="2147481593"/>
            <p14:sldId id="2147481596"/>
            <p14:sldId id="2147480659"/>
            <p14:sldId id="2147481594"/>
            <p14:sldId id="2147481595"/>
            <p14:sldId id="2147481618"/>
          </p14:sldIdLst>
        </p14:section>
      </p14:sectionLst>
    </p:ext>
    <p:ext uri="{EFAFB233-063F-42B5-8137-9DF3F51BA10A}">
      <p15:sldGuideLst xmlns:p15="http://schemas.microsoft.com/office/powerpoint/2012/main">
        <p15:guide id="1" pos="2784" userDrawn="1">
          <p15:clr>
            <a:srgbClr val="A4A3A4"/>
          </p15:clr>
        </p15:guide>
        <p15:guide id="2" orient="horz" pos="750" userDrawn="1">
          <p15:clr>
            <a:srgbClr val="A4A3A4"/>
          </p15:clr>
        </p15:guide>
        <p15:guide id="3" orient="horz" pos="1056" userDrawn="1">
          <p15:clr>
            <a:srgbClr val="A4A3A4"/>
          </p15:clr>
        </p15:guide>
        <p15:guide id="4" pos="54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80E1D"/>
    <a:srgbClr val="911C39"/>
    <a:srgbClr val="C2F8D8"/>
    <a:srgbClr val="E6E6E6"/>
    <a:srgbClr val="7F7F7F"/>
    <a:srgbClr val="B3B3B3"/>
    <a:srgbClr val="119A48"/>
    <a:srgbClr val="800080"/>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286" autoAdjust="0"/>
    <p:restoredTop sz="94954" autoAdjust="0"/>
  </p:normalViewPr>
  <p:slideViewPr>
    <p:cSldViewPr snapToGrid="0" snapToObjects="1">
      <p:cViewPr varScale="1">
        <p:scale>
          <a:sx n="87" d="100"/>
          <a:sy n="87" d="100"/>
        </p:scale>
        <p:origin x="66" y="45"/>
      </p:cViewPr>
      <p:guideLst>
        <p:guide pos="2784"/>
        <p:guide orient="horz" pos="750"/>
        <p:guide orient="horz" pos="1056"/>
        <p:guide pos="5432"/>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956"/>
    </p:cViewPr>
  </p:sorterViewPr>
  <p:notesViewPr>
    <p:cSldViewPr snapToGrid="0" snapToObjects="1">
      <p:cViewPr>
        <p:scale>
          <a:sx n="75" d="100"/>
          <a:sy n="75" d="100"/>
        </p:scale>
        <p:origin x="3204"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viewProps" Target="viewProps.xml"/><Relationship Id="rId20" Type="http://schemas.openxmlformats.org/officeDocument/2006/relationships/slide" Target="slides/slide5.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0 September 2024</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10 September 2024</a:t>
            </a:fld>
            <a:endParaRPr lang="en-US" dirty="0"/>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algn="l" rtl="0"/>
            <a:endParaRPr lang="en-CA"/>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684270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algn="l" rtl="0"/>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Theinhardt Pan Light" panose="020B0404020101020102" pitchFamily="34" charset="0"/>
                <a:ea typeface="+mn-ea"/>
                <a:cs typeface="Theinhardt Pan Light" panose="020B0404020101020102"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dirty="0">
              <a:ln>
                <a:noFill/>
              </a:ln>
              <a:solidFill>
                <a:srgbClr val="000000"/>
              </a:solidFill>
              <a:effectLst/>
              <a:uLnTx/>
              <a:uFillTx/>
              <a:latin typeface="Theinhardt Pan Light" panose="020B0404020101020102" pitchFamily="34" charset="0"/>
              <a:ea typeface="+mn-ea"/>
              <a:cs typeface="Theinhardt Pan Light" panose="020B0404020101020102" pitchFamily="34" charset="0"/>
            </a:endParaRPr>
          </a:p>
        </p:txBody>
      </p:sp>
    </p:spTree>
    <p:extLst>
      <p:ext uri="{BB962C8B-B14F-4D97-AF65-F5344CB8AC3E}">
        <p14:creationId xmlns:p14="http://schemas.microsoft.com/office/powerpoint/2010/main" val="2186422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algn="l" rtl="0"/>
            <a:endParaRPr lang="en-ZA" b="0" i="0" dirty="0">
              <a:solidFill>
                <a:srgbClr val="000000"/>
              </a:solidFill>
              <a:effectLst/>
              <a:latin typeface="Times New Roman" panose="02020603050405020304" pitchFamily="18" charset="0"/>
            </a:endParaRPr>
          </a:p>
        </p:txBody>
      </p:sp>
      <p:sp>
        <p:nvSpPr>
          <p:cNvPr id="4" name="Date Placehold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 September 2024</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722283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algn="l" rtl="0"/>
            <a:endParaRPr lang="en-US" dirty="0"/>
          </a:p>
        </p:txBody>
      </p:sp>
      <p:sp>
        <p:nvSpPr>
          <p:cNvPr id="4" name="Slide Number Placeholder 3"/>
          <p:cNvSpPr>
            <a:spLocks noGrp="1"/>
          </p:cNvSpPr>
          <p:nvPr>
            <p:ph type="sldNum" sz="quarter" idx="5"/>
          </p:nvPr>
        </p:nvSpPr>
        <p:spPr/>
        <p:txBody>
          <a:bodyPr/>
          <a:lstStyle/>
          <a:p>
            <a:pPr algn="l" rtl="0"/>
            <a:fld id="{679EF1A0-A99D-4E88-8F13-75604E115797}" type="slidenum">
              <a:rPr lang="en-US" smtClean="0"/>
              <a:pPr algn="l" rtl="0"/>
              <a:t>11</a:t>
            </a:fld>
            <a:endParaRPr lang="en-US" dirty="0"/>
          </a:p>
        </p:txBody>
      </p:sp>
    </p:spTree>
    <p:extLst>
      <p:ext uri="{BB962C8B-B14F-4D97-AF65-F5344CB8AC3E}">
        <p14:creationId xmlns:p14="http://schemas.microsoft.com/office/powerpoint/2010/main" val="14456105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7"/>
          <p:cNvSpPr>
            <a:spLocks noGrp="1" noChangeArrowheads="1"/>
          </p:cNvSpPr>
          <p:nvPr>
            <p:ph type="sldNum" sz="quarter" idx="5"/>
          </p:nvPr>
        </p:nvSpPr>
        <p:spPr>
          <a:noFill/>
        </p:spPr>
        <p:txBody>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EBC25EA-8979-4239-B849-3B19DA83BF0D}"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dirty="0">
              <a:ln>
                <a:noFill/>
              </a:ln>
              <a:solidFill>
                <a:srgbClr val="000000"/>
              </a:solidFill>
              <a:effectLst/>
              <a:uLnTx/>
              <a:uFillTx/>
              <a:latin typeface="Arial" pitchFamily="34" charset="0"/>
              <a:ea typeface="+mn-ea"/>
              <a:cs typeface="Arial" panose="020B0604020202020204" pitchFamily="34" charset="0"/>
            </a:endParaRPr>
          </a:p>
        </p:txBody>
      </p:sp>
      <p:sp>
        <p:nvSpPr>
          <p:cNvPr id="437251" name="Rectangle 2"/>
          <p:cNvSpPr>
            <a:spLocks noGrp="1" noRot="1" noChangeAspect="1" noChangeArrowheads="1" noTextEdit="1"/>
          </p:cNvSpPr>
          <p:nvPr>
            <p:ph type="sldImg"/>
          </p:nvPr>
        </p:nvSpPr>
        <p:spPr>
          <a:xfrm>
            <a:off x="-496888" y="622300"/>
            <a:ext cx="7747001" cy="4357688"/>
          </a:xfrm>
          <a:ln/>
        </p:spPr>
      </p:sp>
      <p:sp>
        <p:nvSpPr>
          <p:cNvPr id="437252" name="Rectangle 3"/>
          <p:cNvSpPr>
            <a:spLocks noGrp="1" noChangeArrowheads="1"/>
          </p:cNvSpPr>
          <p:nvPr>
            <p:ph type="body" idx="1"/>
          </p:nvPr>
        </p:nvSpPr>
        <p:spPr>
          <a:xfrm>
            <a:off x="547688" y="5324475"/>
            <a:ext cx="5746750" cy="242888"/>
          </a:xfrm>
          <a:noFill/>
        </p:spPr>
        <p:txBody>
          <a:bodyPr/>
          <a:lstStyle/>
          <a:p>
            <a:pPr algn="l" rtl="0" eaLnBrk="1" hangingPunct="1"/>
            <a:endParaRPr lang="en-US" dirty="0"/>
          </a:p>
        </p:txBody>
      </p:sp>
    </p:spTree>
    <p:extLst>
      <p:ext uri="{BB962C8B-B14F-4D97-AF65-F5344CB8AC3E}">
        <p14:creationId xmlns:p14="http://schemas.microsoft.com/office/powerpoint/2010/main" val="21756978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3.png"/><Relationship Id="rId5" Type="http://schemas.openxmlformats.org/officeDocument/2006/relationships/tags" Target="../tags/tag27.xml"/><Relationship Id="rId10" Type="http://schemas.openxmlformats.org/officeDocument/2006/relationships/image" Target="../media/image5.png"/><Relationship Id="rId4" Type="http://schemas.openxmlformats.org/officeDocument/2006/relationships/tags" Target="../tags/tag26.xml"/><Relationship Id="rId9"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image" Target="../media/image2.png"/><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6.emf"/><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oleObject" Target="../embeddings/oleObject11.bin"/><Relationship Id="rId5" Type="http://schemas.openxmlformats.org/officeDocument/2006/relationships/tags" Target="../tags/tag91.xml"/><Relationship Id="rId10" Type="http://schemas.openxmlformats.org/officeDocument/2006/relationships/slideMaster" Target="../slideMasters/slideMaster1.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105.bin"/><Relationship Id="rId3" Type="http://schemas.openxmlformats.org/officeDocument/2006/relationships/tags" Target="../tags/tag791.xml"/><Relationship Id="rId7" Type="http://schemas.openxmlformats.org/officeDocument/2006/relationships/slideMaster" Target="../slideMasters/slideMaster7.xml"/><Relationship Id="rId2" Type="http://schemas.openxmlformats.org/officeDocument/2006/relationships/tags" Target="../tags/tag790.xml"/><Relationship Id="rId1" Type="http://schemas.openxmlformats.org/officeDocument/2006/relationships/tags" Target="../tags/tag789.xml"/><Relationship Id="rId6" Type="http://schemas.openxmlformats.org/officeDocument/2006/relationships/tags" Target="../tags/tag794.xml"/><Relationship Id="rId5" Type="http://schemas.openxmlformats.org/officeDocument/2006/relationships/tags" Target="../tags/tag793.xml"/><Relationship Id="rId4" Type="http://schemas.openxmlformats.org/officeDocument/2006/relationships/tags" Target="../tags/tag792.xml"/><Relationship Id="rId9"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797.xml"/><Relationship Id="rId7" Type="http://schemas.openxmlformats.org/officeDocument/2006/relationships/slideMaster" Target="../slideMasters/slideMaster7.xml"/><Relationship Id="rId2" Type="http://schemas.openxmlformats.org/officeDocument/2006/relationships/tags" Target="../tags/tag796.xml"/><Relationship Id="rId1" Type="http://schemas.openxmlformats.org/officeDocument/2006/relationships/tags" Target="../tags/tag795.xml"/><Relationship Id="rId6" Type="http://schemas.openxmlformats.org/officeDocument/2006/relationships/tags" Target="../tags/tag800.xml"/><Relationship Id="rId5" Type="http://schemas.openxmlformats.org/officeDocument/2006/relationships/tags" Target="../tags/tag799.xml"/><Relationship Id="rId4" Type="http://schemas.openxmlformats.org/officeDocument/2006/relationships/tags" Target="../tags/tag798.xml"/><Relationship Id="rId9" Type="http://schemas.openxmlformats.org/officeDocument/2006/relationships/image" Target="../media/image4.emf"/></Relationships>
</file>

<file path=ppt/slideLayouts/_rels/slideLayout102.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803.xml"/><Relationship Id="rId7" Type="http://schemas.openxmlformats.org/officeDocument/2006/relationships/slideMaster" Target="../slideMasters/slideMaster7.xml"/><Relationship Id="rId2" Type="http://schemas.openxmlformats.org/officeDocument/2006/relationships/tags" Target="../tags/tag802.xml"/><Relationship Id="rId1" Type="http://schemas.openxmlformats.org/officeDocument/2006/relationships/tags" Target="../tags/tag801.xml"/><Relationship Id="rId6" Type="http://schemas.openxmlformats.org/officeDocument/2006/relationships/tags" Target="../tags/tag806.xml"/><Relationship Id="rId5" Type="http://schemas.openxmlformats.org/officeDocument/2006/relationships/tags" Target="../tags/tag805.xml"/><Relationship Id="rId4" Type="http://schemas.openxmlformats.org/officeDocument/2006/relationships/tags" Target="../tags/tag804.xml"/><Relationship Id="rId9" Type="http://schemas.openxmlformats.org/officeDocument/2006/relationships/image" Target="../media/image4.emf"/></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108.bin"/><Relationship Id="rId3" Type="http://schemas.openxmlformats.org/officeDocument/2006/relationships/tags" Target="../tags/tag809.xml"/><Relationship Id="rId7" Type="http://schemas.openxmlformats.org/officeDocument/2006/relationships/slideMaster" Target="../slideMasters/slideMaster7.xm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tags" Target="../tags/tag812.xml"/><Relationship Id="rId5" Type="http://schemas.openxmlformats.org/officeDocument/2006/relationships/tags" Target="../tags/tag811.xml"/><Relationship Id="rId4" Type="http://schemas.openxmlformats.org/officeDocument/2006/relationships/tags" Target="../tags/tag810.xml"/><Relationship Id="rId9" Type="http://schemas.openxmlformats.org/officeDocument/2006/relationships/image" Target="../media/image4.emf"/></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15.xml"/><Relationship Id="rId7" Type="http://schemas.openxmlformats.org/officeDocument/2006/relationships/tags" Target="../tags/tag819.xml"/><Relationship Id="rId2" Type="http://schemas.openxmlformats.org/officeDocument/2006/relationships/tags" Target="../tags/tag814.xml"/><Relationship Id="rId1" Type="http://schemas.openxmlformats.org/officeDocument/2006/relationships/tags" Target="../tags/tag813.xml"/><Relationship Id="rId6" Type="http://schemas.openxmlformats.org/officeDocument/2006/relationships/tags" Target="../tags/tag818.xml"/><Relationship Id="rId5" Type="http://schemas.openxmlformats.org/officeDocument/2006/relationships/tags" Target="../tags/tag817.xml"/><Relationship Id="rId10" Type="http://schemas.openxmlformats.org/officeDocument/2006/relationships/image" Target="../media/image4.emf"/><Relationship Id="rId4" Type="http://schemas.openxmlformats.org/officeDocument/2006/relationships/tags" Target="../tags/tag816.xml"/><Relationship Id="rId9" Type="http://schemas.openxmlformats.org/officeDocument/2006/relationships/oleObject" Target="../embeddings/oleObject109.bin"/></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827.xml"/><Relationship Id="rId13" Type="http://schemas.openxmlformats.org/officeDocument/2006/relationships/image" Target="../media/image3.png"/><Relationship Id="rId3" Type="http://schemas.openxmlformats.org/officeDocument/2006/relationships/tags" Target="../tags/tag822.xml"/><Relationship Id="rId7" Type="http://schemas.openxmlformats.org/officeDocument/2006/relationships/tags" Target="../tags/tag826.xml"/><Relationship Id="rId12" Type="http://schemas.openxmlformats.org/officeDocument/2006/relationships/image" Target="../media/image2.png"/><Relationship Id="rId2" Type="http://schemas.openxmlformats.org/officeDocument/2006/relationships/tags" Target="../tags/tag821.xml"/><Relationship Id="rId1" Type="http://schemas.openxmlformats.org/officeDocument/2006/relationships/tags" Target="../tags/tag820.xml"/><Relationship Id="rId6" Type="http://schemas.openxmlformats.org/officeDocument/2006/relationships/tags" Target="../tags/tag825.xml"/><Relationship Id="rId11" Type="http://schemas.openxmlformats.org/officeDocument/2006/relationships/image" Target="../media/image1.emf"/><Relationship Id="rId5" Type="http://schemas.openxmlformats.org/officeDocument/2006/relationships/tags" Target="../tags/tag824.xml"/><Relationship Id="rId10" Type="http://schemas.openxmlformats.org/officeDocument/2006/relationships/oleObject" Target="../embeddings/oleObject110.bin"/><Relationship Id="rId4" Type="http://schemas.openxmlformats.org/officeDocument/2006/relationships/tags" Target="../tags/tag823.xml"/><Relationship Id="rId9"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835.xml"/><Relationship Id="rId13" Type="http://schemas.openxmlformats.org/officeDocument/2006/relationships/image" Target="../media/image3.png"/><Relationship Id="rId3" Type="http://schemas.openxmlformats.org/officeDocument/2006/relationships/tags" Target="../tags/tag830.xml"/><Relationship Id="rId7" Type="http://schemas.openxmlformats.org/officeDocument/2006/relationships/tags" Target="../tags/tag834.xml"/><Relationship Id="rId12" Type="http://schemas.openxmlformats.org/officeDocument/2006/relationships/image" Target="../media/image2.png"/><Relationship Id="rId2" Type="http://schemas.openxmlformats.org/officeDocument/2006/relationships/tags" Target="../tags/tag829.xml"/><Relationship Id="rId1" Type="http://schemas.openxmlformats.org/officeDocument/2006/relationships/tags" Target="../tags/tag828.xml"/><Relationship Id="rId6" Type="http://schemas.openxmlformats.org/officeDocument/2006/relationships/tags" Target="../tags/tag833.xml"/><Relationship Id="rId11" Type="http://schemas.openxmlformats.org/officeDocument/2006/relationships/image" Target="../media/image1.emf"/><Relationship Id="rId5" Type="http://schemas.openxmlformats.org/officeDocument/2006/relationships/tags" Target="../tags/tag832.xml"/><Relationship Id="rId10" Type="http://schemas.openxmlformats.org/officeDocument/2006/relationships/oleObject" Target="../embeddings/oleObject111.bin"/><Relationship Id="rId4" Type="http://schemas.openxmlformats.org/officeDocument/2006/relationships/tags" Target="../tags/tag831.xml"/><Relationship Id="rId9"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843.xml"/><Relationship Id="rId13" Type="http://schemas.openxmlformats.org/officeDocument/2006/relationships/image" Target="../media/image3.png"/><Relationship Id="rId3" Type="http://schemas.openxmlformats.org/officeDocument/2006/relationships/tags" Target="../tags/tag838.xml"/><Relationship Id="rId7" Type="http://schemas.openxmlformats.org/officeDocument/2006/relationships/tags" Target="../tags/tag842.xml"/><Relationship Id="rId12" Type="http://schemas.openxmlformats.org/officeDocument/2006/relationships/image" Target="../media/image2.png"/><Relationship Id="rId2" Type="http://schemas.openxmlformats.org/officeDocument/2006/relationships/tags" Target="../tags/tag837.xml"/><Relationship Id="rId1" Type="http://schemas.openxmlformats.org/officeDocument/2006/relationships/tags" Target="../tags/tag836.xml"/><Relationship Id="rId6" Type="http://schemas.openxmlformats.org/officeDocument/2006/relationships/tags" Target="../tags/tag841.xml"/><Relationship Id="rId11" Type="http://schemas.openxmlformats.org/officeDocument/2006/relationships/image" Target="../media/image1.emf"/><Relationship Id="rId5" Type="http://schemas.openxmlformats.org/officeDocument/2006/relationships/tags" Target="../tags/tag840.xml"/><Relationship Id="rId10" Type="http://schemas.openxmlformats.org/officeDocument/2006/relationships/oleObject" Target="../embeddings/oleObject112.bin"/><Relationship Id="rId4" Type="http://schemas.openxmlformats.org/officeDocument/2006/relationships/tags" Target="../tags/tag839.xml"/><Relationship Id="rId9"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851.xml"/><Relationship Id="rId13" Type="http://schemas.openxmlformats.org/officeDocument/2006/relationships/image" Target="../media/image3.png"/><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2.png"/><Relationship Id="rId2" Type="http://schemas.openxmlformats.org/officeDocument/2006/relationships/tags" Target="../tags/tag845.xml"/><Relationship Id="rId1" Type="http://schemas.openxmlformats.org/officeDocument/2006/relationships/tags" Target="../tags/tag844.xml"/><Relationship Id="rId6" Type="http://schemas.openxmlformats.org/officeDocument/2006/relationships/tags" Target="../tags/tag849.xml"/><Relationship Id="rId11" Type="http://schemas.openxmlformats.org/officeDocument/2006/relationships/image" Target="../media/image6.emf"/><Relationship Id="rId5" Type="http://schemas.openxmlformats.org/officeDocument/2006/relationships/tags" Target="../tags/tag848.xml"/><Relationship Id="rId10" Type="http://schemas.openxmlformats.org/officeDocument/2006/relationships/oleObject" Target="../embeddings/oleObject113.bin"/><Relationship Id="rId4" Type="http://schemas.openxmlformats.org/officeDocument/2006/relationships/tags" Target="../tags/tag847.xml"/><Relationship Id="rId9"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859.xml"/><Relationship Id="rId13" Type="http://schemas.openxmlformats.org/officeDocument/2006/relationships/image" Target="../media/image3.png"/><Relationship Id="rId3" Type="http://schemas.openxmlformats.org/officeDocument/2006/relationships/tags" Target="../tags/tag854.xml"/><Relationship Id="rId7" Type="http://schemas.openxmlformats.org/officeDocument/2006/relationships/tags" Target="../tags/tag858.xml"/><Relationship Id="rId12" Type="http://schemas.openxmlformats.org/officeDocument/2006/relationships/image" Target="../media/image2.png"/><Relationship Id="rId2" Type="http://schemas.openxmlformats.org/officeDocument/2006/relationships/tags" Target="../tags/tag853.xml"/><Relationship Id="rId1" Type="http://schemas.openxmlformats.org/officeDocument/2006/relationships/tags" Target="../tags/tag852.xml"/><Relationship Id="rId6" Type="http://schemas.openxmlformats.org/officeDocument/2006/relationships/tags" Target="../tags/tag857.xml"/><Relationship Id="rId11" Type="http://schemas.openxmlformats.org/officeDocument/2006/relationships/image" Target="../media/image1.emf"/><Relationship Id="rId5" Type="http://schemas.openxmlformats.org/officeDocument/2006/relationships/tags" Target="../tags/tag856.xml"/><Relationship Id="rId10" Type="http://schemas.openxmlformats.org/officeDocument/2006/relationships/oleObject" Target="../embeddings/oleObject114.bin"/><Relationship Id="rId4" Type="http://schemas.openxmlformats.org/officeDocument/2006/relationships/tags" Target="../tags/tag855.xml"/><Relationship Id="rId9"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image" Target="../media/image2.png"/><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1.emf"/><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oleObject" Target="../embeddings/oleObject12.bin"/><Relationship Id="rId5" Type="http://schemas.openxmlformats.org/officeDocument/2006/relationships/tags" Target="../tags/tag100.xml"/><Relationship Id="rId10" Type="http://schemas.openxmlformats.org/officeDocument/2006/relationships/slideMaster" Target="../slideMasters/slideMaster1.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image" Target="../media/image3.png"/></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862.xml"/><Relationship Id="rId7" Type="http://schemas.openxmlformats.org/officeDocument/2006/relationships/slideMaster" Target="../slideMasters/slideMaster7.xml"/><Relationship Id="rId2" Type="http://schemas.openxmlformats.org/officeDocument/2006/relationships/tags" Target="../tags/tag861.xml"/><Relationship Id="rId1" Type="http://schemas.openxmlformats.org/officeDocument/2006/relationships/tags" Target="../tags/tag860.xml"/><Relationship Id="rId6" Type="http://schemas.openxmlformats.org/officeDocument/2006/relationships/tags" Target="../tags/tag865.xml"/><Relationship Id="rId11" Type="http://schemas.openxmlformats.org/officeDocument/2006/relationships/image" Target="../media/image3.png"/><Relationship Id="rId5" Type="http://schemas.openxmlformats.org/officeDocument/2006/relationships/tags" Target="../tags/tag864.xml"/><Relationship Id="rId10" Type="http://schemas.openxmlformats.org/officeDocument/2006/relationships/image" Target="../media/image2.png"/><Relationship Id="rId4" Type="http://schemas.openxmlformats.org/officeDocument/2006/relationships/tags" Target="../tags/tag863.xml"/><Relationship Id="rId9"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68.xml"/><Relationship Id="rId7" Type="http://schemas.openxmlformats.org/officeDocument/2006/relationships/image" Target="../media/image4.emf"/><Relationship Id="rId2" Type="http://schemas.openxmlformats.org/officeDocument/2006/relationships/tags" Target="../tags/tag867.xml"/><Relationship Id="rId1" Type="http://schemas.openxmlformats.org/officeDocument/2006/relationships/tags" Target="../tags/tag866.xml"/><Relationship Id="rId6" Type="http://schemas.openxmlformats.org/officeDocument/2006/relationships/oleObject" Target="../embeddings/oleObject116.bin"/><Relationship Id="rId5" Type="http://schemas.openxmlformats.org/officeDocument/2006/relationships/slideMaster" Target="../slideMasters/slideMaster7.xml"/><Relationship Id="rId4" Type="http://schemas.openxmlformats.org/officeDocument/2006/relationships/tags" Target="../tags/tag869.xml"/><Relationship Id="rId9" Type="http://schemas.openxmlformats.org/officeDocument/2006/relationships/image" Target="../media/image3.png"/></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7.xml"/><Relationship Id="rId1" Type="http://schemas.openxmlformats.org/officeDocument/2006/relationships/tags" Target="../tags/tag870.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878.xml"/><Relationship Id="rId13" Type="http://schemas.openxmlformats.org/officeDocument/2006/relationships/tags" Target="../tags/tag883.xml"/><Relationship Id="rId3" Type="http://schemas.openxmlformats.org/officeDocument/2006/relationships/tags" Target="../tags/tag873.xml"/><Relationship Id="rId7" Type="http://schemas.openxmlformats.org/officeDocument/2006/relationships/tags" Target="../tags/tag877.xml"/><Relationship Id="rId12" Type="http://schemas.openxmlformats.org/officeDocument/2006/relationships/tags" Target="../tags/tag882.xml"/><Relationship Id="rId2" Type="http://schemas.openxmlformats.org/officeDocument/2006/relationships/tags" Target="../tags/tag872.xml"/><Relationship Id="rId16" Type="http://schemas.openxmlformats.org/officeDocument/2006/relationships/image" Target="../media/image1.emf"/><Relationship Id="rId1" Type="http://schemas.openxmlformats.org/officeDocument/2006/relationships/tags" Target="../tags/tag871.xml"/><Relationship Id="rId6" Type="http://schemas.openxmlformats.org/officeDocument/2006/relationships/tags" Target="../tags/tag876.xml"/><Relationship Id="rId11" Type="http://schemas.openxmlformats.org/officeDocument/2006/relationships/tags" Target="../tags/tag881.xml"/><Relationship Id="rId5" Type="http://schemas.openxmlformats.org/officeDocument/2006/relationships/tags" Target="../tags/tag875.xml"/><Relationship Id="rId15" Type="http://schemas.openxmlformats.org/officeDocument/2006/relationships/oleObject" Target="../embeddings/oleObject118.bin"/><Relationship Id="rId10" Type="http://schemas.openxmlformats.org/officeDocument/2006/relationships/tags" Target="../tags/tag880.xml"/><Relationship Id="rId4" Type="http://schemas.openxmlformats.org/officeDocument/2006/relationships/tags" Target="../tags/tag874.xml"/><Relationship Id="rId9" Type="http://schemas.openxmlformats.org/officeDocument/2006/relationships/tags" Target="../tags/tag879.xml"/><Relationship Id="rId14"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86.xml"/><Relationship Id="rId7" Type="http://schemas.openxmlformats.org/officeDocument/2006/relationships/tags" Target="../tags/tag890.xml"/><Relationship Id="rId2" Type="http://schemas.openxmlformats.org/officeDocument/2006/relationships/tags" Target="../tags/tag885.xml"/><Relationship Id="rId1" Type="http://schemas.openxmlformats.org/officeDocument/2006/relationships/tags" Target="../tags/tag884.xml"/><Relationship Id="rId6" Type="http://schemas.openxmlformats.org/officeDocument/2006/relationships/tags" Target="../tags/tag889.xml"/><Relationship Id="rId5" Type="http://schemas.openxmlformats.org/officeDocument/2006/relationships/tags" Target="../tags/tag888.xml"/><Relationship Id="rId10" Type="http://schemas.openxmlformats.org/officeDocument/2006/relationships/image" Target="../media/image1.emf"/><Relationship Id="rId4" Type="http://schemas.openxmlformats.org/officeDocument/2006/relationships/tags" Target="../tags/tag887.xml"/><Relationship Id="rId9" Type="http://schemas.openxmlformats.org/officeDocument/2006/relationships/oleObject" Target="../embeddings/oleObject119.bin"/></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913.xml"/><Relationship Id="rId7" Type="http://schemas.openxmlformats.org/officeDocument/2006/relationships/oleObject" Target="../embeddings/oleObject121.bin"/><Relationship Id="rId2" Type="http://schemas.openxmlformats.org/officeDocument/2006/relationships/tags" Target="../tags/tag912.xml"/><Relationship Id="rId1" Type="http://schemas.openxmlformats.org/officeDocument/2006/relationships/tags" Target="../tags/tag911.xml"/><Relationship Id="rId6" Type="http://schemas.openxmlformats.org/officeDocument/2006/relationships/slideMaster" Target="../slideMasters/slideMaster8.xml"/><Relationship Id="rId11" Type="http://schemas.openxmlformats.org/officeDocument/2006/relationships/image" Target="../media/image17.png"/><Relationship Id="rId5" Type="http://schemas.openxmlformats.org/officeDocument/2006/relationships/tags" Target="../tags/tag915.xml"/><Relationship Id="rId10" Type="http://schemas.openxmlformats.org/officeDocument/2006/relationships/image" Target="../media/image16.png"/><Relationship Id="rId4" Type="http://schemas.openxmlformats.org/officeDocument/2006/relationships/tags" Target="../tags/tag914.xml"/><Relationship Id="rId9" Type="http://schemas.openxmlformats.org/officeDocument/2006/relationships/image" Target="../media/image15.tiff"/></Relationships>
</file>

<file path=ppt/slideLayouts/_rels/slideLayout116.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918.xml"/><Relationship Id="rId7" Type="http://schemas.openxmlformats.org/officeDocument/2006/relationships/tags" Target="../tags/tag922.xml"/><Relationship Id="rId2" Type="http://schemas.openxmlformats.org/officeDocument/2006/relationships/tags" Target="../tags/tag917.xml"/><Relationship Id="rId1" Type="http://schemas.openxmlformats.org/officeDocument/2006/relationships/tags" Target="../tags/tag916.xml"/><Relationship Id="rId6" Type="http://schemas.openxmlformats.org/officeDocument/2006/relationships/tags" Target="../tags/tag921.xml"/><Relationship Id="rId5" Type="http://schemas.openxmlformats.org/officeDocument/2006/relationships/tags" Target="../tags/tag920.xml"/><Relationship Id="rId10" Type="http://schemas.openxmlformats.org/officeDocument/2006/relationships/image" Target="../media/image1.emf"/><Relationship Id="rId4" Type="http://schemas.openxmlformats.org/officeDocument/2006/relationships/tags" Target="../tags/tag919.xml"/><Relationship Id="rId9" Type="http://schemas.openxmlformats.org/officeDocument/2006/relationships/oleObject" Target="../embeddings/oleObject122.bin"/></Relationships>
</file>

<file path=ppt/slideLayouts/_rels/slideLayout117.xml.rels><?xml version="1.0" encoding="UTF-8" standalone="yes"?>
<Relationships xmlns="http://schemas.openxmlformats.org/package/2006/relationships"><Relationship Id="rId8" Type="http://schemas.openxmlformats.org/officeDocument/2006/relationships/oleObject" Target="../embeddings/oleObject123.bin"/><Relationship Id="rId3" Type="http://schemas.openxmlformats.org/officeDocument/2006/relationships/tags" Target="../tags/tag925.xml"/><Relationship Id="rId7" Type="http://schemas.openxmlformats.org/officeDocument/2006/relationships/slideMaster" Target="../slideMasters/slideMaster8.xml"/><Relationship Id="rId2" Type="http://schemas.openxmlformats.org/officeDocument/2006/relationships/tags" Target="../tags/tag924.xml"/><Relationship Id="rId1" Type="http://schemas.openxmlformats.org/officeDocument/2006/relationships/tags" Target="../tags/tag923.xml"/><Relationship Id="rId6" Type="http://schemas.openxmlformats.org/officeDocument/2006/relationships/tags" Target="../tags/tag928.xml"/><Relationship Id="rId5" Type="http://schemas.openxmlformats.org/officeDocument/2006/relationships/tags" Target="../tags/tag927.xml"/><Relationship Id="rId4" Type="http://schemas.openxmlformats.org/officeDocument/2006/relationships/tags" Target="../tags/tag926.xml"/><Relationship Id="rId9"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931.xml"/><Relationship Id="rId7" Type="http://schemas.openxmlformats.org/officeDocument/2006/relationships/slideMaster" Target="../slideMasters/slideMaster8.xml"/><Relationship Id="rId2" Type="http://schemas.openxmlformats.org/officeDocument/2006/relationships/tags" Target="../tags/tag930.xml"/><Relationship Id="rId1" Type="http://schemas.openxmlformats.org/officeDocument/2006/relationships/tags" Target="../tags/tag929.xml"/><Relationship Id="rId6" Type="http://schemas.openxmlformats.org/officeDocument/2006/relationships/tags" Target="../tags/tag934.xml"/><Relationship Id="rId5" Type="http://schemas.openxmlformats.org/officeDocument/2006/relationships/tags" Target="../tags/tag933.xml"/><Relationship Id="rId4" Type="http://schemas.openxmlformats.org/officeDocument/2006/relationships/tags" Target="../tags/tag932.xml"/><Relationship Id="rId9" Type="http://schemas.openxmlformats.org/officeDocument/2006/relationships/image" Target="../media/image4.emf"/></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937.xml"/><Relationship Id="rId7" Type="http://schemas.openxmlformats.org/officeDocument/2006/relationships/slideMaster" Target="../slideMasters/slideMaster8.xml"/><Relationship Id="rId2" Type="http://schemas.openxmlformats.org/officeDocument/2006/relationships/tags" Target="../tags/tag936.xml"/><Relationship Id="rId1" Type="http://schemas.openxmlformats.org/officeDocument/2006/relationships/tags" Target="../tags/tag935.xml"/><Relationship Id="rId6" Type="http://schemas.openxmlformats.org/officeDocument/2006/relationships/tags" Target="../tags/tag940.xml"/><Relationship Id="rId5" Type="http://schemas.openxmlformats.org/officeDocument/2006/relationships/tags" Target="../tags/tag939.xml"/><Relationship Id="rId4" Type="http://schemas.openxmlformats.org/officeDocument/2006/relationships/tags" Target="../tags/tag938.xml"/><Relationship Id="rId9"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image" Target="../media/image3.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image" Target="../media/image2.png"/><Relationship Id="rId5" Type="http://schemas.openxmlformats.org/officeDocument/2006/relationships/tags" Target="../tags/tag109.xml"/><Relationship Id="rId10" Type="http://schemas.openxmlformats.org/officeDocument/2006/relationships/image" Target="../media/image4.emf"/><Relationship Id="rId4" Type="http://schemas.openxmlformats.org/officeDocument/2006/relationships/tags" Target="../tags/tag108.xml"/><Relationship Id="rId9"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8" Type="http://schemas.openxmlformats.org/officeDocument/2006/relationships/oleObject" Target="../embeddings/oleObject126.bin"/><Relationship Id="rId3" Type="http://schemas.openxmlformats.org/officeDocument/2006/relationships/tags" Target="../tags/tag943.xml"/><Relationship Id="rId7" Type="http://schemas.openxmlformats.org/officeDocument/2006/relationships/slideMaster" Target="../slideMasters/slideMaster8.xml"/><Relationship Id="rId2" Type="http://schemas.openxmlformats.org/officeDocument/2006/relationships/tags" Target="../tags/tag942.xml"/><Relationship Id="rId1" Type="http://schemas.openxmlformats.org/officeDocument/2006/relationships/tags" Target="../tags/tag941.xml"/><Relationship Id="rId6" Type="http://schemas.openxmlformats.org/officeDocument/2006/relationships/tags" Target="../tags/tag946.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4.emf"/></Relationships>
</file>

<file path=ppt/slideLayouts/_rels/slideLayout121.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949.xml"/><Relationship Id="rId7" Type="http://schemas.openxmlformats.org/officeDocument/2006/relationships/tags" Target="../tags/tag953.xml"/><Relationship Id="rId2" Type="http://schemas.openxmlformats.org/officeDocument/2006/relationships/tags" Target="../tags/tag948.xml"/><Relationship Id="rId1" Type="http://schemas.openxmlformats.org/officeDocument/2006/relationships/tags" Target="../tags/tag947.xml"/><Relationship Id="rId6" Type="http://schemas.openxmlformats.org/officeDocument/2006/relationships/tags" Target="../tags/tag952.xml"/><Relationship Id="rId5" Type="http://schemas.openxmlformats.org/officeDocument/2006/relationships/tags" Target="../tags/tag951.xml"/><Relationship Id="rId10" Type="http://schemas.openxmlformats.org/officeDocument/2006/relationships/image" Target="../media/image4.emf"/><Relationship Id="rId4" Type="http://schemas.openxmlformats.org/officeDocument/2006/relationships/tags" Target="../tags/tag950.xml"/><Relationship Id="rId9" Type="http://schemas.openxmlformats.org/officeDocument/2006/relationships/oleObject" Target="../embeddings/oleObject127.bin"/></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961.xml"/><Relationship Id="rId13" Type="http://schemas.openxmlformats.org/officeDocument/2006/relationships/image" Target="../media/image3.png"/><Relationship Id="rId3" Type="http://schemas.openxmlformats.org/officeDocument/2006/relationships/tags" Target="../tags/tag956.xml"/><Relationship Id="rId7" Type="http://schemas.openxmlformats.org/officeDocument/2006/relationships/tags" Target="../tags/tag960.xml"/><Relationship Id="rId12" Type="http://schemas.openxmlformats.org/officeDocument/2006/relationships/image" Target="../media/image26.png"/><Relationship Id="rId2" Type="http://schemas.openxmlformats.org/officeDocument/2006/relationships/tags" Target="../tags/tag955.xml"/><Relationship Id="rId1" Type="http://schemas.openxmlformats.org/officeDocument/2006/relationships/tags" Target="../tags/tag954.xml"/><Relationship Id="rId6" Type="http://schemas.openxmlformats.org/officeDocument/2006/relationships/tags" Target="../tags/tag959.xml"/><Relationship Id="rId11" Type="http://schemas.openxmlformats.org/officeDocument/2006/relationships/image" Target="../media/image1.emf"/><Relationship Id="rId5" Type="http://schemas.openxmlformats.org/officeDocument/2006/relationships/tags" Target="../tags/tag958.xml"/><Relationship Id="rId10" Type="http://schemas.openxmlformats.org/officeDocument/2006/relationships/oleObject" Target="../embeddings/oleObject128.bin"/><Relationship Id="rId4" Type="http://schemas.openxmlformats.org/officeDocument/2006/relationships/tags" Target="../tags/tag957.xml"/><Relationship Id="rId9"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969.xml"/><Relationship Id="rId13" Type="http://schemas.openxmlformats.org/officeDocument/2006/relationships/image" Target="../media/image3.png"/><Relationship Id="rId3" Type="http://schemas.openxmlformats.org/officeDocument/2006/relationships/tags" Target="../tags/tag964.xml"/><Relationship Id="rId7" Type="http://schemas.openxmlformats.org/officeDocument/2006/relationships/tags" Target="../tags/tag968.xml"/><Relationship Id="rId12" Type="http://schemas.openxmlformats.org/officeDocument/2006/relationships/image" Target="../media/image26.png"/><Relationship Id="rId2" Type="http://schemas.openxmlformats.org/officeDocument/2006/relationships/tags" Target="../tags/tag963.xml"/><Relationship Id="rId1" Type="http://schemas.openxmlformats.org/officeDocument/2006/relationships/tags" Target="../tags/tag962.xml"/><Relationship Id="rId6" Type="http://schemas.openxmlformats.org/officeDocument/2006/relationships/tags" Target="../tags/tag967.xml"/><Relationship Id="rId11" Type="http://schemas.openxmlformats.org/officeDocument/2006/relationships/image" Target="../media/image1.emf"/><Relationship Id="rId5" Type="http://schemas.openxmlformats.org/officeDocument/2006/relationships/tags" Target="../tags/tag966.xml"/><Relationship Id="rId10" Type="http://schemas.openxmlformats.org/officeDocument/2006/relationships/oleObject" Target="../embeddings/oleObject129.bin"/><Relationship Id="rId4" Type="http://schemas.openxmlformats.org/officeDocument/2006/relationships/tags" Target="../tags/tag965.xml"/><Relationship Id="rId9"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977.xml"/><Relationship Id="rId13" Type="http://schemas.openxmlformats.org/officeDocument/2006/relationships/image" Target="../media/image3.png"/><Relationship Id="rId3" Type="http://schemas.openxmlformats.org/officeDocument/2006/relationships/tags" Target="../tags/tag972.xml"/><Relationship Id="rId7" Type="http://schemas.openxmlformats.org/officeDocument/2006/relationships/tags" Target="../tags/tag976.xml"/><Relationship Id="rId12" Type="http://schemas.openxmlformats.org/officeDocument/2006/relationships/image" Target="../media/image26.png"/><Relationship Id="rId2" Type="http://schemas.openxmlformats.org/officeDocument/2006/relationships/tags" Target="../tags/tag971.xml"/><Relationship Id="rId1" Type="http://schemas.openxmlformats.org/officeDocument/2006/relationships/tags" Target="../tags/tag970.xml"/><Relationship Id="rId6" Type="http://schemas.openxmlformats.org/officeDocument/2006/relationships/tags" Target="../tags/tag975.xml"/><Relationship Id="rId11" Type="http://schemas.openxmlformats.org/officeDocument/2006/relationships/image" Target="../media/image1.emf"/><Relationship Id="rId5" Type="http://schemas.openxmlformats.org/officeDocument/2006/relationships/tags" Target="../tags/tag974.xml"/><Relationship Id="rId10" Type="http://schemas.openxmlformats.org/officeDocument/2006/relationships/oleObject" Target="../embeddings/oleObject130.bin"/><Relationship Id="rId4" Type="http://schemas.openxmlformats.org/officeDocument/2006/relationships/tags" Target="../tags/tag973.xml"/><Relationship Id="rId9"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985.xml"/><Relationship Id="rId13" Type="http://schemas.openxmlformats.org/officeDocument/2006/relationships/image" Target="../media/image3.png"/><Relationship Id="rId3" Type="http://schemas.openxmlformats.org/officeDocument/2006/relationships/tags" Target="../tags/tag980.xml"/><Relationship Id="rId7" Type="http://schemas.openxmlformats.org/officeDocument/2006/relationships/tags" Target="../tags/tag984.xml"/><Relationship Id="rId12" Type="http://schemas.openxmlformats.org/officeDocument/2006/relationships/image" Target="../media/image26.png"/><Relationship Id="rId2" Type="http://schemas.openxmlformats.org/officeDocument/2006/relationships/tags" Target="../tags/tag979.xml"/><Relationship Id="rId1" Type="http://schemas.openxmlformats.org/officeDocument/2006/relationships/tags" Target="../tags/tag978.xml"/><Relationship Id="rId6" Type="http://schemas.openxmlformats.org/officeDocument/2006/relationships/tags" Target="../tags/tag983.xml"/><Relationship Id="rId11" Type="http://schemas.openxmlformats.org/officeDocument/2006/relationships/image" Target="../media/image6.emf"/><Relationship Id="rId5" Type="http://schemas.openxmlformats.org/officeDocument/2006/relationships/tags" Target="../tags/tag982.xml"/><Relationship Id="rId10" Type="http://schemas.openxmlformats.org/officeDocument/2006/relationships/oleObject" Target="../embeddings/oleObject131.bin"/><Relationship Id="rId4" Type="http://schemas.openxmlformats.org/officeDocument/2006/relationships/tags" Target="../tags/tag981.xml"/><Relationship Id="rId9"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993.xml"/><Relationship Id="rId13" Type="http://schemas.openxmlformats.org/officeDocument/2006/relationships/image" Target="../media/image3.png"/><Relationship Id="rId3" Type="http://schemas.openxmlformats.org/officeDocument/2006/relationships/tags" Target="../tags/tag988.xml"/><Relationship Id="rId7" Type="http://schemas.openxmlformats.org/officeDocument/2006/relationships/tags" Target="../tags/tag992.xml"/><Relationship Id="rId12" Type="http://schemas.openxmlformats.org/officeDocument/2006/relationships/image" Target="../media/image26.png"/><Relationship Id="rId2" Type="http://schemas.openxmlformats.org/officeDocument/2006/relationships/tags" Target="../tags/tag987.xml"/><Relationship Id="rId1" Type="http://schemas.openxmlformats.org/officeDocument/2006/relationships/tags" Target="../tags/tag986.xml"/><Relationship Id="rId6" Type="http://schemas.openxmlformats.org/officeDocument/2006/relationships/tags" Target="../tags/tag991.xml"/><Relationship Id="rId11" Type="http://schemas.openxmlformats.org/officeDocument/2006/relationships/image" Target="../media/image1.emf"/><Relationship Id="rId5" Type="http://schemas.openxmlformats.org/officeDocument/2006/relationships/tags" Target="../tags/tag990.xml"/><Relationship Id="rId10" Type="http://schemas.openxmlformats.org/officeDocument/2006/relationships/oleObject" Target="../embeddings/oleObject132.bin"/><Relationship Id="rId4" Type="http://schemas.openxmlformats.org/officeDocument/2006/relationships/tags" Target="../tags/tag989.xml"/><Relationship Id="rId9"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996.xml"/><Relationship Id="rId7" Type="http://schemas.openxmlformats.org/officeDocument/2006/relationships/slideMaster" Target="../slideMasters/slideMaster8.xml"/><Relationship Id="rId2" Type="http://schemas.openxmlformats.org/officeDocument/2006/relationships/tags" Target="../tags/tag995.xml"/><Relationship Id="rId1" Type="http://schemas.openxmlformats.org/officeDocument/2006/relationships/tags" Target="../tags/tag994.xml"/><Relationship Id="rId6" Type="http://schemas.openxmlformats.org/officeDocument/2006/relationships/tags" Target="../tags/tag999.xml"/><Relationship Id="rId11" Type="http://schemas.openxmlformats.org/officeDocument/2006/relationships/image" Target="../media/image3.png"/><Relationship Id="rId5" Type="http://schemas.openxmlformats.org/officeDocument/2006/relationships/tags" Target="../tags/tag998.xml"/><Relationship Id="rId10" Type="http://schemas.openxmlformats.org/officeDocument/2006/relationships/image" Target="../media/image26.png"/><Relationship Id="rId4" Type="http://schemas.openxmlformats.org/officeDocument/2006/relationships/tags" Target="../tags/tag997.xml"/><Relationship Id="rId9" Type="http://schemas.openxmlformats.org/officeDocument/2006/relationships/image" Target="../media/image4.emf"/></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002.xml"/><Relationship Id="rId7" Type="http://schemas.openxmlformats.org/officeDocument/2006/relationships/image" Target="../media/image4.emf"/><Relationship Id="rId2" Type="http://schemas.openxmlformats.org/officeDocument/2006/relationships/tags" Target="../tags/tag1001.xml"/><Relationship Id="rId1" Type="http://schemas.openxmlformats.org/officeDocument/2006/relationships/tags" Target="../tags/tag1000.xml"/><Relationship Id="rId6" Type="http://schemas.openxmlformats.org/officeDocument/2006/relationships/oleObject" Target="../embeddings/oleObject134.bin"/><Relationship Id="rId5" Type="http://schemas.openxmlformats.org/officeDocument/2006/relationships/slideMaster" Target="../slideMasters/slideMaster8.xml"/><Relationship Id="rId4" Type="http://schemas.openxmlformats.org/officeDocument/2006/relationships/tags" Target="../tags/tag1003.xml"/><Relationship Id="rId9" Type="http://schemas.openxmlformats.org/officeDocument/2006/relationships/image" Target="../media/image3.png"/></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8.xml"/><Relationship Id="rId1" Type="http://schemas.openxmlformats.org/officeDocument/2006/relationships/tags" Target="../tags/tag1004.xml"/><Relationship Id="rId6" Type="http://schemas.openxmlformats.org/officeDocument/2006/relationships/image" Target="../media/image3.png"/><Relationship Id="rId5" Type="http://schemas.openxmlformats.org/officeDocument/2006/relationships/image" Target="../media/image27.png"/><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14.xml"/><Relationship Id="rId7" Type="http://schemas.openxmlformats.org/officeDocument/2006/relationships/oleObject" Target="../embeddings/oleObject14.bin"/><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1.xml"/><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1012.xml"/><Relationship Id="rId13" Type="http://schemas.openxmlformats.org/officeDocument/2006/relationships/tags" Target="../tags/tag1017.xml"/><Relationship Id="rId3" Type="http://schemas.openxmlformats.org/officeDocument/2006/relationships/tags" Target="../tags/tag1007.xml"/><Relationship Id="rId7" Type="http://schemas.openxmlformats.org/officeDocument/2006/relationships/tags" Target="../tags/tag1011.xml"/><Relationship Id="rId12" Type="http://schemas.openxmlformats.org/officeDocument/2006/relationships/tags" Target="../tags/tag1016.xml"/><Relationship Id="rId2" Type="http://schemas.openxmlformats.org/officeDocument/2006/relationships/tags" Target="../tags/tag1006.xml"/><Relationship Id="rId16" Type="http://schemas.openxmlformats.org/officeDocument/2006/relationships/image" Target="../media/image1.emf"/><Relationship Id="rId1" Type="http://schemas.openxmlformats.org/officeDocument/2006/relationships/tags" Target="../tags/tag1005.xml"/><Relationship Id="rId6" Type="http://schemas.openxmlformats.org/officeDocument/2006/relationships/tags" Target="../tags/tag1010.xml"/><Relationship Id="rId11" Type="http://schemas.openxmlformats.org/officeDocument/2006/relationships/tags" Target="../tags/tag1015.xml"/><Relationship Id="rId5" Type="http://schemas.openxmlformats.org/officeDocument/2006/relationships/tags" Target="../tags/tag1009.xml"/><Relationship Id="rId15" Type="http://schemas.openxmlformats.org/officeDocument/2006/relationships/oleObject" Target="../embeddings/oleObject136.bin"/><Relationship Id="rId10" Type="http://schemas.openxmlformats.org/officeDocument/2006/relationships/tags" Target="../tags/tag1014.xml"/><Relationship Id="rId4" Type="http://schemas.openxmlformats.org/officeDocument/2006/relationships/tags" Target="../tags/tag1008.xml"/><Relationship Id="rId9" Type="http://schemas.openxmlformats.org/officeDocument/2006/relationships/tags" Target="../tags/tag1013.xml"/><Relationship Id="rId14"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8" Type="http://schemas.openxmlformats.org/officeDocument/2006/relationships/oleObject" Target="../embeddings/oleObject138.bin"/><Relationship Id="rId3" Type="http://schemas.openxmlformats.org/officeDocument/2006/relationships/tags" Target="../tags/tag1041.xml"/><Relationship Id="rId7" Type="http://schemas.openxmlformats.org/officeDocument/2006/relationships/slideMaster" Target="../slideMasters/slideMaster9.xml"/><Relationship Id="rId12" Type="http://schemas.openxmlformats.org/officeDocument/2006/relationships/image" Target="../media/image17.png"/><Relationship Id="rId2" Type="http://schemas.openxmlformats.org/officeDocument/2006/relationships/tags" Target="../tags/tag1040.xml"/><Relationship Id="rId1" Type="http://schemas.openxmlformats.org/officeDocument/2006/relationships/tags" Target="../tags/tag1039.xml"/><Relationship Id="rId6" Type="http://schemas.openxmlformats.org/officeDocument/2006/relationships/tags" Target="../tags/tag1044.xml"/><Relationship Id="rId11" Type="http://schemas.openxmlformats.org/officeDocument/2006/relationships/image" Target="../media/image16.png"/><Relationship Id="rId5" Type="http://schemas.openxmlformats.org/officeDocument/2006/relationships/tags" Target="../tags/tag1043.xml"/><Relationship Id="rId10" Type="http://schemas.openxmlformats.org/officeDocument/2006/relationships/image" Target="../media/image15.tiff"/><Relationship Id="rId4" Type="http://schemas.openxmlformats.org/officeDocument/2006/relationships/tags" Target="../tags/tag1042.xml"/><Relationship Id="rId9" Type="http://schemas.openxmlformats.org/officeDocument/2006/relationships/image" Target="../media/image4.emf"/></Relationships>
</file>

<file path=ppt/slideLayouts/_rels/slideLayout132.xml.rels><?xml version="1.0" encoding="UTF-8" standalone="yes"?>
<Relationships xmlns="http://schemas.openxmlformats.org/package/2006/relationships"><Relationship Id="rId8" Type="http://schemas.openxmlformats.org/officeDocument/2006/relationships/oleObject" Target="../embeddings/oleObject139.bin"/><Relationship Id="rId3" Type="http://schemas.openxmlformats.org/officeDocument/2006/relationships/tags" Target="../tags/tag1047.xml"/><Relationship Id="rId7" Type="http://schemas.openxmlformats.org/officeDocument/2006/relationships/slideMaster" Target="../slideMasters/slideMaster9.xml"/><Relationship Id="rId12" Type="http://schemas.openxmlformats.org/officeDocument/2006/relationships/image" Target="../media/image17.png"/><Relationship Id="rId2" Type="http://schemas.openxmlformats.org/officeDocument/2006/relationships/tags" Target="../tags/tag1046.xml"/><Relationship Id="rId1" Type="http://schemas.openxmlformats.org/officeDocument/2006/relationships/tags" Target="../tags/tag1045.xml"/><Relationship Id="rId6" Type="http://schemas.openxmlformats.org/officeDocument/2006/relationships/tags" Target="../tags/tag1050.xml"/><Relationship Id="rId11" Type="http://schemas.openxmlformats.org/officeDocument/2006/relationships/image" Target="../media/image16.png"/><Relationship Id="rId5" Type="http://schemas.openxmlformats.org/officeDocument/2006/relationships/tags" Target="../tags/tag1049.xml"/><Relationship Id="rId10" Type="http://schemas.openxmlformats.org/officeDocument/2006/relationships/image" Target="../media/image15.tiff"/><Relationship Id="rId4" Type="http://schemas.openxmlformats.org/officeDocument/2006/relationships/tags" Target="../tags/tag1048.xml"/><Relationship Id="rId9" Type="http://schemas.openxmlformats.org/officeDocument/2006/relationships/image" Target="../media/image4.emf"/></Relationships>
</file>

<file path=ppt/slideLayouts/_rels/slideLayout133.xml.rels><?xml version="1.0" encoding="UTF-8" standalone="yes"?>
<Relationships xmlns="http://schemas.openxmlformats.org/package/2006/relationships"><Relationship Id="rId8" Type="http://schemas.openxmlformats.org/officeDocument/2006/relationships/oleObject" Target="../embeddings/oleObject140.bin"/><Relationship Id="rId3" Type="http://schemas.openxmlformats.org/officeDocument/2006/relationships/tags" Target="../tags/tag1053.xml"/><Relationship Id="rId7" Type="http://schemas.openxmlformats.org/officeDocument/2006/relationships/slideMaster" Target="../slideMasters/slideMaster9.xml"/><Relationship Id="rId12" Type="http://schemas.openxmlformats.org/officeDocument/2006/relationships/image" Target="../media/image17.png"/><Relationship Id="rId2" Type="http://schemas.openxmlformats.org/officeDocument/2006/relationships/tags" Target="../tags/tag1052.xml"/><Relationship Id="rId1" Type="http://schemas.openxmlformats.org/officeDocument/2006/relationships/tags" Target="../tags/tag1051.xml"/><Relationship Id="rId6" Type="http://schemas.openxmlformats.org/officeDocument/2006/relationships/tags" Target="../tags/tag1056.xml"/><Relationship Id="rId11" Type="http://schemas.openxmlformats.org/officeDocument/2006/relationships/image" Target="../media/image16.png"/><Relationship Id="rId5" Type="http://schemas.openxmlformats.org/officeDocument/2006/relationships/tags" Target="../tags/tag1055.xml"/><Relationship Id="rId10" Type="http://schemas.openxmlformats.org/officeDocument/2006/relationships/image" Target="../media/image15.tiff"/><Relationship Id="rId4" Type="http://schemas.openxmlformats.org/officeDocument/2006/relationships/tags" Target="../tags/tag1054.xml"/><Relationship Id="rId9" Type="http://schemas.openxmlformats.org/officeDocument/2006/relationships/image" Target="../media/image4.emf"/></Relationships>
</file>

<file path=ppt/slideLayouts/_rels/slideLayout13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059.xml"/><Relationship Id="rId7" Type="http://schemas.openxmlformats.org/officeDocument/2006/relationships/tags" Target="../tags/tag1063.xml"/><Relationship Id="rId2" Type="http://schemas.openxmlformats.org/officeDocument/2006/relationships/tags" Target="../tags/tag1058.xml"/><Relationship Id="rId1" Type="http://schemas.openxmlformats.org/officeDocument/2006/relationships/tags" Target="../tags/tag1057.xml"/><Relationship Id="rId6" Type="http://schemas.openxmlformats.org/officeDocument/2006/relationships/tags" Target="../tags/tag1062.xml"/><Relationship Id="rId5" Type="http://schemas.openxmlformats.org/officeDocument/2006/relationships/tags" Target="../tags/tag1061.xml"/><Relationship Id="rId10" Type="http://schemas.openxmlformats.org/officeDocument/2006/relationships/image" Target="../media/image1.emf"/><Relationship Id="rId4" Type="http://schemas.openxmlformats.org/officeDocument/2006/relationships/tags" Target="../tags/tag1060.xml"/><Relationship Id="rId9" Type="http://schemas.openxmlformats.org/officeDocument/2006/relationships/oleObject" Target="../embeddings/oleObject141.bin"/></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6.xml"/><Relationship Id="rId7" Type="http://schemas.openxmlformats.org/officeDocument/2006/relationships/oleObject" Target="../embeddings/oleObject142.bin"/><Relationship Id="rId2" Type="http://schemas.openxmlformats.org/officeDocument/2006/relationships/tags" Target="../tags/tag1065.xml"/><Relationship Id="rId1" Type="http://schemas.openxmlformats.org/officeDocument/2006/relationships/tags" Target="../tags/tag1064.xml"/><Relationship Id="rId6" Type="http://schemas.openxmlformats.org/officeDocument/2006/relationships/slideMaster" Target="../slideMasters/slideMaster9.xml"/><Relationship Id="rId5" Type="http://schemas.openxmlformats.org/officeDocument/2006/relationships/tags" Target="../tags/tag1068.xml"/><Relationship Id="rId4" Type="http://schemas.openxmlformats.org/officeDocument/2006/relationships/tags" Target="../tags/tag1067.xml"/></Relationships>
</file>

<file path=ppt/slideLayouts/_rels/slideLayout136.xml.rels><?xml version="1.0" encoding="UTF-8" standalone="yes"?>
<Relationships xmlns="http://schemas.openxmlformats.org/package/2006/relationships"><Relationship Id="rId8" Type="http://schemas.openxmlformats.org/officeDocument/2006/relationships/oleObject" Target="../embeddings/oleObject143.bin"/><Relationship Id="rId3" Type="http://schemas.openxmlformats.org/officeDocument/2006/relationships/tags" Target="../tags/tag1071.xml"/><Relationship Id="rId7" Type="http://schemas.openxmlformats.org/officeDocument/2006/relationships/slideMaster" Target="../slideMasters/slideMaster9.xml"/><Relationship Id="rId2" Type="http://schemas.openxmlformats.org/officeDocument/2006/relationships/tags" Target="../tags/tag1070.xml"/><Relationship Id="rId1" Type="http://schemas.openxmlformats.org/officeDocument/2006/relationships/tags" Target="../tags/tag1069.xml"/><Relationship Id="rId6" Type="http://schemas.openxmlformats.org/officeDocument/2006/relationships/tags" Target="../tags/tag1074.xml"/><Relationship Id="rId5" Type="http://schemas.openxmlformats.org/officeDocument/2006/relationships/tags" Target="../tags/tag1073.xml"/><Relationship Id="rId4" Type="http://schemas.openxmlformats.org/officeDocument/2006/relationships/tags" Target="../tags/tag1072.xml"/><Relationship Id="rId9" Type="http://schemas.openxmlformats.org/officeDocument/2006/relationships/image" Target="../media/image4.emf"/></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077.xml"/><Relationship Id="rId7" Type="http://schemas.openxmlformats.org/officeDocument/2006/relationships/oleObject" Target="../embeddings/oleObject144.bin"/><Relationship Id="rId2" Type="http://schemas.openxmlformats.org/officeDocument/2006/relationships/tags" Target="../tags/tag1076.xml"/><Relationship Id="rId1" Type="http://schemas.openxmlformats.org/officeDocument/2006/relationships/tags" Target="../tags/tag1075.xml"/><Relationship Id="rId6" Type="http://schemas.openxmlformats.org/officeDocument/2006/relationships/slideMaster" Target="../slideMasters/slideMaster9.xml"/><Relationship Id="rId5" Type="http://schemas.openxmlformats.org/officeDocument/2006/relationships/tags" Target="../tags/tag1079.xml"/><Relationship Id="rId4" Type="http://schemas.openxmlformats.org/officeDocument/2006/relationships/tags" Target="../tags/tag1078.xml"/></Relationships>
</file>

<file path=ppt/slideLayouts/_rels/slideLayout138.xml.rels><?xml version="1.0" encoding="UTF-8" standalone="yes"?>
<Relationships xmlns="http://schemas.openxmlformats.org/package/2006/relationships"><Relationship Id="rId8" Type="http://schemas.openxmlformats.org/officeDocument/2006/relationships/oleObject" Target="../embeddings/oleObject145.bin"/><Relationship Id="rId3" Type="http://schemas.openxmlformats.org/officeDocument/2006/relationships/tags" Target="../tags/tag1082.xml"/><Relationship Id="rId7" Type="http://schemas.openxmlformats.org/officeDocument/2006/relationships/slideMaster" Target="../slideMasters/slideMaster9.xml"/><Relationship Id="rId2" Type="http://schemas.openxmlformats.org/officeDocument/2006/relationships/tags" Target="../tags/tag1081.xml"/><Relationship Id="rId1" Type="http://schemas.openxmlformats.org/officeDocument/2006/relationships/tags" Target="../tags/tag1080.xml"/><Relationship Id="rId6" Type="http://schemas.openxmlformats.org/officeDocument/2006/relationships/tags" Target="../tags/tag1085.xml"/><Relationship Id="rId5" Type="http://schemas.openxmlformats.org/officeDocument/2006/relationships/tags" Target="../tags/tag1084.xml"/><Relationship Id="rId4" Type="http://schemas.openxmlformats.org/officeDocument/2006/relationships/tags" Target="../tags/tag1083.xml"/><Relationship Id="rId9" Type="http://schemas.openxmlformats.org/officeDocument/2006/relationships/image" Target="../media/image4.emf"/></Relationships>
</file>

<file path=ppt/slideLayouts/_rels/slideLayout139.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1088.xml"/><Relationship Id="rId7" Type="http://schemas.openxmlformats.org/officeDocument/2006/relationships/slideMaster" Target="../slideMasters/slideMaster9.xml"/><Relationship Id="rId2" Type="http://schemas.openxmlformats.org/officeDocument/2006/relationships/tags" Target="../tags/tag1087.xml"/><Relationship Id="rId1" Type="http://schemas.openxmlformats.org/officeDocument/2006/relationships/tags" Target="../tags/tag1086.xml"/><Relationship Id="rId6" Type="http://schemas.openxmlformats.org/officeDocument/2006/relationships/tags" Target="../tags/tag1091.xml"/><Relationship Id="rId5" Type="http://schemas.openxmlformats.org/officeDocument/2006/relationships/tags" Target="../tags/tag1090.xml"/><Relationship Id="rId4" Type="http://schemas.openxmlformats.org/officeDocument/2006/relationships/tags" Target="../tags/tag1089.xml"/><Relationship Id="rId9"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094.xml"/><Relationship Id="rId7" Type="http://schemas.openxmlformats.org/officeDocument/2006/relationships/tags" Target="../tags/tag1098.xml"/><Relationship Id="rId2" Type="http://schemas.openxmlformats.org/officeDocument/2006/relationships/tags" Target="../tags/tag1093.xml"/><Relationship Id="rId1" Type="http://schemas.openxmlformats.org/officeDocument/2006/relationships/tags" Target="../tags/tag1092.xml"/><Relationship Id="rId6" Type="http://schemas.openxmlformats.org/officeDocument/2006/relationships/tags" Target="../tags/tag1097.xml"/><Relationship Id="rId5" Type="http://schemas.openxmlformats.org/officeDocument/2006/relationships/tags" Target="../tags/tag1096.xml"/><Relationship Id="rId10" Type="http://schemas.openxmlformats.org/officeDocument/2006/relationships/image" Target="../media/image4.emf"/><Relationship Id="rId4" Type="http://schemas.openxmlformats.org/officeDocument/2006/relationships/tags" Target="../tags/tag1095.xml"/><Relationship Id="rId9" Type="http://schemas.openxmlformats.org/officeDocument/2006/relationships/oleObject" Target="../embeddings/oleObject147.bin"/></Relationships>
</file>

<file path=ppt/slideLayouts/_rels/slideLayout141.xml.rels><?xml version="1.0" encoding="UTF-8" standalone="yes"?>
<Relationships xmlns="http://schemas.openxmlformats.org/package/2006/relationships"><Relationship Id="rId8" Type="http://schemas.openxmlformats.org/officeDocument/2006/relationships/tags" Target="../tags/tag1106.xml"/><Relationship Id="rId13" Type="http://schemas.openxmlformats.org/officeDocument/2006/relationships/image" Target="../media/image2.png"/><Relationship Id="rId3" Type="http://schemas.openxmlformats.org/officeDocument/2006/relationships/tags" Target="../tags/tag1101.xml"/><Relationship Id="rId7" Type="http://schemas.openxmlformats.org/officeDocument/2006/relationships/tags" Target="../tags/tag1105.xml"/><Relationship Id="rId12" Type="http://schemas.openxmlformats.org/officeDocument/2006/relationships/image" Target="../media/image1.emf"/><Relationship Id="rId2" Type="http://schemas.openxmlformats.org/officeDocument/2006/relationships/tags" Target="../tags/tag1100.xml"/><Relationship Id="rId1" Type="http://schemas.openxmlformats.org/officeDocument/2006/relationships/tags" Target="../tags/tag1099.xml"/><Relationship Id="rId6" Type="http://schemas.openxmlformats.org/officeDocument/2006/relationships/tags" Target="../tags/tag1104.xml"/><Relationship Id="rId11" Type="http://schemas.openxmlformats.org/officeDocument/2006/relationships/oleObject" Target="../embeddings/oleObject148.bin"/><Relationship Id="rId5" Type="http://schemas.openxmlformats.org/officeDocument/2006/relationships/tags" Target="../tags/tag1103.xml"/><Relationship Id="rId10" Type="http://schemas.openxmlformats.org/officeDocument/2006/relationships/slideMaster" Target="../slideMasters/slideMaster9.xml"/><Relationship Id="rId4" Type="http://schemas.openxmlformats.org/officeDocument/2006/relationships/tags" Target="../tags/tag1102.xml"/><Relationship Id="rId9" Type="http://schemas.openxmlformats.org/officeDocument/2006/relationships/tags" Target="../tags/tag1107.xml"/><Relationship Id="rId14" Type="http://schemas.openxmlformats.org/officeDocument/2006/relationships/image" Target="../media/image3.png"/></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1115.xml"/><Relationship Id="rId13" Type="http://schemas.openxmlformats.org/officeDocument/2006/relationships/image" Target="../media/image3.png"/><Relationship Id="rId3" Type="http://schemas.openxmlformats.org/officeDocument/2006/relationships/tags" Target="../tags/tag1110.xml"/><Relationship Id="rId7" Type="http://schemas.openxmlformats.org/officeDocument/2006/relationships/tags" Target="../tags/tag1114.xml"/><Relationship Id="rId12" Type="http://schemas.openxmlformats.org/officeDocument/2006/relationships/image" Target="../media/image2.png"/><Relationship Id="rId2" Type="http://schemas.openxmlformats.org/officeDocument/2006/relationships/tags" Target="../tags/tag1109.xml"/><Relationship Id="rId1" Type="http://schemas.openxmlformats.org/officeDocument/2006/relationships/tags" Target="../tags/tag1108.xml"/><Relationship Id="rId6" Type="http://schemas.openxmlformats.org/officeDocument/2006/relationships/tags" Target="../tags/tag1113.xml"/><Relationship Id="rId11" Type="http://schemas.openxmlformats.org/officeDocument/2006/relationships/image" Target="../media/image1.emf"/><Relationship Id="rId5" Type="http://schemas.openxmlformats.org/officeDocument/2006/relationships/tags" Target="../tags/tag1112.xml"/><Relationship Id="rId10" Type="http://schemas.openxmlformats.org/officeDocument/2006/relationships/oleObject" Target="../embeddings/oleObject149.bin"/><Relationship Id="rId4" Type="http://schemas.openxmlformats.org/officeDocument/2006/relationships/tags" Target="../tags/tag1111.xml"/><Relationship Id="rId9"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1123.xml"/><Relationship Id="rId13" Type="http://schemas.openxmlformats.org/officeDocument/2006/relationships/image" Target="../media/image2.png"/><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1.emf"/><Relationship Id="rId2" Type="http://schemas.openxmlformats.org/officeDocument/2006/relationships/tags" Target="../tags/tag1117.xml"/><Relationship Id="rId1" Type="http://schemas.openxmlformats.org/officeDocument/2006/relationships/tags" Target="../tags/tag1116.xml"/><Relationship Id="rId6" Type="http://schemas.openxmlformats.org/officeDocument/2006/relationships/tags" Target="../tags/tag1121.xml"/><Relationship Id="rId11" Type="http://schemas.openxmlformats.org/officeDocument/2006/relationships/oleObject" Target="../embeddings/oleObject150.bin"/><Relationship Id="rId5" Type="http://schemas.openxmlformats.org/officeDocument/2006/relationships/tags" Target="../tags/tag1120.xml"/><Relationship Id="rId10" Type="http://schemas.openxmlformats.org/officeDocument/2006/relationships/slideMaster" Target="../slideMasters/slideMaster9.xml"/><Relationship Id="rId4" Type="http://schemas.openxmlformats.org/officeDocument/2006/relationships/tags" Target="../tags/tag1119.xml"/><Relationship Id="rId9" Type="http://schemas.openxmlformats.org/officeDocument/2006/relationships/tags" Target="../tags/tag1124.xml"/><Relationship Id="rId14" Type="http://schemas.openxmlformats.org/officeDocument/2006/relationships/image" Target="../media/image3.png"/></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1132.xml"/><Relationship Id="rId13" Type="http://schemas.openxmlformats.org/officeDocument/2006/relationships/image" Target="../media/image2.png"/><Relationship Id="rId3" Type="http://schemas.openxmlformats.org/officeDocument/2006/relationships/tags" Target="../tags/tag1127.xml"/><Relationship Id="rId7" Type="http://schemas.openxmlformats.org/officeDocument/2006/relationships/tags" Target="../tags/tag1131.xml"/><Relationship Id="rId12" Type="http://schemas.openxmlformats.org/officeDocument/2006/relationships/image" Target="../media/image1.emf"/><Relationship Id="rId2" Type="http://schemas.openxmlformats.org/officeDocument/2006/relationships/tags" Target="../tags/tag1126.xml"/><Relationship Id="rId1" Type="http://schemas.openxmlformats.org/officeDocument/2006/relationships/tags" Target="../tags/tag1125.xml"/><Relationship Id="rId6" Type="http://schemas.openxmlformats.org/officeDocument/2006/relationships/tags" Target="../tags/tag1130.xml"/><Relationship Id="rId11" Type="http://schemas.openxmlformats.org/officeDocument/2006/relationships/oleObject" Target="../embeddings/oleObject151.bin"/><Relationship Id="rId5" Type="http://schemas.openxmlformats.org/officeDocument/2006/relationships/tags" Target="../tags/tag1129.xml"/><Relationship Id="rId10" Type="http://schemas.openxmlformats.org/officeDocument/2006/relationships/slideMaster" Target="../slideMasters/slideMaster9.xml"/><Relationship Id="rId4" Type="http://schemas.openxmlformats.org/officeDocument/2006/relationships/tags" Target="../tags/tag1128.xml"/><Relationship Id="rId9" Type="http://schemas.openxmlformats.org/officeDocument/2006/relationships/tags" Target="../tags/tag1133.xml"/><Relationship Id="rId14" Type="http://schemas.openxmlformats.org/officeDocument/2006/relationships/image" Target="../media/image3.png"/></Relationships>
</file>

<file path=ppt/slideLayouts/_rels/slideLayout145.xml.rels><?xml version="1.0" encoding="UTF-8" standalone="yes"?>
<Relationships xmlns="http://schemas.openxmlformats.org/package/2006/relationships"><Relationship Id="rId8" Type="http://schemas.openxmlformats.org/officeDocument/2006/relationships/tags" Target="../tags/tag1141.xml"/><Relationship Id="rId13" Type="http://schemas.openxmlformats.org/officeDocument/2006/relationships/image" Target="../media/image2.png"/><Relationship Id="rId3" Type="http://schemas.openxmlformats.org/officeDocument/2006/relationships/tags" Target="../tags/tag1136.xml"/><Relationship Id="rId7" Type="http://schemas.openxmlformats.org/officeDocument/2006/relationships/tags" Target="../tags/tag1140.xml"/><Relationship Id="rId12" Type="http://schemas.openxmlformats.org/officeDocument/2006/relationships/image" Target="../media/image6.emf"/><Relationship Id="rId2" Type="http://schemas.openxmlformats.org/officeDocument/2006/relationships/tags" Target="../tags/tag1135.xml"/><Relationship Id="rId1" Type="http://schemas.openxmlformats.org/officeDocument/2006/relationships/tags" Target="../tags/tag1134.xml"/><Relationship Id="rId6" Type="http://schemas.openxmlformats.org/officeDocument/2006/relationships/tags" Target="../tags/tag1139.xml"/><Relationship Id="rId11" Type="http://schemas.openxmlformats.org/officeDocument/2006/relationships/oleObject" Target="../embeddings/oleObject152.bin"/><Relationship Id="rId5" Type="http://schemas.openxmlformats.org/officeDocument/2006/relationships/tags" Target="../tags/tag1138.xml"/><Relationship Id="rId10" Type="http://schemas.openxmlformats.org/officeDocument/2006/relationships/slideMaster" Target="../slideMasters/slideMaster9.xml"/><Relationship Id="rId4" Type="http://schemas.openxmlformats.org/officeDocument/2006/relationships/tags" Target="../tags/tag1137.xml"/><Relationship Id="rId9" Type="http://schemas.openxmlformats.org/officeDocument/2006/relationships/tags" Target="../tags/tag1142.xml"/><Relationship Id="rId14" Type="http://schemas.openxmlformats.org/officeDocument/2006/relationships/image" Target="../media/image3.png"/></Relationships>
</file>

<file path=ppt/slideLayouts/_rels/slideLayout146.xml.rels><?xml version="1.0" encoding="UTF-8" standalone="yes"?>
<Relationships xmlns="http://schemas.openxmlformats.org/package/2006/relationships"><Relationship Id="rId8" Type="http://schemas.openxmlformats.org/officeDocument/2006/relationships/tags" Target="../tags/tag1150.xml"/><Relationship Id="rId13" Type="http://schemas.openxmlformats.org/officeDocument/2006/relationships/image" Target="../media/image2.png"/><Relationship Id="rId3" Type="http://schemas.openxmlformats.org/officeDocument/2006/relationships/tags" Target="../tags/tag1145.xml"/><Relationship Id="rId7" Type="http://schemas.openxmlformats.org/officeDocument/2006/relationships/tags" Target="../tags/tag1149.xml"/><Relationship Id="rId12" Type="http://schemas.openxmlformats.org/officeDocument/2006/relationships/image" Target="../media/image1.emf"/><Relationship Id="rId2" Type="http://schemas.openxmlformats.org/officeDocument/2006/relationships/tags" Target="../tags/tag1144.xml"/><Relationship Id="rId1" Type="http://schemas.openxmlformats.org/officeDocument/2006/relationships/tags" Target="../tags/tag1143.xml"/><Relationship Id="rId6" Type="http://schemas.openxmlformats.org/officeDocument/2006/relationships/tags" Target="../tags/tag1148.xml"/><Relationship Id="rId11" Type="http://schemas.openxmlformats.org/officeDocument/2006/relationships/oleObject" Target="../embeddings/oleObject153.bin"/><Relationship Id="rId5" Type="http://schemas.openxmlformats.org/officeDocument/2006/relationships/tags" Target="../tags/tag1147.xml"/><Relationship Id="rId10" Type="http://schemas.openxmlformats.org/officeDocument/2006/relationships/slideMaster" Target="../slideMasters/slideMaster9.xml"/><Relationship Id="rId4" Type="http://schemas.openxmlformats.org/officeDocument/2006/relationships/tags" Target="../tags/tag1146.xml"/><Relationship Id="rId9" Type="http://schemas.openxmlformats.org/officeDocument/2006/relationships/tags" Target="../tags/tag1151.xml"/><Relationship Id="rId14" Type="http://schemas.openxmlformats.org/officeDocument/2006/relationships/image" Target="../media/image3.png"/></Relationships>
</file>

<file path=ppt/slideLayouts/_rels/slideLayout14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154.xml"/><Relationship Id="rId7" Type="http://schemas.openxmlformats.org/officeDocument/2006/relationships/tags" Target="../tags/tag1158.xml"/><Relationship Id="rId12" Type="http://schemas.openxmlformats.org/officeDocument/2006/relationships/image" Target="../media/image3.png"/><Relationship Id="rId2" Type="http://schemas.openxmlformats.org/officeDocument/2006/relationships/tags" Target="../tags/tag1153.xml"/><Relationship Id="rId1" Type="http://schemas.openxmlformats.org/officeDocument/2006/relationships/tags" Target="../tags/tag1152.xml"/><Relationship Id="rId6" Type="http://schemas.openxmlformats.org/officeDocument/2006/relationships/tags" Target="../tags/tag1157.xml"/><Relationship Id="rId11" Type="http://schemas.openxmlformats.org/officeDocument/2006/relationships/image" Target="../media/image2.png"/><Relationship Id="rId5" Type="http://schemas.openxmlformats.org/officeDocument/2006/relationships/tags" Target="../tags/tag1156.xml"/><Relationship Id="rId10" Type="http://schemas.openxmlformats.org/officeDocument/2006/relationships/image" Target="../media/image4.emf"/><Relationship Id="rId4" Type="http://schemas.openxmlformats.org/officeDocument/2006/relationships/tags" Target="../tags/tag1155.xml"/><Relationship Id="rId9" Type="http://schemas.openxmlformats.org/officeDocument/2006/relationships/oleObject" Target="../embeddings/oleObject154.bin"/></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1161.xml"/><Relationship Id="rId7" Type="http://schemas.openxmlformats.org/officeDocument/2006/relationships/image" Target="../media/image4.emf"/><Relationship Id="rId2" Type="http://schemas.openxmlformats.org/officeDocument/2006/relationships/tags" Target="../tags/tag1160.xml"/><Relationship Id="rId1" Type="http://schemas.openxmlformats.org/officeDocument/2006/relationships/tags" Target="../tags/tag1159.xml"/><Relationship Id="rId6" Type="http://schemas.openxmlformats.org/officeDocument/2006/relationships/oleObject" Target="../embeddings/oleObject155.bin"/><Relationship Id="rId5" Type="http://schemas.openxmlformats.org/officeDocument/2006/relationships/slideMaster" Target="../slideMasters/slideMaster9.xml"/><Relationship Id="rId4" Type="http://schemas.openxmlformats.org/officeDocument/2006/relationships/tags" Target="../tags/tag1162.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png"/><Relationship Id="rId2" Type="http://schemas.openxmlformats.org/officeDocument/2006/relationships/tags" Target="../tags/tag1164.xml"/><Relationship Id="rId1" Type="http://schemas.openxmlformats.org/officeDocument/2006/relationships/tags" Target="../tags/tag1163.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56.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12.png"/><Relationship Id="rId3" Type="http://schemas.openxmlformats.org/officeDocument/2006/relationships/tags" Target="../tags/tag143.xml"/><Relationship Id="rId7" Type="http://schemas.openxmlformats.org/officeDocument/2006/relationships/oleObject" Target="../embeddings/oleObject17.bin"/><Relationship Id="rId12" Type="http://schemas.openxmlformats.org/officeDocument/2006/relationships/image" Target="../media/image3.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slideMaster" Target="../slideMasters/slideMaster2.xml"/><Relationship Id="rId11" Type="http://schemas.openxmlformats.org/officeDocument/2006/relationships/image" Target="../media/image9.png"/><Relationship Id="rId5" Type="http://schemas.openxmlformats.org/officeDocument/2006/relationships/tags" Target="../tags/tag145.xml"/><Relationship Id="rId10" Type="http://schemas.microsoft.com/office/2007/relationships/hdphoto" Target="../media/hdphoto3.wdp"/><Relationship Id="rId4" Type="http://schemas.openxmlformats.org/officeDocument/2006/relationships/tags" Target="../tags/tag144.xml"/><Relationship Id="rId9" Type="http://schemas.openxmlformats.org/officeDocument/2006/relationships/image" Target="../media/image11.png"/><Relationship Id="rId14" Type="http://schemas.microsoft.com/office/2007/relationships/hdphoto" Target="../media/hdphoto4.wdp"/></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png"/><Relationship Id="rId2" Type="http://schemas.openxmlformats.org/officeDocument/2006/relationships/tags" Target="../tags/tag1166.xml"/><Relationship Id="rId1" Type="http://schemas.openxmlformats.org/officeDocument/2006/relationships/tags" Target="../tags/tag1165.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57.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png"/><Relationship Id="rId2" Type="http://schemas.openxmlformats.org/officeDocument/2006/relationships/tags" Target="../tags/tag1168.xml"/><Relationship Id="rId1" Type="http://schemas.openxmlformats.org/officeDocument/2006/relationships/tags" Target="../tags/tag1167.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58.bin"/></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1176.xml"/><Relationship Id="rId13" Type="http://schemas.openxmlformats.org/officeDocument/2006/relationships/tags" Target="../tags/tag1181.xml"/><Relationship Id="rId3" Type="http://schemas.openxmlformats.org/officeDocument/2006/relationships/tags" Target="../tags/tag1171.xml"/><Relationship Id="rId7" Type="http://schemas.openxmlformats.org/officeDocument/2006/relationships/tags" Target="../tags/tag1175.xml"/><Relationship Id="rId12" Type="http://schemas.openxmlformats.org/officeDocument/2006/relationships/tags" Target="../tags/tag1180.xml"/><Relationship Id="rId2" Type="http://schemas.openxmlformats.org/officeDocument/2006/relationships/tags" Target="../tags/tag1170.xml"/><Relationship Id="rId16" Type="http://schemas.openxmlformats.org/officeDocument/2006/relationships/image" Target="../media/image1.emf"/><Relationship Id="rId1" Type="http://schemas.openxmlformats.org/officeDocument/2006/relationships/tags" Target="../tags/tag1169.xml"/><Relationship Id="rId6" Type="http://schemas.openxmlformats.org/officeDocument/2006/relationships/tags" Target="../tags/tag1174.xml"/><Relationship Id="rId11" Type="http://schemas.openxmlformats.org/officeDocument/2006/relationships/tags" Target="../tags/tag1179.xml"/><Relationship Id="rId5" Type="http://schemas.openxmlformats.org/officeDocument/2006/relationships/tags" Target="../tags/tag1173.xml"/><Relationship Id="rId15" Type="http://schemas.openxmlformats.org/officeDocument/2006/relationships/oleObject" Target="../embeddings/oleObject159.bin"/><Relationship Id="rId10" Type="http://schemas.openxmlformats.org/officeDocument/2006/relationships/tags" Target="../tags/tag1178.xml"/><Relationship Id="rId4" Type="http://schemas.openxmlformats.org/officeDocument/2006/relationships/tags" Target="../tags/tag1172.xml"/><Relationship Id="rId9" Type="http://schemas.openxmlformats.org/officeDocument/2006/relationships/tags" Target="../tags/tag1177.xml"/><Relationship Id="rId14"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83.xml"/><Relationship Id="rId1" Type="http://schemas.openxmlformats.org/officeDocument/2006/relationships/tags" Target="../tags/tag1182.xml"/><Relationship Id="rId5" Type="http://schemas.openxmlformats.org/officeDocument/2006/relationships/image" Target="../media/image4.emf"/><Relationship Id="rId4" Type="http://schemas.openxmlformats.org/officeDocument/2006/relationships/oleObject" Target="../embeddings/oleObject160.bin"/></Relationships>
</file>

<file path=ppt/slideLayouts/_rels/slideLayout15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186.xml"/><Relationship Id="rId7" Type="http://schemas.openxmlformats.org/officeDocument/2006/relationships/tags" Target="../tags/tag1190.xml"/><Relationship Id="rId2" Type="http://schemas.openxmlformats.org/officeDocument/2006/relationships/tags" Target="../tags/tag1185.xml"/><Relationship Id="rId1" Type="http://schemas.openxmlformats.org/officeDocument/2006/relationships/tags" Target="../tags/tag1184.xml"/><Relationship Id="rId6" Type="http://schemas.openxmlformats.org/officeDocument/2006/relationships/tags" Target="../tags/tag1189.xml"/><Relationship Id="rId5" Type="http://schemas.openxmlformats.org/officeDocument/2006/relationships/tags" Target="../tags/tag1188.xml"/><Relationship Id="rId10" Type="http://schemas.openxmlformats.org/officeDocument/2006/relationships/image" Target="../media/image1.emf"/><Relationship Id="rId4" Type="http://schemas.openxmlformats.org/officeDocument/2006/relationships/tags" Target="../tags/tag1187.xml"/><Relationship Id="rId9" Type="http://schemas.openxmlformats.org/officeDocument/2006/relationships/oleObject" Target="../embeddings/oleObject161.bin"/></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213.xml"/><Relationship Id="rId7" Type="http://schemas.openxmlformats.org/officeDocument/2006/relationships/oleObject" Target="../embeddings/oleObject163.bin"/><Relationship Id="rId2" Type="http://schemas.openxmlformats.org/officeDocument/2006/relationships/tags" Target="../tags/tag1212.xml"/><Relationship Id="rId1" Type="http://schemas.openxmlformats.org/officeDocument/2006/relationships/tags" Target="../tags/tag1211.xml"/><Relationship Id="rId6" Type="http://schemas.openxmlformats.org/officeDocument/2006/relationships/slideMaster" Target="../slideMasters/slideMaster10.xml"/><Relationship Id="rId11" Type="http://schemas.openxmlformats.org/officeDocument/2006/relationships/image" Target="../media/image17.png"/><Relationship Id="rId5" Type="http://schemas.openxmlformats.org/officeDocument/2006/relationships/tags" Target="../tags/tag1215.xml"/><Relationship Id="rId10" Type="http://schemas.openxmlformats.org/officeDocument/2006/relationships/image" Target="../media/image16.png"/><Relationship Id="rId4" Type="http://schemas.openxmlformats.org/officeDocument/2006/relationships/tags" Target="../tags/tag1214.xml"/><Relationship Id="rId9" Type="http://schemas.openxmlformats.org/officeDocument/2006/relationships/image" Target="../media/image15.tiff"/></Relationships>
</file>

<file path=ppt/slideLayouts/_rels/slideLayout156.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218.xml"/><Relationship Id="rId7" Type="http://schemas.openxmlformats.org/officeDocument/2006/relationships/tags" Target="../tags/tag1222.xml"/><Relationship Id="rId2" Type="http://schemas.openxmlformats.org/officeDocument/2006/relationships/tags" Target="../tags/tag1217.xml"/><Relationship Id="rId1" Type="http://schemas.openxmlformats.org/officeDocument/2006/relationships/tags" Target="../tags/tag1216.xml"/><Relationship Id="rId6" Type="http://schemas.openxmlformats.org/officeDocument/2006/relationships/tags" Target="../tags/tag1221.xml"/><Relationship Id="rId5" Type="http://schemas.openxmlformats.org/officeDocument/2006/relationships/tags" Target="../tags/tag1220.xml"/><Relationship Id="rId10" Type="http://schemas.openxmlformats.org/officeDocument/2006/relationships/image" Target="../media/image1.emf"/><Relationship Id="rId4" Type="http://schemas.openxmlformats.org/officeDocument/2006/relationships/tags" Target="../tags/tag1219.xml"/><Relationship Id="rId9" Type="http://schemas.openxmlformats.org/officeDocument/2006/relationships/oleObject" Target="../embeddings/oleObject164.bin"/></Relationships>
</file>

<file path=ppt/slideLayouts/_rels/slideLayout157.xml.rels><?xml version="1.0" encoding="UTF-8" standalone="yes"?>
<Relationships xmlns="http://schemas.openxmlformats.org/package/2006/relationships"><Relationship Id="rId8" Type="http://schemas.openxmlformats.org/officeDocument/2006/relationships/oleObject" Target="../embeddings/oleObject165.bin"/><Relationship Id="rId3" Type="http://schemas.openxmlformats.org/officeDocument/2006/relationships/tags" Target="../tags/tag1225.xml"/><Relationship Id="rId7" Type="http://schemas.openxmlformats.org/officeDocument/2006/relationships/slideMaster" Target="../slideMasters/slideMaster10.xml"/><Relationship Id="rId2" Type="http://schemas.openxmlformats.org/officeDocument/2006/relationships/tags" Target="../tags/tag1224.xml"/><Relationship Id="rId1" Type="http://schemas.openxmlformats.org/officeDocument/2006/relationships/tags" Target="../tags/tag1223.xml"/><Relationship Id="rId6" Type="http://schemas.openxmlformats.org/officeDocument/2006/relationships/tags" Target="../tags/tag1228.xml"/><Relationship Id="rId5" Type="http://schemas.openxmlformats.org/officeDocument/2006/relationships/tags" Target="../tags/tag1227.xml"/><Relationship Id="rId4" Type="http://schemas.openxmlformats.org/officeDocument/2006/relationships/tags" Target="../tags/tag1226.xml"/><Relationship Id="rId9" Type="http://schemas.openxmlformats.org/officeDocument/2006/relationships/image" Target="../media/image4.emf"/></Relationships>
</file>

<file path=ppt/slideLayouts/_rels/slideLayout158.xml.rels><?xml version="1.0" encoding="UTF-8" standalone="yes"?>
<Relationships xmlns="http://schemas.openxmlformats.org/package/2006/relationships"><Relationship Id="rId8" Type="http://schemas.openxmlformats.org/officeDocument/2006/relationships/oleObject" Target="../embeddings/oleObject166.bin"/><Relationship Id="rId3" Type="http://schemas.openxmlformats.org/officeDocument/2006/relationships/tags" Target="../tags/tag1231.xml"/><Relationship Id="rId7" Type="http://schemas.openxmlformats.org/officeDocument/2006/relationships/slideMaster" Target="../slideMasters/slideMaster10.xml"/><Relationship Id="rId2" Type="http://schemas.openxmlformats.org/officeDocument/2006/relationships/tags" Target="../tags/tag1230.xml"/><Relationship Id="rId1" Type="http://schemas.openxmlformats.org/officeDocument/2006/relationships/tags" Target="../tags/tag1229.xml"/><Relationship Id="rId6" Type="http://schemas.openxmlformats.org/officeDocument/2006/relationships/tags" Target="../tags/tag1234.xml"/><Relationship Id="rId5" Type="http://schemas.openxmlformats.org/officeDocument/2006/relationships/tags" Target="../tags/tag1233.xml"/><Relationship Id="rId4" Type="http://schemas.openxmlformats.org/officeDocument/2006/relationships/tags" Target="../tags/tag1232.xml"/><Relationship Id="rId9" Type="http://schemas.openxmlformats.org/officeDocument/2006/relationships/image" Target="../media/image4.emf"/></Relationships>
</file>

<file path=ppt/slideLayouts/_rels/slideLayout159.xml.rels><?xml version="1.0" encoding="UTF-8" standalone="yes"?>
<Relationships xmlns="http://schemas.openxmlformats.org/package/2006/relationships"><Relationship Id="rId8" Type="http://schemas.openxmlformats.org/officeDocument/2006/relationships/oleObject" Target="../embeddings/oleObject167.bin"/><Relationship Id="rId3" Type="http://schemas.openxmlformats.org/officeDocument/2006/relationships/tags" Target="../tags/tag1237.xml"/><Relationship Id="rId7" Type="http://schemas.openxmlformats.org/officeDocument/2006/relationships/slideMaster" Target="../slideMasters/slideMaster10.xml"/><Relationship Id="rId2" Type="http://schemas.openxmlformats.org/officeDocument/2006/relationships/tags" Target="../tags/tag1236.xml"/><Relationship Id="rId1" Type="http://schemas.openxmlformats.org/officeDocument/2006/relationships/tags" Target="../tags/tag1235.xml"/><Relationship Id="rId6" Type="http://schemas.openxmlformats.org/officeDocument/2006/relationships/tags" Target="../tags/tag1240.xml"/><Relationship Id="rId5" Type="http://schemas.openxmlformats.org/officeDocument/2006/relationships/tags" Target="../tags/tag1239.xml"/><Relationship Id="rId4" Type="http://schemas.openxmlformats.org/officeDocument/2006/relationships/tags" Target="../tags/tag1238.xml"/><Relationship Id="rId9"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8.xml"/><Relationship Id="rId7" Type="http://schemas.openxmlformats.org/officeDocument/2006/relationships/tags" Target="../tags/tag15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5" Type="http://schemas.openxmlformats.org/officeDocument/2006/relationships/tags" Target="../tags/tag150.xml"/><Relationship Id="rId10" Type="http://schemas.openxmlformats.org/officeDocument/2006/relationships/image" Target="../media/image1.emf"/><Relationship Id="rId4" Type="http://schemas.openxmlformats.org/officeDocument/2006/relationships/tags" Target="../tags/tag149.xml"/><Relationship Id="rId9" Type="http://schemas.openxmlformats.org/officeDocument/2006/relationships/oleObject" Target="../embeddings/oleObject18.bin"/></Relationships>
</file>

<file path=ppt/slideLayouts/_rels/slideLayout160.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243.xml"/><Relationship Id="rId7" Type="http://schemas.openxmlformats.org/officeDocument/2006/relationships/tags" Target="../tags/tag1247.xml"/><Relationship Id="rId2" Type="http://schemas.openxmlformats.org/officeDocument/2006/relationships/tags" Target="../tags/tag1242.xml"/><Relationship Id="rId1" Type="http://schemas.openxmlformats.org/officeDocument/2006/relationships/tags" Target="../tags/tag1241.xml"/><Relationship Id="rId6" Type="http://schemas.openxmlformats.org/officeDocument/2006/relationships/tags" Target="../tags/tag1246.xml"/><Relationship Id="rId5" Type="http://schemas.openxmlformats.org/officeDocument/2006/relationships/tags" Target="../tags/tag1245.xml"/><Relationship Id="rId10" Type="http://schemas.openxmlformats.org/officeDocument/2006/relationships/image" Target="../media/image4.emf"/><Relationship Id="rId4" Type="http://schemas.openxmlformats.org/officeDocument/2006/relationships/tags" Target="../tags/tag1244.xml"/><Relationship Id="rId9" Type="http://schemas.openxmlformats.org/officeDocument/2006/relationships/oleObject" Target="../embeddings/oleObject168.bin"/></Relationships>
</file>

<file path=ppt/slideLayouts/_rels/slideLayout161.xml.rels><?xml version="1.0" encoding="UTF-8" standalone="yes"?>
<Relationships xmlns="http://schemas.openxmlformats.org/package/2006/relationships"><Relationship Id="rId8" Type="http://schemas.openxmlformats.org/officeDocument/2006/relationships/tags" Target="../tags/tag1255.xml"/><Relationship Id="rId13" Type="http://schemas.openxmlformats.org/officeDocument/2006/relationships/image" Target="../media/image3.png"/><Relationship Id="rId3" Type="http://schemas.openxmlformats.org/officeDocument/2006/relationships/tags" Target="../tags/tag1250.xml"/><Relationship Id="rId7" Type="http://schemas.openxmlformats.org/officeDocument/2006/relationships/tags" Target="../tags/tag1254.xml"/><Relationship Id="rId12" Type="http://schemas.openxmlformats.org/officeDocument/2006/relationships/image" Target="../media/image24.png"/><Relationship Id="rId2" Type="http://schemas.openxmlformats.org/officeDocument/2006/relationships/tags" Target="../tags/tag1249.xml"/><Relationship Id="rId1" Type="http://schemas.openxmlformats.org/officeDocument/2006/relationships/tags" Target="../tags/tag1248.xml"/><Relationship Id="rId6" Type="http://schemas.openxmlformats.org/officeDocument/2006/relationships/tags" Target="../tags/tag1253.xml"/><Relationship Id="rId11" Type="http://schemas.openxmlformats.org/officeDocument/2006/relationships/image" Target="../media/image1.emf"/><Relationship Id="rId5" Type="http://schemas.openxmlformats.org/officeDocument/2006/relationships/tags" Target="../tags/tag1252.xml"/><Relationship Id="rId10" Type="http://schemas.openxmlformats.org/officeDocument/2006/relationships/oleObject" Target="../embeddings/oleObject169.bin"/><Relationship Id="rId4" Type="http://schemas.openxmlformats.org/officeDocument/2006/relationships/tags" Target="../tags/tag1251.xml"/><Relationship Id="rId9"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8" Type="http://schemas.openxmlformats.org/officeDocument/2006/relationships/tags" Target="../tags/tag1263.xml"/><Relationship Id="rId13" Type="http://schemas.openxmlformats.org/officeDocument/2006/relationships/image" Target="../media/image3.png"/><Relationship Id="rId3" Type="http://schemas.openxmlformats.org/officeDocument/2006/relationships/tags" Target="../tags/tag1258.xml"/><Relationship Id="rId7" Type="http://schemas.openxmlformats.org/officeDocument/2006/relationships/tags" Target="../tags/tag1262.xml"/><Relationship Id="rId12" Type="http://schemas.openxmlformats.org/officeDocument/2006/relationships/image" Target="../media/image24.png"/><Relationship Id="rId2" Type="http://schemas.openxmlformats.org/officeDocument/2006/relationships/tags" Target="../tags/tag1257.xml"/><Relationship Id="rId1" Type="http://schemas.openxmlformats.org/officeDocument/2006/relationships/tags" Target="../tags/tag1256.xml"/><Relationship Id="rId6" Type="http://schemas.openxmlformats.org/officeDocument/2006/relationships/tags" Target="../tags/tag1261.xml"/><Relationship Id="rId11" Type="http://schemas.openxmlformats.org/officeDocument/2006/relationships/image" Target="../media/image1.emf"/><Relationship Id="rId5" Type="http://schemas.openxmlformats.org/officeDocument/2006/relationships/tags" Target="../tags/tag1260.xml"/><Relationship Id="rId10" Type="http://schemas.openxmlformats.org/officeDocument/2006/relationships/oleObject" Target="../embeddings/oleObject170.bin"/><Relationship Id="rId4" Type="http://schemas.openxmlformats.org/officeDocument/2006/relationships/tags" Target="../tags/tag1259.xml"/><Relationship Id="rId9"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1271.xml"/><Relationship Id="rId13" Type="http://schemas.openxmlformats.org/officeDocument/2006/relationships/image" Target="../media/image3.png"/><Relationship Id="rId3" Type="http://schemas.openxmlformats.org/officeDocument/2006/relationships/tags" Target="../tags/tag1266.xml"/><Relationship Id="rId7" Type="http://schemas.openxmlformats.org/officeDocument/2006/relationships/tags" Target="../tags/tag1270.xml"/><Relationship Id="rId12" Type="http://schemas.openxmlformats.org/officeDocument/2006/relationships/image" Target="../media/image24.png"/><Relationship Id="rId2" Type="http://schemas.openxmlformats.org/officeDocument/2006/relationships/tags" Target="../tags/tag1265.xml"/><Relationship Id="rId1" Type="http://schemas.openxmlformats.org/officeDocument/2006/relationships/tags" Target="../tags/tag1264.xml"/><Relationship Id="rId6" Type="http://schemas.openxmlformats.org/officeDocument/2006/relationships/tags" Target="../tags/tag1269.xml"/><Relationship Id="rId11" Type="http://schemas.openxmlformats.org/officeDocument/2006/relationships/image" Target="../media/image1.emf"/><Relationship Id="rId5" Type="http://schemas.openxmlformats.org/officeDocument/2006/relationships/tags" Target="../tags/tag1268.xml"/><Relationship Id="rId10" Type="http://schemas.openxmlformats.org/officeDocument/2006/relationships/oleObject" Target="../embeddings/oleObject171.bin"/><Relationship Id="rId4" Type="http://schemas.openxmlformats.org/officeDocument/2006/relationships/tags" Target="../tags/tag1267.xml"/><Relationship Id="rId9"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1279.xml"/><Relationship Id="rId13" Type="http://schemas.openxmlformats.org/officeDocument/2006/relationships/image" Target="../media/image3.png"/><Relationship Id="rId3" Type="http://schemas.openxmlformats.org/officeDocument/2006/relationships/tags" Target="../tags/tag1274.xml"/><Relationship Id="rId7" Type="http://schemas.openxmlformats.org/officeDocument/2006/relationships/tags" Target="../tags/tag1278.xml"/><Relationship Id="rId12" Type="http://schemas.openxmlformats.org/officeDocument/2006/relationships/image" Target="../media/image24.png"/><Relationship Id="rId2" Type="http://schemas.openxmlformats.org/officeDocument/2006/relationships/tags" Target="../tags/tag1273.xml"/><Relationship Id="rId1" Type="http://schemas.openxmlformats.org/officeDocument/2006/relationships/tags" Target="../tags/tag1272.xml"/><Relationship Id="rId6" Type="http://schemas.openxmlformats.org/officeDocument/2006/relationships/tags" Target="../tags/tag1277.xml"/><Relationship Id="rId11" Type="http://schemas.openxmlformats.org/officeDocument/2006/relationships/image" Target="../media/image6.emf"/><Relationship Id="rId5" Type="http://schemas.openxmlformats.org/officeDocument/2006/relationships/tags" Target="../tags/tag1276.xml"/><Relationship Id="rId10" Type="http://schemas.openxmlformats.org/officeDocument/2006/relationships/oleObject" Target="../embeddings/oleObject172.bin"/><Relationship Id="rId4" Type="http://schemas.openxmlformats.org/officeDocument/2006/relationships/tags" Target="../tags/tag1275.xml"/><Relationship Id="rId9"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1287.xml"/><Relationship Id="rId13" Type="http://schemas.openxmlformats.org/officeDocument/2006/relationships/image" Target="../media/image3.png"/><Relationship Id="rId3" Type="http://schemas.openxmlformats.org/officeDocument/2006/relationships/tags" Target="../tags/tag1282.xml"/><Relationship Id="rId7" Type="http://schemas.openxmlformats.org/officeDocument/2006/relationships/tags" Target="../tags/tag1286.xml"/><Relationship Id="rId12" Type="http://schemas.openxmlformats.org/officeDocument/2006/relationships/image" Target="../media/image24.png"/><Relationship Id="rId2" Type="http://schemas.openxmlformats.org/officeDocument/2006/relationships/tags" Target="../tags/tag1281.xml"/><Relationship Id="rId1" Type="http://schemas.openxmlformats.org/officeDocument/2006/relationships/tags" Target="../tags/tag1280.xml"/><Relationship Id="rId6" Type="http://schemas.openxmlformats.org/officeDocument/2006/relationships/tags" Target="../tags/tag1285.xml"/><Relationship Id="rId11" Type="http://schemas.openxmlformats.org/officeDocument/2006/relationships/image" Target="../media/image1.emf"/><Relationship Id="rId5" Type="http://schemas.openxmlformats.org/officeDocument/2006/relationships/tags" Target="../tags/tag1284.xml"/><Relationship Id="rId10" Type="http://schemas.openxmlformats.org/officeDocument/2006/relationships/oleObject" Target="../embeddings/oleObject173.bin"/><Relationship Id="rId4" Type="http://schemas.openxmlformats.org/officeDocument/2006/relationships/tags" Target="../tags/tag1283.xml"/><Relationship Id="rId9"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8" Type="http://schemas.openxmlformats.org/officeDocument/2006/relationships/oleObject" Target="../embeddings/oleObject174.bin"/><Relationship Id="rId3" Type="http://schemas.openxmlformats.org/officeDocument/2006/relationships/tags" Target="../tags/tag1290.xml"/><Relationship Id="rId7" Type="http://schemas.openxmlformats.org/officeDocument/2006/relationships/slideMaster" Target="../slideMasters/slideMaster10.xml"/><Relationship Id="rId2" Type="http://schemas.openxmlformats.org/officeDocument/2006/relationships/tags" Target="../tags/tag1289.xml"/><Relationship Id="rId1" Type="http://schemas.openxmlformats.org/officeDocument/2006/relationships/tags" Target="../tags/tag1288.xml"/><Relationship Id="rId6" Type="http://schemas.openxmlformats.org/officeDocument/2006/relationships/tags" Target="../tags/tag1293.xml"/><Relationship Id="rId11" Type="http://schemas.openxmlformats.org/officeDocument/2006/relationships/image" Target="../media/image3.png"/><Relationship Id="rId5" Type="http://schemas.openxmlformats.org/officeDocument/2006/relationships/tags" Target="../tags/tag1292.xml"/><Relationship Id="rId10" Type="http://schemas.openxmlformats.org/officeDocument/2006/relationships/image" Target="../media/image24.png"/><Relationship Id="rId4" Type="http://schemas.openxmlformats.org/officeDocument/2006/relationships/tags" Target="../tags/tag1291.xml"/><Relationship Id="rId9" Type="http://schemas.openxmlformats.org/officeDocument/2006/relationships/image" Target="../media/image4.emf"/></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296.xml"/><Relationship Id="rId7" Type="http://schemas.openxmlformats.org/officeDocument/2006/relationships/image" Target="../media/image4.emf"/><Relationship Id="rId2" Type="http://schemas.openxmlformats.org/officeDocument/2006/relationships/tags" Target="../tags/tag1295.xml"/><Relationship Id="rId1" Type="http://schemas.openxmlformats.org/officeDocument/2006/relationships/tags" Target="../tags/tag1294.xml"/><Relationship Id="rId6" Type="http://schemas.openxmlformats.org/officeDocument/2006/relationships/oleObject" Target="../embeddings/oleObject175.bin"/><Relationship Id="rId5" Type="http://schemas.openxmlformats.org/officeDocument/2006/relationships/slideMaster" Target="../slideMasters/slideMaster10.xml"/><Relationship Id="rId4" Type="http://schemas.openxmlformats.org/officeDocument/2006/relationships/tags" Target="../tags/tag1297.xml"/><Relationship Id="rId9" Type="http://schemas.openxmlformats.org/officeDocument/2006/relationships/image" Target="../media/image3.png"/></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10.xml"/><Relationship Id="rId1" Type="http://schemas.openxmlformats.org/officeDocument/2006/relationships/tags" Target="../tags/tag1298.xml"/><Relationship Id="rId6" Type="http://schemas.openxmlformats.org/officeDocument/2006/relationships/image" Target="../media/image3.png"/><Relationship Id="rId5" Type="http://schemas.openxmlformats.org/officeDocument/2006/relationships/image" Target="../media/image25.png"/><Relationship Id="rId4" Type="http://schemas.openxmlformats.org/officeDocument/2006/relationships/image" Target="../media/image4.emf"/></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1306.xml"/><Relationship Id="rId13" Type="http://schemas.openxmlformats.org/officeDocument/2006/relationships/oleObject" Target="../embeddings/oleObject177.bin"/><Relationship Id="rId3" Type="http://schemas.openxmlformats.org/officeDocument/2006/relationships/tags" Target="../tags/tag1301.xml"/><Relationship Id="rId7" Type="http://schemas.openxmlformats.org/officeDocument/2006/relationships/tags" Target="../tags/tag1305.xml"/><Relationship Id="rId12" Type="http://schemas.openxmlformats.org/officeDocument/2006/relationships/slideMaster" Target="../slideMasters/slideMaster10.xml"/><Relationship Id="rId2" Type="http://schemas.openxmlformats.org/officeDocument/2006/relationships/tags" Target="../tags/tag1300.xml"/><Relationship Id="rId1" Type="http://schemas.openxmlformats.org/officeDocument/2006/relationships/tags" Target="../tags/tag1299.xml"/><Relationship Id="rId6" Type="http://schemas.openxmlformats.org/officeDocument/2006/relationships/tags" Target="../tags/tag1304.xml"/><Relationship Id="rId11" Type="http://schemas.openxmlformats.org/officeDocument/2006/relationships/tags" Target="../tags/tag1309.xml"/><Relationship Id="rId5" Type="http://schemas.openxmlformats.org/officeDocument/2006/relationships/tags" Target="../tags/tag1303.xml"/><Relationship Id="rId10" Type="http://schemas.openxmlformats.org/officeDocument/2006/relationships/tags" Target="../tags/tag1308.xml"/><Relationship Id="rId4" Type="http://schemas.openxmlformats.org/officeDocument/2006/relationships/tags" Target="../tags/tag1302.xml"/><Relationship Id="rId9" Type="http://schemas.openxmlformats.org/officeDocument/2006/relationships/tags" Target="../tags/tag1307.xml"/><Relationship Id="rId1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55.xml"/><Relationship Id="rId7" Type="http://schemas.openxmlformats.org/officeDocument/2006/relationships/slideMaster" Target="../slideMasters/slideMaster2.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5" Type="http://schemas.openxmlformats.org/officeDocument/2006/relationships/tags" Target="../tags/tag157.xml"/><Relationship Id="rId4" Type="http://schemas.openxmlformats.org/officeDocument/2006/relationships/tags" Target="../tags/tag156.xml"/><Relationship Id="rId9" Type="http://schemas.openxmlformats.org/officeDocument/2006/relationships/image" Target="../media/image4.emf"/></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15.tiff"/><Relationship Id="rId3" Type="http://schemas.openxmlformats.org/officeDocument/2006/relationships/tags" Target="../tags/tag1333.xml"/><Relationship Id="rId7" Type="http://schemas.openxmlformats.org/officeDocument/2006/relationships/image" Target="../media/image4.emf"/><Relationship Id="rId2" Type="http://schemas.openxmlformats.org/officeDocument/2006/relationships/tags" Target="../tags/tag1332.xml"/><Relationship Id="rId1" Type="http://schemas.openxmlformats.org/officeDocument/2006/relationships/tags" Target="../tags/tag1331.xml"/><Relationship Id="rId6" Type="http://schemas.openxmlformats.org/officeDocument/2006/relationships/oleObject" Target="../embeddings/oleObject179.bin"/><Relationship Id="rId5" Type="http://schemas.openxmlformats.org/officeDocument/2006/relationships/slideMaster" Target="../slideMasters/slideMaster11.xml"/><Relationship Id="rId10" Type="http://schemas.openxmlformats.org/officeDocument/2006/relationships/image" Target="../media/image17.png"/><Relationship Id="rId4" Type="http://schemas.openxmlformats.org/officeDocument/2006/relationships/tags" Target="../tags/tag1334.xml"/><Relationship Id="rId9" Type="http://schemas.openxmlformats.org/officeDocument/2006/relationships/image" Target="../media/image16.png"/></Relationships>
</file>

<file path=ppt/slideLayouts/_rels/slideLayout17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1337.xml"/><Relationship Id="rId7" Type="http://schemas.openxmlformats.org/officeDocument/2006/relationships/tags" Target="../tags/tag1341.xml"/><Relationship Id="rId2" Type="http://schemas.openxmlformats.org/officeDocument/2006/relationships/tags" Target="../tags/tag1336.xml"/><Relationship Id="rId1" Type="http://schemas.openxmlformats.org/officeDocument/2006/relationships/tags" Target="../tags/tag1335.xml"/><Relationship Id="rId6" Type="http://schemas.openxmlformats.org/officeDocument/2006/relationships/tags" Target="../tags/tag1340.xml"/><Relationship Id="rId5" Type="http://schemas.openxmlformats.org/officeDocument/2006/relationships/tags" Target="../tags/tag1339.xml"/><Relationship Id="rId10" Type="http://schemas.openxmlformats.org/officeDocument/2006/relationships/image" Target="../media/image1.emf"/><Relationship Id="rId4" Type="http://schemas.openxmlformats.org/officeDocument/2006/relationships/tags" Target="../tags/tag1338.xml"/><Relationship Id="rId9" Type="http://schemas.openxmlformats.org/officeDocument/2006/relationships/oleObject" Target="../embeddings/oleObject180.bin"/></Relationships>
</file>

<file path=ppt/slideLayouts/_rels/slideLayout172.xml.rels><?xml version="1.0" encoding="UTF-8" standalone="yes"?>
<Relationships xmlns="http://schemas.openxmlformats.org/package/2006/relationships"><Relationship Id="rId8" Type="http://schemas.openxmlformats.org/officeDocument/2006/relationships/oleObject" Target="../embeddings/oleObject181.bin"/><Relationship Id="rId3" Type="http://schemas.openxmlformats.org/officeDocument/2006/relationships/tags" Target="../tags/tag1344.xml"/><Relationship Id="rId7" Type="http://schemas.openxmlformats.org/officeDocument/2006/relationships/slideMaster" Target="../slideMasters/slideMaster11.xml"/><Relationship Id="rId2" Type="http://schemas.openxmlformats.org/officeDocument/2006/relationships/tags" Target="../tags/tag1343.xml"/><Relationship Id="rId1" Type="http://schemas.openxmlformats.org/officeDocument/2006/relationships/tags" Target="../tags/tag1342.xml"/><Relationship Id="rId6" Type="http://schemas.openxmlformats.org/officeDocument/2006/relationships/tags" Target="../tags/tag1347.xml"/><Relationship Id="rId5" Type="http://schemas.openxmlformats.org/officeDocument/2006/relationships/tags" Target="../tags/tag1346.xml"/><Relationship Id="rId4" Type="http://schemas.openxmlformats.org/officeDocument/2006/relationships/tags" Target="../tags/tag1345.xml"/><Relationship Id="rId9" Type="http://schemas.openxmlformats.org/officeDocument/2006/relationships/image" Target="../media/image4.emf"/></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1350.xml"/><Relationship Id="rId7" Type="http://schemas.openxmlformats.org/officeDocument/2006/relationships/slideMaster" Target="../slideMasters/slideMaster11.xml"/><Relationship Id="rId2" Type="http://schemas.openxmlformats.org/officeDocument/2006/relationships/tags" Target="../tags/tag1349.xml"/><Relationship Id="rId1" Type="http://schemas.openxmlformats.org/officeDocument/2006/relationships/tags" Target="../tags/tag1348.xml"/><Relationship Id="rId6" Type="http://schemas.openxmlformats.org/officeDocument/2006/relationships/tags" Target="../tags/tag1353.xml"/><Relationship Id="rId5" Type="http://schemas.openxmlformats.org/officeDocument/2006/relationships/tags" Target="../tags/tag1352.xml"/><Relationship Id="rId4" Type="http://schemas.openxmlformats.org/officeDocument/2006/relationships/tags" Target="../tags/tag1351.xml"/><Relationship Id="rId9" Type="http://schemas.openxmlformats.org/officeDocument/2006/relationships/image" Target="../media/image4.emf"/></Relationships>
</file>

<file path=ppt/slideLayouts/_rels/slideLayout174.xml.rels><?xml version="1.0" encoding="UTF-8" standalone="yes"?>
<Relationships xmlns="http://schemas.openxmlformats.org/package/2006/relationships"><Relationship Id="rId8" Type="http://schemas.openxmlformats.org/officeDocument/2006/relationships/oleObject" Target="../embeddings/oleObject183.bin"/><Relationship Id="rId3" Type="http://schemas.openxmlformats.org/officeDocument/2006/relationships/tags" Target="../tags/tag1356.xml"/><Relationship Id="rId7" Type="http://schemas.openxmlformats.org/officeDocument/2006/relationships/slideMaster" Target="../slideMasters/slideMaster11.xml"/><Relationship Id="rId2" Type="http://schemas.openxmlformats.org/officeDocument/2006/relationships/tags" Target="../tags/tag1355.xml"/><Relationship Id="rId1" Type="http://schemas.openxmlformats.org/officeDocument/2006/relationships/tags" Target="../tags/tag1354.xml"/><Relationship Id="rId6" Type="http://schemas.openxmlformats.org/officeDocument/2006/relationships/tags" Target="../tags/tag1359.xml"/><Relationship Id="rId5" Type="http://schemas.openxmlformats.org/officeDocument/2006/relationships/tags" Target="../tags/tag1358.xml"/><Relationship Id="rId4" Type="http://schemas.openxmlformats.org/officeDocument/2006/relationships/tags" Target="../tags/tag1357.xml"/><Relationship Id="rId9" Type="http://schemas.openxmlformats.org/officeDocument/2006/relationships/image" Target="../media/image4.emf"/></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1362.xml"/><Relationship Id="rId7" Type="http://schemas.openxmlformats.org/officeDocument/2006/relationships/tags" Target="../tags/tag1366.xml"/><Relationship Id="rId2" Type="http://schemas.openxmlformats.org/officeDocument/2006/relationships/tags" Target="../tags/tag1361.xml"/><Relationship Id="rId1" Type="http://schemas.openxmlformats.org/officeDocument/2006/relationships/tags" Target="../tags/tag1360.xml"/><Relationship Id="rId6" Type="http://schemas.openxmlformats.org/officeDocument/2006/relationships/tags" Target="../tags/tag1365.xml"/><Relationship Id="rId5" Type="http://schemas.openxmlformats.org/officeDocument/2006/relationships/tags" Target="../tags/tag1364.xml"/><Relationship Id="rId10" Type="http://schemas.openxmlformats.org/officeDocument/2006/relationships/image" Target="../media/image4.emf"/><Relationship Id="rId4" Type="http://schemas.openxmlformats.org/officeDocument/2006/relationships/tags" Target="../tags/tag1363.xml"/><Relationship Id="rId9" Type="http://schemas.openxmlformats.org/officeDocument/2006/relationships/oleObject" Target="../embeddings/oleObject184.bin"/></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1374.xml"/><Relationship Id="rId13" Type="http://schemas.openxmlformats.org/officeDocument/2006/relationships/image" Target="../media/image3.png"/><Relationship Id="rId3" Type="http://schemas.openxmlformats.org/officeDocument/2006/relationships/tags" Target="../tags/tag1369.xml"/><Relationship Id="rId7" Type="http://schemas.openxmlformats.org/officeDocument/2006/relationships/tags" Target="../tags/tag1373.xml"/><Relationship Id="rId12" Type="http://schemas.openxmlformats.org/officeDocument/2006/relationships/image" Target="../media/image2.png"/><Relationship Id="rId2" Type="http://schemas.openxmlformats.org/officeDocument/2006/relationships/tags" Target="../tags/tag1368.xml"/><Relationship Id="rId1" Type="http://schemas.openxmlformats.org/officeDocument/2006/relationships/tags" Target="../tags/tag1367.xml"/><Relationship Id="rId6" Type="http://schemas.openxmlformats.org/officeDocument/2006/relationships/tags" Target="../tags/tag1372.xml"/><Relationship Id="rId11" Type="http://schemas.openxmlformats.org/officeDocument/2006/relationships/image" Target="../media/image1.emf"/><Relationship Id="rId5" Type="http://schemas.openxmlformats.org/officeDocument/2006/relationships/tags" Target="../tags/tag1371.xml"/><Relationship Id="rId10" Type="http://schemas.openxmlformats.org/officeDocument/2006/relationships/oleObject" Target="../embeddings/oleObject185.bin"/><Relationship Id="rId4" Type="http://schemas.openxmlformats.org/officeDocument/2006/relationships/tags" Target="../tags/tag1370.xml"/><Relationship Id="rId9"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8" Type="http://schemas.openxmlformats.org/officeDocument/2006/relationships/tags" Target="../tags/tag1382.xml"/><Relationship Id="rId13" Type="http://schemas.openxmlformats.org/officeDocument/2006/relationships/image" Target="../media/image3.png"/><Relationship Id="rId3" Type="http://schemas.openxmlformats.org/officeDocument/2006/relationships/tags" Target="../tags/tag1377.xml"/><Relationship Id="rId7" Type="http://schemas.openxmlformats.org/officeDocument/2006/relationships/tags" Target="../tags/tag1381.xml"/><Relationship Id="rId12" Type="http://schemas.openxmlformats.org/officeDocument/2006/relationships/image" Target="../media/image2.png"/><Relationship Id="rId2" Type="http://schemas.openxmlformats.org/officeDocument/2006/relationships/tags" Target="../tags/tag1376.xml"/><Relationship Id="rId1" Type="http://schemas.openxmlformats.org/officeDocument/2006/relationships/tags" Target="../tags/tag1375.xml"/><Relationship Id="rId6" Type="http://schemas.openxmlformats.org/officeDocument/2006/relationships/tags" Target="../tags/tag1380.xml"/><Relationship Id="rId11" Type="http://schemas.openxmlformats.org/officeDocument/2006/relationships/image" Target="../media/image1.emf"/><Relationship Id="rId5" Type="http://schemas.openxmlformats.org/officeDocument/2006/relationships/tags" Target="../tags/tag1379.xml"/><Relationship Id="rId10" Type="http://schemas.openxmlformats.org/officeDocument/2006/relationships/oleObject" Target="../embeddings/oleObject186.bin"/><Relationship Id="rId4" Type="http://schemas.openxmlformats.org/officeDocument/2006/relationships/tags" Target="../tags/tag1378.xml"/><Relationship Id="rId9"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1390.xml"/><Relationship Id="rId13" Type="http://schemas.openxmlformats.org/officeDocument/2006/relationships/image" Target="../media/image3.png"/><Relationship Id="rId3" Type="http://schemas.openxmlformats.org/officeDocument/2006/relationships/tags" Target="../tags/tag1385.xml"/><Relationship Id="rId7" Type="http://schemas.openxmlformats.org/officeDocument/2006/relationships/tags" Target="../tags/tag1389.xml"/><Relationship Id="rId12" Type="http://schemas.openxmlformats.org/officeDocument/2006/relationships/image" Target="../media/image2.png"/><Relationship Id="rId2" Type="http://schemas.openxmlformats.org/officeDocument/2006/relationships/tags" Target="../tags/tag1384.xml"/><Relationship Id="rId1" Type="http://schemas.openxmlformats.org/officeDocument/2006/relationships/tags" Target="../tags/tag1383.xml"/><Relationship Id="rId6" Type="http://schemas.openxmlformats.org/officeDocument/2006/relationships/tags" Target="../tags/tag1388.xml"/><Relationship Id="rId11" Type="http://schemas.openxmlformats.org/officeDocument/2006/relationships/image" Target="../media/image4.emf"/><Relationship Id="rId5" Type="http://schemas.openxmlformats.org/officeDocument/2006/relationships/tags" Target="../tags/tag1387.xml"/><Relationship Id="rId10" Type="http://schemas.openxmlformats.org/officeDocument/2006/relationships/oleObject" Target="../embeddings/oleObject187.bin"/><Relationship Id="rId4" Type="http://schemas.openxmlformats.org/officeDocument/2006/relationships/tags" Target="../tags/tag1386.xml"/><Relationship Id="rId9"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1398.xml"/><Relationship Id="rId13" Type="http://schemas.openxmlformats.org/officeDocument/2006/relationships/image" Target="../media/image3.png"/><Relationship Id="rId3" Type="http://schemas.openxmlformats.org/officeDocument/2006/relationships/tags" Target="../tags/tag1393.xml"/><Relationship Id="rId7" Type="http://schemas.openxmlformats.org/officeDocument/2006/relationships/tags" Target="../tags/tag1397.xml"/><Relationship Id="rId12" Type="http://schemas.openxmlformats.org/officeDocument/2006/relationships/image" Target="../media/image2.png"/><Relationship Id="rId2" Type="http://schemas.openxmlformats.org/officeDocument/2006/relationships/tags" Target="../tags/tag1392.xml"/><Relationship Id="rId1" Type="http://schemas.openxmlformats.org/officeDocument/2006/relationships/tags" Target="../tags/tag1391.xml"/><Relationship Id="rId6" Type="http://schemas.openxmlformats.org/officeDocument/2006/relationships/tags" Target="../tags/tag1396.xml"/><Relationship Id="rId11" Type="http://schemas.openxmlformats.org/officeDocument/2006/relationships/image" Target="../media/image1.emf"/><Relationship Id="rId5" Type="http://schemas.openxmlformats.org/officeDocument/2006/relationships/tags" Target="../tags/tag1395.xml"/><Relationship Id="rId10" Type="http://schemas.openxmlformats.org/officeDocument/2006/relationships/oleObject" Target="../embeddings/oleObject188.bin"/><Relationship Id="rId4" Type="http://schemas.openxmlformats.org/officeDocument/2006/relationships/tags" Target="../tags/tag1394.xml"/><Relationship Id="rId9"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61.xml"/><Relationship Id="rId7" Type="http://schemas.openxmlformats.org/officeDocument/2006/relationships/slideMaster" Target="../slideMasters/slideMaster2.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 Id="rId9" Type="http://schemas.openxmlformats.org/officeDocument/2006/relationships/image" Target="../media/image4.emf"/></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1406.xml"/><Relationship Id="rId13" Type="http://schemas.openxmlformats.org/officeDocument/2006/relationships/image" Target="../media/image3.png"/><Relationship Id="rId3" Type="http://schemas.openxmlformats.org/officeDocument/2006/relationships/tags" Target="../tags/tag1401.xml"/><Relationship Id="rId7" Type="http://schemas.openxmlformats.org/officeDocument/2006/relationships/tags" Target="../tags/tag1405.xml"/><Relationship Id="rId12" Type="http://schemas.openxmlformats.org/officeDocument/2006/relationships/image" Target="../media/image2.png"/><Relationship Id="rId2" Type="http://schemas.openxmlformats.org/officeDocument/2006/relationships/tags" Target="../tags/tag1400.xml"/><Relationship Id="rId1" Type="http://schemas.openxmlformats.org/officeDocument/2006/relationships/tags" Target="../tags/tag1399.xml"/><Relationship Id="rId6" Type="http://schemas.openxmlformats.org/officeDocument/2006/relationships/tags" Target="../tags/tag1404.xml"/><Relationship Id="rId11" Type="http://schemas.openxmlformats.org/officeDocument/2006/relationships/image" Target="../media/image4.emf"/><Relationship Id="rId5" Type="http://schemas.openxmlformats.org/officeDocument/2006/relationships/tags" Target="../tags/tag1403.xml"/><Relationship Id="rId10" Type="http://schemas.openxmlformats.org/officeDocument/2006/relationships/oleObject" Target="../embeddings/oleObject189.bin"/><Relationship Id="rId4" Type="http://schemas.openxmlformats.org/officeDocument/2006/relationships/tags" Target="../tags/tag1402.xml"/><Relationship Id="rId9"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8" Type="http://schemas.openxmlformats.org/officeDocument/2006/relationships/tags" Target="../tags/tag1414.xml"/><Relationship Id="rId13" Type="http://schemas.microsoft.com/office/2007/relationships/hdphoto" Target="../media/hdphoto1.wdp"/><Relationship Id="rId3" Type="http://schemas.openxmlformats.org/officeDocument/2006/relationships/tags" Target="../tags/tag1409.xml"/><Relationship Id="rId7" Type="http://schemas.openxmlformats.org/officeDocument/2006/relationships/tags" Target="../tags/tag1413.xml"/><Relationship Id="rId12" Type="http://schemas.openxmlformats.org/officeDocument/2006/relationships/image" Target="../media/image8.png"/><Relationship Id="rId17" Type="http://schemas.microsoft.com/office/2007/relationships/hdphoto" Target="../media/hdphoto7.wdp"/><Relationship Id="rId2" Type="http://schemas.openxmlformats.org/officeDocument/2006/relationships/tags" Target="../tags/tag1408.xml"/><Relationship Id="rId16" Type="http://schemas.openxmlformats.org/officeDocument/2006/relationships/image" Target="../media/image23.png"/><Relationship Id="rId1" Type="http://schemas.openxmlformats.org/officeDocument/2006/relationships/tags" Target="../tags/tag1407.xml"/><Relationship Id="rId6" Type="http://schemas.openxmlformats.org/officeDocument/2006/relationships/tags" Target="../tags/tag1412.xml"/><Relationship Id="rId11" Type="http://schemas.openxmlformats.org/officeDocument/2006/relationships/image" Target="../media/image4.emf"/><Relationship Id="rId5" Type="http://schemas.openxmlformats.org/officeDocument/2006/relationships/tags" Target="../tags/tag1411.xml"/><Relationship Id="rId15" Type="http://schemas.openxmlformats.org/officeDocument/2006/relationships/image" Target="../media/image3.png"/><Relationship Id="rId10" Type="http://schemas.openxmlformats.org/officeDocument/2006/relationships/oleObject" Target="../embeddings/oleObject190.bin"/><Relationship Id="rId4" Type="http://schemas.openxmlformats.org/officeDocument/2006/relationships/tags" Target="../tags/tag1410.xml"/><Relationship Id="rId9" Type="http://schemas.openxmlformats.org/officeDocument/2006/relationships/slideMaster" Target="../slideMasters/slideMaster11.xml"/><Relationship Id="rId14" Type="http://schemas.openxmlformats.org/officeDocument/2006/relationships/image" Target="../media/image9.png"/></Relationships>
</file>

<file path=ppt/slideLayouts/_rels/slideLayout182.xml.rels><?xml version="1.0" encoding="UTF-8" standalone="yes"?>
<Relationships xmlns="http://schemas.openxmlformats.org/package/2006/relationships"><Relationship Id="rId8" Type="http://schemas.openxmlformats.org/officeDocument/2006/relationships/tags" Target="../tags/tag1422.xml"/><Relationship Id="rId13" Type="http://schemas.microsoft.com/office/2007/relationships/hdphoto" Target="../media/hdphoto1.wdp"/><Relationship Id="rId3" Type="http://schemas.openxmlformats.org/officeDocument/2006/relationships/tags" Target="../tags/tag1417.xml"/><Relationship Id="rId7" Type="http://schemas.openxmlformats.org/officeDocument/2006/relationships/tags" Target="../tags/tag1421.xml"/><Relationship Id="rId12" Type="http://schemas.openxmlformats.org/officeDocument/2006/relationships/image" Target="../media/image8.png"/><Relationship Id="rId17" Type="http://schemas.microsoft.com/office/2007/relationships/hdphoto" Target="../media/hdphoto7.wdp"/><Relationship Id="rId2" Type="http://schemas.openxmlformats.org/officeDocument/2006/relationships/tags" Target="../tags/tag1416.xml"/><Relationship Id="rId16" Type="http://schemas.openxmlformats.org/officeDocument/2006/relationships/image" Target="../media/image23.png"/><Relationship Id="rId1" Type="http://schemas.openxmlformats.org/officeDocument/2006/relationships/tags" Target="../tags/tag1415.xml"/><Relationship Id="rId6" Type="http://schemas.openxmlformats.org/officeDocument/2006/relationships/tags" Target="../tags/tag1420.xml"/><Relationship Id="rId11" Type="http://schemas.openxmlformats.org/officeDocument/2006/relationships/image" Target="../media/image1.emf"/><Relationship Id="rId5" Type="http://schemas.openxmlformats.org/officeDocument/2006/relationships/tags" Target="../tags/tag1419.xml"/><Relationship Id="rId15" Type="http://schemas.openxmlformats.org/officeDocument/2006/relationships/image" Target="../media/image3.png"/><Relationship Id="rId10" Type="http://schemas.openxmlformats.org/officeDocument/2006/relationships/oleObject" Target="../embeddings/oleObject191.bin"/><Relationship Id="rId4" Type="http://schemas.openxmlformats.org/officeDocument/2006/relationships/tags" Target="../tags/tag1418.xml"/><Relationship Id="rId9" Type="http://schemas.openxmlformats.org/officeDocument/2006/relationships/slideMaster" Target="../slideMasters/slideMaster11.xml"/><Relationship Id="rId14" Type="http://schemas.openxmlformats.org/officeDocument/2006/relationships/image" Target="../media/image9.png"/></Relationships>
</file>

<file path=ppt/slideLayouts/_rels/slideLayout183.xml.rels><?xml version="1.0" encoding="UTF-8" standalone="yes"?>
<Relationships xmlns="http://schemas.openxmlformats.org/package/2006/relationships"><Relationship Id="rId8" Type="http://schemas.openxmlformats.org/officeDocument/2006/relationships/tags" Target="../tags/tag1430.xml"/><Relationship Id="rId13" Type="http://schemas.microsoft.com/office/2007/relationships/hdphoto" Target="../media/hdphoto1.wdp"/><Relationship Id="rId3" Type="http://schemas.openxmlformats.org/officeDocument/2006/relationships/tags" Target="../tags/tag1425.xml"/><Relationship Id="rId7" Type="http://schemas.openxmlformats.org/officeDocument/2006/relationships/tags" Target="../tags/tag1429.xml"/><Relationship Id="rId12" Type="http://schemas.openxmlformats.org/officeDocument/2006/relationships/image" Target="../media/image8.png"/><Relationship Id="rId17" Type="http://schemas.microsoft.com/office/2007/relationships/hdphoto" Target="../media/hdphoto7.wdp"/><Relationship Id="rId2" Type="http://schemas.openxmlformats.org/officeDocument/2006/relationships/tags" Target="../tags/tag1424.xml"/><Relationship Id="rId16" Type="http://schemas.openxmlformats.org/officeDocument/2006/relationships/image" Target="../media/image23.png"/><Relationship Id="rId1" Type="http://schemas.openxmlformats.org/officeDocument/2006/relationships/tags" Target="../tags/tag1423.xml"/><Relationship Id="rId6" Type="http://schemas.openxmlformats.org/officeDocument/2006/relationships/tags" Target="../tags/tag1428.xml"/><Relationship Id="rId11" Type="http://schemas.openxmlformats.org/officeDocument/2006/relationships/image" Target="../media/image4.emf"/><Relationship Id="rId5" Type="http://schemas.openxmlformats.org/officeDocument/2006/relationships/tags" Target="../tags/tag1427.xml"/><Relationship Id="rId15" Type="http://schemas.openxmlformats.org/officeDocument/2006/relationships/image" Target="../media/image3.png"/><Relationship Id="rId10" Type="http://schemas.openxmlformats.org/officeDocument/2006/relationships/oleObject" Target="../embeddings/oleObject192.bin"/><Relationship Id="rId4" Type="http://schemas.openxmlformats.org/officeDocument/2006/relationships/tags" Target="../tags/tag1426.xml"/><Relationship Id="rId9" Type="http://schemas.openxmlformats.org/officeDocument/2006/relationships/slideMaster" Target="../slideMasters/slideMaster11.xml"/><Relationship Id="rId14" Type="http://schemas.openxmlformats.org/officeDocument/2006/relationships/image" Target="../media/image9.png"/></Relationships>
</file>

<file path=ppt/slideLayouts/_rels/slideLayout184.xml.rels><?xml version="1.0" encoding="UTF-8" standalone="yes"?>
<Relationships xmlns="http://schemas.openxmlformats.org/package/2006/relationships"><Relationship Id="rId8" Type="http://schemas.openxmlformats.org/officeDocument/2006/relationships/tags" Target="../tags/tag1438.xml"/><Relationship Id="rId13" Type="http://schemas.microsoft.com/office/2007/relationships/hdphoto" Target="../media/hdphoto1.wdp"/><Relationship Id="rId3" Type="http://schemas.openxmlformats.org/officeDocument/2006/relationships/tags" Target="../tags/tag1433.xml"/><Relationship Id="rId7" Type="http://schemas.openxmlformats.org/officeDocument/2006/relationships/tags" Target="../tags/tag1437.xml"/><Relationship Id="rId12" Type="http://schemas.openxmlformats.org/officeDocument/2006/relationships/image" Target="../media/image8.png"/><Relationship Id="rId17" Type="http://schemas.microsoft.com/office/2007/relationships/hdphoto" Target="../media/hdphoto7.wdp"/><Relationship Id="rId2" Type="http://schemas.openxmlformats.org/officeDocument/2006/relationships/tags" Target="../tags/tag1432.xml"/><Relationship Id="rId16" Type="http://schemas.openxmlformats.org/officeDocument/2006/relationships/image" Target="../media/image23.png"/><Relationship Id="rId1" Type="http://schemas.openxmlformats.org/officeDocument/2006/relationships/tags" Target="../tags/tag1431.xml"/><Relationship Id="rId6" Type="http://schemas.openxmlformats.org/officeDocument/2006/relationships/tags" Target="../tags/tag1436.xml"/><Relationship Id="rId11" Type="http://schemas.openxmlformats.org/officeDocument/2006/relationships/image" Target="../media/image4.emf"/><Relationship Id="rId5" Type="http://schemas.openxmlformats.org/officeDocument/2006/relationships/tags" Target="../tags/tag1435.xml"/><Relationship Id="rId15" Type="http://schemas.openxmlformats.org/officeDocument/2006/relationships/image" Target="../media/image3.png"/><Relationship Id="rId10" Type="http://schemas.openxmlformats.org/officeDocument/2006/relationships/oleObject" Target="../embeddings/oleObject193.bin"/><Relationship Id="rId4" Type="http://schemas.openxmlformats.org/officeDocument/2006/relationships/tags" Target="../tags/tag1434.xml"/><Relationship Id="rId9" Type="http://schemas.openxmlformats.org/officeDocument/2006/relationships/slideMaster" Target="../slideMasters/slideMaster11.xml"/><Relationship Id="rId14" Type="http://schemas.openxmlformats.org/officeDocument/2006/relationships/image" Target="../media/image9.png"/></Relationships>
</file>

<file path=ppt/slideLayouts/_rels/slideLayout185.xml.rels><?xml version="1.0" encoding="UTF-8" standalone="yes"?>
<Relationships xmlns="http://schemas.openxmlformats.org/package/2006/relationships"><Relationship Id="rId8" Type="http://schemas.openxmlformats.org/officeDocument/2006/relationships/oleObject" Target="../embeddings/oleObject194.bin"/><Relationship Id="rId13" Type="http://schemas.openxmlformats.org/officeDocument/2006/relationships/image" Target="../media/image3.png"/><Relationship Id="rId3" Type="http://schemas.openxmlformats.org/officeDocument/2006/relationships/tags" Target="../tags/tag1441.xml"/><Relationship Id="rId7" Type="http://schemas.openxmlformats.org/officeDocument/2006/relationships/slideMaster" Target="../slideMasters/slideMaster11.xml"/><Relationship Id="rId12" Type="http://schemas.openxmlformats.org/officeDocument/2006/relationships/image" Target="../media/image9.png"/><Relationship Id="rId2" Type="http://schemas.openxmlformats.org/officeDocument/2006/relationships/tags" Target="../tags/tag1440.xml"/><Relationship Id="rId1" Type="http://schemas.openxmlformats.org/officeDocument/2006/relationships/tags" Target="../tags/tag1439.xml"/><Relationship Id="rId6" Type="http://schemas.openxmlformats.org/officeDocument/2006/relationships/tags" Target="../tags/tag1444.xml"/><Relationship Id="rId11" Type="http://schemas.microsoft.com/office/2007/relationships/hdphoto" Target="../media/hdphoto1.wdp"/><Relationship Id="rId5" Type="http://schemas.openxmlformats.org/officeDocument/2006/relationships/tags" Target="../tags/tag1443.xml"/><Relationship Id="rId15" Type="http://schemas.microsoft.com/office/2007/relationships/hdphoto" Target="../media/hdphoto7.wdp"/><Relationship Id="rId10" Type="http://schemas.openxmlformats.org/officeDocument/2006/relationships/image" Target="../media/image8.png"/><Relationship Id="rId4" Type="http://schemas.openxmlformats.org/officeDocument/2006/relationships/tags" Target="../tags/tag1442.xml"/><Relationship Id="rId9" Type="http://schemas.openxmlformats.org/officeDocument/2006/relationships/image" Target="../media/image4.emf"/><Relationship Id="rId14" Type="http://schemas.openxmlformats.org/officeDocument/2006/relationships/image" Target="../media/image23.png"/></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8.png"/><Relationship Id="rId13" Type="http://schemas.microsoft.com/office/2007/relationships/hdphoto" Target="../media/hdphoto7.wdp"/><Relationship Id="rId3" Type="http://schemas.openxmlformats.org/officeDocument/2006/relationships/tags" Target="../tags/tag1447.xml"/><Relationship Id="rId7" Type="http://schemas.openxmlformats.org/officeDocument/2006/relationships/image" Target="../media/image4.emf"/><Relationship Id="rId12" Type="http://schemas.openxmlformats.org/officeDocument/2006/relationships/image" Target="../media/image23.png"/><Relationship Id="rId2" Type="http://schemas.openxmlformats.org/officeDocument/2006/relationships/tags" Target="../tags/tag1446.xml"/><Relationship Id="rId1" Type="http://schemas.openxmlformats.org/officeDocument/2006/relationships/tags" Target="../tags/tag1445.xml"/><Relationship Id="rId6" Type="http://schemas.openxmlformats.org/officeDocument/2006/relationships/oleObject" Target="../embeddings/oleObject195.bin"/><Relationship Id="rId11" Type="http://schemas.openxmlformats.org/officeDocument/2006/relationships/image" Target="../media/image3.png"/><Relationship Id="rId5" Type="http://schemas.openxmlformats.org/officeDocument/2006/relationships/slideMaster" Target="../slideMasters/slideMaster11.xml"/><Relationship Id="rId10" Type="http://schemas.openxmlformats.org/officeDocument/2006/relationships/image" Target="../media/image9.png"/><Relationship Id="rId4" Type="http://schemas.openxmlformats.org/officeDocument/2006/relationships/tags" Target="../tags/tag1448.xml"/><Relationship Id="rId9" Type="http://schemas.microsoft.com/office/2007/relationships/hdphoto" Target="../media/hdphoto1.wdp"/></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196.bin"/><Relationship Id="rId7" Type="http://schemas.openxmlformats.org/officeDocument/2006/relationships/image" Target="../media/image9.png"/><Relationship Id="rId2" Type="http://schemas.openxmlformats.org/officeDocument/2006/relationships/slideMaster" Target="../slideMasters/slideMaster11.xml"/><Relationship Id="rId1" Type="http://schemas.openxmlformats.org/officeDocument/2006/relationships/tags" Target="../tags/tag1449.xml"/><Relationship Id="rId6" Type="http://schemas.microsoft.com/office/2007/relationships/hdphoto" Target="../media/hdphoto5.wdp"/><Relationship Id="rId5" Type="http://schemas.openxmlformats.org/officeDocument/2006/relationships/image" Target="../media/image13.png"/><Relationship Id="rId10" Type="http://schemas.microsoft.com/office/2007/relationships/hdphoto" Target="../media/hdphoto6.wdp"/><Relationship Id="rId4" Type="http://schemas.openxmlformats.org/officeDocument/2006/relationships/image" Target="../media/image4.emf"/><Relationship Id="rId9" Type="http://schemas.openxmlformats.org/officeDocument/2006/relationships/image" Target="../media/image14.png"/></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1457.xml"/><Relationship Id="rId13" Type="http://schemas.openxmlformats.org/officeDocument/2006/relationships/image" Target="../media/image3.png"/><Relationship Id="rId3" Type="http://schemas.openxmlformats.org/officeDocument/2006/relationships/tags" Target="../tags/tag1452.xml"/><Relationship Id="rId7" Type="http://schemas.openxmlformats.org/officeDocument/2006/relationships/tags" Target="../tags/tag1456.xml"/><Relationship Id="rId12" Type="http://schemas.openxmlformats.org/officeDocument/2006/relationships/image" Target="../media/image2.png"/><Relationship Id="rId2" Type="http://schemas.openxmlformats.org/officeDocument/2006/relationships/tags" Target="../tags/tag1451.xml"/><Relationship Id="rId1" Type="http://schemas.openxmlformats.org/officeDocument/2006/relationships/tags" Target="../tags/tag1450.xml"/><Relationship Id="rId6" Type="http://schemas.openxmlformats.org/officeDocument/2006/relationships/tags" Target="../tags/tag1455.xml"/><Relationship Id="rId11" Type="http://schemas.openxmlformats.org/officeDocument/2006/relationships/image" Target="../media/image6.emf"/><Relationship Id="rId5" Type="http://schemas.openxmlformats.org/officeDocument/2006/relationships/tags" Target="../tags/tag1454.xml"/><Relationship Id="rId10" Type="http://schemas.openxmlformats.org/officeDocument/2006/relationships/oleObject" Target="../embeddings/oleObject197.bin"/><Relationship Id="rId4" Type="http://schemas.openxmlformats.org/officeDocument/2006/relationships/tags" Target="../tags/tag1453.xml"/><Relationship Id="rId9"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1465.xml"/><Relationship Id="rId13" Type="http://schemas.openxmlformats.org/officeDocument/2006/relationships/tags" Target="../tags/tag1470.xml"/><Relationship Id="rId3" Type="http://schemas.openxmlformats.org/officeDocument/2006/relationships/tags" Target="../tags/tag1460.xml"/><Relationship Id="rId7" Type="http://schemas.openxmlformats.org/officeDocument/2006/relationships/tags" Target="../tags/tag1464.xml"/><Relationship Id="rId12" Type="http://schemas.openxmlformats.org/officeDocument/2006/relationships/tags" Target="../tags/tag1469.xml"/><Relationship Id="rId2" Type="http://schemas.openxmlformats.org/officeDocument/2006/relationships/tags" Target="../tags/tag1459.xml"/><Relationship Id="rId16" Type="http://schemas.openxmlformats.org/officeDocument/2006/relationships/image" Target="../media/image1.emf"/><Relationship Id="rId1" Type="http://schemas.openxmlformats.org/officeDocument/2006/relationships/tags" Target="../tags/tag1458.xml"/><Relationship Id="rId6" Type="http://schemas.openxmlformats.org/officeDocument/2006/relationships/tags" Target="../tags/tag1463.xml"/><Relationship Id="rId11" Type="http://schemas.openxmlformats.org/officeDocument/2006/relationships/tags" Target="../tags/tag1468.xml"/><Relationship Id="rId5" Type="http://schemas.openxmlformats.org/officeDocument/2006/relationships/tags" Target="../tags/tag1462.xml"/><Relationship Id="rId15" Type="http://schemas.openxmlformats.org/officeDocument/2006/relationships/oleObject" Target="../embeddings/oleObject198.bin"/><Relationship Id="rId10" Type="http://schemas.openxmlformats.org/officeDocument/2006/relationships/tags" Target="../tags/tag1467.xml"/><Relationship Id="rId4" Type="http://schemas.openxmlformats.org/officeDocument/2006/relationships/tags" Target="../tags/tag1461.xml"/><Relationship Id="rId9" Type="http://schemas.openxmlformats.org/officeDocument/2006/relationships/tags" Target="../tags/tag1466.xml"/><Relationship Id="rId14"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67.xml"/><Relationship Id="rId7"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5" Type="http://schemas.openxmlformats.org/officeDocument/2006/relationships/tags" Target="../tags/tag169.xml"/><Relationship Id="rId4" Type="http://schemas.openxmlformats.org/officeDocument/2006/relationships/tags" Target="../tags/tag168.xml"/><Relationship Id="rId9" Type="http://schemas.openxmlformats.org/officeDocument/2006/relationships/image" Target="../media/image4.emf"/></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1494.xml"/><Relationship Id="rId7" Type="http://schemas.openxmlformats.org/officeDocument/2006/relationships/slideMaster" Target="../slideMasters/slideMaster12.xml"/><Relationship Id="rId2" Type="http://schemas.openxmlformats.org/officeDocument/2006/relationships/tags" Target="../tags/tag1493.xml"/><Relationship Id="rId1" Type="http://schemas.openxmlformats.org/officeDocument/2006/relationships/tags" Target="../tags/tag1492.xml"/><Relationship Id="rId6" Type="http://schemas.openxmlformats.org/officeDocument/2006/relationships/tags" Target="../tags/tag1497.xml"/><Relationship Id="rId11" Type="http://schemas.openxmlformats.org/officeDocument/2006/relationships/image" Target="../media/image3.png"/><Relationship Id="rId5" Type="http://schemas.openxmlformats.org/officeDocument/2006/relationships/tags" Target="../tags/tag1496.xml"/><Relationship Id="rId10" Type="http://schemas.openxmlformats.org/officeDocument/2006/relationships/image" Target="../media/image28.png"/><Relationship Id="rId4" Type="http://schemas.openxmlformats.org/officeDocument/2006/relationships/tags" Target="../tags/tag1495.xml"/><Relationship Id="rId9" Type="http://schemas.openxmlformats.org/officeDocument/2006/relationships/image" Target="../media/image4.emf"/></Relationships>
</file>

<file path=ppt/slideLayouts/_rels/slideLayout1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1500.xml"/><Relationship Id="rId7" Type="http://schemas.openxmlformats.org/officeDocument/2006/relationships/tags" Target="../tags/tag1504.xml"/><Relationship Id="rId2" Type="http://schemas.openxmlformats.org/officeDocument/2006/relationships/tags" Target="../tags/tag1499.xml"/><Relationship Id="rId1" Type="http://schemas.openxmlformats.org/officeDocument/2006/relationships/tags" Target="../tags/tag1498.xml"/><Relationship Id="rId6" Type="http://schemas.openxmlformats.org/officeDocument/2006/relationships/tags" Target="../tags/tag1503.xml"/><Relationship Id="rId5" Type="http://schemas.openxmlformats.org/officeDocument/2006/relationships/tags" Target="../tags/tag1502.xml"/><Relationship Id="rId10" Type="http://schemas.openxmlformats.org/officeDocument/2006/relationships/image" Target="../media/image1.emf"/><Relationship Id="rId4" Type="http://schemas.openxmlformats.org/officeDocument/2006/relationships/tags" Target="../tags/tag1501.xml"/><Relationship Id="rId9" Type="http://schemas.openxmlformats.org/officeDocument/2006/relationships/oleObject" Target="../embeddings/oleObject201.bin"/></Relationships>
</file>

<file path=ppt/slideLayouts/_rels/slideLayout192.xml.rels><?xml version="1.0" encoding="UTF-8" standalone="yes"?>
<Relationships xmlns="http://schemas.openxmlformats.org/package/2006/relationships"><Relationship Id="rId8" Type="http://schemas.openxmlformats.org/officeDocument/2006/relationships/oleObject" Target="../embeddings/oleObject202.bin"/><Relationship Id="rId3" Type="http://schemas.openxmlformats.org/officeDocument/2006/relationships/tags" Target="../tags/tag1507.xml"/><Relationship Id="rId7" Type="http://schemas.openxmlformats.org/officeDocument/2006/relationships/slideMaster" Target="../slideMasters/slideMaster12.xml"/><Relationship Id="rId2" Type="http://schemas.openxmlformats.org/officeDocument/2006/relationships/tags" Target="../tags/tag1506.xml"/><Relationship Id="rId1" Type="http://schemas.openxmlformats.org/officeDocument/2006/relationships/tags" Target="../tags/tag1505.xml"/><Relationship Id="rId6" Type="http://schemas.openxmlformats.org/officeDocument/2006/relationships/tags" Target="../tags/tag1510.xml"/><Relationship Id="rId5" Type="http://schemas.openxmlformats.org/officeDocument/2006/relationships/tags" Target="../tags/tag1509.xml"/><Relationship Id="rId4" Type="http://schemas.openxmlformats.org/officeDocument/2006/relationships/tags" Target="../tags/tag1508.xml"/><Relationship Id="rId9" Type="http://schemas.openxmlformats.org/officeDocument/2006/relationships/image" Target="../media/image4.emf"/></Relationships>
</file>

<file path=ppt/slideLayouts/_rels/slideLayout193.xml.rels><?xml version="1.0" encoding="UTF-8" standalone="yes"?>
<Relationships xmlns="http://schemas.openxmlformats.org/package/2006/relationships"><Relationship Id="rId8" Type="http://schemas.openxmlformats.org/officeDocument/2006/relationships/oleObject" Target="../embeddings/oleObject203.bin"/><Relationship Id="rId3" Type="http://schemas.openxmlformats.org/officeDocument/2006/relationships/tags" Target="../tags/tag1513.xml"/><Relationship Id="rId7" Type="http://schemas.openxmlformats.org/officeDocument/2006/relationships/slideMaster" Target="../slideMasters/slideMaster12.xml"/><Relationship Id="rId2" Type="http://schemas.openxmlformats.org/officeDocument/2006/relationships/tags" Target="../tags/tag1512.xml"/><Relationship Id="rId1" Type="http://schemas.openxmlformats.org/officeDocument/2006/relationships/tags" Target="../tags/tag1511.xml"/><Relationship Id="rId6" Type="http://schemas.openxmlformats.org/officeDocument/2006/relationships/tags" Target="../tags/tag1516.xml"/><Relationship Id="rId5" Type="http://schemas.openxmlformats.org/officeDocument/2006/relationships/tags" Target="../tags/tag1515.xml"/><Relationship Id="rId4" Type="http://schemas.openxmlformats.org/officeDocument/2006/relationships/tags" Target="../tags/tag1514.xml"/><Relationship Id="rId9" Type="http://schemas.openxmlformats.org/officeDocument/2006/relationships/image" Target="../media/image4.emf"/></Relationships>
</file>

<file path=ppt/slideLayouts/_rels/slideLayout194.xml.rels><?xml version="1.0" encoding="UTF-8" standalone="yes"?>
<Relationships xmlns="http://schemas.openxmlformats.org/package/2006/relationships"><Relationship Id="rId8" Type="http://schemas.openxmlformats.org/officeDocument/2006/relationships/oleObject" Target="../embeddings/oleObject204.bin"/><Relationship Id="rId3" Type="http://schemas.openxmlformats.org/officeDocument/2006/relationships/tags" Target="../tags/tag1519.xml"/><Relationship Id="rId7" Type="http://schemas.openxmlformats.org/officeDocument/2006/relationships/slideMaster" Target="../slideMasters/slideMaster12.xml"/><Relationship Id="rId2" Type="http://schemas.openxmlformats.org/officeDocument/2006/relationships/tags" Target="../tags/tag1518.xml"/><Relationship Id="rId1" Type="http://schemas.openxmlformats.org/officeDocument/2006/relationships/tags" Target="../tags/tag1517.xml"/><Relationship Id="rId6" Type="http://schemas.openxmlformats.org/officeDocument/2006/relationships/tags" Target="../tags/tag1522.xml"/><Relationship Id="rId5" Type="http://schemas.openxmlformats.org/officeDocument/2006/relationships/tags" Target="../tags/tag1521.xml"/><Relationship Id="rId4" Type="http://schemas.openxmlformats.org/officeDocument/2006/relationships/tags" Target="../tags/tag1520.xml"/><Relationship Id="rId9" Type="http://schemas.openxmlformats.org/officeDocument/2006/relationships/image" Target="../media/image4.emf"/></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1525.xml"/><Relationship Id="rId7" Type="http://schemas.openxmlformats.org/officeDocument/2006/relationships/tags" Target="../tags/tag1529.xml"/><Relationship Id="rId2" Type="http://schemas.openxmlformats.org/officeDocument/2006/relationships/tags" Target="../tags/tag1524.xml"/><Relationship Id="rId1" Type="http://schemas.openxmlformats.org/officeDocument/2006/relationships/tags" Target="../tags/tag1523.xml"/><Relationship Id="rId6" Type="http://schemas.openxmlformats.org/officeDocument/2006/relationships/tags" Target="../tags/tag1528.xml"/><Relationship Id="rId5" Type="http://schemas.openxmlformats.org/officeDocument/2006/relationships/tags" Target="../tags/tag1527.xml"/><Relationship Id="rId10" Type="http://schemas.openxmlformats.org/officeDocument/2006/relationships/image" Target="../media/image4.emf"/><Relationship Id="rId4" Type="http://schemas.openxmlformats.org/officeDocument/2006/relationships/tags" Target="../tags/tag1526.xml"/><Relationship Id="rId9" Type="http://schemas.openxmlformats.org/officeDocument/2006/relationships/oleObject" Target="../embeddings/oleObject205.bin"/></Relationships>
</file>

<file path=ppt/slideLayouts/_rels/slideLayout196.xml.rels><?xml version="1.0" encoding="UTF-8" standalone="yes"?>
<Relationships xmlns="http://schemas.openxmlformats.org/package/2006/relationships"><Relationship Id="rId8" Type="http://schemas.openxmlformats.org/officeDocument/2006/relationships/tags" Target="../tags/tag1537.xml"/><Relationship Id="rId13" Type="http://schemas.openxmlformats.org/officeDocument/2006/relationships/image" Target="../media/image28.png"/><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1.emf"/><Relationship Id="rId2" Type="http://schemas.openxmlformats.org/officeDocument/2006/relationships/tags" Target="../tags/tag1531.xml"/><Relationship Id="rId1" Type="http://schemas.openxmlformats.org/officeDocument/2006/relationships/tags" Target="../tags/tag1530.xml"/><Relationship Id="rId6" Type="http://schemas.openxmlformats.org/officeDocument/2006/relationships/tags" Target="../tags/tag1535.xml"/><Relationship Id="rId11" Type="http://schemas.openxmlformats.org/officeDocument/2006/relationships/oleObject" Target="../embeddings/oleObject206.bin"/><Relationship Id="rId5" Type="http://schemas.openxmlformats.org/officeDocument/2006/relationships/tags" Target="../tags/tag1534.xml"/><Relationship Id="rId10" Type="http://schemas.openxmlformats.org/officeDocument/2006/relationships/slideMaster" Target="../slideMasters/slideMaster12.xml"/><Relationship Id="rId4" Type="http://schemas.openxmlformats.org/officeDocument/2006/relationships/tags" Target="../tags/tag1533.xml"/><Relationship Id="rId9" Type="http://schemas.openxmlformats.org/officeDocument/2006/relationships/tags" Target="../tags/tag1538.xml"/><Relationship Id="rId14" Type="http://schemas.openxmlformats.org/officeDocument/2006/relationships/image" Target="../media/image3.png"/></Relationships>
</file>

<file path=ppt/slideLayouts/_rels/slideLayout197.xml.rels><?xml version="1.0" encoding="UTF-8" standalone="yes"?>
<Relationships xmlns="http://schemas.openxmlformats.org/package/2006/relationships"><Relationship Id="rId8" Type="http://schemas.openxmlformats.org/officeDocument/2006/relationships/tags" Target="../tags/tag1546.xml"/><Relationship Id="rId13" Type="http://schemas.openxmlformats.org/officeDocument/2006/relationships/image" Target="../media/image28.png"/><Relationship Id="rId3" Type="http://schemas.openxmlformats.org/officeDocument/2006/relationships/tags" Target="../tags/tag1541.xml"/><Relationship Id="rId7" Type="http://schemas.openxmlformats.org/officeDocument/2006/relationships/tags" Target="../tags/tag1545.xml"/><Relationship Id="rId12" Type="http://schemas.openxmlformats.org/officeDocument/2006/relationships/image" Target="../media/image1.emf"/><Relationship Id="rId2" Type="http://schemas.openxmlformats.org/officeDocument/2006/relationships/tags" Target="../tags/tag1540.xml"/><Relationship Id="rId1" Type="http://schemas.openxmlformats.org/officeDocument/2006/relationships/tags" Target="../tags/tag1539.xml"/><Relationship Id="rId6" Type="http://schemas.openxmlformats.org/officeDocument/2006/relationships/tags" Target="../tags/tag1544.xml"/><Relationship Id="rId11" Type="http://schemas.openxmlformats.org/officeDocument/2006/relationships/oleObject" Target="../embeddings/oleObject207.bin"/><Relationship Id="rId5" Type="http://schemas.openxmlformats.org/officeDocument/2006/relationships/tags" Target="../tags/tag1543.xml"/><Relationship Id="rId10" Type="http://schemas.openxmlformats.org/officeDocument/2006/relationships/slideMaster" Target="../slideMasters/slideMaster12.xml"/><Relationship Id="rId4" Type="http://schemas.openxmlformats.org/officeDocument/2006/relationships/tags" Target="../tags/tag1542.xml"/><Relationship Id="rId9" Type="http://schemas.openxmlformats.org/officeDocument/2006/relationships/tags" Target="../tags/tag1547.xml"/><Relationship Id="rId14" Type="http://schemas.openxmlformats.org/officeDocument/2006/relationships/image" Target="../media/image3.png"/></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1555.xml"/><Relationship Id="rId13" Type="http://schemas.openxmlformats.org/officeDocument/2006/relationships/image" Target="../media/image28.png"/><Relationship Id="rId3" Type="http://schemas.openxmlformats.org/officeDocument/2006/relationships/tags" Target="../tags/tag1550.xml"/><Relationship Id="rId7" Type="http://schemas.openxmlformats.org/officeDocument/2006/relationships/tags" Target="../tags/tag1554.xml"/><Relationship Id="rId12" Type="http://schemas.openxmlformats.org/officeDocument/2006/relationships/image" Target="../media/image1.emf"/><Relationship Id="rId2" Type="http://schemas.openxmlformats.org/officeDocument/2006/relationships/tags" Target="../tags/tag1549.xml"/><Relationship Id="rId1" Type="http://schemas.openxmlformats.org/officeDocument/2006/relationships/tags" Target="../tags/tag1548.xml"/><Relationship Id="rId6" Type="http://schemas.openxmlformats.org/officeDocument/2006/relationships/tags" Target="../tags/tag1553.xml"/><Relationship Id="rId11" Type="http://schemas.openxmlformats.org/officeDocument/2006/relationships/oleObject" Target="../embeddings/oleObject208.bin"/><Relationship Id="rId5" Type="http://schemas.openxmlformats.org/officeDocument/2006/relationships/tags" Target="../tags/tag1552.xml"/><Relationship Id="rId10" Type="http://schemas.openxmlformats.org/officeDocument/2006/relationships/slideMaster" Target="../slideMasters/slideMaster12.xml"/><Relationship Id="rId4" Type="http://schemas.openxmlformats.org/officeDocument/2006/relationships/tags" Target="../tags/tag1551.xml"/><Relationship Id="rId9" Type="http://schemas.openxmlformats.org/officeDocument/2006/relationships/tags" Target="../tags/tag1556.xml"/><Relationship Id="rId14" Type="http://schemas.openxmlformats.org/officeDocument/2006/relationships/image" Target="../media/image3.png"/></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1564.xml"/><Relationship Id="rId13" Type="http://schemas.openxmlformats.org/officeDocument/2006/relationships/image" Target="../media/image28.png"/><Relationship Id="rId3" Type="http://schemas.openxmlformats.org/officeDocument/2006/relationships/tags" Target="../tags/tag1559.xml"/><Relationship Id="rId7" Type="http://schemas.openxmlformats.org/officeDocument/2006/relationships/tags" Target="../tags/tag1563.xml"/><Relationship Id="rId12" Type="http://schemas.openxmlformats.org/officeDocument/2006/relationships/image" Target="../media/image6.emf"/><Relationship Id="rId2" Type="http://schemas.openxmlformats.org/officeDocument/2006/relationships/tags" Target="../tags/tag1558.xml"/><Relationship Id="rId1" Type="http://schemas.openxmlformats.org/officeDocument/2006/relationships/tags" Target="../tags/tag1557.xml"/><Relationship Id="rId6" Type="http://schemas.openxmlformats.org/officeDocument/2006/relationships/tags" Target="../tags/tag1562.xml"/><Relationship Id="rId11" Type="http://schemas.openxmlformats.org/officeDocument/2006/relationships/oleObject" Target="../embeddings/oleObject209.bin"/><Relationship Id="rId5" Type="http://schemas.openxmlformats.org/officeDocument/2006/relationships/tags" Target="../tags/tag1561.xml"/><Relationship Id="rId10" Type="http://schemas.openxmlformats.org/officeDocument/2006/relationships/slideMaster" Target="../slideMasters/slideMaster12.xml"/><Relationship Id="rId4" Type="http://schemas.openxmlformats.org/officeDocument/2006/relationships/tags" Target="../tags/tag1560.xml"/><Relationship Id="rId9" Type="http://schemas.openxmlformats.org/officeDocument/2006/relationships/tags" Target="../tags/tag1565.xml"/><Relationship Id="rId1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image" Target="../media/image1.emf"/><Relationship Id="rId4" Type="http://schemas.openxmlformats.org/officeDocument/2006/relationships/tags" Target="../tags/tag32.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3.xml"/><Relationship Id="rId7" Type="http://schemas.openxmlformats.org/officeDocument/2006/relationships/tags" Target="../tags/tag177.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tags" Target="../tags/tag176.xml"/><Relationship Id="rId5" Type="http://schemas.openxmlformats.org/officeDocument/2006/relationships/tags" Target="../tags/tag175.xml"/><Relationship Id="rId10" Type="http://schemas.openxmlformats.org/officeDocument/2006/relationships/image" Target="../media/image4.emf"/><Relationship Id="rId4" Type="http://schemas.openxmlformats.org/officeDocument/2006/relationships/tags" Target="../tags/tag174.xml"/><Relationship Id="rId9" Type="http://schemas.openxmlformats.org/officeDocument/2006/relationships/oleObject" Target="../embeddings/oleObject22.bin"/></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1573.xml"/><Relationship Id="rId13" Type="http://schemas.openxmlformats.org/officeDocument/2006/relationships/image" Target="../media/image28.png"/><Relationship Id="rId3" Type="http://schemas.openxmlformats.org/officeDocument/2006/relationships/tags" Target="../tags/tag1568.xml"/><Relationship Id="rId7" Type="http://schemas.openxmlformats.org/officeDocument/2006/relationships/tags" Target="../tags/tag1572.xml"/><Relationship Id="rId12" Type="http://schemas.openxmlformats.org/officeDocument/2006/relationships/image" Target="../media/image1.emf"/><Relationship Id="rId2" Type="http://schemas.openxmlformats.org/officeDocument/2006/relationships/tags" Target="../tags/tag1567.xml"/><Relationship Id="rId1" Type="http://schemas.openxmlformats.org/officeDocument/2006/relationships/tags" Target="../tags/tag1566.xml"/><Relationship Id="rId6" Type="http://schemas.openxmlformats.org/officeDocument/2006/relationships/tags" Target="../tags/tag1571.xml"/><Relationship Id="rId11" Type="http://schemas.openxmlformats.org/officeDocument/2006/relationships/oleObject" Target="../embeddings/oleObject210.bin"/><Relationship Id="rId5" Type="http://schemas.openxmlformats.org/officeDocument/2006/relationships/tags" Target="../tags/tag1570.xml"/><Relationship Id="rId10" Type="http://schemas.openxmlformats.org/officeDocument/2006/relationships/slideMaster" Target="../slideMasters/slideMaster12.xml"/><Relationship Id="rId4" Type="http://schemas.openxmlformats.org/officeDocument/2006/relationships/tags" Target="../tags/tag1569.xml"/><Relationship Id="rId9" Type="http://schemas.openxmlformats.org/officeDocument/2006/relationships/tags" Target="../tags/tag1574.xml"/><Relationship Id="rId14" Type="http://schemas.openxmlformats.org/officeDocument/2006/relationships/image" Target="../media/image3.png"/></Relationships>
</file>

<file path=ppt/slideLayouts/_rels/slideLayout20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1577.xml"/><Relationship Id="rId7" Type="http://schemas.openxmlformats.org/officeDocument/2006/relationships/tags" Target="../tags/tag1581.xml"/><Relationship Id="rId12" Type="http://schemas.openxmlformats.org/officeDocument/2006/relationships/image" Target="../media/image3.png"/><Relationship Id="rId2" Type="http://schemas.openxmlformats.org/officeDocument/2006/relationships/tags" Target="../tags/tag1576.xml"/><Relationship Id="rId1" Type="http://schemas.openxmlformats.org/officeDocument/2006/relationships/tags" Target="../tags/tag1575.xml"/><Relationship Id="rId6" Type="http://schemas.openxmlformats.org/officeDocument/2006/relationships/tags" Target="../tags/tag1580.xml"/><Relationship Id="rId11" Type="http://schemas.openxmlformats.org/officeDocument/2006/relationships/image" Target="../media/image28.png"/><Relationship Id="rId5" Type="http://schemas.openxmlformats.org/officeDocument/2006/relationships/tags" Target="../tags/tag1579.xml"/><Relationship Id="rId10" Type="http://schemas.openxmlformats.org/officeDocument/2006/relationships/image" Target="../media/image4.emf"/><Relationship Id="rId4" Type="http://schemas.openxmlformats.org/officeDocument/2006/relationships/tags" Target="../tags/tag1578.xml"/><Relationship Id="rId9" Type="http://schemas.openxmlformats.org/officeDocument/2006/relationships/oleObject" Target="../embeddings/oleObject211.bin"/></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584.xml"/><Relationship Id="rId7" Type="http://schemas.openxmlformats.org/officeDocument/2006/relationships/oleObject" Target="../embeddings/oleObject212.bin"/><Relationship Id="rId2" Type="http://schemas.openxmlformats.org/officeDocument/2006/relationships/tags" Target="../tags/tag1583.xml"/><Relationship Id="rId1" Type="http://schemas.openxmlformats.org/officeDocument/2006/relationships/tags" Target="../tags/tag1582.xml"/><Relationship Id="rId6" Type="http://schemas.openxmlformats.org/officeDocument/2006/relationships/slideMaster" Target="../slideMasters/slideMaster12.xml"/><Relationship Id="rId5" Type="http://schemas.openxmlformats.org/officeDocument/2006/relationships/tags" Target="../tags/tag1586.xml"/><Relationship Id="rId10" Type="http://schemas.openxmlformats.org/officeDocument/2006/relationships/image" Target="../media/image3.png"/><Relationship Id="rId4" Type="http://schemas.openxmlformats.org/officeDocument/2006/relationships/tags" Target="../tags/tag1585.xml"/><Relationship Id="rId9" Type="http://schemas.openxmlformats.org/officeDocument/2006/relationships/image" Target="../media/image28.png"/></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1588.xml"/><Relationship Id="rId1" Type="http://schemas.openxmlformats.org/officeDocument/2006/relationships/tags" Target="../tags/tag1587.xml"/><Relationship Id="rId6" Type="http://schemas.openxmlformats.org/officeDocument/2006/relationships/image" Target="../media/image28.png"/><Relationship Id="rId5" Type="http://schemas.openxmlformats.org/officeDocument/2006/relationships/image" Target="../media/image4.emf"/><Relationship Id="rId4" Type="http://schemas.openxmlformats.org/officeDocument/2006/relationships/oleObject" Target="../embeddings/oleObject213.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image" Target="../media/image2.png"/><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oleObject" Target="../embeddings/oleObject23.bin"/><Relationship Id="rId5" Type="http://schemas.openxmlformats.org/officeDocument/2006/relationships/tags" Target="../tags/tag182.xml"/><Relationship Id="rId10" Type="http://schemas.openxmlformats.org/officeDocument/2006/relationships/slideMaster" Target="../slideMasters/slideMaster2.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oleObject" Target="../embeddings/oleObject24.bin"/><Relationship Id="rId5" Type="http://schemas.openxmlformats.org/officeDocument/2006/relationships/tags" Target="../tags/tag191.xml"/><Relationship Id="rId10" Type="http://schemas.openxmlformats.org/officeDocument/2006/relationships/slideMaster" Target="../slideMasters/slideMaster2.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3.xml"/><Relationship Id="rId13" Type="http://schemas.openxmlformats.org/officeDocument/2006/relationships/image" Target="../media/image2.png"/><Relationship Id="rId3" Type="http://schemas.openxmlformats.org/officeDocument/2006/relationships/tags" Target="../tags/tag198.xml"/><Relationship Id="rId7" Type="http://schemas.openxmlformats.org/officeDocument/2006/relationships/tags" Target="../tags/tag202.xml"/><Relationship Id="rId12" Type="http://schemas.openxmlformats.org/officeDocument/2006/relationships/image" Target="../media/image4.emf"/><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oleObject" Target="../embeddings/oleObject25.bin"/><Relationship Id="rId5" Type="http://schemas.openxmlformats.org/officeDocument/2006/relationships/tags" Target="../tags/tag200.xml"/><Relationship Id="rId10" Type="http://schemas.openxmlformats.org/officeDocument/2006/relationships/slideMaster" Target="../slideMasters/slideMaster2.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image" Target="../media/image2.png"/><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image" Target="../media/image1.emf"/><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oleObject" Target="../embeddings/oleObject26.bin"/><Relationship Id="rId5" Type="http://schemas.openxmlformats.org/officeDocument/2006/relationships/tags" Target="../tags/tag209.xml"/><Relationship Id="rId10" Type="http://schemas.openxmlformats.org/officeDocument/2006/relationships/slideMaster" Target="../slideMasters/slideMaster2.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2.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4.emf"/><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oleObject" Target="../embeddings/oleObject27.bin"/><Relationship Id="rId5" Type="http://schemas.openxmlformats.org/officeDocument/2006/relationships/tags" Target="../tags/tag218.xml"/><Relationship Id="rId10" Type="http://schemas.openxmlformats.org/officeDocument/2006/relationships/slideMaster" Target="../slideMasters/slideMaster2.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image" Target="../media/image8.png"/><Relationship Id="rId18" Type="http://schemas.microsoft.com/office/2007/relationships/hdphoto" Target="../media/hdphoto2.wdp"/><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image" Target="../media/image4.emf"/><Relationship Id="rId17" Type="http://schemas.openxmlformats.org/officeDocument/2006/relationships/image" Target="../media/image10.png"/><Relationship Id="rId2" Type="http://schemas.openxmlformats.org/officeDocument/2006/relationships/tags" Target="../tags/tag224.xml"/><Relationship Id="rId16" Type="http://schemas.openxmlformats.org/officeDocument/2006/relationships/image" Target="../media/image3.png"/><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oleObject" Target="../embeddings/oleObject28.bin"/><Relationship Id="rId5" Type="http://schemas.openxmlformats.org/officeDocument/2006/relationships/tags" Target="../tags/tag227.xml"/><Relationship Id="rId15" Type="http://schemas.openxmlformats.org/officeDocument/2006/relationships/image" Target="../media/image9.png"/><Relationship Id="rId10" Type="http://schemas.openxmlformats.org/officeDocument/2006/relationships/slideMaster" Target="../slideMasters/slideMaster2.xml"/><Relationship Id="rId4" Type="http://schemas.openxmlformats.org/officeDocument/2006/relationships/tags" Target="../tags/tag226.xml"/><Relationship Id="rId9" Type="http://schemas.openxmlformats.org/officeDocument/2006/relationships/tags" Target="../tags/tag231.xml"/><Relationship Id="rId1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9.xml"/><Relationship Id="rId13" Type="http://schemas.openxmlformats.org/officeDocument/2006/relationships/image" Target="../media/image8.png"/><Relationship Id="rId18" Type="http://schemas.microsoft.com/office/2007/relationships/hdphoto" Target="../media/hdphoto2.wdp"/><Relationship Id="rId3" Type="http://schemas.openxmlformats.org/officeDocument/2006/relationships/tags" Target="../tags/tag234.xml"/><Relationship Id="rId7" Type="http://schemas.openxmlformats.org/officeDocument/2006/relationships/tags" Target="../tags/tag238.xml"/><Relationship Id="rId12" Type="http://schemas.openxmlformats.org/officeDocument/2006/relationships/image" Target="../media/image1.emf"/><Relationship Id="rId17" Type="http://schemas.openxmlformats.org/officeDocument/2006/relationships/image" Target="../media/image10.png"/><Relationship Id="rId2" Type="http://schemas.openxmlformats.org/officeDocument/2006/relationships/tags" Target="../tags/tag233.xml"/><Relationship Id="rId16" Type="http://schemas.openxmlformats.org/officeDocument/2006/relationships/image" Target="../media/image3.png"/><Relationship Id="rId1" Type="http://schemas.openxmlformats.org/officeDocument/2006/relationships/tags" Target="../tags/tag232.xml"/><Relationship Id="rId6" Type="http://schemas.openxmlformats.org/officeDocument/2006/relationships/tags" Target="../tags/tag237.xml"/><Relationship Id="rId11" Type="http://schemas.openxmlformats.org/officeDocument/2006/relationships/oleObject" Target="../embeddings/oleObject29.bin"/><Relationship Id="rId5" Type="http://schemas.openxmlformats.org/officeDocument/2006/relationships/tags" Target="../tags/tag236.xml"/><Relationship Id="rId15" Type="http://schemas.openxmlformats.org/officeDocument/2006/relationships/image" Target="../media/image9.png"/><Relationship Id="rId10" Type="http://schemas.openxmlformats.org/officeDocument/2006/relationships/slideMaster" Target="../slideMasters/slideMaster2.xml"/><Relationship Id="rId4" Type="http://schemas.openxmlformats.org/officeDocument/2006/relationships/tags" Target="../tags/tag235.xml"/><Relationship Id="rId9" Type="http://schemas.openxmlformats.org/officeDocument/2006/relationships/tags" Target="../tags/tag240.xml"/><Relationship Id="rId14" Type="http://schemas.microsoft.com/office/2007/relationships/hdphoto" Target="../media/hdphoto1.wdp"/></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48.xml"/><Relationship Id="rId13" Type="http://schemas.openxmlformats.org/officeDocument/2006/relationships/image" Target="../media/image8.png"/><Relationship Id="rId18" Type="http://schemas.microsoft.com/office/2007/relationships/hdphoto" Target="../media/hdphoto2.wdp"/><Relationship Id="rId3" Type="http://schemas.openxmlformats.org/officeDocument/2006/relationships/tags" Target="../tags/tag243.xml"/><Relationship Id="rId7" Type="http://schemas.openxmlformats.org/officeDocument/2006/relationships/tags" Target="../tags/tag247.xml"/><Relationship Id="rId12" Type="http://schemas.openxmlformats.org/officeDocument/2006/relationships/image" Target="../media/image4.emf"/><Relationship Id="rId17" Type="http://schemas.openxmlformats.org/officeDocument/2006/relationships/image" Target="../media/image10.png"/><Relationship Id="rId2" Type="http://schemas.openxmlformats.org/officeDocument/2006/relationships/tags" Target="../tags/tag242.xml"/><Relationship Id="rId16" Type="http://schemas.openxmlformats.org/officeDocument/2006/relationships/image" Target="../media/image3.png"/><Relationship Id="rId1" Type="http://schemas.openxmlformats.org/officeDocument/2006/relationships/tags" Target="../tags/tag241.xml"/><Relationship Id="rId6" Type="http://schemas.openxmlformats.org/officeDocument/2006/relationships/tags" Target="../tags/tag246.xml"/><Relationship Id="rId11" Type="http://schemas.openxmlformats.org/officeDocument/2006/relationships/oleObject" Target="../embeddings/oleObject30.bin"/><Relationship Id="rId5" Type="http://schemas.openxmlformats.org/officeDocument/2006/relationships/tags" Target="../tags/tag245.xml"/><Relationship Id="rId15" Type="http://schemas.openxmlformats.org/officeDocument/2006/relationships/image" Target="../media/image9.png"/><Relationship Id="rId10" Type="http://schemas.openxmlformats.org/officeDocument/2006/relationships/slideMaster" Target="../slideMasters/slideMaster2.xml"/><Relationship Id="rId4" Type="http://schemas.openxmlformats.org/officeDocument/2006/relationships/tags" Target="../tags/tag244.xml"/><Relationship Id="rId9" Type="http://schemas.openxmlformats.org/officeDocument/2006/relationships/tags" Target="../tags/tag249.xml"/><Relationship Id="rId14" Type="http://schemas.microsoft.com/office/2007/relationships/hdphoto" Target="../media/hdphoto1.wdp"/></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image" Target="../media/image9.png"/><Relationship Id="rId3" Type="http://schemas.openxmlformats.org/officeDocument/2006/relationships/tags" Target="../tags/tag252.xml"/><Relationship Id="rId7" Type="http://schemas.openxmlformats.org/officeDocument/2006/relationships/tags" Target="../tags/tag256.xml"/><Relationship Id="rId12" Type="http://schemas.microsoft.com/office/2007/relationships/hdphoto" Target="../media/hdphoto1.wdp"/><Relationship Id="rId2" Type="http://schemas.openxmlformats.org/officeDocument/2006/relationships/tags" Target="../tags/tag251.xml"/><Relationship Id="rId16" Type="http://schemas.microsoft.com/office/2007/relationships/hdphoto" Target="../media/hdphoto2.wdp"/><Relationship Id="rId1" Type="http://schemas.openxmlformats.org/officeDocument/2006/relationships/tags" Target="../tags/tag250.xml"/><Relationship Id="rId6" Type="http://schemas.openxmlformats.org/officeDocument/2006/relationships/tags" Target="../tags/tag255.xml"/><Relationship Id="rId11" Type="http://schemas.openxmlformats.org/officeDocument/2006/relationships/image" Target="../media/image8.png"/><Relationship Id="rId5" Type="http://schemas.openxmlformats.org/officeDocument/2006/relationships/tags" Target="../tags/tag254.xml"/><Relationship Id="rId15" Type="http://schemas.openxmlformats.org/officeDocument/2006/relationships/image" Target="../media/image10.png"/><Relationship Id="rId10" Type="http://schemas.openxmlformats.org/officeDocument/2006/relationships/image" Target="../media/image4.emf"/><Relationship Id="rId4" Type="http://schemas.openxmlformats.org/officeDocument/2006/relationships/tags" Target="../tags/tag253.xml"/><Relationship Id="rId9" Type="http://schemas.openxmlformats.org/officeDocument/2006/relationships/oleObject" Target="../embeddings/oleObject31.bin"/><Relationship Id="rId1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10.png"/><Relationship Id="rId3" Type="http://schemas.openxmlformats.org/officeDocument/2006/relationships/tags" Target="../tags/tag259.xml"/><Relationship Id="rId7" Type="http://schemas.openxmlformats.org/officeDocument/2006/relationships/oleObject" Target="../embeddings/oleObject32.bin"/><Relationship Id="rId12" Type="http://schemas.openxmlformats.org/officeDocument/2006/relationships/image" Target="../media/image3.png"/><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slideMaster" Target="../slideMasters/slideMaster2.xml"/><Relationship Id="rId11" Type="http://schemas.openxmlformats.org/officeDocument/2006/relationships/image" Target="../media/image9.png"/><Relationship Id="rId5" Type="http://schemas.openxmlformats.org/officeDocument/2006/relationships/tags" Target="../tags/tag261.xml"/><Relationship Id="rId10" Type="http://schemas.microsoft.com/office/2007/relationships/hdphoto" Target="../media/hdphoto1.wdp"/><Relationship Id="rId4" Type="http://schemas.openxmlformats.org/officeDocument/2006/relationships/tags" Target="../tags/tag260.xml"/><Relationship Id="rId9" Type="http://schemas.openxmlformats.org/officeDocument/2006/relationships/image" Target="../media/image8.png"/><Relationship Id="rId14" Type="http://schemas.microsoft.com/office/2007/relationships/hdphoto" Target="../media/hdphoto2.wdp"/></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microsoft.com/office/2007/relationships/hdphoto" Target="../media/hdphoto5.wdp"/><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13.png"/><Relationship Id="rId11" Type="http://schemas.microsoft.com/office/2007/relationships/hdphoto" Target="../media/hdphoto6.wdp"/><Relationship Id="rId5" Type="http://schemas.openxmlformats.org/officeDocument/2006/relationships/image" Target="../media/image4.emf"/><Relationship Id="rId10" Type="http://schemas.openxmlformats.org/officeDocument/2006/relationships/image" Target="../media/image14.png"/><Relationship Id="rId4" Type="http://schemas.openxmlformats.org/officeDocument/2006/relationships/oleObject" Target="../embeddings/oleObject33.bin"/><Relationship Id="rId9"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86.xml"/><Relationship Id="rId7" Type="http://schemas.openxmlformats.org/officeDocument/2006/relationships/oleObject" Target="../embeddings/oleObject35.bin"/><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slideMaster" Target="../slideMasters/slideMaster3.xml"/><Relationship Id="rId11" Type="http://schemas.openxmlformats.org/officeDocument/2006/relationships/image" Target="../media/image17.png"/><Relationship Id="rId5" Type="http://schemas.openxmlformats.org/officeDocument/2006/relationships/tags" Target="../tags/tag288.xml"/><Relationship Id="rId10" Type="http://schemas.openxmlformats.org/officeDocument/2006/relationships/image" Target="../media/image16.png"/><Relationship Id="rId4" Type="http://schemas.openxmlformats.org/officeDocument/2006/relationships/tags" Target="../tags/tag287.xml"/><Relationship Id="rId9" Type="http://schemas.openxmlformats.org/officeDocument/2006/relationships/image" Target="../media/image15.tiff"/></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1.xml"/><Relationship Id="rId7" Type="http://schemas.openxmlformats.org/officeDocument/2006/relationships/tags" Target="../tags/tag295.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5" Type="http://schemas.openxmlformats.org/officeDocument/2006/relationships/tags" Target="../tags/tag293.xml"/><Relationship Id="rId10" Type="http://schemas.openxmlformats.org/officeDocument/2006/relationships/image" Target="../media/image1.emf"/><Relationship Id="rId4" Type="http://schemas.openxmlformats.org/officeDocument/2006/relationships/tags" Target="../tags/tag292.xml"/><Relationship Id="rId9" Type="http://schemas.openxmlformats.org/officeDocument/2006/relationships/oleObject" Target="../embeddings/oleObject36.bin"/></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98.xml"/><Relationship Id="rId7" Type="http://schemas.openxmlformats.org/officeDocument/2006/relationships/slideMaster" Target="../slideMasters/slideMaster3.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tags" Target="../tags/tag301.xml"/><Relationship Id="rId5" Type="http://schemas.openxmlformats.org/officeDocument/2006/relationships/tags" Target="../tags/tag300.xml"/><Relationship Id="rId4" Type="http://schemas.openxmlformats.org/officeDocument/2006/relationships/tags" Target="../tags/tag299.xml"/><Relationship Id="rId9"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304.xml"/><Relationship Id="rId7" Type="http://schemas.openxmlformats.org/officeDocument/2006/relationships/slideMaster" Target="../slideMasters/slideMaster3.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tags" Target="../tags/tag307.xml"/><Relationship Id="rId5" Type="http://schemas.openxmlformats.org/officeDocument/2006/relationships/tags" Target="../tags/tag306.xml"/><Relationship Id="rId4" Type="http://schemas.openxmlformats.org/officeDocument/2006/relationships/tags" Target="../tags/tag305.xml"/><Relationship Id="rId9"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310.xml"/><Relationship Id="rId7" Type="http://schemas.openxmlformats.org/officeDocument/2006/relationships/slideMaster" Target="../slideMasters/slideMaster3.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tags" Target="../tags/tag313.xml"/><Relationship Id="rId5" Type="http://schemas.openxmlformats.org/officeDocument/2006/relationships/tags" Target="../tags/tag312.xml"/><Relationship Id="rId4" Type="http://schemas.openxmlformats.org/officeDocument/2006/relationships/tags" Target="../tags/tag311.xml"/><Relationship Id="rId9"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16.xml"/><Relationship Id="rId7" Type="http://schemas.openxmlformats.org/officeDocument/2006/relationships/tags" Target="../tags/tag320.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tags" Target="../tags/tag319.xml"/><Relationship Id="rId5" Type="http://schemas.openxmlformats.org/officeDocument/2006/relationships/tags" Target="../tags/tag318.xml"/><Relationship Id="rId10" Type="http://schemas.openxmlformats.org/officeDocument/2006/relationships/image" Target="../media/image4.emf"/><Relationship Id="rId4" Type="http://schemas.openxmlformats.org/officeDocument/2006/relationships/tags" Target="../tags/tag317.xml"/><Relationship Id="rId9" Type="http://schemas.openxmlformats.org/officeDocument/2006/relationships/oleObject" Target="../embeddings/oleObject40.bin"/></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3.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2.png"/><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image" Target="../media/image1.emf"/><Relationship Id="rId5" Type="http://schemas.openxmlformats.org/officeDocument/2006/relationships/tags" Target="../tags/tag325.xml"/><Relationship Id="rId10" Type="http://schemas.openxmlformats.org/officeDocument/2006/relationships/oleObject" Target="../embeddings/oleObject41.bin"/><Relationship Id="rId4" Type="http://schemas.openxmlformats.org/officeDocument/2006/relationships/tags" Target="../tags/tag324.xml"/><Relationship Id="rId9"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36.xml"/><Relationship Id="rId13" Type="http://schemas.openxmlformats.org/officeDocument/2006/relationships/image" Target="../media/image3.png"/><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image" Target="../media/image2.png"/><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11" Type="http://schemas.openxmlformats.org/officeDocument/2006/relationships/image" Target="../media/image1.emf"/><Relationship Id="rId5" Type="http://schemas.openxmlformats.org/officeDocument/2006/relationships/tags" Target="../tags/tag333.xml"/><Relationship Id="rId10" Type="http://schemas.openxmlformats.org/officeDocument/2006/relationships/oleObject" Target="../embeddings/oleObject42.bin"/><Relationship Id="rId4" Type="http://schemas.openxmlformats.org/officeDocument/2006/relationships/tags" Target="../tags/tag332.xml"/><Relationship Id="rId9"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4.xml"/><Relationship Id="rId7"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9"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44.xml"/><Relationship Id="rId13" Type="http://schemas.openxmlformats.org/officeDocument/2006/relationships/image" Target="../media/image3.png"/><Relationship Id="rId3" Type="http://schemas.openxmlformats.org/officeDocument/2006/relationships/tags" Target="../tags/tag339.xml"/><Relationship Id="rId7" Type="http://schemas.openxmlformats.org/officeDocument/2006/relationships/tags" Target="../tags/tag343.xml"/><Relationship Id="rId12" Type="http://schemas.openxmlformats.org/officeDocument/2006/relationships/image" Target="../media/image2.png"/><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tags" Target="../tags/tag342.xml"/><Relationship Id="rId11" Type="http://schemas.openxmlformats.org/officeDocument/2006/relationships/image" Target="../media/image1.emf"/><Relationship Id="rId5" Type="http://schemas.openxmlformats.org/officeDocument/2006/relationships/tags" Target="../tags/tag341.xml"/><Relationship Id="rId10" Type="http://schemas.openxmlformats.org/officeDocument/2006/relationships/oleObject" Target="../embeddings/oleObject43.bin"/><Relationship Id="rId4" Type="http://schemas.openxmlformats.org/officeDocument/2006/relationships/tags" Target="../tags/tag340.xml"/><Relationship Id="rId9"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52.xml"/><Relationship Id="rId13" Type="http://schemas.openxmlformats.org/officeDocument/2006/relationships/image" Target="../media/image3.png"/><Relationship Id="rId3" Type="http://schemas.openxmlformats.org/officeDocument/2006/relationships/tags" Target="../tags/tag347.xml"/><Relationship Id="rId7" Type="http://schemas.openxmlformats.org/officeDocument/2006/relationships/tags" Target="../tags/tag351.xml"/><Relationship Id="rId12" Type="http://schemas.openxmlformats.org/officeDocument/2006/relationships/image" Target="../media/image2.png"/><Relationship Id="rId2" Type="http://schemas.openxmlformats.org/officeDocument/2006/relationships/tags" Target="../tags/tag346.xml"/><Relationship Id="rId1" Type="http://schemas.openxmlformats.org/officeDocument/2006/relationships/tags" Target="../tags/tag345.xml"/><Relationship Id="rId6" Type="http://schemas.openxmlformats.org/officeDocument/2006/relationships/tags" Target="../tags/tag350.xml"/><Relationship Id="rId11" Type="http://schemas.openxmlformats.org/officeDocument/2006/relationships/image" Target="../media/image6.emf"/><Relationship Id="rId5" Type="http://schemas.openxmlformats.org/officeDocument/2006/relationships/tags" Target="../tags/tag349.xml"/><Relationship Id="rId10" Type="http://schemas.openxmlformats.org/officeDocument/2006/relationships/oleObject" Target="../embeddings/oleObject44.bin"/><Relationship Id="rId4" Type="http://schemas.openxmlformats.org/officeDocument/2006/relationships/tags" Target="../tags/tag348.xml"/><Relationship Id="rId9"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60.xml"/><Relationship Id="rId13" Type="http://schemas.openxmlformats.org/officeDocument/2006/relationships/image" Target="../media/image3.png"/><Relationship Id="rId3" Type="http://schemas.openxmlformats.org/officeDocument/2006/relationships/tags" Target="../tags/tag355.xml"/><Relationship Id="rId7" Type="http://schemas.openxmlformats.org/officeDocument/2006/relationships/tags" Target="../tags/tag359.xml"/><Relationship Id="rId12" Type="http://schemas.openxmlformats.org/officeDocument/2006/relationships/image" Target="../media/image2.png"/><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tags" Target="../tags/tag358.xml"/><Relationship Id="rId11" Type="http://schemas.openxmlformats.org/officeDocument/2006/relationships/image" Target="../media/image1.emf"/><Relationship Id="rId5" Type="http://schemas.openxmlformats.org/officeDocument/2006/relationships/tags" Target="../tags/tag357.xml"/><Relationship Id="rId10" Type="http://schemas.openxmlformats.org/officeDocument/2006/relationships/oleObject" Target="../embeddings/oleObject45.bin"/><Relationship Id="rId4" Type="http://schemas.openxmlformats.org/officeDocument/2006/relationships/tags" Target="../tags/tag356.xml"/><Relationship Id="rId9"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363.xml"/><Relationship Id="rId7" Type="http://schemas.openxmlformats.org/officeDocument/2006/relationships/slideMaster" Target="../slideMasters/slideMaster3.xml"/><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tags" Target="../tags/tag366.xml"/><Relationship Id="rId11" Type="http://schemas.openxmlformats.org/officeDocument/2006/relationships/image" Target="../media/image3.png"/><Relationship Id="rId5" Type="http://schemas.openxmlformats.org/officeDocument/2006/relationships/tags" Target="../tags/tag365.xml"/><Relationship Id="rId10" Type="http://schemas.openxmlformats.org/officeDocument/2006/relationships/image" Target="../media/image2.png"/><Relationship Id="rId4" Type="http://schemas.openxmlformats.org/officeDocument/2006/relationships/tags" Target="../tags/tag364.xml"/><Relationship Id="rId9"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69.xml"/><Relationship Id="rId7" Type="http://schemas.openxmlformats.org/officeDocument/2006/relationships/image" Target="../media/image4.emf"/><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oleObject" Target="../embeddings/oleObject47.bin"/><Relationship Id="rId5" Type="http://schemas.openxmlformats.org/officeDocument/2006/relationships/slideMaster" Target="../slideMasters/slideMaster3.xml"/><Relationship Id="rId4" Type="http://schemas.openxmlformats.org/officeDocument/2006/relationships/tags" Target="../tags/tag370.xml"/><Relationship Id="rId9"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371.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72.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373.xml"/><Relationship Id="rId4" Type="http://schemas.openxmlformats.org/officeDocument/2006/relationships/image" Target="../media/image18.emf"/></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376.xml"/><Relationship Id="rId7" Type="http://schemas.openxmlformats.org/officeDocument/2006/relationships/slideMaster" Target="../slideMasters/slideMaster3.xml"/><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tags" Target="../tags/tag379.xml"/><Relationship Id="rId5" Type="http://schemas.openxmlformats.org/officeDocument/2006/relationships/tags" Target="../tags/tag378.xml"/><Relationship Id="rId10" Type="http://schemas.openxmlformats.org/officeDocument/2006/relationships/image" Target="../media/image19.png"/><Relationship Id="rId4" Type="http://schemas.openxmlformats.org/officeDocument/2006/relationships/tags" Target="../tags/tag377.xml"/><Relationship Id="rId9"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403.xml"/><Relationship Id="rId7" Type="http://schemas.openxmlformats.org/officeDocument/2006/relationships/slideMaster" Target="../slideMasters/slideMaster4.xml"/><Relationship Id="rId12" Type="http://schemas.openxmlformats.org/officeDocument/2006/relationships/image" Target="../media/image17.png"/><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tags" Target="../tags/tag406.xml"/><Relationship Id="rId11" Type="http://schemas.openxmlformats.org/officeDocument/2006/relationships/image" Target="../media/image16.png"/><Relationship Id="rId5" Type="http://schemas.openxmlformats.org/officeDocument/2006/relationships/tags" Target="../tags/tag405.xml"/><Relationship Id="rId10" Type="http://schemas.openxmlformats.org/officeDocument/2006/relationships/image" Target="../media/image15.tiff"/><Relationship Id="rId4" Type="http://schemas.openxmlformats.org/officeDocument/2006/relationships/tags" Target="../tags/tag404.xml"/><Relationship Id="rId9"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09.xml"/><Relationship Id="rId7" Type="http://schemas.openxmlformats.org/officeDocument/2006/relationships/tags" Target="../tags/tag413.xml"/><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tags" Target="../tags/tag412.xml"/><Relationship Id="rId5" Type="http://schemas.openxmlformats.org/officeDocument/2006/relationships/tags" Target="../tags/tag411.xml"/><Relationship Id="rId10" Type="http://schemas.openxmlformats.org/officeDocument/2006/relationships/image" Target="../media/image1.emf"/><Relationship Id="rId4" Type="http://schemas.openxmlformats.org/officeDocument/2006/relationships/tags" Target="../tags/tag410.xml"/><Relationship Id="rId9"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416.xml"/><Relationship Id="rId7" Type="http://schemas.openxmlformats.org/officeDocument/2006/relationships/slideMaster" Target="../slideMasters/slideMaster4.xml"/><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tags" Target="../tags/tag419.xml"/><Relationship Id="rId5" Type="http://schemas.openxmlformats.org/officeDocument/2006/relationships/tags" Target="../tags/tag418.xml"/><Relationship Id="rId4" Type="http://schemas.openxmlformats.org/officeDocument/2006/relationships/tags" Target="../tags/tag417.xml"/><Relationship Id="rId9"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422.xml"/><Relationship Id="rId7" Type="http://schemas.openxmlformats.org/officeDocument/2006/relationships/slideMaster" Target="../slideMasters/slideMaster4.xml"/><Relationship Id="rId2" Type="http://schemas.openxmlformats.org/officeDocument/2006/relationships/tags" Target="../tags/tag421.xml"/><Relationship Id="rId1" Type="http://schemas.openxmlformats.org/officeDocument/2006/relationships/tags" Target="../tags/tag420.xml"/><Relationship Id="rId6" Type="http://schemas.openxmlformats.org/officeDocument/2006/relationships/tags" Target="../tags/tag425.xml"/><Relationship Id="rId5" Type="http://schemas.openxmlformats.org/officeDocument/2006/relationships/tags" Target="../tags/tag424.xml"/><Relationship Id="rId4" Type="http://schemas.openxmlformats.org/officeDocument/2006/relationships/tags" Target="../tags/tag423.xml"/><Relationship Id="rId9"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428.xml"/><Relationship Id="rId7" Type="http://schemas.openxmlformats.org/officeDocument/2006/relationships/slideMaster" Target="../slideMasters/slideMaster4.xml"/><Relationship Id="rId2" Type="http://schemas.openxmlformats.org/officeDocument/2006/relationships/tags" Target="../tags/tag427.xml"/><Relationship Id="rId1" Type="http://schemas.openxmlformats.org/officeDocument/2006/relationships/tags" Target="../tags/tag426.xml"/><Relationship Id="rId6" Type="http://schemas.openxmlformats.org/officeDocument/2006/relationships/tags" Target="../tags/tag431.xml"/><Relationship Id="rId5" Type="http://schemas.openxmlformats.org/officeDocument/2006/relationships/tags" Target="../tags/tag430.xml"/><Relationship Id="rId4" Type="http://schemas.openxmlformats.org/officeDocument/2006/relationships/tags" Target="../tags/tag429.xml"/><Relationship Id="rId9"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34.xml"/><Relationship Id="rId7" Type="http://schemas.openxmlformats.org/officeDocument/2006/relationships/tags" Target="../tags/tag438.xml"/><Relationship Id="rId2" Type="http://schemas.openxmlformats.org/officeDocument/2006/relationships/tags" Target="../tags/tag433.xml"/><Relationship Id="rId1" Type="http://schemas.openxmlformats.org/officeDocument/2006/relationships/tags" Target="../tags/tag432.xml"/><Relationship Id="rId6" Type="http://schemas.openxmlformats.org/officeDocument/2006/relationships/tags" Target="../tags/tag437.xml"/><Relationship Id="rId5" Type="http://schemas.openxmlformats.org/officeDocument/2006/relationships/tags" Target="../tags/tag436.xml"/><Relationship Id="rId10" Type="http://schemas.openxmlformats.org/officeDocument/2006/relationships/image" Target="../media/image4.emf"/><Relationship Id="rId4" Type="http://schemas.openxmlformats.org/officeDocument/2006/relationships/tags" Target="../tags/tag435.xml"/><Relationship Id="rId9"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446.xml"/><Relationship Id="rId13" Type="http://schemas.openxmlformats.org/officeDocument/2006/relationships/image" Target="../media/image2.png"/><Relationship Id="rId3" Type="http://schemas.openxmlformats.org/officeDocument/2006/relationships/tags" Target="../tags/tag441.xml"/><Relationship Id="rId7" Type="http://schemas.openxmlformats.org/officeDocument/2006/relationships/tags" Target="../tags/tag445.xml"/><Relationship Id="rId12" Type="http://schemas.openxmlformats.org/officeDocument/2006/relationships/image" Target="../media/image1.emf"/><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tags" Target="../tags/tag444.xml"/><Relationship Id="rId11" Type="http://schemas.openxmlformats.org/officeDocument/2006/relationships/oleObject" Target="../embeddings/oleObject58.bin"/><Relationship Id="rId5" Type="http://schemas.openxmlformats.org/officeDocument/2006/relationships/tags" Target="../tags/tag443.xml"/><Relationship Id="rId10" Type="http://schemas.openxmlformats.org/officeDocument/2006/relationships/slideMaster" Target="../slideMasters/slideMaster4.xml"/><Relationship Id="rId4" Type="http://schemas.openxmlformats.org/officeDocument/2006/relationships/tags" Target="../tags/tag442.xml"/><Relationship Id="rId9" Type="http://schemas.openxmlformats.org/officeDocument/2006/relationships/tags" Target="../tags/tag447.xml"/><Relationship Id="rId14"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455.xml"/><Relationship Id="rId13" Type="http://schemas.openxmlformats.org/officeDocument/2006/relationships/image" Target="../media/image2.png"/><Relationship Id="rId3" Type="http://schemas.openxmlformats.org/officeDocument/2006/relationships/tags" Target="../tags/tag450.xml"/><Relationship Id="rId7" Type="http://schemas.openxmlformats.org/officeDocument/2006/relationships/tags" Target="../tags/tag454.xml"/><Relationship Id="rId12" Type="http://schemas.openxmlformats.org/officeDocument/2006/relationships/image" Target="../media/image1.emf"/><Relationship Id="rId2" Type="http://schemas.openxmlformats.org/officeDocument/2006/relationships/tags" Target="../tags/tag449.xml"/><Relationship Id="rId1" Type="http://schemas.openxmlformats.org/officeDocument/2006/relationships/tags" Target="../tags/tag448.xml"/><Relationship Id="rId6" Type="http://schemas.openxmlformats.org/officeDocument/2006/relationships/tags" Target="../tags/tag453.xml"/><Relationship Id="rId11" Type="http://schemas.openxmlformats.org/officeDocument/2006/relationships/oleObject" Target="../embeddings/oleObject59.bin"/><Relationship Id="rId5" Type="http://schemas.openxmlformats.org/officeDocument/2006/relationships/tags" Target="../tags/tag452.xml"/><Relationship Id="rId10" Type="http://schemas.openxmlformats.org/officeDocument/2006/relationships/slideMaster" Target="../slideMasters/slideMaster4.xml"/><Relationship Id="rId4" Type="http://schemas.openxmlformats.org/officeDocument/2006/relationships/tags" Target="../tags/tag451.xml"/><Relationship Id="rId9" Type="http://schemas.openxmlformats.org/officeDocument/2006/relationships/tags" Target="../tags/tag456.xml"/><Relationship Id="rId1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464.xml"/><Relationship Id="rId13" Type="http://schemas.openxmlformats.org/officeDocument/2006/relationships/image" Target="../media/image2.png"/><Relationship Id="rId3" Type="http://schemas.openxmlformats.org/officeDocument/2006/relationships/tags" Target="../tags/tag459.xml"/><Relationship Id="rId7" Type="http://schemas.openxmlformats.org/officeDocument/2006/relationships/tags" Target="../tags/tag463.xml"/><Relationship Id="rId12" Type="http://schemas.openxmlformats.org/officeDocument/2006/relationships/image" Target="../media/image1.emf"/><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tags" Target="../tags/tag462.xml"/><Relationship Id="rId11" Type="http://schemas.openxmlformats.org/officeDocument/2006/relationships/oleObject" Target="../embeddings/oleObject60.bin"/><Relationship Id="rId5" Type="http://schemas.openxmlformats.org/officeDocument/2006/relationships/tags" Target="../tags/tag461.xml"/><Relationship Id="rId10" Type="http://schemas.openxmlformats.org/officeDocument/2006/relationships/slideMaster" Target="../slideMasters/slideMaster4.xml"/><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473.xml"/><Relationship Id="rId13" Type="http://schemas.openxmlformats.org/officeDocument/2006/relationships/image" Target="../media/image2.png"/><Relationship Id="rId3" Type="http://schemas.openxmlformats.org/officeDocument/2006/relationships/tags" Target="../tags/tag468.xml"/><Relationship Id="rId7" Type="http://schemas.openxmlformats.org/officeDocument/2006/relationships/tags" Target="../tags/tag472.xml"/><Relationship Id="rId12" Type="http://schemas.openxmlformats.org/officeDocument/2006/relationships/image" Target="../media/image6.emf"/><Relationship Id="rId2" Type="http://schemas.openxmlformats.org/officeDocument/2006/relationships/tags" Target="../tags/tag467.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oleObject" Target="../embeddings/oleObject61.bin"/><Relationship Id="rId5" Type="http://schemas.openxmlformats.org/officeDocument/2006/relationships/tags" Target="../tags/tag470.xml"/><Relationship Id="rId10" Type="http://schemas.openxmlformats.org/officeDocument/2006/relationships/slideMaster" Target="../slideMasters/slideMaster4.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4.emf"/><Relationship Id="rId4" Type="http://schemas.openxmlformats.org/officeDocument/2006/relationships/tags" Target="../tags/tag57.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482.xml"/><Relationship Id="rId13" Type="http://schemas.openxmlformats.org/officeDocument/2006/relationships/image" Target="../media/image2.png"/><Relationship Id="rId3" Type="http://schemas.openxmlformats.org/officeDocument/2006/relationships/tags" Target="../tags/tag477.xml"/><Relationship Id="rId7" Type="http://schemas.openxmlformats.org/officeDocument/2006/relationships/tags" Target="../tags/tag481.xml"/><Relationship Id="rId12" Type="http://schemas.openxmlformats.org/officeDocument/2006/relationships/image" Target="../media/image1.emf"/><Relationship Id="rId2" Type="http://schemas.openxmlformats.org/officeDocument/2006/relationships/tags" Target="../tags/tag476.xml"/><Relationship Id="rId1" Type="http://schemas.openxmlformats.org/officeDocument/2006/relationships/tags" Target="../tags/tag475.xml"/><Relationship Id="rId6" Type="http://schemas.openxmlformats.org/officeDocument/2006/relationships/tags" Target="../tags/tag480.xml"/><Relationship Id="rId11" Type="http://schemas.openxmlformats.org/officeDocument/2006/relationships/oleObject" Target="../embeddings/oleObject62.bin"/><Relationship Id="rId5" Type="http://schemas.openxmlformats.org/officeDocument/2006/relationships/tags" Target="../tags/tag479.xml"/><Relationship Id="rId10" Type="http://schemas.openxmlformats.org/officeDocument/2006/relationships/slideMaster" Target="../slideMasters/slideMaster4.xml"/><Relationship Id="rId4" Type="http://schemas.openxmlformats.org/officeDocument/2006/relationships/tags" Target="../tags/tag478.xml"/><Relationship Id="rId9" Type="http://schemas.openxmlformats.org/officeDocument/2006/relationships/tags" Target="../tags/tag483.xml"/><Relationship Id="rId1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86.xml"/><Relationship Id="rId7" Type="http://schemas.openxmlformats.org/officeDocument/2006/relationships/tags" Target="../tags/tag490.xml"/><Relationship Id="rId12" Type="http://schemas.openxmlformats.org/officeDocument/2006/relationships/image" Target="../media/image3.png"/><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tags" Target="../tags/tag489.xml"/><Relationship Id="rId11" Type="http://schemas.openxmlformats.org/officeDocument/2006/relationships/image" Target="../media/image2.png"/><Relationship Id="rId5" Type="http://schemas.openxmlformats.org/officeDocument/2006/relationships/tags" Target="../tags/tag488.xml"/><Relationship Id="rId10" Type="http://schemas.openxmlformats.org/officeDocument/2006/relationships/image" Target="../media/image4.emf"/><Relationship Id="rId4" Type="http://schemas.openxmlformats.org/officeDocument/2006/relationships/tags" Target="../tags/tag487.xml"/><Relationship Id="rId9"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image" Target="../media/image4.emf"/><Relationship Id="rId2" Type="http://schemas.openxmlformats.org/officeDocument/2006/relationships/tags" Target="../tags/tag492.xml"/><Relationship Id="rId1" Type="http://schemas.openxmlformats.org/officeDocument/2006/relationships/tags" Target="../tags/tag491.xml"/><Relationship Id="rId6" Type="http://schemas.openxmlformats.org/officeDocument/2006/relationships/oleObject" Target="../embeddings/oleObject64.bin"/><Relationship Id="rId5" Type="http://schemas.openxmlformats.org/officeDocument/2006/relationships/slideMaster" Target="../slideMasters/slideMaster4.xml"/><Relationship Id="rId4" Type="http://schemas.openxmlformats.org/officeDocument/2006/relationships/tags" Target="../tags/tag49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504.xml"/><Relationship Id="rId13" Type="http://schemas.openxmlformats.org/officeDocument/2006/relationships/image" Target="../media/image8.png"/><Relationship Id="rId18" Type="http://schemas.microsoft.com/office/2007/relationships/hdphoto" Target="../media/hdphoto2.wdp"/><Relationship Id="rId3" Type="http://schemas.openxmlformats.org/officeDocument/2006/relationships/tags" Target="../tags/tag499.xml"/><Relationship Id="rId7" Type="http://schemas.openxmlformats.org/officeDocument/2006/relationships/tags" Target="../tags/tag503.xml"/><Relationship Id="rId12" Type="http://schemas.openxmlformats.org/officeDocument/2006/relationships/image" Target="../media/image1.emf"/><Relationship Id="rId17" Type="http://schemas.openxmlformats.org/officeDocument/2006/relationships/image" Target="../media/image10.png"/><Relationship Id="rId2" Type="http://schemas.openxmlformats.org/officeDocument/2006/relationships/tags" Target="../tags/tag498.xml"/><Relationship Id="rId16" Type="http://schemas.openxmlformats.org/officeDocument/2006/relationships/image" Target="../media/image3.png"/><Relationship Id="rId1" Type="http://schemas.openxmlformats.org/officeDocument/2006/relationships/tags" Target="../tags/tag497.xml"/><Relationship Id="rId6" Type="http://schemas.openxmlformats.org/officeDocument/2006/relationships/tags" Target="../tags/tag502.xml"/><Relationship Id="rId11" Type="http://schemas.openxmlformats.org/officeDocument/2006/relationships/oleObject" Target="../embeddings/oleObject66.bin"/><Relationship Id="rId5" Type="http://schemas.openxmlformats.org/officeDocument/2006/relationships/tags" Target="../tags/tag501.xml"/><Relationship Id="rId15" Type="http://schemas.openxmlformats.org/officeDocument/2006/relationships/image" Target="../media/image9.png"/><Relationship Id="rId10" Type="http://schemas.openxmlformats.org/officeDocument/2006/relationships/slideMaster" Target="../slideMasters/slideMaster4.xml"/><Relationship Id="rId4" Type="http://schemas.openxmlformats.org/officeDocument/2006/relationships/tags" Target="../tags/tag500.xml"/><Relationship Id="rId9" Type="http://schemas.openxmlformats.org/officeDocument/2006/relationships/tags" Target="../tags/tag505.xml"/><Relationship Id="rId14" Type="http://schemas.microsoft.com/office/2007/relationships/hdphoto" Target="../media/hdphoto1.wdp"/></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08.xml"/><Relationship Id="rId7" Type="http://schemas.openxmlformats.org/officeDocument/2006/relationships/tags" Target="../tags/tag512.xml"/><Relationship Id="rId2" Type="http://schemas.openxmlformats.org/officeDocument/2006/relationships/tags" Target="../tags/tag507.xml"/><Relationship Id="rId1" Type="http://schemas.openxmlformats.org/officeDocument/2006/relationships/tags" Target="../tags/tag506.xml"/><Relationship Id="rId6" Type="http://schemas.openxmlformats.org/officeDocument/2006/relationships/tags" Target="../tags/tag511.xml"/><Relationship Id="rId5" Type="http://schemas.openxmlformats.org/officeDocument/2006/relationships/tags" Target="../tags/tag510.xml"/><Relationship Id="rId10" Type="http://schemas.openxmlformats.org/officeDocument/2006/relationships/image" Target="../media/image1.emf"/><Relationship Id="rId4" Type="http://schemas.openxmlformats.org/officeDocument/2006/relationships/tags" Target="../tags/tag509.xml"/><Relationship Id="rId9"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15.xml"/><Relationship Id="rId7" Type="http://schemas.openxmlformats.org/officeDocument/2006/relationships/tags" Target="../tags/tag519.xml"/><Relationship Id="rId2" Type="http://schemas.openxmlformats.org/officeDocument/2006/relationships/tags" Target="../tags/tag514.xml"/><Relationship Id="rId1" Type="http://schemas.openxmlformats.org/officeDocument/2006/relationships/tags" Target="../tags/tag513.xml"/><Relationship Id="rId6" Type="http://schemas.openxmlformats.org/officeDocument/2006/relationships/tags" Target="../tags/tag518.xml"/><Relationship Id="rId5" Type="http://schemas.openxmlformats.org/officeDocument/2006/relationships/tags" Target="../tags/tag517.xml"/><Relationship Id="rId10" Type="http://schemas.openxmlformats.org/officeDocument/2006/relationships/image" Target="../media/image20.emf"/><Relationship Id="rId4" Type="http://schemas.openxmlformats.org/officeDocument/2006/relationships/tags" Target="../tags/tag516.xml"/><Relationship Id="rId9"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22.xml"/><Relationship Id="rId7" Type="http://schemas.openxmlformats.org/officeDocument/2006/relationships/tags" Target="../tags/tag526.xml"/><Relationship Id="rId2" Type="http://schemas.openxmlformats.org/officeDocument/2006/relationships/tags" Target="../tags/tag521.xml"/><Relationship Id="rId1" Type="http://schemas.openxmlformats.org/officeDocument/2006/relationships/tags" Target="../tags/tag520.xml"/><Relationship Id="rId6" Type="http://schemas.openxmlformats.org/officeDocument/2006/relationships/tags" Target="../tags/tag525.xml"/><Relationship Id="rId5" Type="http://schemas.openxmlformats.org/officeDocument/2006/relationships/tags" Target="../tags/tag524.xml"/><Relationship Id="rId10" Type="http://schemas.openxmlformats.org/officeDocument/2006/relationships/image" Target="../media/image1.emf"/><Relationship Id="rId4" Type="http://schemas.openxmlformats.org/officeDocument/2006/relationships/tags" Target="../tags/tag523.xml"/><Relationship Id="rId9"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49.xml"/><Relationship Id="rId7" Type="http://schemas.openxmlformats.org/officeDocument/2006/relationships/oleObject" Target="../embeddings/oleObject71.bin"/><Relationship Id="rId2" Type="http://schemas.openxmlformats.org/officeDocument/2006/relationships/tags" Target="../tags/tag548.xml"/><Relationship Id="rId1" Type="http://schemas.openxmlformats.org/officeDocument/2006/relationships/tags" Target="../tags/tag547.xml"/><Relationship Id="rId6" Type="http://schemas.openxmlformats.org/officeDocument/2006/relationships/slideMaster" Target="../slideMasters/slideMaster5.xml"/><Relationship Id="rId11" Type="http://schemas.openxmlformats.org/officeDocument/2006/relationships/image" Target="../media/image17.png"/><Relationship Id="rId5" Type="http://schemas.openxmlformats.org/officeDocument/2006/relationships/tags" Target="../tags/tag551.xml"/><Relationship Id="rId10" Type="http://schemas.openxmlformats.org/officeDocument/2006/relationships/image" Target="../media/image16.png"/><Relationship Id="rId4" Type="http://schemas.openxmlformats.org/officeDocument/2006/relationships/tags" Target="../tags/tag550.xml"/><Relationship Id="rId9" Type="http://schemas.openxmlformats.org/officeDocument/2006/relationships/image" Target="../media/image15.tiff"/></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4.xml"/><Relationship Id="rId7" Type="http://schemas.openxmlformats.org/officeDocument/2006/relationships/tags" Target="../tags/tag558.xml"/><Relationship Id="rId2" Type="http://schemas.openxmlformats.org/officeDocument/2006/relationships/tags" Target="../tags/tag553.xml"/><Relationship Id="rId1" Type="http://schemas.openxmlformats.org/officeDocument/2006/relationships/tags" Target="../tags/tag552.xml"/><Relationship Id="rId6" Type="http://schemas.openxmlformats.org/officeDocument/2006/relationships/tags" Target="../tags/tag557.xml"/><Relationship Id="rId5" Type="http://schemas.openxmlformats.org/officeDocument/2006/relationships/tags" Target="../tags/tag556.xml"/><Relationship Id="rId10" Type="http://schemas.openxmlformats.org/officeDocument/2006/relationships/image" Target="../media/image1.emf"/><Relationship Id="rId4" Type="http://schemas.openxmlformats.org/officeDocument/2006/relationships/tags" Target="../tags/tag555.xml"/><Relationship Id="rId9" Type="http://schemas.openxmlformats.org/officeDocument/2006/relationships/oleObject" Target="../embeddings/oleObject72.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2.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8.bin"/><Relationship Id="rId5" Type="http://schemas.openxmlformats.org/officeDocument/2006/relationships/tags" Target="../tags/tag65.xml"/><Relationship Id="rId10" Type="http://schemas.openxmlformats.org/officeDocument/2006/relationships/slideMaster" Target="../slideMasters/slideMaster1.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561.xml"/><Relationship Id="rId7" Type="http://schemas.openxmlformats.org/officeDocument/2006/relationships/slideMaster" Target="../slideMasters/slideMaster5.xml"/><Relationship Id="rId2" Type="http://schemas.openxmlformats.org/officeDocument/2006/relationships/tags" Target="../tags/tag560.xml"/><Relationship Id="rId1" Type="http://schemas.openxmlformats.org/officeDocument/2006/relationships/tags" Target="../tags/tag559.xml"/><Relationship Id="rId6" Type="http://schemas.openxmlformats.org/officeDocument/2006/relationships/tags" Target="../tags/tag564.xml"/><Relationship Id="rId5" Type="http://schemas.openxmlformats.org/officeDocument/2006/relationships/tags" Target="../tags/tag563.xml"/><Relationship Id="rId4" Type="http://schemas.openxmlformats.org/officeDocument/2006/relationships/tags" Target="../tags/tag562.xml"/><Relationship Id="rId9" Type="http://schemas.openxmlformats.org/officeDocument/2006/relationships/image" Target="../media/image4.emf"/></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74.bin"/><Relationship Id="rId3" Type="http://schemas.openxmlformats.org/officeDocument/2006/relationships/tags" Target="../tags/tag567.xml"/><Relationship Id="rId7" Type="http://schemas.openxmlformats.org/officeDocument/2006/relationships/slideMaster" Target="../slideMasters/slideMaster5.xml"/><Relationship Id="rId2" Type="http://schemas.openxmlformats.org/officeDocument/2006/relationships/tags" Target="../tags/tag566.xml"/><Relationship Id="rId1" Type="http://schemas.openxmlformats.org/officeDocument/2006/relationships/tags" Target="../tags/tag565.xml"/><Relationship Id="rId6" Type="http://schemas.openxmlformats.org/officeDocument/2006/relationships/tags" Target="../tags/tag570.xml"/><Relationship Id="rId5" Type="http://schemas.openxmlformats.org/officeDocument/2006/relationships/tags" Target="../tags/tag569.xml"/><Relationship Id="rId4" Type="http://schemas.openxmlformats.org/officeDocument/2006/relationships/tags" Target="../tags/tag568.xml"/><Relationship Id="rId9"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573.xml"/><Relationship Id="rId7" Type="http://schemas.openxmlformats.org/officeDocument/2006/relationships/slideMaster" Target="../slideMasters/slideMaster5.xml"/><Relationship Id="rId2" Type="http://schemas.openxmlformats.org/officeDocument/2006/relationships/tags" Target="../tags/tag572.xml"/><Relationship Id="rId1" Type="http://schemas.openxmlformats.org/officeDocument/2006/relationships/tags" Target="../tags/tag571.xml"/><Relationship Id="rId6" Type="http://schemas.openxmlformats.org/officeDocument/2006/relationships/tags" Target="../tags/tag576.xml"/><Relationship Id="rId5" Type="http://schemas.openxmlformats.org/officeDocument/2006/relationships/tags" Target="../tags/tag575.xml"/><Relationship Id="rId4" Type="http://schemas.openxmlformats.org/officeDocument/2006/relationships/tags" Target="../tags/tag574.xml"/><Relationship Id="rId9" Type="http://schemas.openxmlformats.org/officeDocument/2006/relationships/image" Target="../media/image4.emf"/></Relationships>
</file>

<file path=ppt/slideLayouts/_rels/slideLayout7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79.xml"/><Relationship Id="rId7" Type="http://schemas.openxmlformats.org/officeDocument/2006/relationships/tags" Target="../tags/tag583.xml"/><Relationship Id="rId2" Type="http://schemas.openxmlformats.org/officeDocument/2006/relationships/tags" Target="../tags/tag578.xml"/><Relationship Id="rId1" Type="http://schemas.openxmlformats.org/officeDocument/2006/relationships/tags" Target="../tags/tag577.xml"/><Relationship Id="rId6" Type="http://schemas.openxmlformats.org/officeDocument/2006/relationships/tags" Target="../tags/tag582.xml"/><Relationship Id="rId5" Type="http://schemas.openxmlformats.org/officeDocument/2006/relationships/tags" Target="../tags/tag581.xml"/><Relationship Id="rId10" Type="http://schemas.openxmlformats.org/officeDocument/2006/relationships/image" Target="../media/image4.emf"/><Relationship Id="rId4" Type="http://schemas.openxmlformats.org/officeDocument/2006/relationships/tags" Target="../tags/tag580.xml"/><Relationship Id="rId9" Type="http://schemas.openxmlformats.org/officeDocument/2006/relationships/oleObject" Target="../embeddings/oleObject76.bin"/></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591.xml"/><Relationship Id="rId13" Type="http://schemas.openxmlformats.org/officeDocument/2006/relationships/image" Target="../media/image3.png"/><Relationship Id="rId3" Type="http://schemas.openxmlformats.org/officeDocument/2006/relationships/tags" Target="../tags/tag586.xml"/><Relationship Id="rId7" Type="http://schemas.openxmlformats.org/officeDocument/2006/relationships/tags" Target="../tags/tag590.xml"/><Relationship Id="rId12" Type="http://schemas.openxmlformats.org/officeDocument/2006/relationships/image" Target="../media/image21.png"/><Relationship Id="rId2" Type="http://schemas.openxmlformats.org/officeDocument/2006/relationships/tags" Target="../tags/tag585.xml"/><Relationship Id="rId1" Type="http://schemas.openxmlformats.org/officeDocument/2006/relationships/tags" Target="../tags/tag584.xml"/><Relationship Id="rId6" Type="http://schemas.openxmlformats.org/officeDocument/2006/relationships/tags" Target="../tags/tag589.xml"/><Relationship Id="rId11" Type="http://schemas.openxmlformats.org/officeDocument/2006/relationships/image" Target="../media/image1.emf"/><Relationship Id="rId5" Type="http://schemas.openxmlformats.org/officeDocument/2006/relationships/tags" Target="../tags/tag588.xml"/><Relationship Id="rId10" Type="http://schemas.openxmlformats.org/officeDocument/2006/relationships/oleObject" Target="../embeddings/oleObject77.bin"/><Relationship Id="rId4" Type="http://schemas.openxmlformats.org/officeDocument/2006/relationships/tags" Target="../tags/tag587.xml"/><Relationship Id="rId9"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599.xml"/><Relationship Id="rId13" Type="http://schemas.openxmlformats.org/officeDocument/2006/relationships/image" Target="../media/image3.png"/><Relationship Id="rId3" Type="http://schemas.openxmlformats.org/officeDocument/2006/relationships/tags" Target="../tags/tag594.xml"/><Relationship Id="rId7" Type="http://schemas.openxmlformats.org/officeDocument/2006/relationships/tags" Target="../tags/tag598.xml"/><Relationship Id="rId12" Type="http://schemas.openxmlformats.org/officeDocument/2006/relationships/image" Target="../media/image21.png"/><Relationship Id="rId2" Type="http://schemas.openxmlformats.org/officeDocument/2006/relationships/tags" Target="../tags/tag593.xml"/><Relationship Id="rId1" Type="http://schemas.openxmlformats.org/officeDocument/2006/relationships/tags" Target="../tags/tag592.xml"/><Relationship Id="rId6" Type="http://schemas.openxmlformats.org/officeDocument/2006/relationships/tags" Target="../tags/tag597.xml"/><Relationship Id="rId11" Type="http://schemas.openxmlformats.org/officeDocument/2006/relationships/image" Target="../media/image1.emf"/><Relationship Id="rId5" Type="http://schemas.openxmlformats.org/officeDocument/2006/relationships/tags" Target="../tags/tag596.xml"/><Relationship Id="rId10" Type="http://schemas.openxmlformats.org/officeDocument/2006/relationships/oleObject" Target="../embeddings/oleObject78.bin"/><Relationship Id="rId4" Type="http://schemas.openxmlformats.org/officeDocument/2006/relationships/tags" Target="../tags/tag595.xml"/><Relationship Id="rId9"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3.png"/><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21.png"/><Relationship Id="rId2" Type="http://schemas.openxmlformats.org/officeDocument/2006/relationships/tags" Target="../tags/tag601.xml"/><Relationship Id="rId1" Type="http://schemas.openxmlformats.org/officeDocument/2006/relationships/tags" Target="../tags/tag600.xml"/><Relationship Id="rId6" Type="http://schemas.openxmlformats.org/officeDocument/2006/relationships/tags" Target="../tags/tag605.xml"/><Relationship Id="rId11" Type="http://schemas.openxmlformats.org/officeDocument/2006/relationships/image" Target="../media/image1.emf"/><Relationship Id="rId5" Type="http://schemas.openxmlformats.org/officeDocument/2006/relationships/tags" Target="../tags/tag604.xml"/><Relationship Id="rId10" Type="http://schemas.openxmlformats.org/officeDocument/2006/relationships/oleObject" Target="../embeddings/oleObject79.bin"/><Relationship Id="rId4" Type="http://schemas.openxmlformats.org/officeDocument/2006/relationships/tags" Target="../tags/tag603.xml"/><Relationship Id="rId9"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615.xml"/><Relationship Id="rId13" Type="http://schemas.openxmlformats.org/officeDocument/2006/relationships/image" Target="../media/image3.png"/><Relationship Id="rId3" Type="http://schemas.openxmlformats.org/officeDocument/2006/relationships/tags" Target="../tags/tag610.xml"/><Relationship Id="rId7" Type="http://schemas.openxmlformats.org/officeDocument/2006/relationships/tags" Target="../tags/tag614.xml"/><Relationship Id="rId12" Type="http://schemas.openxmlformats.org/officeDocument/2006/relationships/image" Target="../media/image21.png"/><Relationship Id="rId2" Type="http://schemas.openxmlformats.org/officeDocument/2006/relationships/tags" Target="../tags/tag609.xml"/><Relationship Id="rId1" Type="http://schemas.openxmlformats.org/officeDocument/2006/relationships/tags" Target="../tags/tag608.xml"/><Relationship Id="rId6" Type="http://schemas.openxmlformats.org/officeDocument/2006/relationships/tags" Target="../tags/tag613.xml"/><Relationship Id="rId11" Type="http://schemas.openxmlformats.org/officeDocument/2006/relationships/image" Target="../media/image6.emf"/><Relationship Id="rId5" Type="http://schemas.openxmlformats.org/officeDocument/2006/relationships/tags" Target="../tags/tag612.xml"/><Relationship Id="rId10" Type="http://schemas.openxmlformats.org/officeDocument/2006/relationships/oleObject" Target="../embeddings/oleObject80.bin"/><Relationship Id="rId4" Type="http://schemas.openxmlformats.org/officeDocument/2006/relationships/tags" Target="../tags/tag611.xml"/><Relationship Id="rId9"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623.xml"/><Relationship Id="rId13" Type="http://schemas.openxmlformats.org/officeDocument/2006/relationships/image" Target="../media/image3.png"/><Relationship Id="rId3" Type="http://schemas.openxmlformats.org/officeDocument/2006/relationships/tags" Target="../tags/tag618.xml"/><Relationship Id="rId7" Type="http://schemas.openxmlformats.org/officeDocument/2006/relationships/tags" Target="../tags/tag622.xml"/><Relationship Id="rId12" Type="http://schemas.openxmlformats.org/officeDocument/2006/relationships/image" Target="../media/image21.png"/><Relationship Id="rId2" Type="http://schemas.openxmlformats.org/officeDocument/2006/relationships/tags" Target="../tags/tag617.xml"/><Relationship Id="rId1" Type="http://schemas.openxmlformats.org/officeDocument/2006/relationships/tags" Target="../tags/tag616.xml"/><Relationship Id="rId6" Type="http://schemas.openxmlformats.org/officeDocument/2006/relationships/tags" Target="../tags/tag621.xml"/><Relationship Id="rId11" Type="http://schemas.openxmlformats.org/officeDocument/2006/relationships/image" Target="../media/image1.emf"/><Relationship Id="rId5" Type="http://schemas.openxmlformats.org/officeDocument/2006/relationships/tags" Target="../tags/tag620.xml"/><Relationship Id="rId10" Type="http://schemas.openxmlformats.org/officeDocument/2006/relationships/oleObject" Target="../embeddings/oleObject81.bin"/><Relationship Id="rId4" Type="http://schemas.openxmlformats.org/officeDocument/2006/relationships/tags" Target="../tags/tag619.xml"/><Relationship Id="rId9"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626.xml"/><Relationship Id="rId7" Type="http://schemas.openxmlformats.org/officeDocument/2006/relationships/slideMaster" Target="../slideMasters/slideMaster5.xml"/><Relationship Id="rId2" Type="http://schemas.openxmlformats.org/officeDocument/2006/relationships/tags" Target="../tags/tag625.xml"/><Relationship Id="rId1" Type="http://schemas.openxmlformats.org/officeDocument/2006/relationships/tags" Target="../tags/tag624.xml"/><Relationship Id="rId6" Type="http://schemas.openxmlformats.org/officeDocument/2006/relationships/tags" Target="../tags/tag629.xml"/><Relationship Id="rId11" Type="http://schemas.openxmlformats.org/officeDocument/2006/relationships/image" Target="../media/image3.png"/><Relationship Id="rId5" Type="http://schemas.openxmlformats.org/officeDocument/2006/relationships/tags" Target="../tags/tag628.xml"/><Relationship Id="rId10" Type="http://schemas.openxmlformats.org/officeDocument/2006/relationships/image" Target="../media/image21.png"/><Relationship Id="rId4" Type="http://schemas.openxmlformats.org/officeDocument/2006/relationships/tags" Target="../tags/tag627.xml"/><Relationship Id="rId9"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image" Target="../media/image3.png"/><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2.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image" Target="../media/image1.emf"/><Relationship Id="rId5" Type="http://schemas.openxmlformats.org/officeDocument/2006/relationships/tags" Target="../tags/tag74.xml"/><Relationship Id="rId10" Type="http://schemas.openxmlformats.org/officeDocument/2006/relationships/oleObject" Target="../embeddings/oleObject9.bin"/><Relationship Id="rId4" Type="http://schemas.openxmlformats.org/officeDocument/2006/relationships/tags" Target="../tags/tag73.xml"/><Relationship Id="rId9"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32.xml"/><Relationship Id="rId7" Type="http://schemas.openxmlformats.org/officeDocument/2006/relationships/image" Target="../media/image4.emf"/><Relationship Id="rId2" Type="http://schemas.openxmlformats.org/officeDocument/2006/relationships/tags" Target="../tags/tag631.xml"/><Relationship Id="rId1" Type="http://schemas.openxmlformats.org/officeDocument/2006/relationships/tags" Target="../tags/tag630.xml"/><Relationship Id="rId6" Type="http://schemas.openxmlformats.org/officeDocument/2006/relationships/oleObject" Target="../embeddings/oleObject83.bin"/><Relationship Id="rId5" Type="http://schemas.openxmlformats.org/officeDocument/2006/relationships/slideMaster" Target="../slideMasters/slideMaster5.xml"/><Relationship Id="rId4" Type="http://schemas.openxmlformats.org/officeDocument/2006/relationships/tags" Target="../tags/tag633.xml"/><Relationship Id="rId9"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5.xml"/><Relationship Id="rId1" Type="http://schemas.openxmlformats.org/officeDocument/2006/relationships/tags" Target="../tags/tag634.xml"/><Relationship Id="rId6" Type="http://schemas.openxmlformats.org/officeDocument/2006/relationships/image" Target="../media/image3.png"/><Relationship Id="rId5" Type="http://schemas.openxmlformats.org/officeDocument/2006/relationships/image" Target="../media/image22.png"/><Relationship Id="rId4" Type="http://schemas.openxmlformats.org/officeDocument/2006/relationships/image" Target="../media/image4.emf"/></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642.xml"/><Relationship Id="rId13" Type="http://schemas.microsoft.com/office/2007/relationships/hdphoto" Target="../media/hdphoto1.wdp"/><Relationship Id="rId3" Type="http://schemas.openxmlformats.org/officeDocument/2006/relationships/tags" Target="../tags/tag637.xml"/><Relationship Id="rId7" Type="http://schemas.openxmlformats.org/officeDocument/2006/relationships/tags" Target="../tags/tag641.xml"/><Relationship Id="rId12" Type="http://schemas.openxmlformats.org/officeDocument/2006/relationships/image" Target="../media/image8.png"/><Relationship Id="rId17" Type="http://schemas.microsoft.com/office/2007/relationships/hdphoto" Target="../media/hdphoto7.wdp"/><Relationship Id="rId2" Type="http://schemas.openxmlformats.org/officeDocument/2006/relationships/tags" Target="../tags/tag636.xml"/><Relationship Id="rId16" Type="http://schemas.openxmlformats.org/officeDocument/2006/relationships/image" Target="../media/image23.png"/><Relationship Id="rId1" Type="http://schemas.openxmlformats.org/officeDocument/2006/relationships/tags" Target="../tags/tag635.xml"/><Relationship Id="rId6" Type="http://schemas.openxmlformats.org/officeDocument/2006/relationships/tags" Target="../tags/tag640.xml"/><Relationship Id="rId11" Type="http://schemas.openxmlformats.org/officeDocument/2006/relationships/image" Target="../media/image4.emf"/><Relationship Id="rId5" Type="http://schemas.openxmlformats.org/officeDocument/2006/relationships/tags" Target="../tags/tag639.xml"/><Relationship Id="rId15" Type="http://schemas.openxmlformats.org/officeDocument/2006/relationships/image" Target="../media/image3.png"/><Relationship Id="rId10" Type="http://schemas.openxmlformats.org/officeDocument/2006/relationships/oleObject" Target="../embeddings/oleObject85.bin"/><Relationship Id="rId4" Type="http://schemas.openxmlformats.org/officeDocument/2006/relationships/tags" Target="../tags/tag638.xml"/><Relationship Id="rId9" Type="http://schemas.openxmlformats.org/officeDocument/2006/relationships/slideMaster" Target="../slideMasters/slideMaster5.xml"/><Relationship Id="rId14" Type="http://schemas.openxmlformats.org/officeDocument/2006/relationships/image" Target="../media/image9.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oleObject" Target="../embeddings/oleObject87.bin"/><Relationship Id="rId2" Type="http://schemas.openxmlformats.org/officeDocument/2006/relationships/tags" Target="../tags/tag664.xml"/><Relationship Id="rId1" Type="http://schemas.openxmlformats.org/officeDocument/2006/relationships/tags" Target="../tags/tag663.xml"/><Relationship Id="rId6" Type="http://schemas.openxmlformats.org/officeDocument/2006/relationships/slideMaster" Target="../slideMasters/slideMaster6.xml"/><Relationship Id="rId11" Type="http://schemas.openxmlformats.org/officeDocument/2006/relationships/image" Target="../media/image17.png"/><Relationship Id="rId5" Type="http://schemas.openxmlformats.org/officeDocument/2006/relationships/tags" Target="../tags/tag667.xml"/><Relationship Id="rId10" Type="http://schemas.openxmlformats.org/officeDocument/2006/relationships/image" Target="../media/image16.png"/><Relationship Id="rId4" Type="http://schemas.openxmlformats.org/officeDocument/2006/relationships/tags" Target="../tags/tag666.xml"/><Relationship Id="rId9" Type="http://schemas.openxmlformats.org/officeDocument/2006/relationships/image" Target="../media/image15.tiff"/></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70.xml"/><Relationship Id="rId7" Type="http://schemas.openxmlformats.org/officeDocument/2006/relationships/tags" Target="../tags/tag674.xml"/><Relationship Id="rId2" Type="http://schemas.openxmlformats.org/officeDocument/2006/relationships/tags" Target="../tags/tag669.xml"/><Relationship Id="rId1" Type="http://schemas.openxmlformats.org/officeDocument/2006/relationships/tags" Target="../tags/tag668.xml"/><Relationship Id="rId6" Type="http://schemas.openxmlformats.org/officeDocument/2006/relationships/tags" Target="../tags/tag673.xml"/><Relationship Id="rId5" Type="http://schemas.openxmlformats.org/officeDocument/2006/relationships/tags" Target="../tags/tag672.xml"/><Relationship Id="rId10" Type="http://schemas.openxmlformats.org/officeDocument/2006/relationships/image" Target="../media/image1.emf"/><Relationship Id="rId4" Type="http://schemas.openxmlformats.org/officeDocument/2006/relationships/tags" Target="../tags/tag671.xml"/><Relationship Id="rId9" Type="http://schemas.openxmlformats.org/officeDocument/2006/relationships/oleObject" Target="../embeddings/oleObject88.bin"/></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tags" Target="../tags/tag677.xml"/><Relationship Id="rId7" Type="http://schemas.openxmlformats.org/officeDocument/2006/relationships/slideMaster" Target="../slideMasters/slideMaster6.xml"/><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tags" Target="../tags/tag680.xml"/><Relationship Id="rId5" Type="http://schemas.openxmlformats.org/officeDocument/2006/relationships/tags" Target="../tags/tag679.xml"/><Relationship Id="rId4" Type="http://schemas.openxmlformats.org/officeDocument/2006/relationships/tags" Target="../tags/tag678.xml"/><Relationship Id="rId9"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8" Type="http://schemas.openxmlformats.org/officeDocument/2006/relationships/oleObject" Target="../embeddings/oleObject90.bin"/><Relationship Id="rId3" Type="http://schemas.openxmlformats.org/officeDocument/2006/relationships/tags" Target="../tags/tag683.xml"/><Relationship Id="rId7" Type="http://schemas.openxmlformats.org/officeDocument/2006/relationships/slideMaster" Target="../slideMasters/slideMaster6.xml"/><Relationship Id="rId2" Type="http://schemas.openxmlformats.org/officeDocument/2006/relationships/tags" Target="../tags/tag682.xml"/><Relationship Id="rId1" Type="http://schemas.openxmlformats.org/officeDocument/2006/relationships/tags" Target="../tags/tag681.xml"/><Relationship Id="rId6" Type="http://schemas.openxmlformats.org/officeDocument/2006/relationships/tags" Target="../tags/tag686.xml"/><Relationship Id="rId5" Type="http://schemas.openxmlformats.org/officeDocument/2006/relationships/tags" Target="../tags/tag685.xml"/><Relationship Id="rId4" Type="http://schemas.openxmlformats.org/officeDocument/2006/relationships/tags" Target="../tags/tag684.xml"/><Relationship Id="rId9"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689.xml"/><Relationship Id="rId7" Type="http://schemas.openxmlformats.org/officeDocument/2006/relationships/slideMaster" Target="../slideMasters/slideMaster6.xml"/><Relationship Id="rId2" Type="http://schemas.openxmlformats.org/officeDocument/2006/relationships/tags" Target="../tags/tag688.xml"/><Relationship Id="rId1" Type="http://schemas.openxmlformats.org/officeDocument/2006/relationships/tags" Target="../tags/tag687.xml"/><Relationship Id="rId6" Type="http://schemas.openxmlformats.org/officeDocument/2006/relationships/tags" Target="../tags/tag692.xml"/><Relationship Id="rId5" Type="http://schemas.openxmlformats.org/officeDocument/2006/relationships/tags" Target="../tags/tag691.xml"/><Relationship Id="rId4" Type="http://schemas.openxmlformats.org/officeDocument/2006/relationships/tags" Target="../tags/tag690.xml"/><Relationship Id="rId9" Type="http://schemas.openxmlformats.org/officeDocument/2006/relationships/image" Target="../media/image4.emf"/></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92.bin"/><Relationship Id="rId3" Type="http://schemas.openxmlformats.org/officeDocument/2006/relationships/tags" Target="../tags/tag695.xml"/><Relationship Id="rId7" Type="http://schemas.openxmlformats.org/officeDocument/2006/relationships/slideMaster" Target="../slideMasters/slideMaster6.xml"/><Relationship Id="rId2" Type="http://schemas.openxmlformats.org/officeDocument/2006/relationships/tags" Target="../tags/tag694.xml"/><Relationship Id="rId1" Type="http://schemas.openxmlformats.org/officeDocument/2006/relationships/tags" Target="../tags/tag693.xml"/><Relationship Id="rId6" Type="http://schemas.openxmlformats.org/officeDocument/2006/relationships/tags" Target="../tags/tag698.xml"/><Relationship Id="rId5" Type="http://schemas.openxmlformats.org/officeDocument/2006/relationships/tags" Target="../tags/tag697.xml"/><Relationship Id="rId4" Type="http://schemas.openxmlformats.org/officeDocument/2006/relationships/tags" Target="../tags/tag696.xml"/><Relationship Id="rId9" Type="http://schemas.openxmlformats.org/officeDocument/2006/relationships/image" Target="../media/image4.emf"/></Relationships>
</file>

<file path=ppt/slideLayouts/_rels/slideLayout8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01.xml"/><Relationship Id="rId7" Type="http://schemas.openxmlformats.org/officeDocument/2006/relationships/tags" Target="../tags/tag705.xml"/><Relationship Id="rId2" Type="http://schemas.openxmlformats.org/officeDocument/2006/relationships/tags" Target="../tags/tag700.xml"/><Relationship Id="rId1" Type="http://schemas.openxmlformats.org/officeDocument/2006/relationships/tags" Target="../tags/tag699.xml"/><Relationship Id="rId6" Type="http://schemas.openxmlformats.org/officeDocument/2006/relationships/tags" Target="../tags/tag704.xml"/><Relationship Id="rId5" Type="http://schemas.openxmlformats.org/officeDocument/2006/relationships/tags" Target="../tags/tag703.xml"/><Relationship Id="rId10" Type="http://schemas.openxmlformats.org/officeDocument/2006/relationships/image" Target="../media/image4.emf"/><Relationship Id="rId4" Type="http://schemas.openxmlformats.org/officeDocument/2006/relationships/tags" Target="../tags/tag702.xml"/><Relationship Id="rId9" Type="http://schemas.openxmlformats.org/officeDocument/2006/relationships/oleObject" Target="../embeddings/oleObject93.bin"/></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image" Target="../media/image2.png"/><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oleObject" Target="../embeddings/oleObject10.bin"/><Relationship Id="rId5" Type="http://schemas.openxmlformats.org/officeDocument/2006/relationships/tags" Target="../tags/tag82.xml"/><Relationship Id="rId10" Type="http://schemas.openxmlformats.org/officeDocument/2006/relationships/slideMaster" Target="../slideMasters/slideMaster1.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713.xml"/><Relationship Id="rId13" Type="http://schemas.openxmlformats.org/officeDocument/2006/relationships/image" Target="../media/image3.png"/><Relationship Id="rId3" Type="http://schemas.openxmlformats.org/officeDocument/2006/relationships/tags" Target="../tags/tag708.xml"/><Relationship Id="rId7" Type="http://schemas.openxmlformats.org/officeDocument/2006/relationships/tags" Target="../tags/tag712.xml"/><Relationship Id="rId12" Type="http://schemas.openxmlformats.org/officeDocument/2006/relationships/image" Target="../media/image24.png"/><Relationship Id="rId2" Type="http://schemas.openxmlformats.org/officeDocument/2006/relationships/tags" Target="../tags/tag707.xml"/><Relationship Id="rId1" Type="http://schemas.openxmlformats.org/officeDocument/2006/relationships/tags" Target="../tags/tag706.xml"/><Relationship Id="rId6" Type="http://schemas.openxmlformats.org/officeDocument/2006/relationships/tags" Target="../tags/tag711.xml"/><Relationship Id="rId11" Type="http://schemas.openxmlformats.org/officeDocument/2006/relationships/image" Target="../media/image1.emf"/><Relationship Id="rId5" Type="http://schemas.openxmlformats.org/officeDocument/2006/relationships/tags" Target="../tags/tag710.xml"/><Relationship Id="rId10" Type="http://schemas.openxmlformats.org/officeDocument/2006/relationships/oleObject" Target="../embeddings/oleObject94.bin"/><Relationship Id="rId4" Type="http://schemas.openxmlformats.org/officeDocument/2006/relationships/tags" Target="../tags/tag709.xml"/><Relationship Id="rId9"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3.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24.png"/><Relationship Id="rId2" Type="http://schemas.openxmlformats.org/officeDocument/2006/relationships/tags" Target="../tags/tag715.xml"/><Relationship Id="rId1" Type="http://schemas.openxmlformats.org/officeDocument/2006/relationships/tags" Target="../tags/tag714.xml"/><Relationship Id="rId6" Type="http://schemas.openxmlformats.org/officeDocument/2006/relationships/tags" Target="../tags/tag719.xml"/><Relationship Id="rId11" Type="http://schemas.openxmlformats.org/officeDocument/2006/relationships/image" Target="../media/image1.emf"/><Relationship Id="rId5" Type="http://schemas.openxmlformats.org/officeDocument/2006/relationships/tags" Target="../tags/tag718.xml"/><Relationship Id="rId10" Type="http://schemas.openxmlformats.org/officeDocument/2006/relationships/oleObject" Target="../embeddings/oleObject95.bin"/><Relationship Id="rId4" Type="http://schemas.openxmlformats.org/officeDocument/2006/relationships/tags" Target="../tags/tag717.xml"/><Relationship Id="rId9"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729.xml"/><Relationship Id="rId13" Type="http://schemas.openxmlformats.org/officeDocument/2006/relationships/image" Target="../media/image3.png"/><Relationship Id="rId3" Type="http://schemas.openxmlformats.org/officeDocument/2006/relationships/tags" Target="../tags/tag724.xml"/><Relationship Id="rId7" Type="http://schemas.openxmlformats.org/officeDocument/2006/relationships/tags" Target="../tags/tag728.xml"/><Relationship Id="rId12" Type="http://schemas.openxmlformats.org/officeDocument/2006/relationships/image" Target="../media/image24.png"/><Relationship Id="rId2" Type="http://schemas.openxmlformats.org/officeDocument/2006/relationships/tags" Target="../tags/tag723.xml"/><Relationship Id="rId1" Type="http://schemas.openxmlformats.org/officeDocument/2006/relationships/tags" Target="../tags/tag722.xml"/><Relationship Id="rId6" Type="http://schemas.openxmlformats.org/officeDocument/2006/relationships/tags" Target="../tags/tag727.xml"/><Relationship Id="rId11" Type="http://schemas.openxmlformats.org/officeDocument/2006/relationships/image" Target="../media/image1.emf"/><Relationship Id="rId5" Type="http://schemas.openxmlformats.org/officeDocument/2006/relationships/tags" Target="../tags/tag726.xml"/><Relationship Id="rId10" Type="http://schemas.openxmlformats.org/officeDocument/2006/relationships/oleObject" Target="../embeddings/oleObject96.bin"/><Relationship Id="rId4" Type="http://schemas.openxmlformats.org/officeDocument/2006/relationships/tags" Target="../tags/tag725.xml"/><Relationship Id="rId9"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737.xml"/><Relationship Id="rId13" Type="http://schemas.openxmlformats.org/officeDocument/2006/relationships/image" Target="../media/image3.png"/><Relationship Id="rId3" Type="http://schemas.openxmlformats.org/officeDocument/2006/relationships/tags" Target="../tags/tag732.xml"/><Relationship Id="rId7" Type="http://schemas.openxmlformats.org/officeDocument/2006/relationships/tags" Target="../tags/tag736.xml"/><Relationship Id="rId12" Type="http://schemas.openxmlformats.org/officeDocument/2006/relationships/image" Target="../media/image24.png"/><Relationship Id="rId2" Type="http://schemas.openxmlformats.org/officeDocument/2006/relationships/tags" Target="../tags/tag731.xml"/><Relationship Id="rId1" Type="http://schemas.openxmlformats.org/officeDocument/2006/relationships/tags" Target="../tags/tag730.xml"/><Relationship Id="rId6" Type="http://schemas.openxmlformats.org/officeDocument/2006/relationships/tags" Target="../tags/tag735.xml"/><Relationship Id="rId11" Type="http://schemas.openxmlformats.org/officeDocument/2006/relationships/image" Target="../media/image6.emf"/><Relationship Id="rId5" Type="http://schemas.openxmlformats.org/officeDocument/2006/relationships/tags" Target="../tags/tag734.xml"/><Relationship Id="rId10" Type="http://schemas.openxmlformats.org/officeDocument/2006/relationships/oleObject" Target="../embeddings/oleObject97.bin"/><Relationship Id="rId4" Type="http://schemas.openxmlformats.org/officeDocument/2006/relationships/tags" Target="../tags/tag733.xml"/><Relationship Id="rId9"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745.xml"/><Relationship Id="rId13" Type="http://schemas.openxmlformats.org/officeDocument/2006/relationships/image" Target="../media/image3.png"/><Relationship Id="rId3" Type="http://schemas.openxmlformats.org/officeDocument/2006/relationships/tags" Target="../tags/tag740.xml"/><Relationship Id="rId7" Type="http://schemas.openxmlformats.org/officeDocument/2006/relationships/tags" Target="../tags/tag744.xml"/><Relationship Id="rId12" Type="http://schemas.openxmlformats.org/officeDocument/2006/relationships/image" Target="../media/image24.png"/><Relationship Id="rId2" Type="http://schemas.openxmlformats.org/officeDocument/2006/relationships/tags" Target="../tags/tag739.xml"/><Relationship Id="rId1" Type="http://schemas.openxmlformats.org/officeDocument/2006/relationships/tags" Target="../tags/tag738.xml"/><Relationship Id="rId6" Type="http://schemas.openxmlformats.org/officeDocument/2006/relationships/tags" Target="../tags/tag743.xml"/><Relationship Id="rId11" Type="http://schemas.openxmlformats.org/officeDocument/2006/relationships/image" Target="../media/image1.emf"/><Relationship Id="rId5" Type="http://schemas.openxmlformats.org/officeDocument/2006/relationships/tags" Target="../tags/tag742.xml"/><Relationship Id="rId10" Type="http://schemas.openxmlformats.org/officeDocument/2006/relationships/oleObject" Target="../embeddings/oleObject98.bin"/><Relationship Id="rId4" Type="http://schemas.openxmlformats.org/officeDocument/2006/relationships/tags" Target="../tags/tag741.xml"/><Relationship Id="rId9"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99.bin"/><Relationship Id="rId3" Type="http://schemas.openxmlformats.org/officeDocument/2006/relationships/tags" Target="../tags/tag748.xml"/><Relationship Id="rId7" Type="http://schemas.openxmlformats.org/officeDocument/2006/relationships/slideMaster" Target="../slideMasters/slideMaster6.xml"/><Relationship Id="rId2" Type="http://schemas.openxmlformats.org/officeDocument/2006/relationships/tags" Target="../tags/tag747.xml"/><Relationship Id="rId1" Type="http://schemas.openxmlformats.org/officeDocument/2006/relationships/tags" Target="../tags/tag746.xml"/><Relationship Id="rId6" Type="http://schemas.openxmlformats.org/officeDocument/2006/relationships/tags" Target="../tags/tag751.xml"/><Relationship Id="rId11" Type="http://schemas.openxmlformats.org/officeDocument/2006/relationships/image" Target="../media/image3.png"/><Relationship Id="rId5" Type="http://schemas.openxmlformats.org/officeDocument/2006/relationships/tags" Target="../tags/tag750.xml"/><Relationship Id="rId10" Type="http://schemas.openxmlformats.org/officeDocument/2006/relationships/image" Target="../media/image24.png"/><Relationship Id="rId4" Type="http://schemas.openxmlformats.org/officeDocument/2006/relationships/tags" Target="../tags/tag749.xml"/><Relationship Id="rId9" Type="http://schemas.openxmlformats.org/officeDocument/2006/relationships/image" Target="../media/image4.emf"/></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754.xml"/><Relationship Id="rId7" Type="http://schemas.openxmlformats.org/officeDocument/2006/relationships/image" Target="../media/image4.emf"/><Relationship Id="rId2" Type="http://schemas.openxmlformats.org/officeDocument/2006/relationships/tags" Target="../tags/tag753.xml"/><Relationship Id="rId1" Type="http://schemas.openxmlformats.org/officeDocument/2006/relationships/tags" Target="../tags/tag752.xml"/><Relationship Id="rId6" Type="http://schemas.openxmlformats.org/officeDocument/2006/relationships/oleObject" Target="../embeddings/oleObject100.bin"/><Relationship Id="rId5" Type="http://schemas.openxmlformats.org/officeDocument/2006/relationships/slideMaster" Target="../slideMasters/slideMaster6.xml"/><Relationship Id="rId4" Type="http://schemas.openxmlformats.org/officeDocument/2006/relationships/tags" Target="../tags/tag755.xml"/><Relationship Id="rId9" Type="http://schemas.openxmlformats.org/officeDocument/2006/relationships/image" Target="../media/image3.png"/></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6.xml"/><Relationship Id="rId1" Type="http://schemas.openxmlformats.org/officeDocument/2006/relationships/tags" Target="../tags/tag756.xml"/><Relationship Id="rId6" Type="http://schemas.openxmlformats.org/officeDocument/2006/relationships/image" Target="../media/image3.png"/><Relationship Id="rId5" Type="http://schemas.openxmlformats.org/officeDocument/2006/relationships/image" Target="../media/image25.png"/><Relationship Id="rId4" Type="http://schemas.openxmlformats.org/officeDocument/2006/relationships/image" Target="../media/image4.emf"/></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79.xml"/><Relationship Id="rId7" Type="http://schemas.openxmlformats.org/officeDocument/2006/relationships/oleObject" Target="../embeddings/oleObject103.bin"/><Relationship Id="rId2" Type="http://schemas.openxmlformats.org/officeDocument/2006/relationships/tags" Target="../tags/tag778.xml"/><Relationship Id="rId1" Type="http://schemas.openxmlformats.org/officeDocument/2006/relationships/tags" Target="../tags/tag777.xml"/><Relationship Id="rId6" Type="http://schemas.openxmlformats.org/officeDocument/2006/relationships/slideMaster" Target="../slideMasters/slideMaster7.xml"/><Relationship Id="rId11" Type="http://schemas.openxmlformats.org/officeDocument/2006/relationships/image" Target="../media/image17.png"/><Relationship Id="rId5" Type="http://schemas.openxmlformats.org/officeDocument/2006/relationships/tags" Target="../tags/tag781.xml"/><Relationship Id="rId10" Type="http://schemas.openxmlformats.org/officeDocument/2006/relationships/image" Target="../media/image16.png"/><Relationship Id="rId4" Type="http://schemas.openxmlformats.org/officeDocument/2006/relationships/tags" Target="../tags/tag780.xml"/><Relationship Id="rId9" Type="http://schemas.openxmlformats.org/officeDocument/2006/relationships/image" Target="../media/image15.tif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84.xml"/><Relationship Id="rId7" Type="http://schemas.openxmlformats.org/officeDocument/2006/relationships/tags" Target="../tags/tag788.xml"/><Relationship Id="rId2" Type="http://schemas.openxmlformats.org/officeDocument/2006/relationships/tags" Target="../tags/tag783.xml"/><Relationship Id="rId1" Type="http://schemas.openxmlformats.org/officeDocument/2006/relationships/tags" Target="../tags/tag782.xml"/><Relationship Id="rId6" Type="http://schemas.openxmlformats.org/officeDocument/2006/relationships/tags" Target="../tags/tag787.xml"/><Relationship Id="rId5" Type="http://schemas.openxmlformats.org/officeDocument/2006/relationships/tags" Target="../tags/tag786.xml"/><Relationship Id="rId10" Type="http://schemas.openxmlformats.org/officeDocument/2006/relationships/image" Target="../media/image1.emf"/><Relationship Id="rId4" Type="http://schemas.openxmlformats.org/officeDocument/2006/relationships/tags" Target="../tags/tag785.xml"/><Relationship Id="rId9" Type="http://schemas.openxmlformats.org/officeDocument/2006/relationships/oleObject" Target="../embeddings/oleObject10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214908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34" name="Group 33">
            <a:extLst>
              <a:ext uri="{FF2B5EF4-FFF2-40B4-BE49-F238E27FC236}">
                <a16:creationId xmlns:a16="http://schemas.microsoft.com/office/drawing/2014/main" id="{1BCF65AB-6F17-4B5B-9938-8A3C1351D5D5}"/>
              </a:ext>
            </a:extLst>
          </p:cNvPr>
          <p:cNvGrpSpPr/>
          <p:nvPr userDrawn="1"/>
        </p:nvGrpSpPr>
        <p:grpSpPr bwMode="ltGray">
          <a:xfrm>
            <a:off x="0" y="-1"/>
            <a:ext cx="12192000" cy="837467"/>
            <a:chOff x="0" y="-1"/>
            <a:chExt cx="12192000" cy="837467"/>
          </a:xfrm>
        </p:grpSpPr>
        <p:sp>
          <p:nvSpPr>
            <p:cNvPr id="35" name="Right Triangle 34">
              <a:extLst>
                <a:ext uri="{FF2B5EF4-FFF2-40B4-BE49-F238E27FC236}">
                  <a16:creationId xmlns:a16="http://schemas.microsoft.com/office/drawing/2014/main" id="{83320A02-D7B0-4DC5-9D5F-F3C8C9785928}"/>
                </a:ext>
              </a:extLst>
            </p:cNvPr>
            <p:cNvSpPr/>
            <p:nvPr userDrawn="1"/>
          </p:nvSpPr>
          <p:spPr bwMode="ltGray">
            <a:xfrm flipV="1">
              <a:off x="0" y="-1"/>
              <a:ext cx="2003708" cy="837467"/>
            </a:xfrm>
            <a:prstGeom prst="rtTriangl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cxnSp>
          <p:nvCxnSpPr>
            <p:cNvPr id="36" name="Straight Connector 35">
              <a:extLst>
                <a:ext uri="{FF2B5EF4-FFF2-40B4-BE49-F238E27FC236}">
                  <a16:creationId xmlns:a16="http://schemas.microsoft.com/office/drawing/2014/main" id="{B17356C1-FA6B-469B-996C-B3A12B96C0AF}"/>
                </a:ext>
              </a:extLst>
            </p:cNvPr>
            <p:cNvCxnSpPr>
              <a:cxnSpLocks/>
              <a:stCxn id="35" idx="2"/>
            </p:cNvCxnSpPr>
            <p:nvPr userDrawn="1"/>
          </p:nvCxnSpPr>
          <p:spPr bwMode="ltGray">
            <a:xfrm>
              <a:off x="0" y="-1"/>
              <a:ext cx="12192000" cy="3177"/>
            </a:xfrm>
            <a:prstGeom prst="line">
              <a:avLst/>
            </a:prstGeom>
            <a:noFill/>
            <a:ln w="76200" cap="flat" cmpd="sng" algn="ctr">
              <a:solidFill>
                <a:schemeClr val="accent1"/>
              </a:solidFill>
              <a:prstDash val="solid"/>
              <a:miter lim="800000"/>
              <a:tailEnd type="none"/>
            </a:ln>
            <a:effectLst/>
          </p:spPr>
        </p:cxnSp>
      </p:grpSp>
      <p:grpSp>
        <p:nvGrpSpPr>
          <p:cNvPr id="37" name="Group 36">
            <a:extLst>
              <a:ext uri="{FF2B5EF4-FFF2-40B4-BE49-F238E27FC236}">
                <a16:creationId xmlns:a16="http://schemas.microsoft.com/office/drawing/2014/main" id="{D81BDC6E-C2F1-4016-90EC-6EBC6844A0A4}"/>
              </a:ext>
            </a:extLst>
          </p:cNvPr>
          <p:cNvGrpSpPr/>
          <p:nvPr userDrawn="1"/>
        </p:nvGrpSpPr>
        <p:grpSpPr bwMode="ltGray">
          <a:xfrm flipH="1" flipV="1">
            <a:off x="0" y="6020533"/>
            <a:ext cx="12192000" cy="837467"/>
            <a:chOff x="0" y="-1"/>
            <a:chExt cx="12192000" cy="837467"/>
          </a:xfrm>
          <a:solidFill>
            <a:srgbClr val="ADADAD"/>
          </a:solidFill>
        </p:grpSpPr>
        <p:sp>
          <p:nvSpPr>
            <p:cNvPr id="38" name="Right Triangle 37">
              <a:extLst>
                <a:ext uri="{FF2B5EF4-FFF2-40B4-BE49-F238E27FC236}">
                  <a16:creationId xmlns:a16="http://schemas.microsoft.com/office/drawing/2014/main" id="{790BBED5-8DD1-4261-BAC9-E55EC1D26CFA}"/>
                </a:ext>
              </a:extLst>
            </p:cNvPr>
            <p:cNvSpPr/>
            <p:nvPr userDrawn="1"/>
          </p:nvSpPr>
          <p:spPr bwMode="ltGray">
            <a:xfrm flipV="1">
              <a:off x="0" y="-1"/>
              <a:ext cx="2003708" cy="837467"/>
            </a:xfrm>
            <a:prstGeom prst="rtTriangle">
              <a:avLst/>
            </a:prstGeom>
            <a:grp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8D1A5B8-89AA-4C3A-890F-BD1BE577C054}"/>
                </a:ext>
              </a:extLst>
            </p:cNvPr>
            <p:cNvCxnSpPr>
              <a:cxnSpLocks/>
              <a:stCxn id="38" idx="2"/>
            </p:cNvCxnSpPr>
            <p:nvPr userDrawn="1"/>
          </p:nvCxnSpPr>
          <p:spPr bwMode="ltGray">
            <a:xfrm>
              <a:off x="0" y="-1"/>
              <a:ext cx="12192000" cy="3177"/>
            </a:xfrm>
            <a:prstGeom prst="line">
              <a:avLst/>
            </a:prstGeom>
            <a:grpFill/>
            <a:ln w="76200" cap="flat" cmpd="sng" algn="ctr">
              <a:solidFill>
                <a:srgbClr val="ADADAD"/>
              </a:solidFill>
              <a:prstDash val="solid"/>
              <a:miter lim="800000"/>
              <a:tailEnd type="none"/>
            </a:ln>
            <a:effectLst/>
          </p:spPr>
        </p:cxnSp>
      </p:grpSp>
      <p:grpSp>
        <p:nvGrpSpPr>
          <p:cNvPr id="40" name="Group 4">
            <a:extLst>
              <a:ext uri="{FF2B5EF4-FFF2-40B4-BE49-F238E27FC236}">
                <a16:creationId xmlns:a16="http://schemas.microsoft.com/office/drawing/2014/main" id="{5C966FC7-3456-49F1-A3E9-08B9951BB41B}"/>
              </a:ext>
            </a:extLst>
          </p:cNvPr>
          <p:cNvGrpSpPr>
            <a:grpSpLocks noChangeAspect="1"/>
          </p:cNvGrpSpPr>
          <p:nvPr userDrawn="1"/>
        </p:nvGrpSpPr>
        <p:grpSpPr bwMode="ltGray">
          <a:xfrm>
            <a:off x="5059827" y="697873"/>
            <a:ext cx="759865" cy="719497"/>
            <a:chOff x="-240" y="2757"/>
            <a:chExt cx="960" cy="909"/>
          </a:xfrm>
        </p:grpSpPr>
        <p:sp>
          <p:nvSpPr>
            <p:cNvPr id="41" name="Freeform 5">
              <a:extLst>
                <a:ext uri="{FF2B5EF4-FFF2-40B4-BE49-F238E27FC236}">
                  <a16:creationId xmlns:a16="http://schemas.microsoft.com/office/drawing/2014/main" id="{6528E9C6-D602-45DF-9855-562EAD2DCAE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2" name="Rectangle 6">
              <a:extLst>
                <a:ext uri="{FF2B5EF4-FFF2-40B4-BE49-F238E27FC236}">
                  <a16:creationId xmlns:a16="http://schemas.microsoft.com/office/drawing/2014/main" id="{945CF0FB-79D3-4C60-870A-8969ED4B706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3" name="Freeform 7">
              <a:extLst>
                <a:ext uri="{FF2B5EF4-FFF2-40B4-BE49-F238E27FC236}">
                  <a16:creationId xmlns:a16="http://schemas.microsoft.com/office/drawing/2014/main" id="{4158C671-F661-4E10-9CDE-C4B51D3A4C52}"/>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4" name="Freeform 8">
              <a:extLst>
                <a:ext uri="{FF2B5EF4-FFF2-40B4-BE49-F238E27FC236}">
                  <a16:creationId xmlns:a16="http://schemas.microsoft.com/office/drawing/2014/main" id="{1205A489-8E55-4811-ACAF-BFFE19C0159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5" name="Freeform 9">
              <a:extLst>
                <a:ext uri="{FF2B5EF4-FFF2-40B4-BE49-F238E27FC236}">
                  <a16:creationId xmlns:a16="http://schemas.microsoft.com/office/drawing/2014/main" id="{B57CF8AD-AD31-42B7-843F-1290682C883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pic>
        <p:nvPicPr>
          <p:cNvPr id="46" name="Picture 720" descr="EDCTP and Africa CDC workshop report on disparities in research funding -  EDCTP">
            <a:extLst>
              <a:ext uri="{FF2B5EF4-FFF2-40B4-BE49-F238E27FC236}">
                <a16:creationId xmlns:a16="http://schemas.microsoft.com/office/drawing/2014/main" id="{F2E1AA9D-F801-4EEF-BDC0-B03EE639EB79}"/>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a:stretch/>
        </p:blipFill>
        <p:spPr bwMode="ltGray">
          <a:xfrm>
            <a:off x="2776885" y="719068"/>
            <a:ext cx="1730266" cy="67710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8CC065CE-BF4C-470F-A114-71DE07F9D0CD}"/>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558800" y="763260"/>
            <a:ext cx="1665410" cy="588722"/>
          </a:xfrm>
          <a:prstGeom prst="rect">
            <a:avLst/>
          </a:prstGeom>
        </p:spPr>
      </p:pic>
      <p:grpSp>
        <p:nvGrpSpPr>
          <p:cNvPr id="49" name="Group 48">
            <a:extLst>
              <a:ext uri="{FF2B5EF4-FFF2-40B4-BE49-F238E27FC236}">
                <a16:creationId xmlns:a16="http://schemas.microsoft.com/office/drawing/2014/main" id="{AA0FAE19-54D7-4CEB-BE34-E37048BD7CC1}"/>
              </a:ext>
            </a:extLst>
          </p:cNvPr>
          <p:cNvGrpSpPr/>
          <p:nvPr userDrawn="1"/>
        </p:nvGrpSpPr>
        <p:grpSpPr bwMode="ltGray">
          <a:xfrm>
            <a:off x="-11936" y="1536377"/>
            <a:ext cx="10379791" cy="3810001"/>
            <a:chOff x="-11936" y="1536377"/>
            <a:chExt cx="10379791" cy="3810001"/>
          </a:xfrm>
        </p:grpSpPr>
        <p:sp>
          <p:nvSpPr>
            <p:cNvPr id="50" name="Parallelogram 10">
              <a:extLst>
                <a:ext uri="{FF2B5EF4-FFF2-40B4-BE49-F238E27FC236}">
                  <a16:creationId xmlns:a16="http://schemas.microsoft.com/office/drawing/2014/main" id="{20931F30-1BAD-4FAB-A50E-1E48F5E0770E}"/>
                </a:ext>
              </a:extLst>
            </p:cNvPr>
            <p:cNvSpPr/>
            <p:nvPr userDrawn="1"/>
          </p:nvSpPr>
          <p:spPr bwMode="ltGray">
            <a:xfrm>
              <a:off x="-11936" y="1536378"/>
              <a:ext cx="10379791" cy="3810000"/>
            </a:xfrm>
            <a:custGeom>
              <a:avLst/>
              <a:gdLst>
                <a:gd name="connsiteX0" fmla="*/ 0 w 9680890"/>
                <a:gd name="connsiteY0" fmla="*/ 3810000 h 3810000"/>
                <a:gd name="connsiteX1" fmla="*/ 1705547 w 9680890"/>
                <a:gd name="connsiteY1" fmla="*/ 0 h 3810000"/>
                <a:gd name="connsiteX2" fmla="*/ 9680890 w 9680890"/>
                <a:gd name="connsiteY2" fmla="*/ 0 h 3810000"/>
                <a:gd name="connsiteX3" fmla="*/ 7975344 w 9680890"/>
                <a:gd name="connsiteY3" fmla="*/ 3810000 h 3810000"/>
                <a:gd name="connsiteX4" fmla="*/ 0 w 9680890"/>
                <a:gd name="connsiteY4" fmla="*/ 3810000 h 3810000"/>
                <a:gd name="connsiteX0" fmla="*/ 199453 w 7975343"/>
                <a:gd name="connsiteY0" fmla="*/ 3797300 h 3810000"/>
                <a:gd name="connsiteX1" fmla="*/ 0 w 7975343"/>
                <a:gd name="connsiteY1" fmla="*/ 0 h 3810000"/>
                <a:gd name="connsiteX2" fmla="*/ 7975343 w 7975343"/>
                <a:gd name="connsiteY2" fmla="*/ 0 h 3810000"/>
                <a:gd name="connsiteX3" fmla="*/ 6269797 w 7975343"/>
                <a:gd name="connsiteY3" fmla="*/ 3810000 h 3810000"/>
                <a:gd name="connsiteX4" fmla="*/ 199453 w 7975343"/>
                <a:gd name="connsiteY4" fmla="*/ 3797300 h 3810000"/>
                <a:gd name="connsiteX0" fmla="*/ 8953 w 7784843"/>
                <a:gd name="connsiteY0" fmla="*/ 3797300 h 3810000"/>
                <a:gd name="connsiteX1" fmla="*/ 0 w 7784843"/>
                <a:gd name="connsiteY1" fmla="*/ 0 h 3810000"/>
                <a:gd name="connsiteX2" fmla="*/ 7784843 w 7784843"/>
                <a:gd name="connsiteY2" fmla="*/ 0 h 3810000"/>
                <a:gd name="connsiteX3" fmla="*/ 6079297 w 7784843"/>
                <a:gd name="connsiteY3" fmla="*/ 3810000 h 3810000"/>
                <a:gd name="connsiteX4" fmla="*/ 8953 w 7784843"/>
                <a:gd name="connsiteY4" fmla="*/ 3797300 h 38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4843" h="3810000">
                  <a:moveTo>
                    <a:pt x="8953" y="3797300"/>
                  </a:moveTo>
                  <a:cubicBezTo>
                    <a:pt x="5969" y="2531533"/>
                    <a:pt x="2984" y="1265767"/>
                    <a:pt x="0" y="0"/>
                  </a:cubicBezTo>
                  <a:lnTo>
                    <a:pt x="7784843" y="0"/>
                  </a:lnTo>
                  <a:lnTo>
                    <a:pt x="6079297" y="3810000"/>
                  </a:lnTo>
                  <a:lnTo>
                    <a:pt x="8953" y="3797300"/>
                  </a:lnTo>
                  <a:close/>
                </a:path>
              </a:pathLst>
            </a:custGeom>
            <a:solidFill>
              <a:srgbClr val="782C2D"/>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1" name="Parallelogram 50">
              <a:extLst>
                <a:ext uri="{FF2B5EF4-FFF2-40B4-BE49-F238E27FC236}">
                  <a16:creationId xmlns:a16="http://schemas.microsoft.com/office/drawing/2014/main" id="{E50F4B37-09C0-4E45-A536-8B73D19044D2}"/>
                </a:ext>
              </a:extLst>
            </p:cNvPr>
            <p:cNvSpPr/>
            <p:nvPr userDrawn="1"/>
          </p:nvSpPr>
          <p:spPr bwMode="ltGray">
            <a:xfrm>
              <a:off x="6990016" y="2769790"/>
              <a:ext cx="2610883" cy="2576588"/>
            </a:xfrm>
            <a:prstGeom prst="parallelogram">
              <a:avLst>
                <a:gd name="adj" fmla="val 57894"/>
              </a:avLst>
            </a:prstGeom>
            <a:solidFill>
              <a:schemeClr val="accent1">
                <a:alpha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2" name="Parallelogram 51">
              <a:extLst>
                <a:ext uri="{FF2B5EF4-FFF2-40B4-BE49-F238E27FC236}">
                  <a16:creationId xmlns:a16="http://schemas.microsoft.com/office/drawing/2014/main" id="{21BAEBDE-53B4-446A-926D-87B6EA25B961}"/>
                </a:ext>
              </a:extLst>
            </p:cNvPr>
            <p:cNvSpPr/>
            <p:nvPr userDrawn="1"/>
          </p:nvSpPr>
          <p:spPr bwMode="ltGray">
            <a:xfrm>
              <a:off x="8472264" y="1536377"/>
              <a:ext cx="1895591" cy="2468688"/>
            </a:xfrm>
            <a:prstGeom prst="parallelogram">
              <a:avLst>
                <a:gd name="adj" fmla="val 76706"/>
              </a:avLst>
            </a:prstGeom>
            <a:solidFill>
              <a:schemeClr val="accent2">
                <a:alpha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auto">
          <a:xfrm>
            <a:off x="558800" y="5624690"/>
            <a:ext cx="66548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1400" dirty="0"/>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hasCustomPrompt="1"/>
            <p:custDataLst>
              <p:tags r:id="rId4"/>
            </p:custDataLst>
          </p:nvPr>
        </p:nvSpPr>
        <p:spPr bwMode="ltGray">
          <a:xfrm>
            <a:off x="558800" y="2157172"/>
            <a:ext cx="665480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4400" dirty="0">
                <a:solidFill>
                  <a:schemeClr val="bg2"/>
                </a:solidFill>
              </a:defRPr>
            </a:lvl1pPr>
          </a:lstStyle>
          <a:p>
            <a:pPr lvl="0"/>
            <a:r>
              <a:rPr lang="en-US" dirty="0"/>
              <a:t>Click to edit Master </a:t>
            </a:r>
            <a:br>
              <a:rPr lang="en-US" dirty="0"/>
            </a:br>
            <a:r>
              <a:rPr lang="en-US" dirty="0"/>
              <a:t>title style</a:t>
            </a:r>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558800" y="4540060"/>
            <a:ext cx="665480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2000" dirty="0">
                <a:solidFill>
                  <a:schemeClr val="bg2"/>
                </a:solidFill>
              </a:defRPr>
            </a:lvl1pPr>
          </a:lstStyle>
          <a:p>
            <a:pPr lvl="0">
              <a:buNone/>
            </a:pPr>
            <a:r>
              <a:rPr lang="en-US"/>
              <a:t>Click to edit Master subtitle style</a:t>
            </a:r>
            <a:endParaRPr lang="en-US" dirty="0"/>
          </a:p>
        </p:txBody>
      </p:sp>
      <p:sp>
        <p:nvSpPr>
          <p:cNvPr id="27" name="Documenttype">
            <a:extLst>
              <a:ext uri="{FF2B5EF4-FFF2-40B4-BE49-F238E27FC236}">
                <a16:creationId xmlns:a16="http://schemas.microsoft.com/office/drawing/2014/main" id="{33A31908-D976-4815-A97D-FAA6317A86A4}"/>
              </a:ext>
            </a:extLst>
          </p:cNvPr>
          <p:cNvSpPr txBox="1">
            <a:spLocks/>
          </p:cNvSpPr>
          <p:nvPr userDrawn="1">
            <p:custDataLst>
              <p:tags r:id="rId6"/>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2740914"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3" name="Documenttype">
            <a:extLst>
              <a:ext uri="{FF2B5EF4-FFF2-40B4-BE49-F238E27FC236}">
                <a16:creationId xmlns:a16="http://schemas.microsoft.com/office/drawing/2014/main" id="{3410F8FE-67D8-49B8-982D-C234BB949C86}"/>
              </a:ext>
            </a:extLst>
          </p:cNvPr>
          <p:cNvSpPr txBox="1">
            <a:spLocks/>
          </p:cNvSpPr>
          <p:nvPr userDrawn="1">
            <p:custDataLst>
              <p:tags r:id="rId8"/>
            </p:custDataLst>
          </p:nvPr>
        </p:nvSpPr>
        <p:spPr>
          <a:xfrm>
            <a:off x="3843943"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9"/>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0551837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fault Without Number">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144808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3" name="Slide Number">
            <a:extLst>
              <a:ext uri="{FF2B5EF4-FFF2-40B4-BE49-F238E27FC236}">
                <a16:creationId xmlns:a16="http://schemas.microsoft.com/office/drawing/2014/main" id="{CE0B50F1-6D0E-4C53-B9AB-8889EFECA0E8}"/>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87936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57411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30D20F8F-9B1E-4BF1-A6A1-7FA56E3BDA96}"/>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Slide Number">
            <a:extLst>
              <a:ext uri="{FF2B5EF4-FFF2-40B4-BE49-F238E27FC236}">
                <a16:creationId xmlns:a16="http://schemas.microsoft.com/office/drawing/2014/main" id="{C8B1F0DF-FA5B-408A-8FCC-5148EA64CBCE}"/>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63169576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CF64C615-2582-4DCF-9142-3B691B7548E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8552986C-9452-46D3-8888-20E612BE00A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4808759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94895A5-9A87-472E-A5BA-9BA01ABF90A5}"/>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DB2D9C9-2BCB-4804-8631-381BA36F2FA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0117978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1417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34" name="Slide Number">
            <a:extLst>
              <a:ext uri="{FF2B5EF4-FFF2-40B4-BE49-F238E27FC236}">
                <a16:creationId xmlns:a16="http://schemas.microsoft.com/office/drawing/2014/main" id="{00D78BE5-42EA-4C8E-996C-4517056791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8"/>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30588664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4032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575BF50E-69E8-4E92-BF47-A468862F9929}"/>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A386E180-04F8-4B18-AFAD-F28A3F606104}"/>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2B78B299-5876-4D7B-9720-0A8A896EEF9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6A5356A1-18AE-470D-8027-E9D8DF8E448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B50C1A43-8E10-4559-A869-314C85AA397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7AF157-A820-4ACD-AB63-8200D1F2777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52797A5B-FBA9-4BF9-A66E-5A9D7016E53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9699D850-373E-438C-83AD-0A7457C5C2E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7686E5-229C-438C-A4A6-423982C30F5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E3771B26-C02B-439A-9350-D1C91B79CE8B}"/>
              </a:ext>
            </a:extLst>
          </p:cNvPr>
          <p:cNvSpPr txBox="1">
            <a:spLocks/>
          </p:cNvSpPr>
          <p:nvPr userDrawn="1">
            <p:custDataLst>
              <p:tags r:id="rId8"/>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68920433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91CEAC37-6545-4492-AAB0-C163408D5D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1" name="Group 4">
            <a:extLst>
              <a:ext uri="{FF2B5EF4-FFF2-40B4-BE49-F238E27FC236}">
                <a16:creationId xmlns:a16="http://schemas.microsoft.com/office/drawing/2014/main" id="{29DA557C-6F84-460C-9E9A-B319AC79D329}"/>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A33616C8-F276-496E-97F5-626AF1A67BC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5BDB4C95-8B13-42E5-97C9-959C0762DD7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740B257D-609C-4C30-A37B-EDE85750E11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5E5772-7391-4093-8E15-D42F0ACD0E7C}"/>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D3E564C4-9BC2-4793-93C1-7A5968E816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3A103D6D-E496-4AD8-8181-08B1F4D45AC7}"/>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B0CEF7D-62D7-4B16-874C-7D6CF60330F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7E92BCC7-C8AA-436D-A5D5-738AB904E581}"/>
              </a:ext>
            </a:extLst>
          </p:cNvPr>
          <p:cNvSpPr txBox="1">
            <a:spLocks/>
          </p:cNvSpPr>
          <p:nvPr userDrawn="1">
            <p:custDataLst>
              <p:tags r:id="rId8"/>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0665175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11256172"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8"/>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57949715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4BB34CAF-3D4A-4A48-A97F-048744350F6E}"/>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4" name="Group 4">
            <a:extLst>
              <a:ext uri="{FF2B5EF4-FFF2-40B4-BE49-F238E27FC236}">
                <a16:creationId xmlns:a16="http://schemas.microsoft.com/office/drawing/2014/main" id="{2A80F2F2-115C-4E8E-B9DC-6DD20548D704}"/>
              </a:ext>
            </a:extLst>
          </p:cNvPr>
          <p:cNvGrpSpPr>
            <a:grpSpLocks noChangeAspect="1"/>
          </p:cNvGrpSpPr>
          <p:nvPr userDrawn="1"/>
        </p:nvGrpSpPr>
        <p:grpSpPr bwMode="ltGray">
          <a:xfrm>
            <a:off x="11256172" y="6417372"/>
            <a:ext cx="394856" cy="373880"/>
            <a:chOff x="-240" y="2757"/>
            <a:chExt cx="960" cy="909"/>
          </a:xfrm>
        </p:grpSpPr>
        <p:sp>
          <p:nvSpPr>
            <p:cNvPr id="29" name="Freeform 5">
              <a:extLst>
                <a:ext uri="{FF2B5EF4-FFF2-40B4-BE49-F238E27FC236}">
                  <a16:creationId xmlns:a16="http://schemas.microsoft.com/office/drawing/2014/main" id="{11644F48-425C-46D9-94C1-23978DD0D13C}"/>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Rectangle 6">
              <a:extLst>
                <a:ext uri="{FF2B5EF4-FFF2-40B4-BE49-F238E27FC236}">
                  <a16:creationId xmlns:a16="http://schemas.microsoft.com/office/drawing/2014/main" id="{75CE9D97-8582-48C0-9419-917440456910}"/>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7">
              <a:extLst>
                <a:ext uri="{FF2B5EF4-FFF2-40B4-BE49-F238E27FC236}">
                  <a16:creationId xmlns:a16="http://schemas.microsoft.com/office/drawing/2014/main" id="{E67EF180-B650-4C4A-91F3-F097E0A099E4}"/>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8">
              <a:extLst>
                <a:ext uri="{FF2B5EF4-FFF2-40B4-BE49-F238E27FC236}">
                  <a16:creationId xmlns:a16="http://schemas.microsoft.com/office/drawing/2014/main" id="{3F4879AE-2BA2-4497-B15D-BC59E7461E6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3" name="Freeform 9">
              <a:extLst>
                <a:ext uri="{FF2B5EF4-FFF2-40B4-BE49-F238E27FC236}">
                  <a16:creationId xmlns:a16="http://schemas.microsoft.com/office/drawing/2014/main" id="{CFDF7617-B35D-4046-93A3-76A85D2829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4" name="Picture 720" descr="EDCTP and Africa CDC workshop report on disparities in research funding -  EDCTP">
            <a:extLst>
              <a:ext uri="{FF2B5EF4-FFF2-40B4-BE49-F238E27FC236}">
                <a16:creationId xmlns:a16="http://schemas.microsoft.com/office/drawing/2014/main" id="{814ED359-19C4-4C9A-ADDF-8DC8C13C085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899874C-DF8F-4F46-A2EB-C41122F78A75}"/>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9" name="5. Source" hidden="1">
            <a:extLst>
              <a:ext uri="{FF2B5EF4-FFF2-40B4-BE49-F238E27FC236}">
                <a16:creationId xmlns:a16="http://schemas.microsoft.com/office/drawing/2014/main" id="{B0B197DD-58D4-4FDB-B1A9-FA59611691E7}"/>
              </a:ext>
            </a:extLst>
          </p:cNvPr>
          <p:cNvSpPr txBox="1">
            <a:spLocks/>
          </p:cNvSpPr>
          <p:nvPr userDrawn="1">
            <p:custDataLst>
              <p:tags r:id="rId8"/>
            </p:custDataLst>
          </p:nvPr>
        </p:nvSpPr>
        <p:spPr>
          <a:xfrm>
            <a:off x="554733"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2165914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4BB34CAF-3D4A-4A48-A97F-048744350F6E}"/>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4" name="Group 4">
            <a:extLst>
              <a:ext uri="{FF2B5EF4-FFF2-40B4-BE49-F238E27FC236}">
                <a16:creationId xmlns:a16="http://schemas.microsoft.com/office/drawing/2014/main" id="{2A80F2F2-115C-4E8E-B9DC-6DD20548D704}"/>
              </a:ext>
            </a:extLst>
          </p:cNvPr>
          <p:cNvGrpSpPr>
            <a:grpSpLocks noChangeAspect="1"/>
          </p:cNvGrpSpPr>
          <p:nvPr userDrawn="1"/>
        </p:nvGrpSpPr>
        <p:grpSpPr bwMode="ltGray">
          <a:xfrm>
            <a:off x="2740914" y="6417372"/>
            <a:ext cx="394856" cy="373880"/>
            <a:chOff x="-240" y="2757"/>
            <a:chExt cx="960" cy="909"/>
          </a:xfrm>
        </p:grpSpPr>
        <p:sp>
          <p:nvSpPr>
            <p:cNvPr id="29" name="Freeform 5">
              <a:extLst>
                <a:ext uri="{FF2B5EF4-FFF2-40B4-BE49-F238E27FC236}">
                  <a16:creationId xmlns:a16="http://schemas.microsoft.com/office/drawing/2014/main" id="{11644F48-425C-46D9-94C1-23978DD0D13C}"/>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Rectangle 6">
              <a:extLst>
                <a:ext uri="{FF2B5EF4-FFF2-40B4-BE49-F238E27FC236}">
                  <a16:creationId xmlns:a16="http://schemas.microsoft.com/office/drawing/2014/main" id="{75CE9D97-8582-48C0-9419-917440456910}"/>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7">
              <a:extLst>
                <a:ext uri="{FF2B5EF4-FFF2-40B4-BE49-F238E27FC236}">
                  <a16:creationId xmlns:a16="http://schemas.microsoft.com/office/drawing/2014/main" id="{E67EF180-B650-4C4A-91F3-F097E0A099E4}"/>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8">
              <a:extLst>
                <a:ext uri="{FF2B5EF4-FFF2-40B4-BE49-F238E27FC236}">
                  <a16:creationId xmlns:a16="http://schemas.microsoft.com/office/drawing/2014/main" id="{3F4879AE-2BA2-4497-B15D-BC59E7461E6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3" name="Freeform 9">
              <a:extLst>
                <a:ext uri="{FF2B5EF4-FFF2-40B4-BE49-F238E27FC236}">
                  <a16:creationId xmlns:a16="http://schemas.microsoft.com/office/drawing/2014/main" id="{CFDF7617-B35D-4046-93A3-76A85D2829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4" name="Picture 720" descr="EDCTP and Africa CDC workshop report on disparities in research funding -  EDCTP">
            <a:extLst>
              <a:ext uri="{FF2B5EF4-FFF2-40B4-BE49-F238E27FC236}">
                <a16:creationId xmlns:a16="http://schemas.microsoft.com/office/drawing/2014/main" id="{814ED359-19C4-4C9A-ADDF-8DC8C13C0852}"/>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899874C-DF8F-4F46-A2EB-C41122F78A75}"/>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8" name="Documenttype">
            <a:extLst>
              <a:ext uri="{FF2B5EF4-FFF2-40B4-BE49-F238E27FC236}">
                <a16:creationId xmlns:a16="http://schemas.microsoft.com/office/drawing/2014/main" id="{06CEDE49-6DB3-4C27-87F8-9E3DB8BC4194}"/>
              </a:ext>
            </a:extLst>
          </p:cNvPr>
          <p:cNvSpPr txBox="1">
            <a:spLocks/>
          </p:cNvSpPr>
          <p:nvPr userDrawn="1">
            <p:custDataLst>
              <p:tags r:id="rId8"/>
            </p:custDataLst>
          </p:nvPr>
        </p:nvSpPr>
        <p:spPr>
          <a:xfrm>
            <a:off x="3843943"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9" name="5. Source" hidden="1">
            <a:extLst>
              <a:ext uri="{FF2B5EF4-FFF2-40B4-BE49-F238E27FC236}">
                <a16:creationId xmlns:a16="http://schemas.microsoft.com/office/drawing/2014/main" id="{B0B197DD-58D4-4FDB-B1A9-FA59611691E7}"/>
              </a:ext>
            </a:extLst>
          </p:cNvPr>
          <p:cNvSpPr txBox="1">
            <a:spLocks/>
          </p:cNvSpPr>
          <p:nvPr userDrawn="1">
            <p:custDataLst>
              <p:tags r:id="rId9"/>
            </p:custDataLst>
          </p:nvPr>
        </p:nvSpPr>
        <p:spPr>
          <a:xfrm>
            <a:off x="554733"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51036819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9" name="Straight Connector 8">
            <a:extLst>
              <a:ext uri="{FF2B5EF4-FFF2-40B4-BE49-F238E27FC236}">
                <a16:creationId xmlns:a16="http://schemas.microsoft.com/office/drawing/2014/main" id="{BC2CB6D3-E8B1-4229-A1B9-B75E7D6E0420}"/>
              </a:ext>
            </a:extLst>
          </p:cNvPr>
          <p:cNvCxnSpPr>
            <a:cxnSpLocks/>
          </p:cNvCxnSpPr>
          <p:nvPr userDrawn="1"/>
        </p:nvCxnSpPr>
        <p:spPr bwMode="ltGray">
          <a:xfrm>
            <a:off x="554736" y="12388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4F9F5BDE-581C-4374-B70C-27D0344EE5B0}"/>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9" name="Group 4">
            <a:extLst>
              <a:ext uri="{FF2B5EF4-FFF2-40B4-BE49-F238E27FC236}">
                <a16:creationId xmlns:a16="http://schemas.microsoft.com/office/drawing/2014/main" id="{341FC139-26C0-428A-9DC5-8A451502DD7A}"/>
              </a:ext>
            </a:extLst>
          </p:cNvPr>
          <p:cNvGrpSpPr>
            <a:grpSpLocks noChangeAspect="1"/>
          </p:cNvGrpSpPr>
          <p:nvPr userDrawn="1"/>
        </p:nvGrpSpPr>
        <p:grpSpPr bwMode="ltGray">
          <a:xfrm>
            <a:off x="11256172" y="6417372"/>
            <a:ext cx="394856" cy="373880"/>
            <a:chOff x="-240" y="2757"/>
            <a:chExt cx="960" cy="909"/>
          </a:xfrm>
        </p:grpSpPr>
        <p:sp>
          <p:nvSpPr>
            <p:cNvPr id="20" name="Freeform 5">
              <a:extLst>
                <a:ext uri="{FF2B5EF4-FFF2-40B4-BE49-F238E27FC236}">
                  <a16:creationId xmlns:a16="http://schemas.microsoft.com/office/drawing/2014/main" id="{57329FBA-126A-4E1D-A53D-36B49F0BA19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2CB24FA4-CB4E-48A9-BAB5-6D243BE23A14}"/>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81CF441F-2F08-469D-9B69-253A5E2C5F5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5B584770-A271-4F31-A098-B5B042A2D27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C18A98AE-A202-476D-AED7-E2B36376F6E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9" name="Picture 720" descr="EDCTP and Africa CDC workshop report on disparities in research funding -  EDCTP">
            <a:extLst>
              <a:ext uri="{FF2B5EF4-FFF2-40B4-BE49-F238E27FC236}">
                <a16:creationId xmlns:a16="http://schemas.microsoft.com/office/drawing/2014/main" id="{A6D66E70-9662-44D7-A1AE-81FDCFDB0A16}"/>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9CA4BC00-CD1D-4AFE-8082-5738A561713E}"/>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2" name="5. Source" hidden="1">
            <a:extLst>
              <a:ext uri="{FF2B5EF4-FFF2-40B4-BE49-F238E27FC236}">
                <a16:creationId xmlns:a16="http://schemas.microsoft.com/office/drawing/2014/main" id="{64C91C80-6C09-4D3D-856F-40475CD2DD48}"/>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96205539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6DBF7DE7-B91D-4ABB-954A-50FBE28D25BA}"/>
              </a:ext>
            </a:extLst>
          </p:cNvPr>
          <p:cNvSpPr>
            <a:spLocks noChangeArrowheads="1"/>
          </p:cNvSpPr>
          <p:nvPr userDrawn="1">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5593A88A-4833-45F6-99A2-C493C0AB8824}"/>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grpSp>
        <p:nvGrpSpPr>
          <p:cNvPr id="6" name="Group 4">
            <a:extLst>
              <a:ext uri="{FF2B5EF4-FFF2-40B4-BE49-F238E27FC236}">
                <a16:creationId xmlns:a16="http://schemas.microsoft.com/office/drawing/2014/main" id="{B647C9C1-5471-4388-BAD4-426A4D690ED9}"/>
              </a:ext>
            </a:extLst>
          </p:cNvPr>
          <p:cNvGrpSpPr>
            <a:grpSpLocks noChangeAspect="1"/>
          </p:cNvGrpSpPr>
          <p:nvPr userDrawn="1"/>
        </p:nvGrpSpPr>
        <p:grpSpPr bwMode="ltGray">
          <a:xfrm>
            <a:off x="11256172" y="6417372"/>
            <a:ext cx="394856" cy="373880"/>
            <a:chOff x="-240" y="2757"/>
            <a:chExt cx="960" cy="909"/>
          </a:xfrm>
        </p:grpSpPr>
        <p:sp>
          <p:nvSpPr>
            <p:cNvPr id="7" name="Freeform 5">
              <a:extLst>
                <a:ext uri="{FF2B5EF4-FFF2-40B4-BE49-F238E27FC236}">
                  <a16:creationId xmlns:a16="http://schemas.microsoft.com/office/drawing/2014/main" id="{F37C1500-6D09-4B69-BE3B-22AF92B92877}"/>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Rectangle 6">
              <a:extLst>
                <a:ext uri="{FF2B5EF4-FFF2-40B4-BE49-F238E27FC236}">
                  <a16:creationId xmlns:a16="http://schemas.microsoft.com/office/drawing/2014/main" id="{33502601-D301-4859-B697-92C3C2329416}"/>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7">
              <a:extLst>
                <a:ext uri="{FF2B5EF4-FFF2-40B4-BE49-F238E27FC236}">
                  <a16:creationId xmlns:a16="http://schemas.microsoft.com/office/drawing/2014/main" id="{38ACD85C-2DE8-4826-871D-6160EC075A46}"/>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8">
              <a:extLst>
                <a:ext uri="{FF2B5EF4-FFF2-40B4-BE49-F238E27FC236}">
                  <a16:creationId xmlns:a16="http://schemas.microsoft.com/office/drawing/2014/main" id="{FA3DE10D-3AA1-400C-BAAC-13F5B20FCE5F}"/>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3" name="Freeform 9">
              <a:extLst>
                <a:ext uri="{FF2B5EF4-FFF2-40B4-BE49-F238E27FC236}">
                  <a16:creationId xmlns:a16="http://schemas.microsoft.com/office/drawing/2014/main" id="{2DDCBF92-A2DF-4C8B-846F-A6A6F239AADF}"/>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4" name="Picture 720" descr="EDCTP and Africa CDC workshop report on disparities in research funding -  EDCTP">
            <a:extLst>
              <a:ext uri="{FF2B5EF4-FFF2-40B4-BE49-F238E27FC236}">
                <a16:creationId xmlns:a16="http://schemas.microsoft.com/office/drawing/2014/main" id="{A1D48B6D-051F-45EA-9C47-02764BCD5EFE}"/>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37559406-1D2B-4BD8-A46C-F6B5F936A61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1035679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a:off x="3817044"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10120155"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ltGray">
          <a:xfrm>
            <a:off x="799595" y="2877126"/>
            <a:ext cx="2467979" cy="872430"/>
          </a:xfrm>
          <a:prstGeom prst="rect">
            <a:avLst/>
          </a:prstGeom>
        </p:spPr>
      </p:pic>
    </p:spTree>
    <p:extLst>
      <p:ext uri="{BB962C8B-B14F-4D97-AF65-F5344CB8AC3E}">
        <p14:creationId xmlns:p14="http://schemas.microsoft.com/office/powerpoint/2010/main" val="340643267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0"/>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1"/>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3"/>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51342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6"/>
            </p:custDataLst>
          </p:nvPr>
        </p:nvSpPr>
        <p:spPr>
          <a:xfrm>
            <a:off x="7156704" y="89320"/>
            <a:ext cx="4480560" cy="123111"/>
          </a:xfrm>
        </p:spPr>
        <p:txBody>
          <a:bodyPr vert="horz" wrap="square" lIns="0" tIns="0" rIns="0" bIns="0" rtlCol="0" anchor="ctr" anchorCtr="0">
            <a:spAutoFit/>
          </a:bodyPr>
          <a:lstStyle>
            <a:lvl1pPr algn="r">
              <a:defRPr lang="en-US" sz="800" dirty="0"/>
            </a:lvl1pPr>
          </a:lstStyle>
          <a:p>
            <a:pPr lvl="0" algn="r"/>
            <a:r>
              <a:rPr lang="en-US" dirty="0"/>
              <a:t>Section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3686102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60354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A3D21A23-A104-496A-A3BB-E2824FA8D4F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bg2"/>
                </a:solidFill>
              </a:defRPr>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p:custDataLst>
              <p:tags r:id="rId4"/>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2"/>
                </a:solidFill>
              </a:defRPr>
            </a:lvl1pPr>
          </a:lstStyle>
          <a:p>
            <a:pPr lvl="0"/>
            <a:r>
              <a:rPr lang="en-US"/>
              <a:t>Click to edit Master title style</a:t>
            </a:r>
            <a:endParaRPr lang="en-US" dirty="0"/>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bg2"/>
                </a:solidFill>
              </a:defRPr>
            </a:lvl1pPr>
          </a:lstStyle>
          <a:p>
            <a:pPr lvl="0">
              <a:buNone/>
            </a:pPr>
            <a:r>
              <a:rPr lang="en-US"/>
              <a:t>Click to edit Master subtitle style</a:t>
            </a:r>
            <a:endParaRPr lang="en-US" dirty="0"/>
          </a:p>
        </p:txBody>
      </p:sp>
      <p:pic>
        <p:nvPicPr>
          <p:cNvPr id="26" name="Picture 25">
            <a:extLst>
              <a:ext uri="{FF2B5EF4-FFF2-40B4-BE49-F238E27FC236}">
                <a16:creationId xmlns:a16="http://schemas.microsoft.com/office/drawing/2014/main" id="{70BACD0A-B176-44DB-A133-D449488AB5A9}"/>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28" name="Picture 27">
            <a:extLst>
              <a:ext uri="{FF2B5EF4-FFF2-40B4-BE49-F238E27FC236}">
                <a16:creationId xmlns:a16="http://schemas.microsoft.com/office/drawing/2014/main" id="{EC3FDF1A-4D14-4090-9EED-9E4DE3DBE79F}"/>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29" name="Group 28">
            <a:extLst>
              <a:ext uri="{FF2B5EF4-FFF2-40B4-BE49-F238E27FC236}">
                <a16:creationId xmlns:a16="http://schemas.microsoft.com/office/drawing/2014/main" id="{CDFBF8AE-F994-4CC4-BA6C-8FAA88311833}"/>
              </a:ext>
            </a:extLst>
          </p:cNvPr>
          <p:cNvGrpSpPr>
            <a:grpSpLocks noChangeAspect="1"/>
          </p:cNvGrpSpPr>
          <p:nvPr userDrawn="1"/>
        </p:nvGrpSpPr>
        <p:grpSpPr bwMode="ltGray">
          <a:xfrm>
            <a:off x="10402367" y="5349875"/>
            <a:ext cx="950497" cy="900000"/>
            <a:chOff x="10236055" y="680939"/>
            <a:chExt cx="759866" cy="719497"/>
          </a:xfrm>
        </p:grpSpPr>
        <p:sp>
          <p:nvSpPr>
            <p:cNvPr id="30" name="Freeform 5">
              <a:extLst>
                <a:ext uri="{FF2B5EF4-FFF2-40B4-BE49-F238E27FC236}">
                  <a16:creationId xmlns:a16="http://schemas.microsoft.com/office/drawing/2014/main" id="{D35963A8-BB09-4371-877B-057423491DF2}"/>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1" name="Rectangle 6">
              <a:extLst>
                <a:ext uri="{FF2B5EF4-FFF2-40B4-BE49-F238E27FC236}">
                  <a16:creationId xmlns:a16="http://schemas.microsoft.com/office/drawing/2014/main" id="{BBE09AF2-2A54-445D-8F64-9D7F19B00A85}"/>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2" name="Freeform 7">
              <a:extLst>
                <a:ext uri="{FF2B5EF4-FFF2-40B4-BE49-F238E27FC236}">
                  <a16:creationId xmlns:a16="http://schemas.microsoft.com/office/drawing/2014/main" id="{3E49903B-7D11-4416-90E4-1D9E7D5436EF}"/>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 name="Freeform 8">
              <a:extLst>
                <a:ext uri="{FF2B5EF4-FFF2-40B4-BE49-F238E27FC236}">
                  <a16:creationId xmlns:a16="http://schemas.microsoft.com/office/drawing/2014/main" id="{6C832AF7-3499-4BBD-8C3A-99E4268CECD9}"/>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 name="Freeform 9">
              <a:extLst>
                <a:ext uri="{FF2B5EF4-FFF2-40B4-BE49-F238E27FC236}">
                  <a16:creationId xmlns:a16="http://schemas.microsoft.com/office/drawing/2014/main" id="{D4226C4E-AAF5-499A-BD28-C95AE1686913}"/>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9025731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12" name="Slide Number">
            <a:extLst>
              <a:ext uri="{FF2B5EF4-FFF2-40B4-BE49-F238E27FC236}">
                <a16:creationId xmlns:a16="http://schemas.microsoft.com/office/drawing/2014/main" id="{480918F5-69A8-40D4-9A1C-19A48B2E8F78}"/>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58671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fault Without Number">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213457154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3" name="Slide Number">
            <a:extLst>
              <a:ext uri="{FF2B5EF4-FFF2-40B4-BE49-F238E27FC236}">
                <a16:creationId xmlns:a16="http://schemas.microsoft.com/office/drawing/2014/main" id="{CE0B50F1-6D0E-4C53-B9AB-8889EFECA0E8}"/>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353591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57411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30D20F8F-9B1E-4BF1-A6A1-7FA56E3BDA96}"/>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Slide Number">
            <a:extLst>
              <a:ext uri="{FF2B5EF4-FFF2-40B4-BE49-F238E27FC236}">
                <a16:creationId xmlns:a16="http://schemas.microsoft.com/office/drawing/2014/main" id="{C8B1F0DF-FA5B-408A-8FCC-5148EA64CBCE}"/>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837827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9" name="Straight Connector 8">
            <a:extLst>
              <a:ext uri="{FF2B5EF4-FFF2-40B4-BE49-F238E27FC236}">
                <a16:creationId xmlns:a16="http://schemas.microsoft.com/office/drawing/2014/main" id="{BC2CB6D3-E8B1-4229-A1B9-B75E7D6E0420}"/>
              </a:ext>
            </a:extLst>
          </p:cNvPr>
          <p:cNvCxnSpPr>
            <a:cxnSpLocks/>
          </p:cNvCxnSpPr>
          <p:nvPr userDrawn="1"/>
        </p:nvCxnSpPr>
        <p:spPr bwMode="ltGray">
          <a:xfrm>
            <a:off x="554736" y="12388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4F9F5BDE-581C-4374-B70C-27D0344EE5B0}"/>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9" name="Group 4">
            <a:extLst>
              <a:ext uri="{FF2B5EF4-FFF2-40B4-BE49-F238E27FC236}">
                <a16:creationId xmlns:a16="http://schemas.microsoft.com/office/drawing/2014/main" id="{341FC139-26C0-428A-9DC5-8A451502DD7A}"/>
              </a:ext>
            </a:extLst>
          </p:cNvPr>
          <p:cNvGrpSpPr>
            <a:grpSpLocks noChangeAspect="1"/>
          </p:cNvGrpSpPr>
          <p:nvPr userDrawn="1"/>
        </p:nvGrpSpPr>
        <p:grpSpPr bwMode="ltGray">
          <a:xfrm>
            <a:off x="2740914" y="6417372"/>
            <a:ext cx="394856" cy="373880"/>
            <a:chOff x="-240" y="2757"/>
            <a:chExt cx="960" cy="909"/>
          </a:xfrm>
        </p:grpSpPr>
        <p:sp>
          <p:nvSpPr>
            <p:cNvPr id="20" name="Freeform 5">
              <a:extLst>
                <a:ext uri="{FF2B5EF4-FFF2-40B4-BE49-F238E27FC236}">
                  <a16:creationId xmlns:a16="http://schemas.microsoft.com/office/drawing/2014/main" id="{57329FBA-126A-4E1D-A53D-36B49F0BA19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2CB24FA4-CB4E-48A9-BAB5-6D243BE23A14}"/>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81CF441F-2F08-469D-9B69-253A5E2C5F5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5B584770-A271-4F31-A098-B5B042A2D27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C18A98AE-A202-476D-AED7-E2B36376F6E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9" name="Picture 720" descr="EDCTP and Africa CDC workshop report on disparities in research funding -  EDCTP">
            <a:extLst>
              <a:ext uri="{FF2B5EF4-FFF2-40B4-BE49-F238E27FC236}">
                <a16:creationId xmlns:a16="http://schemas.microsoft.com/office/drawing/2014/main" id="{A6D66E70-9662-44D7-A1AE-81FDCFDB0A16}"/>
              </a:ext>
            </a:extLst>
          </p:cNvPr>
          <p:cNvPicPr>
            <a:picLocks noChangeAspect="1" noChangeArrowheads="1"/>
          </p:cNvPicPr>
          <p:nvPr userDrawn="1"/>
        </p:nvPicPr>
        <p:blipFill rotWithShape="1">
          <a:blip r:embed="rId11"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9CA4BC00-CD1D-4AFE-8082-5738A561713E}"/>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1" name="Documenttype">
            <a:extLst>
              <a:ext uri="{FF2B5EF4-FFF2-40B4-BE49-F238E27FC236}">
                <a16:creationId xmlns:a16="http://schemas.microsoft.com/office/drawing/2014/main" id="{E4F7F4B0-2261-499D-96F0-D94031975B49}"/>
              </a:ext>
            </a:extLst>
          </p:cNvPr>
          <p:cNvSpPr txBox="1">
            <a:spLocks/>
          </p:cNvSpPr>
          <p:nvPr userDrawn="1">
            <p:custDataLst>
              <p:tags r:id="rId6"/>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2" name="5. Source" hidden="1">
            <a:extLst>
              <a:ext uri="{FF2B5EF4-FFF2-40B4-BE49-F238E27FC236}">
                <a16:creationId xmlns:a16="http://schemas.microsoft.com/office/drawing/2014/main" id="{64C91C80-6C09-4D3D-856F-40475CD2DD48}"/>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54082416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CF64C615-2582-4DCF-9142-3B691B7548E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8552986C-9452-46D3-8888-20E612BE00A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6546384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94895A5-9A87-472E-A5BA-9BA01ABF90A5}"/>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DB2D9C9-2BCB-4804-8631-381BA36F2FA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68214047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1417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34" name="Slide Number">
            <a:extLst>
              <a:ext uri="{FF2B5EF4-FFF2-40B4-BE49-F238E27FC236}">
                <a16:creationId xmlns:a16="http://schemas.microsoft.com/office/drawing/2014/main" id="{00D78BE5-42EA-4C8E-996C-4517056791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8"/>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7302709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4032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575BF50E-69E8-4E92-BF47-A468862F9929}"/>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A386E180-04F8-4B18-AFAD-F28A3F606104}"/>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2B78B299-5876-4D7B-9720-0A8A896EEF9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6A5356A1-18AE-470D-8027-E9D8DF8E448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B50C1A43-8E10-4559-A869-314C85AA397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7AF157-A820-4ACD-AB63-8200D1F2777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52797A5B-FBA9-4BF9-A66E-5A9D7016E53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9699D850-373E-438C-83AD-0A7457C5C2E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7686E5-229C-438C-A4A6-423982C30F5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E3771B26-C02B-439A-9350-D1C91B79CE8B}"/>
              </a:ext>
            </a:extLst>
          </p:cNvPr>
          <p:cNvSpPr txBox="1">
            <a:spLocks/>
          </p:cNvSpPr>
          <p:nvPr userDrawn="1">
            <p:custDataLst>
              <p:tags r:id="rId8"/>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1058674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91CEAC37-6545-4492-AAB0-C163408D5D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1" name="Group 4">
            <a:extLst>
              <a:ext uri="{FF2B5EF4-FFF2-40B4-BE49-F238E27FC236}">
                <a16:creationId xmlns:a16="http://schemas.microsoft.com/office/drawing/2014/main" id="{29DA557C-6F84-460C-9E9A-B319AC79D329}"/>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A33616C8-F276-496E-97F5-626AF1A67BC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5BDB4C95-8B13-42E5-97C9-959C0762DD7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740B257D-609C-4C30-A37B-EDE85750E11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5E5772-7391-4093-8E15-D42F0ACD0E7C}"/>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D3E564C4-9BC2-4793-93C1-7A5968E816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3A103D6D-E496-4AD8-8181-08B1F4D45AC7}"/>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B0CEF7D-62D7-4B16-874C-7D6CF60330F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7E92BCC7-C8AA-436D-A5D5-738AB904E581}"/>
              </a:ext>
            </a:extLst>
          </p:cNvPr>
          <p:cNvSpPr txBox="1">
            <a:spLocks/>
          </p:cNvSpPr>
          <p:nvPr userDrawn="1">
            <p:custDataLst>
              <p:tags r:id="rId8"/>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813966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11256172"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8"/>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5325473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4BB34CAF-3D4A-4A48-A97F-048744350F6E}"/>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4" name="Group 4">
            <a:extLst>
              <a:ext uri="{FF2B5EF4-FFF2-40B4-BE49-F238E27FC236}">
                <a16:creationId xmlns:a16="http://schemas.microsoft.com/office/drawing/2014/main" id="{2A80F2F2-115C-4E8E-B9DC-6DD20548D704}"/>
              </a:ext>
            </a:extLst>
          </p:cNvPr>
          <p:cNvGrpSpPr>
            <a:grpSpLocks noChangeAspect="1"/>
          </p:cNvGrpSpPr>
          <p:nvPr userDrawn="1"/>
        </p:nvGrpSpPr>
        <p:grpSpPr bwMode="ltGray">
          <a:xfrm>
            <a:off x="11256172" y="6417372"/>
            <a:ext cx="394856" cy="373880"/>
            <a:chOff x="-240" y="2757"/>
            <a:chExt cx="960" cy="909"/>
          </a:xfrm>
        </p:grpSpPr>
        <p:sp>
          <p:nvSpPr>
            <p:cNvPr id="29" name="Freeform 5">
              <a:extLst>
                <a:ext uri="{FF2B5EF4-FFF2-40B4-BE49-F238E27FC236}">
                  <a16:creationId xmlns:a16="http://schemas.microsoft.com/office/drawing/2014/main" id="{11644F48-425C-46D9-94C1-23978DD0D13C}"/>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Rectangle 6">
              <a:extLst>
                <a:ext uri="{FF2B5EF4-FFF2-40B4-BE49-F238E27FC236}">
                  <a16:creationId xmlns:a16="http://schemas.microsoft.com/office/drawing/2014/main" id="{75CE9D97-8582-48C0-9419-917440456910}"/>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7">
              <a:extLst>
                <a:ext uri="{FF2B5EF4-FFF2-40B4-BE49-F238E27FC236}">
                  <a16:creationId xmlns:a16="http://schemas.microsoft.com/office/drawing/2014/main" id="{E67EF180-B650-4C4A-91F3-F097E0A099E4}"/>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8">
              <a:extLst>
                <a:ext uri="{FF2B5EF4-FFF2-40B4-BE49-F238E27FC236}">
                  <a16:creationId xmlns:a16="http://schemas.microsoft.com/office/drawing/2014/main" id="{3F4879AE-2BA2-4497-B15D-BC59E7461E6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3" name="Freeform 9">
              <a:extLst>
                <a:ext uri="{FF2B5EF4-FFF2-40B4-BE49-F238E27FC236}">
                  <a16:creationId xmlns:a16="http://schemas.microsoft.com/office/drawing/2014/main" id="{CFDF7617-B35D-4046-93A3-76A85D2829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4" name="Picture 720" descr="EDCTP and Africa CDC workshop report on disparities in research funding -  EDCTP">
            <a:extLst>
              <a:ext uri="{FF2B5EF4-FFF2-40B4-BE49-F238E27FC236}">
                <a16:creationId xmlns:a16="http://schemas.microsoft.com/office/drawing/2014/main" id="{814ED359-19C4-4C9A-ADDF-8DC8C13C085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899874C-DF8F-4F46-A2EB-C41122F78A75}"/>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9" name="5. Source" hidden="1">
            <a:extLst>
              <a:ext uri="{FF2B5EF4-FFF2-40B4-BE49-F238E27FC236}">
                <a16:creationId xmlns:a16="http://schemas.microsoft.com/office/drawing/2014/main" id="{B0B197DD-58D4-4FDB-B1A9-FA59611691E7}"/>
              </a:ext>
            </a:extLst>
          </p:cNvPr>
          <p:cNvSpPr txBox="1">
            <a:spLocks/>
          </p:cNvSpPr>
          <p:nvPr userDrawn="1">
            <p:custDataLst>
              <p:tags r:id="rId8"/>
            </p:custDataLst>
          </p:nvPr>
        </p:nvSpPr>
        <p:spPr>
          <a:xfrm>
            <a:off x="554733"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45992501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9" name="Straight Connector 8">
            <a:extLst>
              <a:ext uri="{FF2B5EF4-FFF2-40B4-BE49-F238E27FC236}">
                <a16:creationId xmlns:a16="http://schemas.microsoft.com/office/drawing/2014/main" id="{BC2CB6D3-E8B1-4229-A1B9-B75E7D6E0420}"/>
              </a:ext>
            </a:extLst>
          </p:cNvPr>
          <p:cNvCxnSpPr>
            <a:cxnSpLocks/>
          </p:cNvCxnSpPr>
          <p:nvPr userDrawn="1"/>
        </p:nvCxnSpPr>
        <p:spPr bwMode="ltGray">
          <a:xfrm>
            <a:off x="554736" y="12388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4F9F5BDE-581C-4374-B70C-27D0344EE5B0}"/>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9" name="Group 4">
            <a:extLst>
              <a:ext uri="{FF2B5EF4-FFF2-40B4-BE49-F238E27FC236}">
                <a16:creationId xmlns:a16="http://schemas.microsoft.com/office/drawing/2014/main" id="{341FC139-26C0-428A-9DC5-8A451502DD7A}"/>
              </a:ext>
            </a:extLst>
          </p:cNvPr>
          <p:cNvGrpSpPr>
            <a:grpSpLocks noChangeAspect="1"/>
          </p:cNvGrpSpPr>
          <p:nvPr userDrawn="1"/>
        </p:nvGrpSpPr>
        <p:grpSpPr bwMode="ltGray">
          <a:xfrm>
            <a:off x="11256172" y="6417372"/>
            <a:ext cx="394856" cy="373880"/>
            <a:chOff x="-240" y="2757"/>
            <a:chExt cx="960" cy="909"/>
          </a:xfrm>
        </p:grpSpPr>
        <p:sp>
          <p:nvSpPr>
            <p:cNvPr id="20" name="Freeform 5">
              <a:extLst>
                <a:ext uri="{FF2B5EF4-FFF2-40B4-BE49-F238E27FC236}">
                  <a16:creationId xmlns:a16="http://schemas.microsoft.com/office/drawing/2014/main" id="{57329FBA-126A-4E1D-A53D-36B49F0BA19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2CB24FA4-CB4E-48A9-BAB5-6D243BE23A14}"/>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81CF441F-2F08-469D-9B69-253A5E2C5F5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5B584770-A271-4F31-A098-B5B042A2D27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C18A98AE-A202-476D-AED7-E2B36376F6E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9" name="Picture 720" descr="EDCTP and Africa CDC workshop report on disparities in research funding -  EDCTP">
            <a:extLst>
              <a:ext uri="{FF2B5EF4-FFF2-40B4-BE49-F238E27FC236}">
                <a16:creationId xmlns:a16="http://schemas.microsoft.com/office/drawing/2014/main" id="{A6D66E70-9662-44D7-A1AE-81FDCFDB0A16}"/>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9CA4BC00-CD1D-4AFE-8082-5738A561713E}"/>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2" name="5. Source" hidden="1">
            <a:extLst>
              <a:ext uri="{FF2B5EF4-FFF2-40B4-BE49-F238E27FC236}">
                <a16:creationId xmlns:a16="http://schemas.microsoft.com/office/drawing/2014/main" id="{64C91C80-6C09-4D3D-856F-40475CD2DD48}"/>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93246188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6DBF7DE7-B91D-4ABB-954A-50FBE28D25BA}"/>
              </a:ext>
            </a:extLst>
          </p:cNvPr>
          <p:cNvSpPr>
            <a:spLocks noChangeArrowheads="1"/>
          </p:cNvSpPr>
          <p:nvPr userDrawn="1">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5593A88A-4833-45F6-99A2-C493C0AB8824}"/>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grpSp>
        <p:nvGrpSpPr>
          <p:cNvPr id="6" name="Group 4">
            <a:extLst>
              <a:ext uri="{FF2B5EF4-FFF2-40B4-BE49-F238E27FC236}">
                <a16:creationId xmlns:a16="http://schemas.microsoft.com/office/drawing/2014/main" id="{B647C9C1-5471-4388-BAD4-426A4D690ED9}"/>
              </a:ext>
            </a:extLst>
          </p:cNvPr>
          <p:cNvGrpSpPr>
            <a:grpSpLocks noChangeAspect="1"/>
          </p:cNvGrpSpPr>
          <p:nvPr userDrawn="1"/>
        </p:nvGrpSpPr>
        <p:grpSpPr bwMode="ltGray">
          <a:xfrm>
            <a:off x="11256172" y="6417372"/>
            <a:ext cx="394856" cy="373880"/>
            <a:chOff x="-240" y="2757"/>
            <a:chExt cx="960" cy="909"/>
          </a:xfrm>
        </p:grpSpPr>
        <p:sp>
          <p:nvSpPr>
            <p:cNvPr id="7" name="Freeform 5">
              <a:extLst>
                <a:ext uri="{FF2B5EF4-FFF2-40B4-BE49-F238E27FC236}">
                  <a16:creationId xmlns:a16="http://schemas.microsoft.com/office/drawing/2014/main" id="{F37C1500-6D09-4B69-BE3B-22AF92B92877}"/>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Rectangle 6">
              <a:extLst>
                <a:ext uri="{FF2B5EF4-FFF2-40B4-BE49-F238E27FC236}">
                  <a16:creationId xmlns:a16="http://schemas.microsoft.com/office/drawing/2014/main" id="{33502601-D301-4859-B697-92C3C2329416}"/>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7">
              <a:extLst>
                <a:ext uri="{FF2B5EF4-FFF2-40B4-BE49-F238E27FC236}">
                  <a16:creationId xmlns:a16="http://schemas.microsoft.com/office/drawing/2014/main" id="{38ACD85C-2DE8-4826-871D-6160EC075A46}"/>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8">
              <a:extLst>
                <a:ext uri="{FF2B5EF4-FFF2-40B4-BE49-F238E27FC236}">
                  <a16:creationId xmlns:a16="http://schemas.microsoft.com/office/drawing/2014/main" id="{FA3DE10D-3AA1-400C-BAAC-13F5B20FCE5F}"/>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3" name="Freeform 9">
              <a:extLst>
                <a:ext uri="{FF2B5EF4-FFF2-40B4-BE49-F238E27FC236}">
                  <a16:creationId xmlns:a16="http://schemas.microsoft.com/office/drawing/2014/main" id="{2DDCBF92-A2DF-4C8B-846F-A6A6F239AADF}"/>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4" name="Picture 720" descr="EDCTP and Africa CDC workshop report on disparities in research funding -  EDCTP">
            <a:extLst>
              <a:ext uri="{FF2B5EF4-FFF2-40B4-BE49-F238E27FC236}">
                <a16:creationId xmlns:a16="http://schemas.microsoft.com/office/drawing/2014/main" id="{A1D48B6D-051F-45EA-9C47-02764BCD5EFE}"/>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37559406-1D2B-4BD8-A46C-F6B5F936A61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364692621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a:off x="3817044"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10120155"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ltGray">
          <a:xfrm>
            <a:off x="799595" y="2877126"/>
            <a:ext cx="2467979" cy="872430"/>
          </a:xfrm>
          <a:prstGeom prst="rect">
            <a:avLst/>
          </a:prstGeom>
        </p:spPr>
      </p:pic>
    </p:spTree>
    <p:extLst>
      <p:ext uri="{BB962C8B-B14F-4D97-AF65-F5344CB8AC3E}">
        <p14:creationId xmlns:p14="http://schemas.microsoft.com/office/powerpoint/2010/main" val="8428809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6DBF7DE7-B91D-4ABB-954A-50FBE28D25BA}"/>
              </a:ext>
            </a:extLst>
          </p:cNvPr>
          <p:cNvSpPr>
            <a:spLocks noChangeArrowheads="1"/>
          </p:cNvSpPr>
          <p:nvPr userDrawn="1">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0" name="Group 4">
            <a:extLst>
              <a:ext uri="{FF2B5EF4-FFF2-40B4-BE49-F238E27FC236}">
                <a16:creationId xmlns:a16="http://schemas.microsoft.com/office/drawing/2014/main" id="{5CC1B763-8C08-49F9-BEC9-5087BB560226}"/>
              </a:ext>
            </a:extLst>
          </p:cNvPr>
          <p:cNvGrpSpPr>
            <a:grpSpLocks noChangeAspect="1"/>
          </p:cNvGrpSpPr>
          <p:nvPr userDrawn="1"/>
        </p:nvGrpSpPr>
        <p:grpSpPr bwMode="ltGray">
          <a:xfrm>
            <a:off x="2740914" y="6417372"/>
            <a:ext cx="394856" cy="373880"/>
            <a:chOff x="-240" y="2757"/>
            <a:chExt cx="960" cy="909"/>
          </a:xfrm>
        </p:grpSpPr>
        <p:sp>
          <p:nvSpPr>
            <p:cNvPr id="11" name="Freeform 5">
              <a:extLst>
                <a:ext uri="{FF2B5EF4-FFF2-40B4-BE49-F238E27FC236}">
                  <a16:creationId xmlns:a16="http://schemas.microsoft.com/office/drawing/2014/main" id="{EA3C5771-FF6B-439E-BBCA-E6C817BB1E7F}"/>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Rectangle 6">
              <a:extLst>
                <a:ext uri="{FF2B5EF4-FFF2-40B4-BE49-F238E27FC236}">
                  <a16:creationId xmlns:a16="http://schemas.microsoft.com/office/drawing/2014/main" id="{01786B40-6CA2-4DEC-805C-762393E1DC16}"/>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3" name="Freeform 7">
              <a:extLst>
                <a:ext uri="{FF2B5EF4-FFF2-40B4-BE49-F238E27FC236}">
                  <a16:creationId xmlns:a16="http://schemas.microsoft.com/office/drawing/2014/main" id="{5E694A86-2684-4105-B2E0-59B7EFF63CB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4" name="Freeform 8">
              <a:extLst>
                <a:ext uri="{FF2B5EF4-FFF2-40B4-BE49-F238E27FC236}">
                  <a16:creationId xmlns:a16="http://schemas.microsoft.com/office/drawing/2014/main" id="{34A7EE5D-12EB-44A4-AF28-C366E13F6991}"/>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5" name="Freeform 9">
              <a:extLst>
                <a:ext uri="{FF2B5EF4-FFF2-40B4-BE49-F238E27FC236}">
                  <a16:creationId xmlns:a16="http://schemas.microsoft.com/office/drawing/2014/main" id="{18810D84-4D21-40C0-953E-91196D5D480C}"/>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 name="Picture 720" descr="EDCTP and Africa CDC workshop report on disparities in research funding -  EDCTP">
            <a:extLst>
              <a:ext uri="{FF2B5EF4-FFF2-40B4-BE49-F238E27FC236}">
                <a16:creationId xmlns:a16="http://schemas.microsoft.com/office/drawing/2014/main" id="{CBCD711D-2D79-4D3B-92B4-9F7E2B664CC6}"/>
              </a:ext>
            </a:extLst>
          </p:cNvPr>
          <p:cNvPicPr>
            <a:picLocks noChangeAspect="1" noChangeArrowheads="1"/>
          </p:cNvPicPr>
          <p:nvPr userDrawn="1"/>
        </p:nvPicPr>
        <p:blipFill rotWithShape="1">
          <a:blip r:embed="rId9"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FFC9BBF8-E7F9-49B1-BDC0-74C1D3594309}"/>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18" name="Documenttype">
            <a:extLst>
              <a:ext uri="{FF2B5EF4-FFF2-40B4-BE49-F238E27FC236}">
                <a16:creationId xmlns:a16="http://schemas.microsoft.com/office/drawing/2014/main" id="{5080A472-39F7-4622-9EB8-DC9605D41B25}"/>
              </a:ext>
            </a:extLst>
          </p:cNvPr>
          <p:cNvSpPr txBox="1">
            <a:spLocks/>
          </p:cNvSpPr>
          <p:nvPr userDrawn="1">
            <p:custDataLst>
              <p:tags r:id="rId4"/>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19" name="5. Source" hidden="1">
            <a:extLst>
              <a:ext uri="{FF2B5EF4-FFF2-40B4-BE49-F238E27FC236}">
                <a16:creationId xmlns:a16="http://schemas.microsoft.com/office/drawing/2014/main" id="{5593A88A-4833-45F6-99A2-C493C0AB8824}"/>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8630075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0"/>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1"/>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3"/>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5078496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60354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A3D21A23-A104-496A-A3BB-E2824FA8D4F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bg2"/>
                </a:solidFill>
              </a:defRPr>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p:custDataLst>
              <p:tags r:id="rId4"/>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2"/>
                </a:solidFill>
              </a:defRPr>
            </a:lvl1pPr>
          </a:lstStyle>
          <a:p>
            <a:pPr lvl="0"/>
            <a:r>
              <a:rPr lang="en-US"/>
              <a:t>Click to edit Master title style</a:t>
            </a:r>
            <a:endParaRPr lang="en-US" dirty="0"/>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bg2"/>
                </a:solidFill>
              </a:defRPr>
            </a:lvl1pPr>
          </a:lstStyle>
          <a:p>
            <a:pPr lvl="0">
              <a:buNone/>
            </a:pPr>
            <a:r>
              <a:rPr lang="en-US"/>
              <a:t>Click to edit Master subtitle style</a:t>
            </a:r>
            <a:endParaRPr lang="en-US" dirty="0"/>
          </a:p>
        </p:txBody>
      </p:sp>
      <p:pic>
        <p:nvPicPr>
          <p:cNvPr id="26" name="Picture 25">
            <a:extLst>
              <a:ext uri="{FF2B5EF4-FFF2-40B4-BE49-F238E27FC236}">
                <a16:creationId xmlns:a16="http://schemas.microsoft.com/office/drawing/2014/main" id="{70BACD0A-B176-44DB-A133-D449488AB5A9}"/>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28" name="Picture 27">
            <a:extLst>
              <a:ext uri="{FF2B5EF4-FFF2-40B4-BE49-F238E27FC236}">
                <a16:creationId xmlns:a16="http://schemas.microsoft.com/office/drawing/2014/main" id="{EC3FDF1A-4D14-4090-9EED-9E4DE3DBE79F}"/>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29" name="Group 28">
            <a:extLst>
              <a:ext uri="{FF2B5EF4-FFF2-40B4-BE49-F238E27FC236}">
                <a16:creationId xmlns:a16="http://schemas.microsoft.com/office/drawing/2014/main" id="{CDFBF8AE-F994-4CC4-BA6C-8FAA88311833}"/>
              </a:ext>
            </a:extLst>
          </p:cNvPr>
          <p:cNvGrpSpPr>
            <a:grpSpLocks noChangeAspect="1"/>
          </p:cNvGrpSpPr>
          <p:nvPr userDrawn="1"/>
        </p:nvGrpSpPr>
        <p:grpSpPr bwMode="ltGray">
          <a:xfrm>
            <a:off x="10402367" y="5349875"/>
            <a:ext cx="950497" cy="900000"/>
            <a:chOff x="10236055" y="680939"/>
            <a:chExt cx="759866" cy="719497"/>
          </a:xfrm>
        </p:grpSpPr>
        <p:sp>
          <p:nvSpPr>
            <p:cNvPr id="30" name="Freeform 5">
              <a:extLst>
                <a:ext uri="{FF2B5EF4-FFF2-40B4-BE49-F238E27FC236}">
                  <a16:creationId xmlns:a16="http://schemas.microsoft.com/office/drawing/2014/main" id="{D35963A8-BB09-4371-877B-057423491DF2}"/>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1" name="Rectangle 6">
              <a:extLst>
                <a:ext uri="{FF2B5EF4-FFF2-40B4-BE49-F238E27FC236}">
                  <a16:creationId xmlns:a16="http://schemas.microsoft.com/office/drawing/2014/main" id="{BBE09AF2-2A54-445D-8F64-9D7F19B00A85}"/>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2" name="Freeform 7">
              <a:extLst>
                <a:ext uri="{FF2B5EF4-FFF2-40B4-BE49-F238E27FC236}">
                  <a16:creationId xmlns:a16="http://schemas.microsoft.com/office/drawing/2014/main" id="{3E49903B-7D11-4416-90E4-1D9E7D5436EF}"/>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 name="Freeform 8">
              <a:extLst>
                <a:ext uri="{FF2B5EF4-FFF2-40B4-BE49-F238E27FC236}">
                  <a16:creationId xmlns:a16="http://schemas.microsoft.com/office/drawing/2014/main" id="{6C832AF7-3499-4BBD-8C3A-99E4268CECD9}"/>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 name="Freeform 9">
              <a:extLst>
                <a:ext uri="{FF2B5EF4-FFF2-40B4-BE49-F238E27FC236}">
                  <a16:creationId xmlns:a16="http://schemas.microsoft.com/office/drawing/2014/main" id="{D4226C4E-AAF5-499A-BD28-C95AE1686913}"/>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
        <p:nvSpPr>
          <p:cNvPr id="48" name="Documenttype">
            <a:extLst>
              <a:ext uri="{FF2B5EF4-FFF2-40B4-BE49-F238E27FC236}">
                <a16:creationId xmlns:a16="http://schemas.microsoft.com/office/drawing/2014/main" id="{475EA520-EE57-4A02-8771-15CE4FCE82C2}"/>
              </a:ext>
            </a:extLst>
          </p:cNvPr>
          <p:cNvSpPr txBox="1">
            <a:spLocks/>
          </p:cNvSpPr>
          <p:nvPr userDrawn="1">
            <p:custDataLst>
              <p:tags r:id="rId6"/>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bg2"/>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290170984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60354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A3D21A23-A104-496A-A3BB-E2824FA8D4F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bg2"/>
                </a:solidFill>
              </a:defRPr>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p:custDataLst>
              <p:tags r:id="rId4"/>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2"/>
                </a:solidFill>
              </a:defRPr>
            </a:lvl1pPr>
          </a:lstStyle>
          <a:p>
            <a:pPr lvl="0"/>
            <a:r>
              <a:rPr lang="en-US"/>
              <a:t>Click to edit Master title style</a:t>
            </a:r>
            <a:endParaRPr lang="en-US" dirty="0"/>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bg2"/>
                </a:solidFill>
              </a:defRPr>
            </a:lvl1pPr>
          </a:lstStyle>
          <a:p>
            <a:pPr lvl="0">
              <a:buNone/>
            </a:pPr>
            <a:r>
              <a:rPr lang="en-US"/>
              <a:t>Click to edit Master subtitle style</a:t>
            </a:r>
            <a:endParaRPr lang="en-US" dirty="0"/>
          </a:p>
        </p:txBody>
      </p:sp>
      <p:pic>
        <p:nvPicPr>
          <p:cNvPr id="26" name="Picture 25">
            <a:extLst>
              <a:ext uri="{FF2B5EF4-FFF2-40B4-BE49-F238E27FC236}">
                <a16:creationId xmlns:a16="http://schemas.microsoft.com/office/drawing/2014/main" id="{70BACD0A-B176-44DB-A133-D449488AB5A9}"/>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28" name="Picture 27">
            <a:extLst>
              <a:ext uri="{FF2B5EF4-FFF2-40B4-BE49-F238E27FC236}">
                <a16:creationId xmlns:a16="http://schemas.microsoft.com/office/drawing/2014/main" id="{EC3FDF1A-4D14-4090-9EED-9E4DE3DBE79F}"/>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29" name="Group 28">
            <a:extLst>
              <a:ext uri="{FF2B5EF4-FFF2-40B4-BE49-F238E27FC236}">
                <a16:creationId xmlns:a16="http://schemas.microsoft.com/office/drawing/2014/main" id="{CDFBF8AE-F994-4CC4-BA6C-8FAA88311833}"/>
              </a:ext>
            </a:extLst>
          </p:cNvPr>
          <p:cNvGrpSpPr>
            <a:grpSpLocks noChangeAspect="1"/>
          </p:cNvGrpSpPr>
          <p:nvPr userDrawn="1"/>
        </p:nvGrpSpPr>
        <p:grpSpPr bwMode="ltGray">
          <a:xfrm>
            <a:off x="10402367" y="5349875"/>
            <a:ext cx="950497" cy="900000"/>
            <a:chOff x="10236055" y="680939"/>
            <a:chExt cx="759866" cy="719497"/>
          </a:xfrm>
        </p:grpSpPr>
        <p:sp>
          <p:nvSpPr>
            <p:cNvPr id="30" name="Freeform 5">
              <a:extLst>
                <a:ext uri="{FF2B5EF4-FFF2-40B4-BE49-F238E27FC236}">
                  <a16:creationId xmlns:a16="http://schemas.microsoft.com/office/drawing/2014/main" id="{D35963A8-BB09-4371-877B-057423491DF2}"/>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1" name="Rectangle 6">
              <a:extLst>
                <a:ext uri="{FF2B5EF4-FFF2-40B4-BE49-F238E27FC236}">
                  <a16:creationId xmlns:a16="http://schemas.microsoft.com/office/drawing/2014/main" id="{BBE09AF2-2A54-445D-8F64-9D7F19B00A85}"/>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2" name="Freeform 7">
              <a:extLst>
                <a:ext uri="{FF2B5EF4-FFF2-40B4-BE49-F238E27FC236}">
                  <a16:creationId xmlns:a16="http://schemas.microsoft.com/office/drawing/2014/main" id="{3E49903B-7D11-4416-90E4-1D9E7D5436EF}"/>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 name="Freeform 8">
              <a:extLst>
                <a:ext uri="{FF2B5EF4-FFF2-40B4-BE49-F238E27FC236}">
                  <a16:creationId xmlns:a16="http://schemas.microsoft.com/office/drawing/2014/main" id="{6C832AF7-3499-4BBD-8C3A-99E4268CECD9}"/>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 name="Freeform 9">
              <a:extLst>
                <a:ext uri="{FF2B5EF4-FFF2-40B4-BE49-F238E27FC236}">
                  <a16:creationId xmlns:a16="http://schemas.microsoft.com/office/drawing/2014/main" id="{D4226C4E-AAF5-499A-BD28-C95AE1686913}"/>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
        <p:nvSpPr>
          <p:cNvPr id="48" name="Documenttype">
            <a:extLst>
              <a:ext uri="{FF2B5EF4-FFF2-40B4-BE49-F238E27FC236}">
                <a16:creationId xmlns:a16="http://schemas.microsoft.com/office/drawing/2014/main" id="{475EA520-EE57-4A02-8771-15CE4FCE82C2}"/>
              </a:ext>
            </a:extLst>
          </p:cNvPr>
          <p:cNvSpPr txBox="1">
            <a:spLocks/>
          </p:cNvSpPr>
          <p:nvPr userDrawn="1">
            <p:custDataLst>
              <p:tags r:id="rId6"/>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bg2"/>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 name="TextBox 2">
            <a:extLst>
              <a:ext uri="{FF2B5EF4-FFF2-40B4-BE49-F238E27FC236}">
                <a16:creationId xmlns:a16="http://schemas.microsoft.com/office/drawing/2014/main" id="{EBC1F0A4-0B1E-4966-B5E8-9EE5C3A8BE7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074771B9-A442-4CF1-A054-75CFE3204FD9}"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8070226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Without Number">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60354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A3D21A23-A104-496A-A3BB-E2824FA8D4F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bg2"/>
                </a:solidFill>
              </a:defRPr>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p:custDataLst>
              <p:tags r:id="rId4"/>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2"/>
                </a:solidFill>
              </a:defRPr>
            </a:lvl1pPr>
          </a:lstStyle>
          <a:p>
            <a:pPr lvl="0"/>
            <a:r>
              <a:rPr lang="en-US"/>
              <a:t>Click to edit Master title style</a:t>
            </a:r>
            <a:endParaRPr lang="en-US" dirty="0"/>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bg2"/>
                </a:solidFill>
              </a:defRPr>
            </a:lvl1pPr>
          </a:lstStyle>
          <a:p>
            <a:pPr lvl="0">
              <a:buNone/>
            </a:pPr>
            <a:r>
              <a:rPr lang="en-US"/>
              <a:t>Click to edit Master subtitle style</a:t>
            </a:r>
            <a:endParaRPr lang="en-US" dirty="0"/>
          </a:p>
        </p:txBody>
      </p:sp>
      <p:pic>
        <p:nvPicPr>
          <p:cNvPr id="26" name="Picture 25">
            <a:extLst>
              <a:ext uri="{FF2B5EF4-FFF2-40B4-BE49-F238E27FC236}">
                <a16:creationId xmlns:a16="http://schemas.microsoft.com/office/drawing/2014/main" id="{70BACD0A-B176-44DB-A133-D449488AB5A9}"/>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28" name="Picture 27">
            <a:extLst>
              <a:ext uri="{FF2B5EF4-FFF2-40B4-BE49-F238E27FC236}">
                <a16:creationId xmlns:a16="http://schemas.microsoft.com/office/drawing/2014/main" id="{EC3FDF1A-4D14-4090-9EED-9E4DE3DBE79F}"/>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29" name="Group 28">
            <a:extLst>
              <a:ext uri="{FF2B5EF4-FFF2-40B4-BE49-F238E27FC236}">
                <a16:creationId xmlns:a16="http://schemas.microsoft.com/office/drawing/2014/main" id="{CDFBF8AE-F994-4CC4-BA6C-8FAA88311833}"/>
              </a:ext>
            </a:extLst>
          </p:cNvPr>
          <p:cNvGrpSpPr>
            <a:grpSpLocks noChangeAspect="1"/>
          </p:cNvGrpSpPr>
          <p:nvPr userDrawn="1"/>
        </p:nvGrpSpPr>
        <p:grpSpPr bwMode="ltGray">
          <a:xfrm>
            <a:off x="10402367" y="5349875"/>
            <a:ext cx="950497" cy="900000"/>
            <a:chOff x="10236055" y="680939"/>
            <a:chExt cx="759866" cy="719497"/>
          </a:xfrm>
        </p:grpSpPr>
        <p:sp>
          <p:nvSpPr>
            <p:cNvPr id="30" name="Freeform 5">
              <a:extLst>
                <a:ext uri="{FF2B5EF4-FFF2-40B4-BE49-F238E27FC236}">
                  <a16:creationId xmlns:a16="http://schemas.microsoft.com/office/drawing/2014/main" id="{D35963A8-BB09-4371-877B-057423491DF2}"/>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1" name="Rectangle 6">
              <a:extLst>
                <a:ext uri="{FF2B5EF4-FFF2-40B4-BE49-F238E27FC236}">
                  <a16:creationId xmlns:a16="http://schemas.microsoft.com/office/drawing/2014/main" id="{BBE09AF2-2A54-445D-8F64-9D7F19B00A85}"/>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2" name="Freeform 7">
              <a:extLst>
                <a:ext uri="{FF2B5EF4-FFF2-40B4-BE49-F238E27FC236}">
                  <a16:creationId xmlns:a16="http://schemas.microsoft.com/office/drawing/2014/main" id="{3E49903B-7D11-4416-90E4-1D9E7D5436EF}"/>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 name="Freeform 8">
              <a:extLst>
                <a:ext uri="{FF2B5EF4-FFF2-40B4-BE49-F238E27FC236}">
                  <a16:creationId xmlns:a16="http://schemas.microsoft.com/office/drawing/2014/main" id="{6C832AF7-3499-4BBD-8C3A-99E4268CECD9}"/>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 name="Freeform 9">
              <a:extLst>
                <a:ext uri="{FF2B5EF4-FFF2-40B4-BE49-F238E27FC236}">
                  <a16:creationId xmlns:a16="http://schemas.microsoft.com/office/drawing/2014/main" id="{D4226C4E-AAF5-499A-BD28-C95AE1686913}"/>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
        <p:nvSpPr>
          <p:cNvPr id="48" name="Documenttype">
            <a:extLst>
              <a:ext uri="{FF2B5EF4-FFF2-40B4-BE49-F238E27FC236}">
                <a16:creationId xmlns:a16="http://schemas.microsoft.com/office/drawing/2014/main" id="{475EA520-EE57-4A02-8771-15CE4FCE82C2}"/>
              </a:ext>
            </a:extLst>
          </p:cNvPr>
          <p:cNvSpPr txBox="1">
            <a:spLocks/>
          </p:cNvSpPr>
          <p:nvPr userDrawn="1">
            <p:custDataLst>
              <p:tags r:id="rId6"/>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bg2"/>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19880625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915913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12" name="Slide Number">
            <a:extLst>
              <a:ext uri="{FF2B5EF4-FFF2-40B4-BE49-F238E27FC236}">
                <a16:creationId xmlns:a16="http://schemas.microsoft.com/office/drawing/2014/main" id="{480918F5-69A8-40D4-9A1C-19A48B2E8F78}"/>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382136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fault Without Number">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990903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2" name="Title 1">
            <a:extLst>
              <a:ext uri="{FF2B5EF4-FFF2-40B4-BE49-F238E27FC236}">
                <a16:creationId xmlns:a16="http://schemas.microsoft.com/office/drawing/2014/main" id="{EFAFF6F3-7AA1-4D59-990E-FDF4233D41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092898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3" name="Slide Number">
            <a:extLst>
              <a:ext uri="{FF2B5EF4-FFF2-40B4-BE49-F238E27FC236}">
                <a16:creationId xmlns:a16="http://schemas.microsoft.com/office/drawing/2014/main" id="{CE0B50F1-6D0E-4C53-B9AB-8889EFECA0E8}"/>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7972556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op Left Without Number">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48018082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57411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30D20F8F-9B1E-4BF1-A6A1-7FA56E3BDA96}"/>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Slide Number">
            <a:extLst>
              <a:ext uri="{FF2B5EF4-FFF2-40B4-BE49-F238E27FC236}">
                <a16:creationId xmlns:a16="http://schemas.microsoft.com/office/drawing/2014/main" id="{C8B1F0DF-FA5B-408A-8FCC-5148EA64CBCE}"/>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9632352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CF64C615-2582-4DCF-9142-3B691B7548E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8552986C-9452-46D3-8888-20E612BE00A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193009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F2B5017B-A2A6-4819-847E-4EB745B76E7B}"/>
              </a:ext>
            </a:extLst>
          </p:cNvPr>
          <p:cNvGrpSpPr/>
          <p:nvPr userDrawn="1"/>
        </p:nvGrpSpPr>
        <p:grpSpPr>
          <a:xfrm>
            <a:off x="2666495" y="2810219"/>
            <a:ext cx="6859011" cy="1006245"/>
            <a:chOff x="1193294" y="2810219"/>
            <a:chExt cx="6859011" cy="1006245"/>
          </a:xfrm>
        </p:grpSpPr>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a:off x="4210743"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6989604"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ltGray">
            <a:xfrm>
              <a:off x="1193294" y="2877126"/>
              <a:ext cx="2467979" cy="872430"/>
            </a:xfrm>
            <a:prstGeom prst="rect">
              <a:avLst/>
            </a:prstGeom>
          </p:spPr>
        </p:pic>
      </p:grpSp>
      <p:sp>
        <p:nvSpPr>
          <p:cNvPr id="15" name="Documenttype">
            <a:extLst>
              <a:ext uri="{FF2B5EF4-FFF2-40B4-BE49-F238E27FC236}">
                <a16:creationId xmlns:a16="http://schemas.microsoft.com/office/drawing/2014/main" id="{0F7CB758-B9E6-4C15-934F-A18C85AE65A1}"/>
              </a:ext>
            </a:extLst>
          </p:cNvPr>
          <p:cNvSpPr txBox="1">
            <a:spLocks/>
          </p:cNvSpPr>
          <p:nvPr userDrawn="1">
            <p:custDataLst>
              <p:tags r:id="rId2"/>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46647050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94895A5-9A87-472E-A5BA-9BA01ABF90A5}"/>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DB2D9C9-2BCB-4804-8631-381BA36F2FA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49146712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1417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34" name="Slide Number">
            <a:extLst>
              <a:ext uri="{FF2B5EF4-FFF2-40B4-BE49-F238E27FC236}">
                <a16:creationId xmlns:a16="http://schemas.microsoft.com/office/drawing/2014/main" id="{00D78BE5-42EA-4C8E-996C-4517056791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11320824"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0" name="Documenttype">
            <a:extLst>
              <a:ext uri="{FF2B5EF4-FFF2-40B4-BE49-F238E27FC236}">
                <a16:creationId xmlns:a16="http://schemas.microsoft.com/office/drawing/2014/main" id="{CF41017B-E981-4DFE-AC41-41B7E10888EA}"/>
              </a:ext>
            </a:extLst>
          </p:cNvPr>
          <p:cNvSpPr txBox="1">
            <a:spLocks/>
          </p:cNvSpPr>
          <p:nvPr userDrawn="1">
            <p:custDataLst>
              <p:tags r:id="rId8"/>
            </p:custDataLst>
          </p:nvPr>
        </p:nvSpPr>
        <p:spPr>
          <a:xfrm>
            <a:off x="3258588"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9"/>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59945882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4 Without Number">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1417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5"/>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11320824"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0" name="Documenttype">
            <a:extLst>
              <a:ext uri="{FF2B5EF4-FFF2-40B4-BE49-F238E27FC236}">
                <a16:creationId xmlns:a16="http://schemas.microsoft.com/office/drawing/2014/main" id="{CF41017B-E981-4DFE-AC41-41B7E10888EA}"/>
              </a:ext>
            </a:extLst>
          </p:cNvPr>
          <p:cNvSpPr txBox="1">
            <a:spLocks/>
          </p:cNvSpPr>
          <p:nvPr userDrawn="1">
            <p:custDataLst>
              <p:tags r:id="rId6"/>
            </p:custDataLst>
          </p:nvPr>
        </p:nvSpPr>
        <p:spPr>
          <a:xfrm>
            <a:off x="3258588"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7"/>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8" name="RectangleLight">
            <a:extLst>
              <a:ext uri="{FF2B5EF4-FFF2-40B4-BE49-F238E27FC236}">
                <a16:creationId xmlns:a16="http://schemas.microsoft.com/office/drawing/2014/main" id="{EEF97748-DE2B-44E6-A9AD-897474B018FE}"/>
              </a:ext>
            </a:extLst>
          </p:cNvPr>
          <p:cNvSpPr/>
          <p:nvPr userDrawn="1">
            <p:custDataLst>
              <p:tags r:id="rId8"/>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Tree>
    <p:extLst>
      <p:ext uri="{BB962C8B-B14F-4D97-AF65-F5344CB8AC3E}">
        <p14:creationId xmlns:p14="http://schemas.microsoft.com/office/powerpoint/2010/main" val="140467175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4032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575BF50E-69E8-4E92-BF47-A468862F9929}"/>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A386E180-04F8-4B18-AFAD-F28A3F606104}"/>
              </a:ext>
            </a:extLst>
          </p:cNvPr>
          <p:cNvGrpSpPr>
            <a:grpSpLocks noChangeAspect="1"/>
          </p:cNvGrpSpPr>
          <p:nvPr userDrawn="1"/>
        </p:nvGrpSpPr>
        <p:grpSpPr bwMode="ltGray">
          <a:xfrm>
            <a:off x="11320824" y="6417372"/>
            <a:ext cx="394856" cy="373880"/>
            <a:chOff x="-240" y="2757"/>
            <a:chExt cx="960" cy="909"/>
          </a:xfrm>
        </p:grpSpPr>
        <p:sp>
          <p:nvSpPr>
            <p:cNvPr id="23" name="Freeform 5">
              <a:extLst>
                <a:ext uri="{FF2B5EF4-FFF2-40B4-BE49-F238E27FC236}">
                  <a16:creationId xmlns:a16="http://schemas.microsoft.com/office/drawing/2014/main" id="{2B78B299-5876-4D7B-9720-0A8A896EEF9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6A5356A1-18AE-470D-8027-E9D8DF8E448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B50C1A43-8E10-4559-A869-314C85AA397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7AF157-A820-4ACD-AB63-8200D1F2777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52797A5B-FBA9-4BF9-A66E-5A9D7016E53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9699D850-373E-438C-83AD-0A7457C5C2E2}"/>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7686E5-229C-438C-A4A6-423982C30F5F}"/>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1" name="Documenttype">
            <a:extLst>
              <a:ext uri="{FF2B5EF4-FFF2-40B4-BE49-F238E27FC236}">
                <a16:creationId xmlns:a16="http://schemas.microsoft.com/office/drawing/2014/main" id="{A51F824A-049C-4D86-B34E-124E418B83C6}"/>
              </a:ext>
            </a:extLst>
          </p:cNvPr>
          <p:cNvSpPr txBox="1">
            <a:spLocks/>
          </p:cNvSpPr>
          <p:nvPr userDrawn="1">
            <p:custDataLst>
              <p:tags r:id="rId8"/>
            </p:custDataLst>
          </p:nvPr>
        </p:nvSpPr>
        <p:spPr>
          <a:xfrm>
            <a:off x="6385191"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42" name="5. Source" hidden="1">
            <a:extLst>
              <a:ext uri="{FF2B5EF4-FFF2-40B4-BE49-F238E27FC236}">
                <a16:creationId xmlns:a16="http://schemas.microsoft.com/office/drawing/2014/main" id="{E3771B26-C02B-439A-9350-D1C91B79CE8B}"/>
              </a:ext>
            </a:extLst>
          </p:cNvPr>
          <p:cNvSpPr txBox="1">
            <a:spLocks/>
          </p:cNvSpPr>
          <p:nvPr userDrawn="1">
            <p:custDataLst>
              <p:tags r:id="rId9"/>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83231916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91CEAC37-6545-4492-AAB0-C163408D5D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1" name="Group 4">
            <a:extLst>
              <a:ext uri="{FF2B5EF4-FFF2-40B4-BE49-F238E27FC236}">
                <a16:creationId xmlns:a16="http://schemas.microsoft.com/office/drawing/2014/main" id="{29DA557C-6F84-460C-9E9A-B319AC79D329}"/>
              </a:ext>
            </a:extLst>
          </p:cNvPr>
          <p:cNvGrpSpPr>
            <a:grpSpLocks noChangeAspect="1"/>
          </p:cNvGrpSpPr>
          <p:nvPr userDrawn="1"/>
        </p:nvGrpSpPr>
        <p:grpSpPr bwMode="ltGray">
          <a:xfrm>
            <a:off x="11320824" y="6417372"/>
            <a:ext cx="394856" cy="373880"/>
            <a:chOff x="-240" y="2757"/>
            <a:chExt cx="960" cy="909"/>
          </a:xfrm>
        </p:grpSpPr>
        <p:sp>
          <p:nvSpPr>
            <p:cNvPr id="23" name="Freeform 5">
              <a:extLst>
                <a:ext uri="{FF2B5EF4-FFF2-40B4-BE49-F238E27FC236}">
                  <a16:creationId xmlns:a16="http://schemas.microsoft.com/office/drawing/2014/main" id="{A33616C8-F276-496E-97F5-626AF1A67BC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5BDB4C95-8B13-42E5-97C9-959C0762DD7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740B257D-609C-4C30-A37B-EDE85750E11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5E5772-7391-4093-8E15-D42F0ACD0E7C}"/>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D3E564C4-9BC2-4793-93C1-7A5968E816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3A103D6D-E496-4AD8-8181-08B1F4D45AC7}"/>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B0CEF7D-62D7-4B16-874C-7D6CF60330FF}"/>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1" name="Documenttype">
            <a:extLst>
              <a:ext uri="{FF2B5EF4-FFF2-40B4-BE49-F238E27FC236}">
                <a16:creationId xmlns:a16="http://schemas.microsoft.com/office/drawing/2014/main" id="{12763D74-A49A-49F7-B301-E70472F864F2}"/>
              </a:ext>
            </a:extLst>
          </p:cNvPr>
          <p:cNvSpPr txBox="1">
            <a:spLocks/>
          </p:cNvSpPr>
          <p:nvPr userDrawn="1">
            <p:custDataLst>
              <p:tags r:id="rId8"/>
            </p:custDataLst>
          </p:nvPr>
        </p:nvSpPr>
        <p:spPr>
          <a:xfrm>
            <a:off x="6385191"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42" name="5. Source" hidden="1">
            <a:extLst>
              <a:ext uri="{FF2B5EF4-FFF2-40B4-BE49-F238E27FC236}">
                <a16:creationId xmlns:a16="http://schemas.microsoft.com/office/drawing/2014/main" id="{7E92BCC7-C8AA-436D-A5D5-738AB904E581}"/>
              </a:ext>
            </a:extLst>
          </p:cNvPr>
          <p:cNvSpPr txBox="1">
            <a:spLocks/>
          </p:cNvSpPr>
          <p:nvPr userDrawn="1">
            <p:custDataLst>
              <p:tags r:id="rId9"/>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86102787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11320824"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3" name="Documenttype">
            <a:extLst>
              <a:ext uri="{FF2B5EF4-FFF2-40B4-BE49-F238E27FC236}">
                <a16:creationId xmlns:a16="http://schemas.microsoft.com/office/drawing/2014/main" id="{3410F8FE-67D8-49B8-982D-C234BB949C86}"/>
              </a:ext>
            </a:extLst>
          </p:cNvPr>
          <p:cNvSpPr txBox="1">
            <a:spLocks/>
          </p:cNvSpPr>
          <p:nvPr userDrawn="1">
            <p:custDataLst>
              <p:tags r:id="rId8"/>
            </p:custDataLst>
          </p:nvPr>
        </p:nvSpPr>
        <p:spPr>
          <a:xfrm>
            <a:off x="3843943"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9"/>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37516691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4BB34CAF-3D4A-4A48-A97F-048744350F6E}"/>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4" name="Group 4">
            <a:extLst>
              <a:ext uri="{FF2B5EF4-FFF2-40B4-BE49-F238E27FC236}">
                <a16:creationId xmlns:a16="http://schemas.microsoft.com/office/drawing/2014/main" id="{2A80F2F2-115C-4E8E-B9DC-6DD20548D704}"/>
              </a:ext>
            </a:extLst>
          </p:cNvPr>
          <p:cNvGrpSpPr>
            <a:grpSpLocks noChangeAspect="1"/>
          </p:cNvGrpSpPr>
          <p:nvPr userDrawn="1"/>
        </p:nvGrpSpPr>
        <p:grpSpPr bwMode="ltGray">
          <a:xfrm>
            <a:off x="11320824" y="6417372"/>
            <a:ext cx="394856" cy="373880"/>
            <a:chOff x="-240" y="2757"/>
            <a:chExt cx="960" cy="909"/>
          </a:xfrm>
        </p:grpSpPr>
        <p:sp>
          <p:nvSpPr>
            <p:cNvPr id="29" name="Freeform 5">
              <a:extLst>
                <a:ext uri="{FF2B5EF4-FFF2-40B4-BE49-F238E27FC236}">
                  <a16:creationId xmlns:a16="http://schemas.microsoft.com/office/drawing/2014/main" id="{11644F48-425C-46D9-94C1-23978DD0D13C}"/>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Rectangle 6">
              <a:extLst>
                <a:ext uri="{FF2B5EF4-FFF2-40B4-BE49-F238E27FC236}">
                  <a16:creationId xmlns:a16="http://schemas.microsoft.com/office/drawing/2014/main" id="{75CE9D97-8582-48C0-9419-917440456910}"/>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7">
              <a:extLst>
                <a:ext uri="{FF2B5EF4-FFF2-40B4-BE49-F238E27FC236}">
                  <a16:creationId xmlns:a16="http://schemas.microsoft.com/office/drawing/2014/main" id="{E67EF180-B650-4C4A-91F3-F097E0A099E4}"/>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8">
              <a:extLst>
                <a:ext uri="{FF2B5EF4-FFF2-40B4-BE49-F238E27FC236}">
                  <a16:creationId xmlns:a16="http://schemas.microsoft.com/office/drawing/2014/main" id="{3F4879AE-2BA2-4497-B15D-BC59E7461E6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3" name="Freeform 9">
              <a:extLst>
                <a:ext uri="{FF2B5EF4-FFF2-40B4-BE49-F238E27FC236}">
                  <a16:creationId xmlns:a16="http://schemas.microsoft.com/office/drawing/2014/main" id="{CFDF7617-B35D-4046-93A3-76A85D2829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4" name="Picture 720" descr="EDCTP and Africa CDC workshop report on disparities in research funding -  EDCTP">
            <a:extLst>
              <a:ext uri="{FF2B5EF4-FFF2-40B4-BE49-F238E27FC236}">
                <a16:creationId xmlns:a16="http://schemas.microsoft.com/office/drawing/2014/main" id="{814ED359-19C4-4C9A-ADDF-8DC8C13C0852}"/>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899874C-DF8F-4F46-A2EB-C41122F78A75}"/>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8" name="Documenttype">
            <a:extLst>
              <a:ext uri="{FF2B5EF4-FFF2-40B4-BE49-F238E27FC236}">
                <a16:creationId xmlns:a16="http://schemas.microsoft.com/office/drawing/2014/main" id="{06CEDE49-6DB3-4C27-87F8-9E3DB8BC4194}"/>
              </a:ext>
            </a:extLst>
          </p:cNvPr>
          <p:cNvSpPr txBox="1">
            <a:spLocks/>
          </p:cNvSpPr>
          <p:nvPr userDrawn="1">
            <p:custDataLst>
              <p:tags r:id="rId8"/>
            </p:custDataLst>
          </p:nvPr>
        </p:nvSpPr>
        <p:spPr>
          <a:xfrm>
            <a:off x="3843943"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9" name="5. Source" hidden="1">
            <a:extLst>
              <a:ext uri="{FF2B5EF4-FFF2-40B4-BE49-F238E27FC236}">
                <a16:creationId xmlns:a16="http://schemas.microsoft.com/office/drawing/2014/main" id="{B0B197DD-58D4-4FDB-B1A9-FA59611691E7}"/>
              </a:ext>
            </a:extLst>
          </p:cNvPr>
          <p:cNvSpPr txBox="1">
            <a:spLocks/>
          </p:cNvSpPr>
          <p:nvPr userDrawn="1">
            <p:custDataLst>
              <p:tags r:id="rId9"/>
            </p:custDataLst>
          </p:nvPr>
        </p:nvSpPr>
        <p:spPr>
          <a:xfrm>
            <a:off x="554733"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73543033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9" name="Straight Connector 8">
            <a:extLst>
              <a:ext uri="{FF2B5EF4-FFF2-40B4-BE49-F238E27FC236}">
                <a16:creationId xmlns:a16="http://schemas.microsoft.com/office/drawing/2014/main" id="{BC2CB6D3-E8B1-4229-A1B9-B75E7D6E0420}"/>
              </a:ext>
            </a:extLst>
          </p:cNvPr>
          <p:cNvCxnSpPr>
            <a:cxnSpLocks/>
          </p:cNvCxnSpPr>
          <p:nvPr userDrawn="1"/>
        </p:nvCxnSpPr>
        <p:spPr bwMode="ltGray">
          <a:xfrm>
            <a:off x="554736" y="12388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4F9F5BDE-581C-4374-B70C-27D0344EE5B0}"/>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9" name="Group 4">
            <a:extLst>
              <a:ext uri="{FF2B5EF4-FFF2-40B4-BE49-F238E27FC236}">
                <a16:creationId xmlns:a16="http://schemas.microsoft.com/office/drawing/2014/main" id="{341FC139-26C0-428A-9DC5-8A451502DD7A}"/>
              </a:ext>
            </a:extLst>
          </p:cNvPr>
          <p:cNvGrpSpPr>
            <a:grpSpLocks noChangeAspect="1"/>
          </p:cNvGrpSpPr>
          <p:nvPr userDrawn="1"/>
        </p:nvGrpSpPr>
        <p:grpSpPr bwMode="ltGray">
          <a:xfrm>
            <a:off x="11320824" y="6417372"/>
            <a:ext cx="394856" cy="373880"/>
            <a:chOff x="-240" y="2757"/>
            <a:chExt cx="960" cy="909"/>
          </a:xfrm>
        </p:grpSpPr>
        <p:sp>
          <p:nvSpPr>
            <p:cNvPr id="20" name="Freeform 5">
              <a:extLst>
                <a:ext uri="{FF2B5EF4-FFF2-40B4-BE49-F238E27FC236}">
                  <a16:creationId xmlns:a16="http://schemas.microsoft.com/office/drawing/2014/main" id="{57329FBA-126A-4E1D-A53D-36B49F0BA19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2CB24FA4-CB4E-48A9-BAB5-6D243BE23A14}"/>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81CF441F-2F08-469D-9B69-253A5E2C5F5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5B584770-A271-4F31-A098-B5B042A2D27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C18A98AE-A202-476D-AED7-E2B36376F6E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9" name="Picture 720" descr="EDCTP and Africa CDC workshop report on disparities in research funding -  EDCTP">
            <a:extLst>
              <a:ext uri="{FF2B5EF4-FFF2-40B4-BE49-F238E27FC236}">
                <a16:creationId xmlns:a16="http://schemas.microsoft.com/office/drawing/2014/main" id="{A6D66E70-9662-44D7-A1AE-81FDCFDB0A16}"/>
              </a:ext>
            </a:extLst>
          </p:cNvPr>
          <p:cNvPicPr>
            <a:picLocks noChangeAspect="1" noChangeArrowheads="1"/>
          </p:cNvPicPr>
          <p:nvPr userDrawn="1"/>
        </p:nvPicPr>
        <p:blipFill rotWithShape="1">
          <a:blip r:embed="rId11"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9CA4BC00-CD1D-4AFE-8082-5738A561713E}"/>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1" name="Documenttype">
            <a:extLst>
              <a:ext uri="{FF2B5EF4-FFF2-40B4-BE49-F238E27FC236}">
                <a16:creationId xmlns:a16="http://schemas.microsoft.com/office/drawing/2014/main" id="{E4F7F4B0-2261-499D-96F0-D94031975B49}"/>
              </a:ext>
            </a:extLst>
          </p:cNvPr>
          <p:cNvSpPr txBox="1">
            <a:spLocks/>
          </p:cNvSpPr>
          <p:nvPr userDrawn="1">
            <p:custDataLst>
              <p:tags r:id="rId6"/>
            </p:custDataLst>
          </p:nvPr>
        </p:nvSpPr>
        <p:spPr>
          <a:xfrm>
            <a:off x="343957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2" name="5. Source" hidden="1">
            <a:extLst>
              <a:ext uri="{FF2B5EF4-FFF2-40B4-BE49-F238E27FC236}">
                <a16:creationId xmlns:a16="http://schemas.microsoft.com/office/drawing/2014/main" id="{64C91C80-6C09-4D3D-856F-40475CD2DD48}"/>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40430644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6DBF7DE7-B91D-4ABB-954A-50FBE28D25BA}"/>
              </a:ext>
            </a:extLst>
          </p:cNvPr>
          <p:cNvSpPr>
            <a:spLocks noChangeArrowheads="1"/>
          </p:cNvSpPr>
          <p:nvPr userDrawn="1">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5593A88A-4833-45F6-99A2-C493C0AB8824}"/>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16776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a:off x="3817044"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10120155"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ltGray">
          <a:xfrm>
            <a:off x="799595" y="2877126"/>
            <a:ext cx="2467979" cy="872430"/>
          </a:xfrm>
          <a:prstGeom prst="rect">
            <a:avLst/>
          </a:prstGeom>
        </p:spPr>
      </p:pic>
      <p:sp>
        <p:nvSpPr>
          <p:cNvPr id="15" name="Documenttype">
            <a:extLst>
              <a:ext uri="{FF2B5EF4-FFF2-40B4-BE49-F238E27FC236}">
                <a16:creationId xmlns:a16="http://schemas.microsoft.com/office/drawing/2014/main" id="{0F7CB758-B9E6-4C15-934F-A18C85AE65A1}"/>
              </a:ext>
            </a:extLst>
          </p:cNvPr>
          <p:cNvSpPr txBox="1">
            <a:spLocks/>
          </p:cNvSpPr>
          <p:nvPr userDrawn="1">
            <p:custDataLst>
              <p:tags r:id="rId2"/>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21644374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803881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557A6E71-354B-4DA3-A589-E6AD8C54419B}"/>
              </a:ext>
            </a:extLst>
          </p:cNvPr>
          <p:cNvGrpSpPr/>
          <p:nvPr userDrawn="1"/>
        </p:nvGrpSpPr>
        <p:grpSpPr bwMode="ltGray">
          <a:xfrm>
            <a:off x="0" y="-1"/>
            <a:ext cx="12192000" cy="837467"/>
            <a:chOff x="0" y="-1"/>
            <a:chExt cx="12192000" cy="837467"/>
          </a:xfrm>
          <a:solidFill>
            <a:schemeClr val="accent2"/>
          </a:solidFill>
        </p:grpSpPr>
        <p:sp>
          <p:nvSpPr>
            <p:cNvPr id="7" name="Right Triangle 6">
              <a:extLst>
                <a:ext uri="{FF2B5EF4-FFF2-40B4-BE49-F238E27FC236}">
                  <a16:creationId xmlns:a16="http://schemas.microsoft.com/office/drawing/2014/main" id="{5B62341D-8C47-4AD6-BF89-C058A8DB136D}"/>
                </a:ext>
              </a:extLst>
            </p:cNvPr>
            <p:cNvSpPr/>
            <p:nvPr userDrawn="1"/>
          </p:nvSpPr>
          <p:spPr bwMode="ltGray">
            <a:xfrm flipV="1">
              <a:off x="0" y="-1"/>
              <a:ext cx="2003708" cy="837467"/>
            </a:xfrm>
            <a:prstGeom prst="rtTriangle">
              <a:avLst/>
            </a:prstGeom>
            <a:grp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688C1976-578D-4DB1-A28C-53217E606C10}"/>
                </a:ext>
              </a:extLst>
            </p:cNvPr>
            <p:cNvCxnSpPr>
              <a:cxnSpLocks/>
              <a:stCxn id="7" idx="2"/>
            </p:cNvCxnSpPr>
            <p:nvPr userDrawn="1"/>
          </p:nvCxnSpPr>
          <p:spPr bwMode="ltGray">
            <a:xfrm>
              <a:off x="0" y="-1"/>
              <a:ext cx="12192000" cy="3177"/>
            </a:xfrm>
            <a:prstGeom prst="line">
              <a:avLst/>
            </a:prstGeom>
            <a:grpFill/>
            <a:ln w="76200" cap="flat" cmpd="sng" algn="ctr">
              <a:solidFill>
                <a:schemeClr val="accent2"/>
              </a:solidFill>
              <a:prstDash val="solid"/>
              <a:miter lim="800000"/>
              <a:tailEnd type="none"/>
            </a:ln>
            <a:effectLst/>
          </p:spPr>
        </p:cxnSp>
      </p:grpSp>
      <p:grpSp>
        <p:nvGrpSpPr>
          <p:cNvPr id="9" name="Group 8">
            <a:extLst>
              <a:ext uri="{FF2B5EF4-FFF2-40B4-BE49-F238E27FC236}">
                <a16:creationId xmlns:a16="http://schemas.microsoft.com/office/drawing/2014/main" id="{BE7DBE6E-4F84-4984-9FFE-2DA699CB20D9}"/>
              </a:ext>
            </a:extLst>
          </p:cNvPr>
          <p:cNvGrpSpPr/>
          <p:nvPr userDrawn="1"/>
        </p:nvGrpSpPr>
        <p:grpSpPr bwMode="ltGray">
          <a:xfrm flipH="1" flipV="1">
            <a:off x="0" y="6020533"/>
            <a:ext cx="12192000" cy="837467"/>
            <a:chOff x="0" y="-1"/>
            <a:chExt cx="12192000" cy="837467"/>
          </a:xfrm>
          <a:solidFill>
            <a:srgbClr val="ADADAD"/>
          </a:solidFill>
        </p:grpSpPr>
        <p:sp>
          <p:nvSpPr>
            <p:cNvPr id="10" name="Right Triangle 9">
              <a:extLst>
                <a:ext uri="{FF2B5EF4-FFF2-40B4-BE49-F238E27FC236}">
                  <a16:creationId xmlns:a16="http://schemas.microsoft.com/office/drawing/2014/main" id="{2437934D-FB05-4390-9751-D318A617C773}"/>
                </a:ext>
              </a:extLst>
            </p:cNvPr>
            <p:cNvSpPr/>
            <p:nvPr userDrawn="1"/>
          </p:nvSpPr>
          <p:spPr bwMode="ltGray">
            <a:xfrm flipV="1">
              <a:off x="0" y="-1"/>
              <a:ext cx="2003708" cy="837467"/>
            </a:xfrm>
            <a:prstGeom prst="rtTriangle">
              <a:avLst/>
            </a:prstGeom>
            <a:grp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cxnSp>
          <p:nvCxnSpPr>
            <p:cNvPr id="12" name="Straight Connector 11">
              <a:extLst>
                <a:ext uri="{FF2B5EF4-FFF2-40B4-BE49-F238E27FC236}">
                  <a16:creationId xmlns:a16="http://schemas.microsoft.com/office/drawing/2014/main" id="{719E384A-9AFB-435C-A1D9-E7B68A167618}"/>
                </a:ext>
              </a:extLst>
            </p:cNvPr>
            <p:cNvCxnSpPr>
              <a:cxnSpLocks/>
              <a:stCxn id="10" idx="2"/>
            </p:cNvCxnSpPr>
            <p:nvPr userDrawn="1"/>
          </p:nvCxnSpPr>
          <p:spPr bwMode="ltGray">
            <a:xfrm>
              <a:off x="0" y="-1"/>
              <a:ext cx="12192000" cy="3177"/>
            </a:xfrm>
            <a:prstGeom prst="line">
              <a:avLst/>
            </a:prstGeom>
            <a:grpFill/>
            <a:ln w="76200" cap="flat" cmpd="sng" algn="ctr">
              <a:solidFill>
                <a:srgbClr val="ADADAD"/>
              </a:solidFill>
              <a:prstDash val="solid"/>
              <a:miter lim="800000"/>
              <a:tailEnd type="none"/>
            </a:ln>
            <a:effectLst/>
          </p:spPr>
        </p:cxnSp>
      </p:grpSp>
      <p:grpSp>
        <p:nvGrpSpPr>
          <p:cNvPr id="4" name="Group 3">
            <a:extLst>
              <a:ext uri="{FF2B5EF4-FFF2-40B4-BE49-F238E27FC236}">
                <a16:creationId xmlns:a16="http://schemas.microsoft.com/office/drawing/2014/main" id="{8352601E-3F59-4D9A-95FA-F013BA255CFC}"/>
              </a:ext>
            </a:extLst>
          </p:cNvPr>
          <p:cNvGrpSpPr/>
          <p:nvPr userDrawn="1"/>
        </p:nvGrpSpPr>
        <p:grpSpPr>
          <a:xfrm>
            <a:off x="5059827" y="697873"/>
            <a:ext cx="759866" cy="719497"/>
            <a:chOff x="10236055" y="680939"/>
            <a:chExt cx="759866" cy="719497"/>
          </a:xfrm>
        </p:grpSpPr>
        <p:sp>
          <p:nvSpPr>
            <p:cNvPr id="14" name="Freeform 5">
              <a:extLst>
                <a:ext uri="{FF2B5EF4-FFF2-40B4-BE49-F238E27FC236}">
                  <a16:creationId xmlns:a16="http://schemas.microsoft.com/office/drawing/2014/main" id="{C883B8D8-3DD2-4C9B-9A90-E43555BDA094}"/>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6" name="Rectangle 6">
              <a:extLst>
                <a:ext uri="{FF2B5EF4-FFF2-40B4-BE49-F238E27FC236}">
                  <a16:creationId xmlns:a16="http://schemas.microsoft.com/office/drawing/2014/main" id="{0825B9D9-2943-4B20-AFA7-88BB31665189}"/>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7" name="Freeform 7">
              <a:extLst>
                <a:ext uri="{FF2B5EF4-FFF2-40B4-BE49-F238E27FC236}">
                  <a16:creationId xmlns:a16="http://schemas.microsoft.com/office/drawing/2014/main" id="{FB7E356A-5243-4495-B12F-6FF5C9FBCE6B}"/>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9" name="Freeform 8">
              <a:extLst>
                <a:ext uri="{FF2B5EF4-FFF2-40B4-BE49-F238E27FC236}">
                  <a16:creationId xmlns:a16="http://schemas.microsoft.com/office/drawing/2014/main" id="{CF4474A4-D99F-4EBD-8162-3CB27DC3BE0B}"/>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0" name="Freeform 9">
              <a:extLst>
                <a:ext uri="{FF2B5EF4-FFF2-40B4-BE49-F238E27FC236}">
                  <a16:creationId xmlns:a16="http://schemas.microsoft.com/office/drawing/2014/main" id="{5D29A88C-D112-4375-AD61-C29B24AC8BD9}"/>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grpSp>
        <p:nvGrpSpPr>
          <p:cNvPr id="24" name="Group 23">
            <a:extLst>
              <a:ext uri="{FF2B5EF4-FFF2-40B4-BE49-F238E27FC236}">
                <a16:creationId xmlns:a16="http://schemas.microsoft.com/office/drawing/2014/main" id="{E25399A8-EDF9-4874-B524-8A32C20BA32C}"/>
              </a:ext>
            </a:extLst>
          </p:cNvPr>
          <p:cNvGrpSpPr/>
          <p:nvPr userDrawn="1"/>
        </p:nvGrpSpPr>
        <p:grpSpPr bwMode="ltGray">
          <a:xfrm>
            <a:off x="-11936" y="1536377"/>
            <a:ext cx="10379791" cy="3810001"/>
            <a:chOff x="-11936" y="1536377"/>
            <a:chExt cx="10379791" cy="3810001"/>
          </a:xfrm>
        </p:grpSpPr>
        <p:sp>
          <p:nvSpPr>
            <p:cNvPr id="25" name="Parallelogram 10">
              <a:extLst>
                <a:ext uri="{FF2B5EF4-FFF2-40B4-BE49-F238E27FC236}">
                  <a16:creationId xmlns:a16="http://schemas.microsoft.com/office/drawing/2014/main" id="{067FA7C5-D4A2-4F57-888C-8D4E1610FBE8}"/>
                </a:ext>
              </a:extLst>
            </p:cNvPr>
            <p:cNvSpPr/>
            <p:nvPr userDrawn="1"/>
          </p:nvSpPr>
          <p:spPr bwMode="ltGray">
            <a:xfrm>
              <a:off x="-11936" y="1536378"/>
              <a:ext cx="10379791" cy="3810000"/>
            </a:xfrm>
            <a:custGeom>
              <a:avLst/>
              <a:gdLst>
                <a:gd name="connsiteX0" fmla="*/ 0 w 9680890"/>
                <a:gd name="connsiteY0" fmla="*/ 3810000 h 3810000"/>
                <a:gd name="connsiteX1" fmla="*/ 1705547 w 9680890"/>
                <a:gd name="connsiteY1" fmla="*/ 0 h 3810000"/>
                <a:gd name="connsiteX2" fmla="*/ 9680890 w 9680890"/>
                <a:gd name="connsiteY2" fmla="*/ 0 h 3810000"/>
                <a:gd name="connsiteX3" fmla="*/ 7975344 w 9680890"/>
                <a:gd name="connsiteY3" fmla="*/ 3810000 h 3810000"/>
                <a:gd name="connsiteX4" fmla="*/ 0 w 9680890"/>
                <a:gd name="connsiteY4" fmla="*/ 3810000 h 3810000"/>
                <a:gd name="connsiteX0" fmla="*/ 199453 w 7975343"/>
                <a:gd name="connsiteY0" fmla="*/ 3797300 h 3810000"/>
                <a:gd name="connsiteX1" fmla="*/ 0 w 7975343"/>
                <a:gd name="connsiteY1" fmla="*/ 0 h 3810000"/>
                <a:gd name="connsiteX2" fmla="*/ 7975343 w 7975343"/>
                <a:gd name="connsiteY2" fmla="*/ 0 h 3810000"/>
                <a:gd name="connsiteX3" fmla="*/ 6269797 w 7975343"/>
                <a:gd name="connsiteY3" fmla="*/ 3810000 h 3810000"/>
                <a:gd name="connsiteX4" fmla="*/ 199453 w 7975343"/>
                <a:gd name="connsiteY4" fmla="*/ 3797300 h 3810000"/>
                <a:gd name="connsiteX0" fmla="*/ 8953 w 7784843"/>
                <a:gd name="connsiteY0" fmla="*/ 3797300 h 3810000"/>
                <a:gd name="connsiteX1" fmla="*/ 0 w 7784843"/>
                <a:gd name="connsiteY1" fmla="*/ 0 h 3810000"/>
                <a:gd name="connsiteX2" fmla="*/ 7784843 w 7784843"/>
                <a:gd name="connsiteY2" fmla="*/ 0 h 3810000"/>
                <a:gd name="connsiteX3" fmla="*/ 6079297 w 7784843"/>
                <a:gd name="connsiteY3" fmla="*/ 3810000 h 3810000"/>
                <a:gd name="connsiteX4" fmla="*/ 8953 w 7784843"/>
                <a:gd name="connsiteY4" fmla="*/ 3797300 h 38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4843" h="3810000">
                  <a:moveTo>
                    <a:pt x="8953" y="3797300"/>
                  </a:moveTo>
                  <a:cubicBezTo>
                    <a:pt x="5969" y="2531533"/>
                    <a:pt x="2984" y="1265767"/>
                    <a:pt x="0" y="0"/>
                  </a:cubicBezTo>
                  <a:lnTo>
                    <a:pt x="7784843" y="0"/>
                  </a:lnTo>
                  <a:lnTo>
                    <a:pt x="6079297" y="3810000"/>
                  </a:lnTo>
                  <a:lnTo>
                    <a:pt x="8953" y="3797300"/>
                  </a:lnTo>
                  <a:close/>
                </a:path>
              </a:pathLst>
            </a:custGeom>
            <a:solidFill>
              <a:srgbClr val="782C2D"/>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6" name="Parallelogram 25">
              <a:extLst>
                <a:ext uri="{FF2B5EF4-FFF2-40B4-BE49-F238E27FC236}">
                  <a16:creationId xmlns:a16="http://schemas.microsoft.com/office/drawing/2014/main" id="{43080060-6B2C-4113-9247-FDA184D99CBF}"/>
                </a:ext>
              </a:extLst>
            </p:cNvPr>
            <p:cNvSpPr/>
            <p:nvPr userDrawn="1"/>
          </p:nvSpPr>
          <p:spPr bwMode="ltGray">
            <a:xfrm>
              <a:off x="6990016" y="2769790"/>
              <a:ext cx="2610883" cy="2576588"/>
            </a:xfrm>
            <a:prstGeom prst="parallelogram">
              <a:avLst>
                <a:gd name="adj" fmla="val 57894"/>
              </a:avLst>
            </a:prstGeom>
            <a:solidFill>
              <a:schemeClr val="accent2">
                <a:alpha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7" name="Parallelogram 26">
              <a:extLst>
                <a:ext uri="{FF2B5EF4-FFF2-40B4-BE49-F238E27FC236}">
                  <a16:creationId xmlns:a16="http://schemas.microsoft.com/office/drawing/2014/main" id="{8DB24AAF-7A03-4E45-A87E-00CE4417ADF0}"/>
                </a:ext>
              </a:extLst>
            </p:cNvPr>
            <p:cNvSpPr/>
            <p:nvPr userDrawn="1"/>
          </p:nvSpPr>
          <p:spPr bwMode="ltGray">
            <a:xfrm>
              <a:off x="8472264" y="1536377"/>
              <a:ext cx="1895591" cy="2468688"/>
            </a:xfrm>
            <a:prstGeom prst="parallelogram">
              <a:avLst>
                <a:gd name="adj" fmla="val 76706"/>
              </a:avLst>
            </a:prstGeom>
            <a:solidFill>
              <a:schemeClr val="accent3">
                <a:alpha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28" name="Documenttype">
            <a:extLst>
              <a:ext uri="{FF2B5EF4-FFF2-40B4-BE49-F238E27FC236}">
                <a16:creationId xmlns:a16="http://schemas.microsoft.com/office/drawing/2014/main" id="{870A25C1-B5CB-4D03-89D8-0BBF91C83CA9}"/>
              </a:ext>
            </a:extLst>
          </p:cNvPr>
          <p:cNvSpPr>
            <a:spLocks noGrp="1"/>
          </p:cNvSpPr>
          <p:nvPr userDrawn="1">
            <p:ph type="body" sz="quarter" idx="13" hasCustomPrompt="1"/>
            <p:custDataLst>
              <p:tags r:id="rId2"/>
            </p:custDataLst>
          </p:nvPr>
        </p:nvSpPr>
        <p:spPr bwMode="auto">
          <a:xfrm>
            <a:off x="558800" y="5624690"/>
            <a:ext cx="66548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1400" dirty="0"/>
            </a:lvl1pPr>
          </a:lstStyle>
          <a:p>
            <a:pPr lvl="0">
              <a:buNone/>
            </a:pPr>
            <a:r>
              <a:rPr lang="en-US" dirty="0"/>
              <a:t>Edit date or title/role</a:t>
            </a:r>
          </a:p>
        </p:txBody>
      </p:sp>
      <p:grpSp>
        <p:nvGrpSpPr>
          <p:cNvPr id="31" name="Group 30">
            <a:extLst>
              <a:ext uri="{FF2B5EF4-FFF2-40B4-BE49-F238E27FC236}">
                <a16:creationId xmlns:a16="http://schemas.microsoft.com/office/drawing/2014/main" id="{750EB979-F303-4861-B7D5-51BBE7D92BBB}"/>
              </a:ext>
            </a:extLst>
          </p:cNvPr>
          <p:cNvGrpSpPr>
            <a:grpSpLocks/>
          </p:cNvGrpSpPr>
          <p:nvPr userDrawn="1"/>
        </p:nvGrpSpPr>
        <p:grpSpPr bwMode="invGray">
          <a:xfrm>
            <a:off x="2776885" y="719068"/>
            <a:ext cx="1730266" cy="677107"/>
            <a:chOff x="9865218" y="6365207"/>
            <a:chExt cx="1011183" cy="395706"/>
          </a:xfrm>
        </p:grpSpPr>
        <p:pic>
          <p:nvPicPr>
            <p:cNvPr id="32" name="Picture 31" descr="EDCTP and Africa CDC workshop report on disparities in research funding -  EDCTP">
              <a:extLst>
                <a:ext uri="{FF2B5EF4-FFF2-40B4-BE49-F238E27FC236}">
                  <a16:creationId xmlns:a16="http://schemas.microsoft.com/office/drawing/2014/main" id="{1D69DF97-92A4-4060-AF69-E69540C0B4D4}"/>
                </a:ext>
              </a:extLst>
            </p:cNvPr>
            <p:cNvPicPr>
              <a:picLocks noChangeAspect="1" noChangeArrowheads="1"/>
            </p:cNvPicPr>
            <p:nvPr userDrawn="1"/>
          </p:nvPicPr>
          <p:blipFill rotWithShape="1">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33" name="Picture 32" descr="EDCTP and Africa CDC workshop report on disparities in research funding -  EDCTP">
              <a:extLst>
                <a:ext uri="{FF2B5EF4-FFF2-40B4-BE49-F238E27FC236}">
                  <a16:creationId xmlns:a16="http://schemas.microsoft.com/office/drawing/2014/main" id="{1264A8D4-4650-4E42-BB28-8764ADAB633E}"/>
                </a:ext>
              </a:extLst>
            </p:cNvPr>
            <p:cNvPicPr>
              <a:picLocks noChangeAspect="1" noChangeArrowheads="1"/>
            </p:cNvPicPr>
            <p:nvPr userDrawn="1"/>
          </p:nvPicPr>
          <p:blipFill rotWithShape="1">
            <a:blip r:embed="rId11"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34" name="Group 33">
            <a:extLst>
              <a:ext uri="{FF2B5EF4-FFF2-40B4-BE49-F238E27FC236}">
                <a16:creationId xmlns:a16="http://schemas.microsoft.com/office/drawing/2014/main" id="{E78CE458-FCE3-4C84-BA1B-693CB70E70E9}"/>
              </a:ext>
            </a:extLst>
          </p:cNvPr>
          <p:cNvGrpSpPr>
            <a:grpSpLocks/>
          </p:cNvGrpSpPr>
          <p:nvPr userDrawn="1"/>
        </p:nvGrpSpPr>
        <p:grpSpPr>
          <a:xfrm>
            <a:off x="558800" y="763260"/>
            <a:ext cx="1665410" cy="588722"/>
            <a:chOff x="10483273" y="6554997"/>
            <a:chExt cx="638090" cy="225564"/>
          </a:xfrm>
        </p:grpSpPr>
        <p:pic>
          <p:nvPicPr>
            <p:cNvPr id="35" name="Picture 34">
              <a:extLst>
                <a:ext uri="{FF2B5EF4-FFF2-40B4-BE49-F238E27FC236}">
                  <a16:creationId xmlns:a16="http://schemas.microsoft.com/office/drawing/2014/main" id="{D09F9D28-C5BC-493F-998B-E3EC135D428A}"/>
                </a:ext>
              </a:extLst>
            </p:cNvPr>
            <p:cNvPicPr>
              <a:picLocks noChangeAspect="1"/>
            </p:cNvPicPr>
            <p:nvPr userDrawn="1"/>
          </p:nvPicPr>
          <p:blipFill rotWithShape="1">
            <a:blip r:embed="rId12"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36" name="Picture 35">
              <a:extLst>
                <a:ext uri="{FF2B5EF4-FFF2-40B4-BE49-F238E27FC236}">
                  <a16:creationId xmlns:a16="http://schemas.microsoft.com/office/drawing/2014/main" id="{795EBB95-E6D2-4150-A440-C3E28939E4CD}"/>
                </a:ext>
              </a:extLst>
            </p:cNvPr>
            <p:cNvPicPr>
              <a:picLocks noChangeAspect="1"/>
            </p:cNvPicPr>
            <p:nvPr userDrawn="1"/>
          </p:nvPicPr>
          <p:blipFill rotWithShape="1">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37" name="Title">
            <a:extLst>
              <a:ext uri="{FF2B5EF4-FFF2-40B4-BE49-F238E27FC236}">
                <a16:creationId xmlns:a16="http://schemas.microsoft.com/office/drawing/2014/main" id="{450AF3DB-671B-4866-AC87-8D1F1D403218}"/>
              </a:ext>
            </a:extLst>
          </p:cNvPr>
          <p:cNvSpPr>
            <a:spLocks noGrp="1"/>
          </p:cNvSpPr>
          <p:nvPr>
            <p:ph type="title" hasCustomPrompt="1"/>
            <p:custDataLst>
              <p:tags r:id="rId3"/>
            </p:custDataLst>
          </p:nvPr>
        </p:nvSpPr>
        <p:spPr bwMode="ltGray">
          <a:xfrm>
            <a:off x="558800" y="2157172"/>
            <a:ext cx="665480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4400" dirty="0">
                <a:solidFill>
                  <a:schemeClr val="tx1"/>
                </a:solidFill>
              </a:defRPr>
            </a:lvl1pPr>
          </a:lstStyle>
          <a:p>
            <a:pPr lvl="0"/>
            <a:r>
              <a:rPr lang="en-US" dirty="0"/>
              <a:t>Click to edit Master </a:t>
            </a:r>
            <a:br>
              <a:rPr lang="en-US" dirty="0"/>
            </a:br>
            <a:r>
              <a:rPr lang="en-US" dirty="0"/>
              <a:t>title style</a:t>
            </a:r>
          </a:p>
        </p:txBody>
      </p:sp>
      <p:sp>
        <p:nvSpPr>
          <p:cNvPr id="38" name="Subtitle">
            <a:extLst>
              <a:ext uri="{FF2B5EF4-FFF2-40B4-BE49-F238E27FC236}">
                <a16:creationId xmlns:a16="http://schemas.microsoft.com/office/drawing/2014/main" id="{072D8500-1A92-4EB4-A28C-3EF2C53EEE73}"/>
              </a:ext>
            </a:extLst>
          </p:cNvPr>
          <p:cNvSpPr>
            <a:spLocks noGrp="1"/>
          </p:cNvSpPr>
          <p:nvPr>
            <p:ph type="subTitle" idx="1"/>
            <p:custDataLst>
              <p:tags r:id="rId4"/>
            </p:custDataLst>
          </p:nvPr>
        </p:nvSpPr>
        <p:spPr bwMode="ltGray">
          <a:xfrm>
            <a:off x="558800" y="4540060"/>
            <a:ext cx="665480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2000" dirty="0">
                <a:solidFill>
                  <a:schemeClr val="tx1"/>
                </a:solidFill>
              </a:defRPr>
            </a:lvl1pPr>
          </a:lstStyle>
          <a:p>
            <a:pPr lvl="0">
              <a:buNone/>
            </a:pPr>
            <a:r>
              <a:rPr lang="en-US" dirty="0"/>
              <a:t>Click to edit Master subtitle style</a:t>
            </a:r>
          </a:p>
        </p:txBody>
      </p:sp>
      <p:sp>
        <p:nvSpPr>
          <p:cNvPr id="45" name="Documenttype">
            <a:extLst>
              <a:ext uri="{FF2B5EF4-FFF2-40B4-BE49-F238E27FC236}">
                <a16:creationId xmlns:a16="http://schemas.microsoft.com/office/drawing/2014/main" id="{4E34C3DB-4146-4838-99FD-79B4B2164BA1}"/>
              </a:ext>
            </a:extLst>
          </p:cNvPr>
          <p:cNvSpPr txBox="1">
            <a:spLocks/>
          </p:cNvSpPr>
          <p:nvPr userDrawn="1">
            <p:custDataLst>
              <p:tags r:id="rId5"/>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26885933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a:off x="3817044"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10120155"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ltGray">
          <a:xfrm>
            <a:off x="799595" y="2877126"/>
            <a:ext cx="2467979" cy="872430"/>
          </a:xfrm>
          <a:prstGeom prst="rect">
            <a:avLst/>
          </a:prstGeom>
        </p:spPr>
      </p:pic>
      <p:sp>
        <p:nvSpPr>
          <p:cNvPr id="15" name="Documenttype">
            <a:extLst>
              <a:ext uri="{FF2B5EF4-FFF2-40B4-BE49-F238E27FC236}">
                <a16:creationId xmlns:a16="http://schemas.microsoft.com/office/drawing/2014/main" id="{0F7CB758-B9E6-4C15-934F-A18C85AE65A1}"/>
              </a:ext>
            </a:extLst>
          </p:cNvPr>
          <p:cNvSpPr txBox="1">
            <a:spLocks/>
          </p:cNvSpPr>
          <p:nvPr userDrawn="1">
            <p:custDataLst>
              <p:tags r:id="rId2"/>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 name="TextBox 2">
            <a:extLst>
              <a:ext uri="{FF2B5EF4-FFF2-40B4-BE49-F238E27FC236}">
                <a16:creationId xmlns:a16="http://schemas.microsoft.com/office/drawing/2014/main" id="{7331B4B5-A696-4A46-B2B1-C03EF0C0AB4C}"/>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1B2C7A56-BD1F-459C-99C5-484043C44646}"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24891429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End Without Numb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a:off x="3817044"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10120155"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ltGray">
          <a:xfrm>
            <a:off x="799595" y="2877126"/>
            <a:ext cx="2467979" cy="872430"/>
          </a:xfrm>
          <a:prstGeom prst="rect">
            <a:avLst/>
          </a:prstGeom>
        </p:spPr>
      </p:pic>
      <p:sp>
        <p:nvSpPr>
          <p:cNvPr id="15" name="Documenttype">
            <a:extLst>
              <a:ext uri="{FF2B5EF4-FFF2-40B4-BE49-F238E27FC236}">
                <a16:creationId xmlns:a16="http://schemas.microsoft.com/office/drawing/2014/main" id="{0F7CB758-B9E6-4C15-934F-A18C85AE65A1}"/>
              </a:ext>
            </a:extLst>
          </p:cNvPr>
          <p:cNvSpPr txBox="1">
            <a:spLocks/>
          </p:cNvSpPr>
          <p:nvPr userDrawn="1">
            <p:custDataLst>
              <p:tags r:id="rId2"/>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163915966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3"/>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354271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72256925"/>
              </p:ext>
            </p:extLst>
          </p:nvPr>
        </p:nvGraphicFramePr>
        <p:xfrm>
          <a:off x="1620" y="1623"/>
          <a:ext cx="1618" cy="161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620" y="1623"/>
                        <a:ext cx="1618" cy="1618"/>
                      </a:xfrm>
                      <a:prstGeom prst="rect">
                        <a:avLst/>
                      </a:prstGeom>
                    </p:spPr>
                  </p:pic>
                </p:oleObj>
              </mc:Fallback>
            </mc:AlternateContent>
          </a:graphicData>
        </a:graphic>
      </p:graphicFrame>
      <p:sp>
        <p:nvSpPr>
          <p:cNvPr id="8" name="Slide Number"/>
          <p:cNvSpPr txBox="1">
            <a:spLocks/>
          </p:cNvSpPr>
          <p:nvPr/>
        </p:nvSpPr>
        <p:spPr bwMode="gray">
          <a:xfrm>
            <a:off x="11746129"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smtClean="0">
                <a:solidFill>
                  <a:srgbClr val="3E3D40"/>
                </a:solidFill>
              </a:rPr>
              <a:pPr/>
              <a:t>‹#›</a:t>
            </a:fld>
            <a:endParaRPr lang="en-US" sz="816" dirty="0">
              <a:solidFill>
                <a:srgbClr val="3E3D40"/>
              </a:solidFill>
            </a:endParaRPr>
          </a:p>
        </p:txBody>
      </p:sp>
      <p:sp>
        <p:nvSpPr>
          <p:cNvPr id="9" name="SlideLogoText"/>
          <p:cNvSpPr>
            <a:spLocks noChangeArrowheads="1"/>
          </p:cNvSpPr>
          <p:nvPr>
            <p:custDataLst>
              <p:tags r:id="rId2"/>
            </p:custDataLst>
          </p:nvPr>
        </p:nvSpPr>
        <p:spPr bwMode="gray">
          <a:xfrm>
            <a:off x="10559152"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591957"/>
            <a:r>
              <a:rPr lang="en-US" sz="816" dirty="0">
                <a:solidFill>
                  <a:srgbClr val="3E3D40"/>
                </a:solidFill>
                <a:latin typeface="Arial"/>
              </a:rPr>
              <a:t>McKinsey &amp; Company</a:t>
            </a:r>
          </a:p>
        </p:txBody>
      </p:sp>
      <p:sp>
        <p:nvSpPr>
          <p:cNvPr id="7" name="Title Placeholder 3"/>
          <p:cNvSpPr>
            <a:spLocks noGrp="1"/>
          </p:cNvSpPr>
          <p:nvPr>
            <p:ph type="title"/>
          </p:nvPr>
        </p:nvSpPr>
        <p:spPr bwMode="gray">
          <a:xfrm>
            <a:off x="332058" y="233243"/>
            <a:ext cx="11510806" cy="384721"/>
          </a:xfrm>
          <a:prstGeom prst="rect">
            <a:avLst/>
          </a:prstGeom>
        </p:spPr>
        <p:txBody>
          <a:bodyPr vert="horz" wrap="square" lIns="0" tIns="0" rIns="0" bIns="0" rtlCol="0" anchor="t" anchorCtr="0">
            <a:spAutoFit/>
          </a:bodyPr>
          <a:lstStyle/>
          <a:p>
            <a:r>
              <a:rPr lang="en-US"/>
              <a:t>Click to edit Master title style</a:t>
            </a:r>
            <a:endParaRPr lang="en-US" dirty="0"/>
          </a:p>
        </p:txBody>
      </p:sp>
    </p:spTree>
    <p:extLst>
      <p:ext uri="{BB962C8B-B14F-4D97-AF65-F5344CB8AC3E}">
        <p14:creationId xmlns:p14="http://schemas.microsoft.com/office/powerpoint/2010/main" val="96120155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29580600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60354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A3D21A23-A104-496A-A3BB-E2824FA8D4F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bg2"/>
                </a:solidFill>
              </a:defRPr>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p:custDataLst>
              <p:tags r:id="rId4"/>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2"/>
                </a:solidFill>
              </a:defRPr>
            </a:lvl1pPr>
          </a:lstStyle>
          <a:p>
            <a:pPr lvl="0"/>
            <a:r>
              <a:rPr lang="en-US"/>
              <a:t>Click to edit Master title style</a:t>
            </a:r>
            <a:endParaRPr lang="en-US" dirty="0"/>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bg2"/>
                </a:solidFill>
              </a:defRPr>
            </a:lvl1pPr>
          </a:lstStyle>
          <a:p>
            <a:pPr lvl="0">
              <a:buNone/>
            </a:pPr>
            <a:r>
              <a:rPr lang="en-US"/>
              <a:t>Click to edit Master subtitle style</a:t>
            </a:r>
            <a:endParaRPr lang="en-US" dirty="0"/>
          </a:p>
        </p:txBody>
      </p:sp>
      <p:pic>
        <p:nvPicPr>
          <p:cNvPr id="26" name="Picture 25">
            <a:extLst>
              <a:ext uri="{FF2B5EF4-FFF2-40B4-BE49-F238E27FC236}">
                <a16:creationId xmlns:a16="http://schemas.microsoft.com/office/drawing/2014/main" id="{70BACD0A-B176-44DB-A133-D449488AB5A9}"/>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28" name="Picture 27">
            <a:extLst>
              <a:ext uri="{FF2B5EF4-FFF2-40B4-BE49-F238E27FC236}">
                <a16:creationId xmlns:a16="http://schemas.microsoft.com/office/drawing/2014/main" id="{EC3FDF1A-4D14-4090-9EED-9E4DE3DBE79F}"/>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29" name="Group 28">
            <a:extLst>
              <a:ext uri="{FF2B5EF4-FFF2-40B4-BE49-F238E27FC236}">
                <a16:creationId xmlns:a16="http://schemas.microsoft.com/office/drawing/2014/main" id="{CDFBF8AE-F994-4CC4-BA6C-8FAA88311833}"/>
              </a:ext>
            </a:extLst>
          </p:cNvPr>
          <p:cNvGrpSpPr>
            <a:grpSpLocks noChangeAspect="1"/>
          </p:cNvGrpSpPr>
          <p:nvPr userDrawn="1"/>
        </p:nvGrpSpPr>
        <p:grpSpPr bwMode="ltGray">
          <a:xfrm>
            <a:off x="10402367" y="5349875"/>
            <a:ext cx="950497" cy="900000"/>
            <a:chOff x="10236055" y="680939"/>
            <a:chExt cx="759866" cy="719497"/>
          </a:xfrm>
        </p:grpSpPr>
        <p:sp>
          <p:nvSpPr>
            <p:cNvPr id="30" name="Freeform 5">
              <a:extLst>
                <a:ext uri="{FF2B5EF4-FFF2-40B4-BE49-F238E27FC236}">
                  <a16:creationId xmlns:a16="http://schemas.microsoft.com/office/drawing/2014/main" id="{D35963A8-BB09-4371-877B-057423491DF2}"/>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1" name="Rectangle 6">
              <a:extLst>
                <a:ext uri="{FF2B5EF4-FFF2-40B4-BE49-F238E27FC236}">
                  <a16:creationId xmlns:a16="http://schemas.microsoft.com/office/drawing/2014/main" id="{BBE09AF2-2A54-445D-8F64-9D7F19B00A85}"/>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2" name="Freeform 7">
              <a:extLst>
                <a:ext uri="{FF2B5EF4-FFF2-40B4-BE49-F238E27FC236}">
                  <a16:creationId xmlns:a16="http://schemas.microsoft.com/office/drawing/2014/main" id="{3E49903B-7D11-4416-90E4-1D9E7D5436EF}"/>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 name="Freeform 8">
              <a:extLst>
                <a:ext uri="{FF2B5EF4-FFF2-40B4-BE49-F238E27FC236}">
                  <a16:creationId xmlns:a16="http://schemas.microsoft.com/office/drawing/2014/main" id="{6C832AF7-3499-4BBD-8C3A-99E4268CECD9}"/>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 name="Freeform 9">
              <a:extLst>
                <a:ext uri="{FF2B5EF4-FFF2-40B4-BE49-F238E27FC236}">
                  <a16:creationId xmlns:a16="http://schemas.microsoft.com/office/drawing/2014/main" id="{D4226C4E-AAF5-499A-BD28-C95AE1686913}"/>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160816401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12" name="Slide Number">
            <a:extLst>
              <a:ext uri="{FF2B5EF4-FFF2-40B4-BE49-F238E27FC236}">
                <a16:creationId xmlns:a16="http://schemas.microsoft.com/office/drawing/2014/main" id="{480918F5-69A8-40D4-9A1C-19A48B2E8F78}"/>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7630462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3" name="Slide Number">
            <a:extLst>
              <a:ext uri="{FF2B5EF4-FFF2-40B4-BE49-F238E27FC236}">
                <a16:creationId xmlns:a16="http://schemas.microsoft.com/office/drawing/2014/main" id="{CE0B50F1-6D0E-4C53-B9AB-8889EFECA0E8}"/>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45879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57411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30D20F8F-9B1E-4BF1-A6A1-7FA56E3BDA96}"/>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Slide Number">
            <a:extLst>
              <a:ext uri="{FF2B5EF4-FFF2-40B4-BE49-F238E27FC236}">
                <a16:creationId xmlns:a16="http://schemas.microsoft.com/office/drawing/2014/main" id="{C8B1F0DF-FA5B-408A-8FCC-5148EA64CBCE}"/>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9091267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CF64C615-2582-4DCF-9142-3B691B7548E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8552986C-9452-46D3-8888-20E612BE00A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949414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416491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2BB30059-FB8E-4561-8E69-3AB6FD5DC469}"/>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E5F47A3A-93A8-4476-96B9-9FB8416DB1B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8545150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94895A5-9A87-472E-A5BA-9BA01ABF90A5}"/>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DB2D9C9-2BCB-4804-8631-381BA36F2FA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12764903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1417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34" name="Slide Number">
            <a:extLst>
              <a:ext uri="{FF2B5EF4-FFF2-40B4-BE49-F238E27FC236}">
                <a16:creationId xmlns:a16="http://schemas.microsoft.com/office/drawing/2014/main" id="{00D78BE5-42EA-4C8E-996C-4517056791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8"/>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56123229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4032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575BF50E-69E8-4E92-BF47-A468862F9929}"/>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A386E180-04F8-4B18-AFAD-F28A3F606104}"/>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2B78B299-5876-4D7B-9720-0A8A896EEF9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6A5356A1-18AE-470D-8027-E9D8DF8E448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B50C1A43-8E10-4559-A869-314C85AA397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7AF157-A820-4ACD-AB63-8200D1F2777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52797A5B-FBA9-4BF9-A66E-5A9D7016E53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9699D850-373E-438C-83AD-0A7457C5C2E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7686E5-229C-438C-A4A6-423982C30F5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E3771B26-C02B-439A-9350-D1C91B79CE8B}"/>
              </a:ext>
            </a:extLst>
          </p:cNvPr>
          <p:cNvSpPr txBox="1">
            <a:spLocks/>
          </p:cNvSpPr>
          <p:nvPr userDrawn="1">
            <p:custDataLst>
              <p:tags r:id="rId8"/>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46346888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91CEAC37-6545-4492-AAB0-C163408D5D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1" name="Group 4">
            <a:extLst>
              <a:ext uri="{FF2B5EF4-FFF2-40B4-BE49-F238E27FC236}">
                <a16:creationId xmlns:a16="http://schemas.microsoft.com/office/drawing/2014/main" id="{29DA557C-6F84-460C-9E9A-B319AC79D329}"/>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A33616C8-F276-496E-97F5-626AF1A67BC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5BDB4C95-8B13-42E5-97C9-959C0762DD7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740B257D-609C-4C30-A37B-EDE85750E11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5E5772-7391-4093-8E15-D42F0ACD0E7C}"/>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D3E564C4-9BC2-4793-93C1-7A5968E816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3A103D6D-E496-4AD8-8181-08B1F4D45AC7}"/>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B0CEF7D-62D7-4B16-874C-7D6CF60330F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7E92BCC7-C8AA-436D-A5D5-738AB904E581}"/>
              </a:ext>
            </a:extLst>
          </p:cNvPr>
          <p:cNvSpPr txBox="1">
            <a:spLocks/>
          </p:cNvSpPr>
          <p:nvPr userDrawn="1">
            <p:custDataLst>
              <p:tags r:id="rId8"/>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99563149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11256172"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8"/>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21342608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4BB34CAF-3D4A-4A48-A97F-048744350F6E}"/>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4" name="Group 4">
            <a:extLst>
              <a:ext uri="{FF2B5EF4-FFF2-40B4-BE49-F238E27FC236}">
                <a16:creationId xmlns:a16="http://schemas.microsoft.com/office/drawing/2014/main" id="{2A80F2F2-115C-4E8E-B9DC-6DD20548D704}"/>
              </a:ext>
            </a:extLst>
          </p:cNvPr>
          <p:cNvGrpSpPr>
            <a:grpSpLocks noChangeAspect="1"/>
          </p:cNvGrpSpPr>
          <p:nvPr userDrawn="1"/>
        </p:nvGrpSpPr>
        <p:grpSpPr bwMode="ltGray">
          <a:xfrm>
            <a:off x="11256172" y="6417372"/>
            <a:ext cx="394856" cy="373880"/>
            <a:chOff x="-240" y="2757"/>
            <a:chExt cx="960" cy="909"/>
          </a:xfrm>
        </p:grpSpPr>
        <p:sp>
          <p:nvSpPr>
            <p:cNvPr id="29" name="Freeform 5">
              <a:extLst>
                <a:ext uri="{FF2B5EF4-FFF2-40B4-BE49-F238E27FC236}">
                  <a16:creationId xmlns:a16="http://schemas.microsoft.com/office/drawing/2014/main" id="{11644F48-425C-46D9-94C1-23978DD0D13C}"/>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Rectangle 6">
              <a:extLst>
                <a:ext uri="{FF2B5EF4-FFF2-40B4-BE49-F238E27FC236}">
                  <a16:creationId xmlns:a16="http://schemas.microsoft.com/office/drawing/2014/main" id="{75CE9D97-8582-48C0-9419-917440456910}"/>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7">
              <a:extLst>
                <a:ext uri="{FF2B5EF4-FFF2-40B4-BE49-F238E27FC236}">
                  <a16:creationId xmlns:a16="http://schemas.microsoft.com/office/drawing/2014/main" id="{E67EF180-B650-4C4A-91F3-F097E0A099E4}"/>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8">
              <a:extLst>
                <a:ext uri="{FF2B5EF4-FFF2-40B4-BE49-F238E27FC236}">
                  <a16:creationId xmlns:a16="http://schemas.microsoft.com/office/drawing/2014/main" id="{3F4879AE-2BA2-4497-B15D-BC59E7461E6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3" name="Freeform 9">
              <a:extLst>
                <a:ext uri="{FF2B5EF4-FFF2-40B4-BE49-F238E27FC236}">
                  <a16:creationId xmlns:a16="http://schemas.microsoft.com/office/drawing/2014/main" id="{CFDF7617-B35D-4046-93A3-76A85D2829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4" name="Picture 720" descr="EDCTP and Africa CDC workshop report on disparities in research funding -  EDCTP">
            <a:extLst>
              <a:ext uri="{FF2B5EF4-FFF2-40B4-BE49-F238E27FC236}">
                <a16:creationId xmlns:a16="http://schemas.microsoft.com/office/drawing/2014/main" id="{814ED359-19C4-4C9A-ADDF-8DC8C13C085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899874C-DF8F-4F46-A2EB-C41122F78A75}"/>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9" name="5. Source" hidden="1">
            <a:extLst>
              <a:ext uri="{FF2B5EF4-FFF2-40B4-BE49-F238E27FC236}">
                <a16:creationId xmlns:a16="http://schemas.microsoft.com/office/drawing/2014/main" id="{B0B197DD-58D4-4FDB-B1A9-FA59611691E7}"/>
              </a:ext>
            </a:extLst>
          </p:cNvPr>
          <p:cNvSpPr txBox="1">
            <a:spLocks/>
          </p:cNvSpPr>
          <p:nvPr userDrawn="1">
            <p:custDataLst>
              <p:tags r:id="rId8"/>
            </p:custDataLst>
          </p:nvPr>
        </p:nvSpPr>
        <p:spPr>
          <a:xfrm>
            <a:off x="554733"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84150708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9" name="Straight Connector 8">
            <a:extLst>
              <a:ext uri="{FF2B5EF4-FFF2-40B4-BE49-F238E27FC236}">
                <a16:creationId xmlns:a16="http://schemas.microsoft.com/office/drawing/2014/main" id="{BC2CB6D3-E8B1-4229-A1B9-B75E7D6E0420}"/>
              </a:ext>
            </a:extLst>
          </p:cNvPr>
          <p:cNvCxnSpPr>
            <a:cxnSpLocks/>
          </p:cNvCxnSpPr>
          <p:nvPr userDrawn="1"/>
        </p:nvCxnSpPr>
        <p:spPr bwMode="ltGray">
          <a:xfrm>
            <a:off x="554736" y="12388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4F9F5BDE-581C-4374-B70C-27D0344EE5B0}"/>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9" name="Group 4">
            <a:extLst>
              <a:ext uri="{FF2B5EF4-FFF2-40B4-BE49-F238E27FC236}">
                <a16:creationId xmlns:a16="http://schemas.microsoft.com/office/drawing/2014/main" id="{341FC139-26C0-428A-9DC5-8A451502DD7A}"/>
              </a:ext>
            </a:extLst>
          </p:cNvPr>
          <p:cNvGrpSpPr>
            <a:grpSpLocks noChangeAspect="1"/>
          </p:cNvGrpSpPr>
          <p:nvPr userDrawn="1"/>
        </p:nvGrpSpPr>
        <p:grpSpPr bwMode="ltGray">
          <a:xfrm>
            <a:off x="11256172" y="6417372"/>
            <a:ext cx="394856" cy="373880"/>
            <a:chOff x="-240" y="2757"/>
            <a:chExt cx="960" cy="909"/>
          </a:xfrm>
        </p:grpSpPr>
        <p:sp>
          <p:nvSpPr>
            <p:cNvPr id="20" name="Freeform 5">
              <a:extLst>
                <a:ext uri="{FF2B5EF4-FFF2-40B4-BE49-F238E27FC236}">
                  <a16:creationId xmlns:a16="http://schemas.microsoft.com/office/drawing/2014/main" id="{57329FBA-126A-4E1D-A53D-36B49F0BA19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2CB24FA4-CB4E-48A9-BAB5-6D243BE23A14}"/>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81CF441F-2F08-469D-9B69-253A5E2C5F5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5B584770-A271-4F31-A098-B5B042A2D27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C18A98AE-A202-476D-AED7-E2B36376F6E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9" name="Picture 720" descr="EDCTP and Africa CDC workshop report on disparities in research funding -  EDCTP">
            <a:extLst>
              <a:ext uri="{FF2B5EF4-FFF2-40B4-BE49-F238E27FC236}">
                <a16:creationId xmlns:a16="http://schemas.microsoft.com/office/drawing/2014/main" id="{A6D66E70-9662-44D7-A1AE-81FDCFDB0A16}"/>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9CA4BC00-CD1D-4AFE-8082-5738A561713E}"/>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2" name="5. Source" hidden="1">
            <a:extLst>
              <a:ext uri="{FF2B5EF4-FFF2-40B4-BE49-F238E27FC236}">
                <a16:creationId xmlns:a16="http://schemas.microsoft.com/office/drawing/2014/main" id="{64C91C80-6C09-4D3D-856F-40475CD2DD48}"/>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7908297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6DBF7DE7-B91D-4ABB-954A-50FBE28D25BA}"/>
              </a:ext>
            </a:extLst>
          </p:cNvPr>
          <p:cNvSpPr>
            <a:spLocks noChangeArrowheads="1"/>
          </p:cNvSpPr>
          <p:nvPr userDrawn="1">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5593A88A-4833-45F6-99A2-C493C0AB8824}"/>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grpSp>
        <p:nvGrpSpPr>
          <p:cNvPr id="6" name="Group 4">
            <a:extLst>
              <a:ext uri="{FF2B5EF4-FFF2-40B4-BE49-F238E27FC236}">
                <a16:creationId xmlns:a16="http://schemas.microsoft.com/office/drawing/2014/main" id="{B647C9C1-5471-4388-BAD4-426A4D690ED9}"/>
              </a:ext>
            </a:extLst>
          </p:cNvPr>
          <p:cNvGrpSpPr>
            <a:grpSpLocks noChangeAspect="1"/>
          </p:cNvGrpSpPr>
          <p:nvPr userDrawn="1"/>
        </p:nvGrpSpPr>
        <p:grpSpPr bwMode="ltGray">
          <a:xfrm>
            <a:off x="11256172" y="6417372"/>
            <a:ext cx="394856" cy="373880"/>
            <a:chOff x="-240" y="2757"/>
            <a:chExt cx="960" cy="909"/>
          </a:xfrm>
        </p:grpSpPr>
        <p:sp>
          <p:nvSpPr>
            <p:cNvPr id="7" name="Freeform 5">
              <a:extLst>
                <a:ext uri="{FF2B5EF4-FFF2-40B4-BE49-F238E27FC236}">
                  <a16:creationId xmlns:a16="http://schemas.microsoft.com/office/drawing/2014/main" id="{F37C1500-6D09-4B69-BE3B-22AF92B92877}"/>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Rectangle 6">
              <a:extLst>
                <a:ext uri="{FF2B5EF4-FFF2-40B4-BE49-F238E27FC236}">
                  <a16:creationId xmlns:a16="http://schemas.microsoft.com/office/drawing/2014/main" id="{33502601-D301-4859-B697-92C3C2329416}"/>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7">
              <a:extLst>
                <a:ext uri="{FF2B5EF4-FFF2-40B4-BE49-F238E27FC236}">
                  <a16:creationId xmlns:a16="http://schemas.microsoft.com/office/drawing/2014/main" id="{38ACD85C-2DE8-4826-871D-6160EC075A46}"/>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8">
              <a:extLst>
                <a:ext uri="{FF2B5EF4-FFF2-40B4-BE49-F238E27FC236}">
                  <a16:creationId xmlns:a16="http://schemas.microsoft.com/office/drawing/2014/main" id="{FA3DE10D-3AA1-400C-BAAC-13F5B20FCE5F}"/>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3" name="Freeform 9">
              <a:extLst>
                <a:ext uri="{FF2B5EF4-FFF2-40B4-BE49-F238E27FC236}">
                  <a16:creationId xmlns:a16="http://schemas.microsoft.com/office/drawing/2014/main" id="{2DDCBF92-A2DF-4C8B-846F-A6A6F239AADF}"/>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4" name="Picture 720" descr="EDCTP and Africa CDC workshop report on disparities in research funding -  EDCTP">
            <a:extLst>
              <a:ext uri="{FF2B5EF4-FFF2-40B4-BE49-F238E27FC236}">
                <a16:creationId xmlns:a16="http://schemas.microsoft.com/office/drawing/2014/main" id="{A1D48B6D-051F-45EA-9C47-02764BCD5EFE}"/>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37559406-1D2B-4BD8-A46C-F6B5F936A61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162317919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a:off x="3817044"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10120155"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ltGray">
          <a:xfrm>
            <a:off x="799595" y="2877126"/>
            <a:ext cx="2467979" cy="872430"/>
          </a:xfrm>
          <a:prstGeom prst="rect">
            <a:avLst/>
          </a:prstGeom>
        </p:spPr>
      </p:pic>
    </p:spTree>
    <p:extLst>
      <p:ext uri="{BB962C8B-B14F-4D97-AF65-F5344CB8AC3E}">
        <p14:creationId xmlns:p14="http://schemas.microsoft.com/office/powerpoint/2010/main" val="109064995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65480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EAA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4" name="TopLineRight">
            <a:extLst>
              <a:ext uri="{FF2B5EF4-FFF2-40B4-BE49-F238E27FC236}">
                <a16:creationId xmlns:a16="http://schemas.microsoft.com/office/drawing/2014/main" id="{9DD5C457-8894-4C00-BE39-CE61754727F6}"/>
              </a:ext>
            </a:extLst>
          </p:cNvPr>
          <p:cNvCxnSpPr/>
          <p:nvPr userDrawn="1">
            <p:custDataLst>
              <p:tags r:id="rId6"/>
            </p:custDataLst>
          </p:nvPr>
        </p:nvCxnSpPr>
        <p:spPr>
          <a:xfrm>
            <a:off x="9119861" y="1181906"/>
            <a:ext cx="2514600" cy="0"/>
          </a:xfrm>
          <a:prstGeom prst="line">
            <a:avLst/>
          </a:prstGeom>
          <a:ln w="6350">
            <a:solidFill>
              <a:srgbClr val="98CA3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7"/>
            </p:custDataLst>
          </p:nvPr>
        </p:nvCxnSpPr>
        <p:spPr>
          <a:xfrm>
            <a:off x="554736" y="1181906"/>
            <a:ext cx="7918704" cy="0"/>
          </a:xfrm>
          <a:prstGeom prst="line">
            <a:avLst/>
          </a:prstGeom>
          <a:ln w="6350">
            <a:solidFill>
              <a:srgbClr val="98CA3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9"/>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0"/>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1"/>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37487695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D92D58C9-B819-483C-83C9-C9ED829D8459}"/>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58F41D5F-911F-4BA1-A598-70529D6E823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92196645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494160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9" name="Picture 28">
            <a:extLst>
              <a:ext uri="{FF2B5EF4-FFF2-40B4-BE49-F238E27FC236}">
                <a16:creationId xmlns:a16="http://schemas.microsoft.com/office/drawing/2014/main" id="{8914737B-1618-449A-A056-92ECF9AD8C6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30" name="Documenttype">
            <a:extLst>
              <a:ext uri="{FF2B5EF4-FFF2-40B4-BE49-F238E27FC236}">
                <a16:creationId xmlns:a16="http://schemas.microsoft.com/office/drawing/2014/main" id="{149553C0-9D25-4D61-825A-17757EA15743}"/>
              </a:ext>
            </a:extLst>
          </p:cNvPr>
          <p:cNvSpPr>
            <a:spLocks noGrp="1"/>
          </p:cNvSpPr>
          <p:nvPr>
            <p:ph type="body" sz="quarter" idx="13" hasCustomPrompt="1"/>
            <p:custDataLst>
              <p:tags r:id="rId2"/>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rtl="0">
              <a:defRPr lang="en-US" sz="1400" dirty="0">
                <a:solidFill>
                  <a:schemeClr val="tx1"/>
                </a:solidFill>
              </a:defRPr>
            </a:lvl1pPr>
          </a:lstStyle>
          <a:p>
            <a:pPr lvl="0">
              <a:buNone/>
            </a:pPr>
            <a:r>
              <a:rPr lang="en-GB" dirty="0"/>
              <a:t>Edit date or title/role</a:t>
            </a:r>
          </a:p>
        </p:txBody>
      </p:sp>
      <p:sp>
        <p:nvSpPr>
          <p:cNvPr id="39" name="Title">
            <a:extLst>
              <a:ext uri="{FF2B5EF4-FFF2-40B4-BE49-F238E27FC236}">
                <a16:creationId xmlns:a16="http://schemas.microsoft.com/office/drawing/2014/main" id="{CEC7A480-66F8-400B-B7B0-37590E6FE06C}"/>
              </a:ext>
            </a:extLst>
          </p:cNvPr>
          <p:cNvSpPr>
            <a:spLocks noGrp="1"/>
          </p:cNvSpPr>
          <p:nvPr>
            <p:ph type="title"/>
            <p:custDataLst>
              <p:tags r:id="rId3"/>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rtl="0">
              <a:defRPr lang="en-US" sz="4400" dirty="0">
                <a:solidFill>
                  <a:schemeClr val="tx1"/>
                </a:solidFill>
              </a:defRPr>
            </a:lvl1pPr>
          </a:lstStyle>
          <a:p>
            <a:pPr lvl="0"/>
            <a:r>
              <a:rPr lang="en-GB" dirty="0"/>
              <a:t>Click to edit Master title style</a:t>
            </a:r>
          </a:p>
        </p:txBody>
      </p:sp>
      <p:sp>
        <p:nvSpPr>
          <p:cNvPr id="40" name="Subtitle">
            <a:extLst>
              <a:ext uri="{FF2B5EF4-FFF2-40B4-BE49-F238E27FC236}">
                <a16:creationId xmlns:a16="http://schemas.microsoft.com/office/drawing/2014/main" id="{7644BD36-3FE1-4AC5-8089-FD23B448117A}"/>
              </a:ext>
            </a:extLst>
          </p:cNvPr>
          <p:cNvSpPr>
            <a:spLocks noGrp="1"/>
          </p:cNvSpPr>
          <p:nvPr>
            <p:ph type="subTitle" idx="1"/>
            <p:custDataLst>
              <p:tags r:id="rId4"/>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rtl="0">
              <a:defRPr lang="en-US" sz="2000" dirty="0">
                <a:solidFill>
                  <a:schemeClr val="tx1"/>
                </a:solidFill>
              </a:defRPr>
            </a:lvl1pPr>
          </a:lstStyle>
          <a:p>
            <a:pPr lvl="0">
              <a:buNone/>
            </a:pPr>
            <a:r>
              <a:rPr lang="en-GB" dirty="0"/>
              <a:t>Click to edit Master subtitle style</a:t>
            </a:r>
          </a:p>
        </p:txBody>
      </p:sp>
      <p:pic>
        <p:nvPicPr>
          <p:cNvPr id="41" name="Picture 40">
            <a:extLst>
              <a:ext uri="{FF2B5EF4-FFF2-40B4-BE49-F238E27FC236}">
                <a16:creationId xmlns:a16="http://schemas.microsoft.com/office/drawing/2014/main" id="{E77DFDCC-8C49-4DBC-A3DD-E4FE24864112}"/>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42" name="Picture 41">
            <a:extLst>
              <a:ext uri="{FF2B5EF4-FFF2-40B4-BE49-F238E27FC236}">
                <a16:creationId xmlns:a16="http://schemas.microsoft.com/office/drawing/2014/main" id="{19DCB12B-9A17-433E-85B0-D326E1FE29C8}"/>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43" name="Group 42">
            <a:extLst>
              <a:ext uri="{FF2B5EF4-FFF2-40B4-BE49-F238E27FC236}">
                <a16:creationId xmlns:a16="http://schemas.microsoft.com/office/drawing/2014/main" id="{A815BE71-905E-469E-BC3B-A0C30AA9216A}"/>
              </a:ext>
            </a:extLst>
          </p:cNvPr>
          <p:cNvGrpSpPr>
            <a:grpSpLocks noChangeAspect="1"/>
          </p:cNvGrpSpPr>
          <p:nvPr userDrawn="1"/>
        </p:nvGrpSpPr>
        <p:grpSpPr bwMode="ltGray">
          <a:xfrm>
            <a:off x="10402367" y="5349875"/>
            <a:ext cx="950497" cy="900000"/>
            <a:chOff x="10236055" y="680939"/>
            <a:chExt cx="759866" cy="719497"/>
          </a:xfrm>
        </p:grpSpPr>
        <p:sp>
          <p:nvSpPr>
            <p:cNvPr id="44" name="Freeform 5">
              <a:extLst>
                <a:ext uri="{FF2B5EF4-FFF2-40B4-BE49-F238E27FC236}">
                  <a16:creationId xmlns:a16="http://schemas.microsoft.com/office/drawing/2014/main" id="{9D65686E-734E-45ED-B68E-413AA3499DFC}"/>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6" name="Rectangle 6">
              <a:extLst>
                <a:ext uri="{FF2B5EF4-FFF2-40B4-BE49-F238E27FC236}">
                  <a16:creationId xmlns:a16="http://schemas.microsoft.com/office/drawing/2014/main" id="{FC3DD7B7-002A-41AD-A26E-B33A6A620E44}"/>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7" name="Freeform 7">
              <a:extLst>
                <a:ext uri="{FF2B5EF4-FFF2-40B4-BE49-F238E27FC236}">
                  <a16:creationId xmlns:a16="http://schemas.microsoft.com/office/drawing/2014/main" id="{48F1CAC7-23B2-4DB0-A3BD-9C7312C5F27A}"/>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8" name="Freeform 8">
              <a:extLst>
                <a:ext uri="{FF2B5EF4-FFF2-40B4-BE49-F238E27FC236}">
                  <a16:creationId xmlns:a16="http://schemas.microsoft.com/office/drawing/2014/main" id="{EBBE1254-6C46-4169-B618-5650E341FB1A}"/>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9" name="Freeform 9">
              <a:extLst>
                <a:ext uri="{FF2B5EF4-FFF2-40B4-BE49-F238E27FC236}">
                  <a16:creationId xmlns:a16="http://schemas.microsoft.com/office/drawing/2014/main" id="{2DD290E8-7EC7-49F8-8A57-3441C33B189E}"/>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36627980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410724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rtl="0">
              <a:defRPr lang="en-US" dirty="0"/>
            </a:lvl1pPr>
          </a:lstStyle>
          <a:p>
            <a:pPr lvl="0"/>
            <a:r>
              <a:rPr lang="en-GB"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GB" dirty="0"/>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GB" dirty="0"/>
              <a:t>Add tracker</a:t>
            </a:r>
          </a:p>
        </p:txBody>
      </p:sp>
      <p:sp>
        <p:nvSpPr>
          <p:cNvPr id="10" name="Slide Number">
            <a:extLst>
              <a:ext uri="{FF2B5EF4-FFF2-40B4-BE49-F238E27FC236}">
                <a16:creationId xmlns:a16="http://schemas.microsoft.com/office/drawing/2014/main" id="{2BB30059-FB8E-4561-8E69-3AB6FD5DC469}"/>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E5F47A3A-93A8-4476-96B9-9FB8416DB1B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215920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702838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GB" dirty="0"/>
              <a:t>Click to edit Master title style</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dirty="0"/>
              <a:t>Add tracker</a:t>
            </a:r>
          </a:p>
        </p:txBody>
      </p:sp>
      <p:sp>
        <p:nvSpPr>
          <p:cNvPr id="10" name="Slide Number">
            <a:extLst>
              <a:ext uri="{FF2B5EF4-FFF2-40B4-BE49-F238E27FC236}">
                <a16:creationId xmlns:a16="http://schemas.microsoft.com/office/drawing/2014/main" id="{D92D58C9-B819-483C-83C9-C9ED829D8459}"/>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58F41D5F-911F-4BA1-A598-70529D6E823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28473955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811996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GB" dirty="0"/>
              <a:t>Click to edit Master title style</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dirty="0"/>
              <a:t>Add tracker</a:t>
            </a:r>
          </a:p>
        </p:txBody>
      </p:sp>
      <p:sp>
        <p:nvSpPr>
          <p:cNvPr id="8" name="Slide Number">
            <a:extLst>
              <a:ext uri="{FF2B5EF4-FFF2-40B4-BE49-F238E27FC236}">
                <a16:creationId xmlns:a16="http://schemas.microsoft.com/office/drawing/2014/main" id="{D881D7BC-D02B-4E9F-B085-356789F938ED}"/>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40A5B51-95C1-4905-80E2-EE971737A6E4}"/>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173818263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133958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GB" dirty="0"/>
              <a:t>Click to edit Master title style</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dirty="0"/>
              <a:t>Add tracker</a:t>
            </a:r>
          </a:p>
        </p:txBody>
      </p:sp>
      <p:sp>
        <p:nvSpPr>
          <p:cNvPr id="10" name="Slide Number">
            <a:extLst>
              <a:ext uri="{FF2B5EF4-FFF2-40B4-BE49-F238E27FC236}">
                <a16:creationId xmlns:a16="http://schemas.microsoft.com/office/drawing/2014/main" id="{0EA743B8-325E-46C7-B856-F38DC0C6F2D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BE744635-1451-46D5-B727-AAA2116613DA}"/>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35818633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4246491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GB"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quote source</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dirty="0"/>
              <a:t>Add tracker</a:t>
            </a:r>
          </a:p>
        </p:txBody>
      </p:sp>
      <p:sp>
        <p:nvSpPr>
          <p:cNvPr id="12" name="Slide Number">
            <a:extLst>
              <a:ext uri="{FF2B5EF4-FFF2-40B4-BE49-F238E27FC236}">
                <a16:creationId xmlns:a16="http://schemas.microsoft.com/office/drawing/2014/main" id="{C5130BCD-C096-4AD0-81BE-A080EB555E4E}"/>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B9414073-1D27-402B-AF77-887312B36E69}"/>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26242141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135813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dirty="0">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bg2"/>
                </a:solidFill>
              </a:defRPr>
            </a:lvl1pPr>
          </a:lstStyle>
          <a:p>
            <a:r>
              <a:rPr lang="en-GB"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a:spLocks/>
          </p:cNvSpPr>
          <p:nvPr userDrawn="1">
            <p:custDataLst>
              <p:tags r:id="rId6"/>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GB" dirty="0"/>
              <a:t>Add tracker</a:t>
            </a:r>
          </a:p>
        </p:txBody>
      </p:sp>
      <p:sp>
        <p:nvSpPr>
          <p:cNvPr id="22" name="Slide Number">
            <a:extLst>
              <a:ext uri="{FF2B5EF4-FFF2-40B4-BE49-F238E27FC236}">
                <a16:creationId xmlns:a16="http://schemas.microsoft.com/office/drawing/2014/main" id="{01DF17F6-A177-4A80-8EDF-C156E4890AF9}"/>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pic>
        <p:nvPicPr>
          <p:cNvPr id="33" name="Picture 720" descr="EDCTP and Africa CDC workshop report on disparities in research funding -  EDCTP">
            <a:extLst>
              <a:ext uri="{FF2B5EF4-FFF2-40B4-BE49-F238E27FC236}">
                <a16:creationId xmlns:a16="http://schemas.microsoft.com/office/drawing/2014/main" id="{71E62FB3-ED30-4F12-AB15-844350B2A063}"/>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97C993D5-396D-462A-90EB-85623CE5B9BD}"/>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grpSp>
        <p:nvGrpSpPr>
          <p:cNvPr id="28" name="Group 27">
            <a:extLst>
              <a:ext uri="{FF2B5EF4-FFF2-40B4-BE49-F238E27FC236}">
                <a16:creationId xmlns:a16="http://schemas.microsoft.com/office/drawing/2014/main" id="{49CCF15A-9439-4556-AE49-A3F7C36FFA0D}"/>
              </a:ext>
            </a:extLst>
          </p:cNvPr>
          <p:cNvGrpSpPr>
            <a:grpSpLocks/>
          </p:cNvGrpSpPr>
          <p:nvPr userDrawn="1"/>
        </p:nvGrpSpPr>
        <p:grpSpPr>
          <a:xfrm>
            <a:off x="11256172" y="6417372"/>
            <a:ext cx="394856" cy="373880"/>
            <a:chOff x="11105270" y="6244071"/>
            <a:chExt cx="480234" cy="454722"/>
          </a:xfrm>
        </p:grpSpPr>
        <p:sp>
          <p:nvSpPr>
            <p:cNvPr id="30" name="Freeform 5">
              <a:extLst>
                <a:ext uri="{FF2B5EF4-FFF2-40B4-BE49-F238E27FC236}">
                  <a16:creationId xmlns:a16="http://schemas.microsoft.com/office/drawing/2014/main" id="{2F1EA4CC-02A9-45D2-BCCD-392498F96560}"/>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31" name="Rectangle 6">
              <a:extLst>
                <a:ext uri="{FF2B5EF4-FFF2-40B4-BE49-F238E27FC236}">
                  <a16:creationId xmlns:a16="http://schemas.microsoft.com/office/drawing/2014/main" id="{4EB4FEFC-D7DB-4D64-8392-27CADFF3FF1E}"/>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7">
              <a:extLst>
                <a:ext uri="{FF2B5EF4-FFF2-40B4-BE49-F238E27FC236}">
                  <a16:creationId xmlns:a16="http://schemas.microsoft.com/office/drawing/2014/main" id="{B1F0ABB2-6E3B-4AEB-A7F2-71E6F6780C28}"/>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C1F75A90-E4DA-4E99-99D5-B3462A94C4CA}"/>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30DB66A5-547E-419B-891C-C271A6A5648F}"/>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226895543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19717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dirty="0">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GB"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a:spLocks/>
          </p:cNvSpPr>
          <p:nvPr userDrawn="1">
            <p:custDataLst>
              <p:tags r:id="rId6"/>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GB" dirty="0"/>
              <a:t>Add tracker</a:t>
            </a:r>
          </a:p>
        </p:txBody>
      </p:sp>
      <p:sp>
        <p:nvSpPr>
          <p:cNvPr id="26" name="Slide Number">
            <a:extLst>
              <a:ext uri="{FF2B5EF4-FFF2-40B4-BE49-F238E27FC236}">
                <a16:creationId xmlns:a16="http://schemas.microsoft.com/office/drawing/2014/main" id="{7676D513-88A0-44E6-ABEC-A1C095B29926}"/>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pic>
        <p:nvPicPr>
          <p:cNvPr id="33" name="Picture 720" descr="EDCTP and Africa CDC workshop report on disparities in research funding -  EDCTP">
            <a:extLst>
              <a:ext uri="{FF2B5EF4-FFF2-40B4-BE49-F238E27FC236}">
                <a16:creationId xmlns:a16="http://schemas.microsoft.com/office/drawing/2014/main" id="{591C7F33-3592-4C16-92FC-B757C2FCBADD}"/>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7D14B1DC-1AFC-49C3-860D-7B5B7251A364}"/>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grpSp>
        <p:nvGrpSpPr>
          <p:cNvPr id="22" name="Group 21">
            <a:extLst>
              <a:ext uri="{FF2B5EF4-FFF2-40B4-BE49-F238E27FC236}">
                <a16:creationId xmlns:a16="http://schemas.microsoft.com/office/drawing/2014/main" id="{0286C00F-4C95-47C2-8D4E-E7A815BE7EF4}"/>
              </a:ext>
            </a:extLst>
          </p:cNvPr>
          <p:cNvGrpSpPr>
            <a:grpSpLocks/>
          </p:cNvGrpSpPr>
          <p:nvPr userDrawn="1"/>
        </p:nvGrpSpPr>
        <p:grpSpPr>
          <a:xfrm>
            <a:off x="11256172" y="6417372"/>
            <a:ext cx="394856" cy="373880"/>
            <a:chOff x="11105270" y="6244071"/>
            <a:chExt cx="480234" cy="454722"/>
          </a:xfrm>
        </p:grpSpPr>
        <p:sp>
          <p:nvSpPr>
            <p:cNvPr id="23" name="Freeform 5">
              <a:extLst>
                <a:ext uri="{FF2B5EF4-FFF2-40B4-BE49-F238E27FC236}">
                  <a16:creationId xmlns:a16="http://schemas.microsoft.com/office/drawing/2014/main" id="{AE226D9E-917D-4333-89AE-624A40C32184}"/>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992C0204-3E31-4A0A-985B-D2194D8A85F9}"/>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2120EC7E-8D3D-40BD-AB46-38CCCF391928}"/>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066D778C-8503-449C-88E0-EA31572F41AE}"/>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421430B8-A6A6-4942-8530-F14C503DE50E}"/>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152486620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790140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dirty="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noAutofit/>
          </a:bodyPr>
          <a:lstStyle>
            <a:lvl1pPr rtl="0">
              <a:defRPr>
                <a:solidFill>
                  <a:schemeClr val="bg2"/>
                </a:solidFill>
              </a:defRPr>
            </a:lvl1pPr>
          </a:lstStyle>
          <a:p>
            <a:r>
              <a:rPr lang="en-GB"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0783"/>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a:spLocks/>
          </p:cNvSpPr>
          <p:nvPr userDrawn="1">
            <p:custDataLst>
              <p:tags r:id="rId6"/>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GB" dirty="0"/>
              <a:t>Add tracker</a:t>
            </a:r>
          </a:p>
        </p:txBody>
      </p:sp>
      <p:sp>
        <p:nvSpPr>
          <p:cNvPr id="26" name="Slide Number">
            <a:extLst>
              <a:ext uri="{FF2B5EF4-FFF2-40B4-BE49-F238E27FC236}">
                <a16:creationId xmlns:a16="http://schemas.microsoft.com/office/drawing/2014/main" id="{0912EF7F-8433-4314-84D8-F5D764C93962}"/>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pic>
        <p:nvPicPr>
          <p:cNvPr id="33" name="Picture 720" descr="EDCTP and Africa CDC workshop report on disparities in research funding -  EDCTP">
            <a:extLst>
              <a:ext uri="{FF2B5EF4-FFF2-40B4-BE49-F238E27FC236}">
                <a16:creationId xmlns:a16="http://schemas.microsoft.com/office/drawing/2014/main" id="{BAB83A2B-0361-4514-9C87-BC479F4723B1}"/>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7E0356D3-EFB3-44B1-9A7D-4A7481D943CA}"/>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grpSp>
        <p:nvGrpSpPr>
          <p:cNvPr id="23" name="Group 22">
            <a:extLst>
              <a:ext uri="{FF2B5EF4-FFF2-40B4-BE49-F238E27FC236}">
                <a16:creationId xmlns:a16="http://schemas.microsoft.com/office/drawing/2014/main" id="{38676EC7-7D65-42FE-A0DC-EBD3316F09B1}"/>
              </a:ext>
            </a:extLst>
          </p:cNvPr>
          <p:cNvGrpSpPr>
            <a:grpSpLocks/>
          </p:cNvGrpSpPr>
          <p:nvPr userDrawn="1"/>
        </p:nvGrpSpPr>
        <p:grpSpPr>
          <a:xfrm>
            <a:off x="11256172" y="6417372"/>
            <a:ext cx="394856" cy="373880"/>
            <a:chOff x="11105270" y="6244071"/>
            <a:chExt cx="480234" cy="454722"/>
          </a:xfrm>
        </p:grpSpPr>
        <p:sp>
          <p:nvSpPr>
            <p:cNvPr id="24" name="Freeform 5">
              <a:extLst>
                <a:ext uri="{FF2B5EF4-FFF2-40B4-BE49-F238E27FC236}">
                  <a16:creationId xmlns:a16="http://schemas.microsoft.com/office/drawing/2014/main" id="{75C31395-1A50-4C9E-97AA-3E39F831968F}"/>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BF34B2A5-0289-4C7F-A854-8D19E8E831E1}"/>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C3DC716-E7B1-4E58-9A7C-7FA07304D0FB}"/>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8508D361-CA5E-4C15-88DE-FD41E3EC88BF}"/>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B586B759-02B6-4635-8EFA-11B9A321F813}"/>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216878159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045924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2"/>
                </a:solidFill>
              </a:defRPr>
            </a:lvl1pPr>
          </a:lstStyle>
          <a:p>
            <a:r>
              <a:rPr lang="en-GB"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dirty="0">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a:spLocks/>
          </p:cNvSpPr>
          <p:nvPr userDrawn="1">
            <p:custDataLst>
              <p:tags r:id="rId6"/>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GB" dirty="0"/>
              <a:t>Add tracker</a:t>
            </a:r>
          </a:p>
        </p:txBody>
      </p:sp>
      <p:sp>
        <p:nvSpPr>
          <p:cNvPr id="26" name="Slide Number">
            <a:extLst>
              <a:ext uri="{FF2B5EF4-FFF2-40B4-BE49-F238E27FC236}">
                <a16:creationId xmlns:a16="http://schemas.microsoft.com/office/drawing/2014/main" id="{61BF3900-D74C-4F76-90EB-424B565E9F74}"/>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pic>
        <p:nvPicPr>
          <p:cNvPr id="33" name="Picture 720" descr="EDCTP and Africa CDC workshop report on disparities in research funding -  EDCTP">
            <a:extLst>
              <a:ext uri="{FF2B5EF4-FFF2-40B4-BE49-F238E27FC236}">
                <a16:creationId xmlns:a16="http://schemas.microsoft.com/office/drawing/2014/main" id="{DA37F7D5-EB0B-4C0D-B3C4-8ECE404AA91F}"/>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FC58291A-5131-4D1A-968A-8EA7CA6A8554}"/>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grpSp>
        <p:nvGrpSpPr>
          <p:cNvPr id="22" name="Group 21">
            <a:extLst>
              <a:ext uri="{FF2B5EF4-FFF2-40B4-BE49-F238E27FC236}">
                <a16:creationId xmlns:a16="http://schemas.microsoft.com/office/drawing/2014/main" id="{043AF94D-8AEF-4807-9E0E-2C2324B032EF}"/>
              </a:ext>
            </a:extLst>
          </p:cNvPr>
          <p:cNvGrpSpPr>
            <a:grpSpLocks/>
          </p:cNvGrpSpPr>
          <p:nvPr userDrawn="1"/>
        </p:nvGrpSpPr>
        <p:grpSpPr>
          <a:xfrm>
            <a:off x="11256172" y="6417372"/>
            <a:ext cx="394856" cy="373880"/>
            <a:chOff x="11105270" y="6244071"/>
            <a:chExt cx="480234" cy="454722"/>
          </a:xfrm>
        </p:grpSpPr>
        <p:sp>
          <p:nvSpPr>
            <p:cNvPr id="23" name="Freeform 5">
              <a:extLst>
                <a:ext uri="{FF2B5EF4-FFF2-40B4-BE49-F238E27FC236}">
                  <a16:creationId xmlns:a16="http://schemas.microsoft.com/office/drawing/2014/main" id="{E7ACD61D-5FCC-4DBD-B084-551F874F4957}"/>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C50343A7-5C77-4A90-9E96-CAEB0618644A}"/>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5C01302D-733C-4560-A946-79955FF10447}"/>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F090469C-0484-4FF2-B976-9759884B3989}"/>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084F9D38-AD96-4836-A360-6B19880625C9}"/>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6403397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3702250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dirty="0"/>
              <a:t>Click to edit Master title style</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D881D7BC-D02B-4E9F-B085-356789F938ED}"/>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40A5B51-95C1-4905-80E2-EE971737A6E4}"/>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52829456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71369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7918704" cy="731520"/>
          </a:xfrm>
        </p:spPr>
        <p:txBody>
          <a:bodyPr vert="horz"/>
          <a:lstStyle>
            <a:lvl1pPr rtl="0">
              <a:defRPr>
                <a:solidFill>
                  <a:schemeClr val="bg2"/>
                </a:solidFill>
              </a:defRPr>
            </a:lvl1pPr>
          </a:lstStyle>
          <a:p>
            <a:r>
              <a:rPr lang="en-GB"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a:spLocks/>
          </p:cNvSpPr>
          <p:nvPr userDrawn="1">
            <p:custDataLst>
              <p:tags r:id="rId6"/>
            </p:custDataLst>
          </p:nvPr>
        </p:nvSpPr>
        <p:spPr>
          <a:xfrm>
            <a:off x="554732"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noProof="0" dirty="0"/>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GB" dirty="0"/>
              <a:t>Add tracker</a:t>
            </a:r>
          </a:p>
        </p:txBody>
      </p:sp>
      <p:sp>
        <p:nvSpPr>
          <p:cNvPr id="27" name="Slide Number">
            <a:extLst>
              <a:ext uri="{FF2B5EF4-FFF2-40B4-BE49-F238E27FC236}">
                <a16:creationId xmlns:a16="http://schemas.microsoft.com/office/drawing/2014/main" id="{B52B29E9-2B7F-43A3-BA54-EA65AEDDC27B}"/>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pic>
        <p:nvPicPr>
          <p:cNvPr id="34" name="Picture 720" descr="EDCTP and Africa CDC workshop report on disparities in research funding -  EDCTP">
            <a:extLst>
              <a:ext uri="{FF2B5EF4-FFF2-40B4-BE49-F238E27FC236}">
                <a16:creationId xmlns:a16="http://schemas.microsoft.com/office/drawing/2014/main" id="{0084D3BC-1E1B-4046-92B5-F2407D59BDE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55A66F6B-7049-430B-A8DF-2E404D816BB0}"/>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grpSp>
        <p:nvGrpSpPr>
          <p:cNvPr id="24" name="Group 23">
            <a:extLst>
              <a:ext uri="{FF2B5EF4-FFF2-40B4-BE49-F238E27FC236}">
                <a16:creationId xmlns:a16="http://schemas.microsoft.com/office/drawing/2014/main" id="{44ED6DC2-41B5-40DD-AA77-2124FD650166}"/>
              </a:ext>
            </a:extLst>
          </p:cNvPr>
          <p:cNvGrpSpPr>
            <a:grpSpLocks/>
          </p:cNvGrpSpPr>
          <p:nvPr userDrawn="1"/>
        </p:nvGrpSpPr>
        <p:grpSpPr>
          <a:xfrm>
            <a:off x="11256172" y="6417372"/>
            <a:ext cx="394856" cy="373880"/>
            <a:chOff x="11105270" y="6244071"/>
            <a:chExt cx="480234" cy="454722"/>
          </a:xfrm>
        </p:grpSpPr>
        <p:sp>
          <p:nvSpPr>
            <p:cNvPr id="25" name="Freeform 5">
              <a:extLst>
                <a:ext uri="{FF2B5EF4-FFF2-40B4-BE49-F238E27FC236}">
                  <a16:creationId xmlns:a16="http://schemas.microsoft.com/office/drawing/2014/main" id="{E5851664-1DC6-45B0-BF93-BA053965C39D}"/>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26" name="Rectangle 6">
              <a:extLst>
                <a:ext uri="{FF2B5EF4-FFF2-40B4-BE49-F238E27FC236}">
                  <a16:creationId xmlns:a16="http://schemas.microsoft.com/office/drawing/2014/main" id="{723F11A9-6F83-490E-B95F-A9B8BD01051F}"/>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7">
              <a:extLst>
                <a:ext uri="{FF2B5EF4-FFF2-40B4-BE49-F238E27FC236}">
                  <a16:creationId xmlns:a16="http://schemas.microsoft.com/office/drawing/2014/main" id="{355D39D4-B283-466F-8F7E-77C78B33BD7E}"/>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8">
              <a:extLst>
                <a:ext uri="{FF2B5EF4-FFF2-40B4-BE49-F238E27FC236}">
                  <a16:creationId xmlns:a16="http://schemas.microsoft.com/office/drawing/2014/main" id="{EB838791-B3A0-41D2-A77F-1B48A89871B6}"/>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9" name="Freeform 9">
              <a:extLst>
                <a:ext uri="{FF2B5EF4-FFF2-40B4-BE49-F238E27FC236}">
                  <a16:creationId xmlns:a16="http://schemas.microsoft.com/office/drawing/2014/main" id="{9B9455E5-2E5C-48B3-BF7C-CD2D74D9226E}"/>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243670452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417094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dirty="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tx1"/>
                </a:solidFill>
              </a:defRPr>
            </a:lvl1pPr>
          </a:lstStyle>
          <a:p>
            <a:r>
              <a:rPr lang="en-GB"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GB" dirty="0"/>
              <a:t>Add tracker</a:t>
            </a:r>
          </a:p>
        </p:txBody>
      </p:sp>
      <p:sp>
        <p:nvSpPr>
          <p:cNvPr id="23" name="Slide Number">
            <a:extLst>
              <a:ext uri="{FF2B5EF4-FFF2-40B4-BE49-F238E27FC236}">
                <a16:creationId xmlns:a16="http://schemas.microsoft.com/office/drawing/2014/main" id="{08BCE09A-B083-4E5A-A966-29D20BC2295C}"/>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bg2"/>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bg2"/>
              </a:solidFill>
              <a:latin typeface="+mn-lt"/>
              <a:ea typeface="+mn-ea"/>
              <a:cs typeface="Arial" panose="020B0604020202020204" pitchFamily="34" charset="0"/>
            </a:endParaRPr>
          </a:p>
        </p:txBody>
      </p:sp>
      <p:grpSp>
        <p:nvGrpSpPr>
          <p:cNvPr id="52" name="Group 51">
            <a:extLst>
              <a:ext uri="{FF2B5EF4-FFF2-40B4-BE49-F238E27FC236}">
                <a16:creationId xmlns:a16="http://schemas.microsoft.com/office/drawing/2014/main" id="{DACF5643-B643-40B3-821B-8E3C25BA0250}"/>
              </a:ext>
            </a:extLst>
          </p:cNvPr>
          <p:cNvGrpSpPr>
            <a:grpSpLocks/>
          </p:cNvGrpSpPr>
          <p:nvPr userDrawn="1"/>
        </p:nvGrpSpPr>
        <p:grpSpPr bwMode="invGray">
          <a:xfrm>
            <a:off x="1608225" y="6435948"/>
            <a:ext cx="910081" cy="356143"/>
            <a:chOff x="9865218" y="6365207"/>
            <a:chExt cx="1011183" cy="395706"/>
          </a:xfrm>
        </p:grpSpPr>
        <p:pic>
          <p:nvPicPr>
            <p:cNvPr id="53" name="Picture 52" descr="EDCTP and Africa CDC workshop report on disparities in research funding -  EDCTP">
              <a:extLst>
                <a:ext uri="{FF2B5EF4-FFF2-40B4-BE49-F238E27FC236}">
                  <a16:creationId xmlns:a16="http://schemas.microsoft.com/office/drawing/2014/main" id="{1DAC3DD7-D1BC-467A-99AA-565926A3CDAF}"/>
                </a:ext>
              </a:extLst>
            </p:cNvPr>
            <p:cNvPicPr>
              <a:picLocks noChangeAspect="1" noChangeArrowheads="1"/>
            </p:cNvPicPr>
            <p:nvPr userDrawn="1"/>
          </p:nvPicPr>
          <p:blipFill rotWithShape="1">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54" name="Picture 53" descr="EDCTP and Africa CDC workshop report on disparities in research funding -  EDCTP">
              <a:extLst>
                <a:ext uri="{FF2B5EF4-FFF2-40B4-BE49-F238E27FC236}">
                  <a16:creationId xmlns:a16="http://schemas.microsoft.com/office/drawing/2014/main" id="{B7E9A4DC-47C4-4BD9-B494-73B10E463D14}"/>
                </a:ext>
              </a:extLst>
            </p:cNvPr>
            <p:cNvPicPr>
              <a:picLocks noChangeAspect="1" noChangeArrowheads="1"/>
            </p:cNvPicPr>
            <p:nvPr userDrawn="1"/>
          </p:nvPicPr>
          <p:blipFill rotWithShape="1">
            <a:blip r:embed="rId14"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55" name="Group 54">
            <a:extLst>
              <a:ext uri="{FF2B5EF4-FFF2-40B4-BE49-F238E27FC236}">
                <a16:creationId xmlns:a16="http://schemas.microsoft.com/office/drawing/2014/main" id="{BE0141F5-FBDB-43F9-913B-9CE6DA6AB44C}"/>
              </a:ext>
            </a:extLst>
          </p:cNvPr>
          <p:cNvGrpSpPr>
            <a:grpSpLocks/>
          </p:cNvGrpSpPr>
          <p:nvPr userDrawn="1"/>
        </p:nvGrpSpPr>
        <p:grpSpPr>
          <a:xfrm>
            <a:off x="554736" y="6452601"/>
            <a:ext cx="830881" cy="293716"/>
            <a:chOff x="10483273" y="6554997"/>
            <a:chExt cx="638090" cy="225564"/>
          </a:xfrm>
        </p:grpSpPr>
        <p:pic>
          <p:nvPicPr>
            <p:cNvPr id="56" name="Picture 55">
              <a:extLst>
                <a:ext uri="{FF2B5EF4-FFF2-40B4-BE49-F238E27FC236}">
                  <a16:creationId xmlns:a16="http://schemas.microsoft.com/office/drawing/2014/main" id="{605073CD-868D-4C1B-A328-D98E6AF8F635}"/>
                </a:ext>
              </a:extLst>
            </p:cNvPr>
            <p:cNvPicPr>
              <a:picLocks noChangeAspect="1"/>
            </p:cNvPicPr>
            <p:nvPr userDrawn="1"/>
          </p:nvPicPr>
          <p:blipFill rotWithShape="1">
            <a:blip r:embed="rId15"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57" name="Picture 56">
              <a:extLst>
                <a:ext uri="{FF2B5EF4-FFF2-40B4-BE49-F238E27FC236}">
                  <a16:creationId xmlns:a16="http://schemas.microsoft.com/office/drawing/2014/main" id="{A7639BDE-9A07-4A20-87D1-89720D1EB928}"/>
                </a:ext>
              </a:extLst>
            </p:cNvPr>
            <p:cNvPicPr>
              <a:picLocks noChangeAspect="1"/>
            </p:cNvPicPr>
            <p:nvPr userDrawn="1"/>
          </p:nvPicPr>
          <p:blipFill rotWithShape="1">
            <a:blip r:embed="rId16" cstate="email">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58" name="5. Source" hidden="1">
            <a:extLst>
              <a:ext uri="{FF2B5EF4-FFF2-40B4-BE49-F238E27FC236}">
                <a16:creationId xmlns:a16="http://schemas.microsoft.com/office/drawing/2014/main" id="{93B74E5E-50E7-4202-BB91-0B4B6FBEAFC3}"/>
              </a:ext>
            </a:extLst>
          </p:cNvPr>
          <p:cNvSpPr txBox="1">
            <a:spLocks/>
          </p:cNvSpPr>
          <p:nvPr userDrawn="1">
            <p:custDataLst>
              <p:tags r:id="rId8"/>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grpSp>
        <p:nvGrpSpPr>
          <p:cNvPr id="25" name="Group 4">
            <a:extLst>
              <a:ext uri="{FF2B5EF4-FFF2-40B4-BE49-F238E27FC236}">
                <a16:creationId xmlns:a16="http://schemas.microsoft.com/office/drawing/2014/main" id="{794A8886-F30F-45FB-9868-C407D6C417F4}"/>
              </a:ext>
            </a:extLst>
          </p:cNvPr>
          <p:cNvGrpSpPr>
            <a:grpSpLocks noChangeAspect="1"/>
          </p:cNvGrpSpPr>
          <p:nvPr userDrawn="1"/>
        </p:nvGrpSpPr>
        <p:grpSpPr bwMode="ltGray">
          <a:xfrm>
            <a:off x="11256172" y="6417372"/>
            <a:ext cx="394856" cy="373880"/>
            <a:chOff x="-240" y="2757"/>
            <a:chExt cx="960" cy="909"/>
          </a:xfrm>
        </p:grpSpPr>
        <p:sp>
          <p:nvSpPr>
            <p:cNvPr id="26" name="Freeform 5">
              <a:extLst>
                <a:ext uri="{FF2B5EF4-FFF2-40B4-BE49-F238E27FC236}">
                  <a16:creationId xmlns:a16="http://schemas.microsoft.com/office/drawing/2014/main" id="{E17DBE64-E559-4BBD-B468-9CE07480CDF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Rectangle 6">
              <a:extLst>
                <a:ext uri="{FF2B5EF4-FFF2-40B4-BE49-F238E27FC236}">
                  <a16:creationId xmlns:a16="http://schemas.microsoft.com/office/drawing/2014/main" id="{613BDEC4-0EB3-4342-BF1B-C757B4D5C848}"/>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7">
              <a:extLst>
                <a:ext uri="{FF2B5EF4-FFF2-40B4-BE49-F238E27FC236}">
                  <a16:creationId xmlns:a16="http://schemas.microsoft.com/office/drawing/2014/main" id="{AE616330-5404-4CFE-8C22-1B3CD92A2C8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9" name="Freeform 8">
              <a:extLst>
                <a:ext uri="{FF2B5EF4-FFF2-40B4-BE49-F238E27FC236}">
                  <a16:creationId xmlns:a16="http://schemas.microsoft.com/office/drawing/2014/main" id="{A5200449-4EED-4D74-A9A5-6DDE6261638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Freeform 9">
              <a:extLst>
                <a:ext uri="{FF2B5EF4-FFF2-40B4-BE49-F238E27FC236}">
                  <a16:creationId xmlns:a16="http://schemas.microsoft.com/office/drawing/2014/main" id="{3ABBC993-EAB4-4192-AD67-2364E1373F7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202861106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39988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dirty="0">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GB"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GB"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dirty="0"/>
              <a:t>Click to edit Master subtitle style</a:t>
            </a:r>
          </a:p>
        </p:txBody>
      </p:sp>
      <p:sp>
        <p:nvSpPr>
          <p:cNvPr id="35" name="Slide Number">
            <a:extLst>
              <a:ext uri="{FF2B5EF4-FFF2-40B4-BE49-F238E27FC236}">
                <a16:creationId xmlns:a16="http://schemas.microsoft.com/office/drawing/2014/main" id="{C2A29702-11D5-4943-862F-99BA9BC3130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bg2"/>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bg2"/>
              </a:solidFill>
              <a:latin typeface="+mn-lt"/>
              <a:ea typeface="+mn-ea"/>
              <a:cs typeface="Arial" panose="020B0604020202020204" pitchFamily="34" charset="0"/>
            </a:endParaRPr>
          </a:p>
        </p:txBody>
      </p:sp>
      <p:grpSp>
        <p:nvGrpSpPr>
          <p:cNvPr id="51" name="Group 50">
            <a:extLst>
              <a:ext uri="{FF2B5EF4-FFF2-40B4-BE49-F238E27FC236}">
                <a16:creationId xmlns:a16="http://schemas.microsoft.com/office/drawing/2014/main" id="{B2406E76-3317-453F-808F-FDE49FEDC739}"/>
              </a:ext>
            </a:extLst>
          </p:cNvPr>
          <p:cNvGrpSpPr>
            <a:grpSpLocks/>
          </p:cNvGrpSpPr>
          <p:nvPr userDrawn="1"/>
        </p:nvGrpSpPr>
        <p:grpSpPr bwMode="invGray">
          <a:xfrm>
            <a:off x="1608225" y="6435948"/>
            <a:ext cx="910081" cy="356143"/>
            <a:chOff x="9865218" y="6365207"/>
            <a:chExt cx="1011183" cy="395706"/>
          </a:xfrm>
        </p:grpSpPr>
        <p:pic>
          <p:nvPicPr>
            <p:cNvPr id="52" name="Picture 51" descr="EDCTP and Africa CDC workshop report on disparities in research funding -  EDCTP">
              <a:extLst>
                <a:ext uri="{FF2B5EF4-FFF2-40B4-BE49-F238E27FC236}">
                  <a16:creationId xmlns:a16="http://schemas.microsoft.com/office/drawing/2014/main" id="{A6BE662E-965E-48AA-A26D-C507F693ABF1}"/>
                </a:ext>
              </a:extLst>
            </p:cNvPr>
            <p:cNvPicPr>
              <a:picLocks noChangeAspect="1" noChangeArrowheads="1"/>
            </p:cNvPicPr>
            <p:nvPr userDrawn="1"/>
          </p:nvPicPr>
          <p:blipFill rotWithShape="1">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53" name="Picture 52" descr="EDCTP and Africa CDC workshop report on disparities in research funding -  EDCTP">
              <a:extLst>
                <a:ext uri="{FF2B5EF4-FFF2-40B4-BE49-F238E27FC236}">
                  <a16:creationId xmlns:a16="http://schemas.microsoft.com/office/drawing/2014/main" id="{C4B0F096-5FE0-4FA3-AFE6-9815CD63AECB}"/>
                </a:ext>
              </a:extLst>
            </p:cNvPr>
            <p:cNvPicPr>
              <a:picLocks noChangeAspect="1" noChangeArrowheads="1"/>
            </p:cNvPicPr>
            <p:nvPr userDrawn="1"/>
          </p:nvPicPr>
          <p:blipFill rotWithShape="1">
            <a:blip r:embed="rId14"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54" name="Group 53">
            <a:extLst>
              <a:ext uri="{FF2B5EF4-FFF2-40B4-BE49-F238E27FC236}">
                <a16:creationId xmlns:a16="http://schemas.microsoft.com/office/drawing/2014/main" id="{47363E51-4563-4332-ADE9-4A60BB39DC96}"/>
              </a:ext>
            </a:extLst>
          </p:cNvPr>
          <p:cNvGrpSpPr>
            <a:grpSpLocks/>
          </p:cNvGrpSpPr>
          <p:nvPr userDrawn="1"/>
        </p:nvGrpSpPr>
        <p:grpSpPr>
          <a:xfrm>
            <a:off x="554736" y="6452601"/>
            <a:ext cx="830881" cy="293716"/>
            <a:chOff x="10483273" y="6554997"/>
            <a:chExt cx="638090" cy="225564"/>
          </a:xfrm>
        </p:grpSpPr>
        <p:pic>
          <p:nvPicPr>
            <p:cNvPr id="55" name="Picture 54">
              <a:extLst>
                <a:ext uri="{FF2B5EF4-FFF2-40B4-BE49-F238E27FC236}">
                  <a16:creationId xmlns:a16="http://schemas.microsoft.com/office/drawing/2014/main" id="{09F4FA1E-305C-4328-BD29-ECD2C6B1F5A0}"/>
                </a:ext>
              </a:extLst>
            </p:cNvPr>
            <p:cNvPicPr>
              <a:picLocks noChangeAspect="1"/>
            </p:cNvPicPr>
            <p:nvPr userDrawn="1"/>
          </p:nvPicPr>
          <p:blipFill rotWithShape="1">
            <a:blip r:embed="rId15"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56" name="Picture 55">
              <a:extLst>
                <a:ext uri="{FF2B5EF4-FFF2-40B4-BE49-F238E27FC236}">
                  <a16:creationId xmlns:a16="http://schemas.microsoft.com/office/drawing/2014/main" id="{7614C981-7BF7-4D1C-92CC-10257B583187}"/>
                </a:ext>
              </a:extLst>
            </p:cNvPr>
            <p:cNvPicPr>
              <a:picLocks noChangeAspect="1"/>
            </p:cNvPicPr>
            <p:nvPr userDrawn="1"/>
          </p:nvPicPr>
          <p:blipFill rotWithShape="1">
            <a:blip r:embed="rId16" cstate="email">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57" name="5. Source" hidden="1">
            <a:extLst>
              <a:ext uri="{FF2B5EF4-FFF2-40B4-BE49-F238E27FC236}">
                <a16:creationId xmlns:a16="http://schemas.microsoft.com/office/drawing/2014/main" id="{04DBC258-24BB-4506-8D72-14DC32C90758}"/>
              </a:ext>
            </a:extLst>
          </p:cNvPr>
          <p:cNvSpPr txBox="1">
            <a:spLocks/>
          </p:cNvSpPr>
          <p:nvPr userDrawn="1">
            <p:custDataLst>
              <p:tags r:id="rId8"/>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grpSp>
        <p:nvGrpSpPr>
          <p:cNvPr id="24" name="Group 4">
            <a:extLst>
              <a:ext uri="{FF2B5EF4-FFF2-40B4-BE49-F238E27FC236}">
                <a16:creationId xmlns:a16="http://schemas.microsoft.com/office/drawing/2014/main" id="{DF020C4A-EA94-48CC-8949-37F1ACB06EE9}"/>
              </a:ext>
            </a:extLst>
          </p:cNvPr>
          <p:cNvGrpSpPr>
            <a:grpSpLocks noChangeAspect="1"/>
          </p:cNvGrpSpPr>
          <p:nvPr userDrawn="1"/>
        </p:nvGrpSpPr>
        <p:grpSpPr bwMode="ltGray">
          <a:xfrm>
            <a:off x="11256172" y="6417372"/>
            <a:ext cx="394856" cy="373880"/>
            <a:chOff x="-240" y="2757"/>
            <a:chExt cx="960" cy="909"/>
          </a:xfrm>
        </p:grpSpPr>
        <p:sp>
          <p:nvSpPr>
            <p:cNvPr id="25" name="Freeform 5">
              <a:extLst>
                <a:ext uri="{FF2B5EF4-FFF2-40B4-BE49-F238E27FC236}">
                  <a16:creationId xmlns:a16="http://schemas.microsoft.com/office/drawing/2014/main" id="{A493F06A-F81F-4B23-B674-DB399BC5F443}"/>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Rectangle 6">
              <a:extLst>
                <a:ext uri="{FF2B5EF4-FFF2-40B4-BE49-F238E27FC236}">
                  <a16:creationId xmlns:a16="http://schemas.microsoft.com/office/drawing/2014/main" id="{3529BBF8-09FB-4C7E-9BC5-816AA51C5DEC}"/>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7">
              <a:extLst>
                <a:ext uri="{FF2B5EF4-FFF2-40B4-BE49-F238E27FC236}">
                  <a16:creationId xmlns:a16="http://schemas.microsoft.com/office/drawing/2014/main" id="{B5FBAC57-5AD3-4364-9538-E40B754BEE48}"/>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8">
              <a:extLst>
                <a:ext uri="{FF2B5EF4-FFF2-40B4-BE49-F238E27FC236}">
                  <a16:creationId xmlns:a16="http://schemas.microsoft.com/office/drawing/2014/main" id="{866D1D5D-CD0F-44EB-9226-85C3FB6EBC5E}"/>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9" name="Freeform 9">
              <a:extLst>
                <a:ext uri="{FF2B5EF4-FFF2-40B4-BE49-F238E27FC236}">
                  <a16:creationId xmlns:a16="http://schemas.microsoft.com/office/drawing/2014/main" id="{01FA1366-C352-4701-A6DD-CA53C585964F}"/>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80088156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84944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GB"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tx1"/>
                </a:solidFill>
              </a:defRPr>
            </a:lvl1pPr>
          </a:lstStyle>
          <a:p>
            <a:r>
              <a:rPr lang="en-GB"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dirty="0"/>
              <a:t>Click to edit Master subtitle style</a:t>
            </a:r>
          </a:p>
        </p:txBody>
      </p:sp>
      <p:sp>
        <p:nvSpPr>
          <p:cNvPr id="36" name="Slide Number">
            <a:extLst>
              <a:ext uri="{FF2B5EF4-FFF2-40B4-BE49-F238E27FC236}">
                <a16:creationId xmlns:a16="http://schemas.microsoft.com/office/drawing/2014/main" id="{64B819D4-0B30-4ACC-9188-9B1D55202D4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bg2"/>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bg2"/>
              </a:solidFill>
              <a:latin typeface="+mn-lt"/>
              <a:ea typeface="+mn-ea"/>
              <a:cs typeface="Arial" panose="020B0604020202020204" pitchFamily="34" charset="0"/>
            </a:endParaRPr>
          </a:p>
        </p:txBody>
      </p:sp>
      <p:grpSp>
        <p:nvGrpSpPr>
          <p:cNvPr id="52" name="Group 51">
            <a:extLst>
              <a:ext uri="{FF2B5EF4-FFF2-40B4-BE49-F238E27FC236}">
                <a16:creationId xmlns:a16="http://schemas.microsoft.com/office/drawing/2014/main" id="{3EBE7000-6E92-4AA5-ACE2-7CC0CD8F4CED}"/>
              </a:ext>
            </a:extLst>
          </p:cNvPr>
          <p:cNvGrpSpPr>
            <a:grpSpLocks/>
          </p:cNvGrpSpPr>
          <p:nvPr userDrawn="1"/>
        </p:nvGrpSpPr>
        <p:grpSpPr bwMode="invGray">
          <a:xfrm>
            <a:off x="1608225" y="6435948"/>
            <a:ext cx="910081" cy="356143"/>
            <a:chOff x="9865218" y="6365207"/>
            <a:chExt cx="1011183" cy="395706"/>
          </a:xfrm>
        </p:grpSpPr>
        <p:pic>
          <p:nvPicPr>
            <p:cNvPr id="53" name="Picture 52" descr="EDCTP and Africa CDC workshop report on disparities in research funding -  EDCTP">
              <a:extLst>
                <a:ext uri="{FF2B5EF4-FFF2-40B4-BE49-F238E27FC236}">
                  <a16:creationId xmlns:a16="http://schemas.microsoft.com/office/drawing/2014/main" id="{85D24B55-D55D-462D-ABCA-36F8CF4B7CE4}"/>
                </a:ext>
              </a:extLst>
            </p:cNvPr>
            <p:cNvPicPr>
              <a:picLocks noChangeAspect="1" noChangeArrowheads="1"/>
            </p:cNvPicPr>
            <p:nvPr userDrawn="1"/>
          </p:nvPicPr>
          <p:blipFill rotWithShape="1">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54" name="Picture 53" descr="EDCTP and Africa CDC workshop report on disparities in research funding -  EDCTP">
              <a:extLst>
                <a:ext uri="{FF2B5EF4-FFF2-40B4-BE49-F238E27FC236}">
                  <a16:creationId xmlns:a16="http://schemas.microsoft.com/office/drawing/2014/main" id="{F46C024C-C96A-49A3-8D10-E05EEAE34EE8}"/>
                </a:ext>
              </a:extLst>
            </p:cNvPr>
            <p:cNvPicPr>
              <a:picLocks noChangeAspect="1" noChangeArrowheads="1"/>
            </p:cNvPicPr>
            <p:nvPr userDrawn="1"/>
          </p:nvPicPr>
          <p:blipFill rotWithShape="1">
            <a:blip r:embed="rId14"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55" name="Group 54">
            <a:extLst>
              <a:ext uri="{FF2B5EF4-FFF2-40B4-BE49-F238E27FC236}">
                <a16:creationId xmlns:a16="http://schemas.microsoft.com/office/drawing/2014/main" id="{B7D84B40-3507-4AD3-8396-AC0BDF9DBAE4}"/>
              </a:ext>
            </a:extLst>
          </p:cNvPr>
          <p:cNvGrpSpPr>
            <a:grpSpLocks/>
          </p:cNvGrpSpPr>
          <p:nvPr userDrawn="1"/>
        </p:nvGrpSpPr>
        <p:grpSpPr>
          <a:xfrm>
            <a:off x="554736" y="6452601"/>
            <a:ext cx="830881" cy="293716"/>
            <a:chOff x="10483273" y="6554997"/>
            <a:chExt cx="638090" cy="225564"/>
          </a:xfrm>
        </p:grpSpPr>
        <p:pic>
          <p:nvPicPr>
            <p:cNvPr id="56" name="Picture 55">
              <a:extLst>
                <a:ext uri="{FF2B5EF4-FFF2-40B4-BE49-F238E27FC236}">
                  <a16:creationId xmlns:a16="http://schemas.microsoft.com/office/drawing/2014/main" id="{61CED885-8DB4-4B81-B0A7-2EB177EA82BD}"/>
                </a:ext>
              </a:extLst>
            </p:cNvPr>
            <p:cNvPicPr>
              <a:picLocks noChangeAspect="1"/>
            </p:cNvPicPr>
            <p:nvPr userDrawn="1"/>
          </p:nvPicPr>
          <p:blipFill rotWithShape="1">
            <a:blip r:embed="rId15"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57" name="Picture 56">
              <a:extLst>
                <a:ext uri="{FF2B5EF4-FFF2-40B4-BE49-F238E27FC236}">
                  <a16:creationId xmlns:a16="http://schemas.microsoft.com/office/drawing/2014/main" id="{881D19BF-91BD-401E-B1D8-9C3534B92467}"/>
                </a:ext>
              </a:extLst>
            </p:cNvPr>
            <p:cNvPicPr>
              <a:picLocks noChangeAspect="1"/>
            </p:cNvPicPr>
            <p:nvPr userDrawn="1"/>
          </p:nvPicPr>
          <p:blipFill rotWithShape="1">
            <a:blip r:embed="rId16" cstate="email">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58" name="5. Source" hidden="1">
            <a:extLst>
              <a:ext uri="{FF2B5EF4-FFF2-40B4-BE49-F238E27FC236}">
                <a16:creationId xmlns:a16="http://schemas.microsoft.com/office/drawing/2014/main" id="{7DB3F043-500D-4524-B07E-4B872D0EE309}"/>
              </a:ext>
            </a:extLst>
          </p:cNvPr>
          <p:cNvSpPr txBox="1">
            <a:spLocks/>
          </p:cNvSpPr>
          <p:nvPr userDrawn="1">
            <p:custDataLst>
              <p:tags r:id="rId8"/>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grpSp>
        <p:nvGrpSpPr>
          <p:cNvPr id="23" name="Group 4">
            <a:extLst>
              <a:ext uri="{FF2B5EF4-FFF2-40B4-BE49-F238E27FC236}">
                <a16:creationId xmlns:a16="http://schemas.microsoft.com/office/drawing/2014/main" id="{AFE856FF-D2AD-4CF9-A31F-8F2AFCF8DD77}"/>
              </a:ext>
            </a:extLst>
          </p:cNvPr>
          <p:cNvGrpSpPr>
            <a:grpSpLocks noChangeAspect="1"/>
          </p:cNvGrpSpPr>
          <p:nvPr userDrawn="1"/>
        </p:nvGrpSpPr>
        <p:grpSpPr bwMode="ltGray">
          <a:xfrm>
            <a:off x="11256172" y="6417372"/>
            <a:ext cx="394856" cy="373880"/>
            <a:chOff x="-240" y="2757"/>
            <a:chExt cx="960" cy="909"/>
          </a:xfrm>
        </p:grpSpPr>
        <p:sp>
          <p:nvSpPr>
            <p:cNvPr id="24" name="Freeform 5">
              <a:extLst>
                <a:ext uri="{FF2B5EF4-FFF2-40B4-BE49-F238E27FC236}">
                  <a16:creationId xmlns:a16="http://schemas.microsoft.com/office/drawing/2014/main" id="{C9217257-FBE5-477B-813C-F00B809E8562}"/>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65EDE484-151A-4DBC-B5EA-53ED5FC52BE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27343DFB-7BDD-408D-AA61-6B090842C73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AB400D9F-93E8-4CCA-A841-7A36AE31B586}"/>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F6C0D759-D006-43AA-ADCC-440246DCB63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111721826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36915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accent3"/>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GB"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tx1"/>
                </a:solidFill>
              </a:defRPr>
            </a:lvl1pPr>
          </a:lstStyle>
          <a:p>
            <a:r>
              <a:rPr lang="en-GB"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dirty="0"/>
              <a:t>Click to edit Master subtitle style</a:t>
            </a:r>
          </a:p>
        </p:txBody>
      </p:sp>
      <p:sp>
        <p:nvSpPr>
          <p:cNvPr id="36" name="Slide Number">
            <a:extLst>
              <a:ext uri="{FF2B5EF4-FFF2-40B4-BE49-F238E27FC236}">
                <a16:creationId xmlns:a16="http://schemas.microsoft.com/office/drawing/2014/main" id="{64B819D4-0B30-4ACC-9188-9B1D55202D4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bg2"/>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bg2"/>
              </a:solidFill>
              <a:latin typeface="+mn-lt"/>
              <a:ea typeface="+mn-ea"/>
              <a:cs typeface="Arial" panose="020B0604020202020204" pitchFamily="34" charset="0"/>
            </a:endParaRPr>
          </a:p>
        </p:txBody>
      </p:sp>
      <p:grpSp>
        <p:nvGrpSpPr>
          <p:cNvPr id="52" name="Group 51">
            <a:extLst>
              <a:ext uri="{FF2B5EF4-FFF2-40B4-BE49-F238E27FC236}">
                <a16:creationId xmlns:a16="http://schemas.microsoft.com/office/drawing/2014/main" id="{3EBE7000-6E92-4AA5-ACE2-7CC0CD8F4CED}"/>
              </a:ext>
            </a:extLst>
          </p:cNvPr>
          <p:cNvGrpSpPr>
            <a:grpSpLocks/>
          </p:cNvGrpSpPr>
          <p:nvPr userDrawn="1"/>
        </p:nvGrpSpPr>
        <p:grpSpPr bwMode="invGray">
          <a:xfrm>
            <a:off x="1608225" y="6435948"/>
            <a:ext cx="910081" cy="356143"/>
            <a:chOff x="9865218" y="6365207"/>
            <a:chExt cx="1011183" cy="395706"/>
          </a:xfrm>
        </p:grpSpPr>
        <p:pic>
          <p:nvPicPr>
            <p:cNvPr id="53" name="Picture 52" descr="EDCTP and Africa CDC workshop report on disparities in research funding -  EDCTP">
              <a:extLst>
                <a:ext uri="{FF2B5EF4-FFF2-40B4-BE49-F238E27FC236}">
                  <a16:creationId xmlns:a16="http://schemas.microsoft.com/office/drawing/2014/main" id="{85D24B55-D55D-462D-ABCA-36F8CF4B7CE4}"/>
                </a:ext>
              </a:extLst>
            </p:cNvPr>
            <p:cNvPicPr>
              <a:picLocks noChangeAspect="1" noChangeArrowheads="1"/>
            </p:cNvPicPr>
            <p:nvPr userDrawn="1"/>
          </p:nvPicPr>
          <p:blipFill rotWithShape="1">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54" name="Picture 53" descr="EDCTP and Africa CDC workshop report on disparities in research funding -  EDCTP">
              <a:extLst>
                <a:ext uri="{FF2B5EF4-FFF2-40B4-BE49-F238E27FC236}">
                  <a16:creationId xmlns:a16="http://schemas.microsoft.com/office/drawing/2014/main" id="{F46C024C-C96A-49A3-8D10-E05EEAE34EE8}"/>
                </a:ext>
              </a:extLst>
            </p:cNvPr>
            <p:cNvPicPr>
              <a:picLocks noChangeAspect="1" noChangeArrowheads="1"/>
            </p:cNvPicPr>
            <p:nvPr userDrawn="1"/>
          </p:nvPicPr>
          <p:blipFill rotWithShape="1">
            <a:blip r:embed="rId14"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55" name="Group 54">
            <a:extLst>
              <a:ext uri="{FF2B5EF4-FFF2-40B4-BE49-F238E27FC236}">
                <a16:creationId xmlns:a16="http://schemas.microsoft.com/office/drawing/2014/main" id="{B7D84B40-3507-4AD3-8396-AC0BDF9DBAE4}"/>
              </a:ext>
            </a:extLst>
          </p:cNvPr>
          <p:cNvGrpSpPr>
            <a:grpSpLocks/>
          </p:cNvGrpSpPr>
          <p:nvPr userDrawn="1"/>
        </p:nvGrpSpPr>
        <p:grpSpPr>
          <a:xfrm>
            <a:off x="554736" y="6452601"/>
            <a:ext cx="830881" cy="293716"/>
            <a:chOff x="10483273" y="6554997"/>
            <a:chExt cx="638090" cy="225564"/>
          </a:xfrm>
        </p:grpSpPr>
        <p:pic>
          <p:nvPicPr>
            <p:cNvPr id="56" name="Picture 55">
              <a:extLst>
                <a:ext uri="{FF2B5EF4-FFF2-40B4-BE49-F238E27FC236}">
                  <a16:creationId xmlns:a16="http://schemas.microsoft.com/office/drawing/2014/main" id="{61CED885-8DB4-4B81-B0A7-2EB177EA82BD}"/>
                </a:ext>
              </a:extLst>
            </p:cNvPr>
            <p:cNvPicPr>
              <a:picLocks noChangeAspect="1"/>
            </p:cNvPicPr>
            <p:nvPr userDrawn="1"/>
          </p:nvPicPr>
          <p:blipFill rotWithShape="1">
            <a:blip r:embed="rId15"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57" name="Picture 56">
              <a:extLst>
                <a:ext uri="{FF2B5EF4-FFF2-40B4-BE49-F238E27FC236}">
                  <a16:creationId xmlns:a16="http://schemas.microsoft.com/office/drawing/2014/main" id="{881D19BF-91BD-401E-B1D8-9C3534B92467}"/>
                </a:ext>
              </a:extLst>
            </p:cNvPr>
            <p:cNvPicPr>
              <a:picLocks noChangeAspect="1"/>
            </p:cNvPicPr>
            <p:nvPr userDrawn="1"/>
          </p:nvPicPr>
          <p:blipFill rotWithShape="1">
            <a:blip r:embed="rId16" cstate="email">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58" name="5. Source" hidden="1">
            <a:extLst>
              <a:ext uri="{FF2B5EF4-FFF2-40B4-BE49-F238E27FC236}">
                <a16:creationId xmlns:a16="http://schemas.microsoft.com/office/drawing/2014/main" id="{7DB3F043-500D-4524-B07E-4B872D0EE309}"/>
              </a:ext>
            </a:extLst>
          </p:cNvPr>
          <p:cNvSpPr txBox="1">
            <a:spLocks/>
          </p:cNvSpPr>
          <p:nvPr userDrawn="1">
            <p:custDataLst>
              <p:tags r:id="rId8"/>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grpSp>
        <p:nvGrpSpPr>
          <p:cNvPr id="23" name="Group 4">
            <a:extLst>
              <a:ext uri="{FF2B5EF4-FFF2-40B4-BE49-F238E27FC236}">
                <a16:creationId xmlns:a16="http://schemas.microsoft.com/office/drawing/2014/main" id="{AFE856FF-D2AD-4CF9-A31F-8F2AFCF8DD77}"/>
              </a:ext>
            </a:extLst>
          </p:cNvPr>
          <p:cNvGrpSpPr>
            <a:grpSpLocks noChangeAspect="1"/>
          </p:cNvGrpSpPr>
          <p:nvPr userDrawn="1"/>
        </p:nvGrpSpPr>
        <p:grpSpPr bwMode="ltGray">
          <a:xfrm>
            <a:off x="11256172" y="6417372"/>
            <a:ext cx="394856" cy="373880"/>
            <a:chOff x="-240" y="2757"/>
            <a:chExt cx="960" cy="909"/>
          </a:xfrm>
        </p:grpSpPr>
        <p:sp>
          <p:nvSpPr>
            <p:cNvPr id="24" name="Freeform 5">
              <a:extLst>
                <a:ext uri="{FF2B5EF4-FFF2-40B4-BE49-F238E27FC236}">
                  <a16:creationId xmlns:a16="http://schemas.microsoft.com/office/drawing/2014/main" id="{C9217257-FBE5-477B-813C-F00B809E8562}"/>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65EDE484-151A-4DBC-B5EA-53ED5FC52BE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27343DFB-7BDD-408D-AA61-6B090842C73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AB400D9F-93E8-4CCA-A841-7A36AE31B586}"/>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F6C0D759-D006-43AA-ADCC-440246DCB63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333957341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3381643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rtl="0">
              <a:defRPr/>
            </a:lvl1pPr>
          </a:lstStyle>
          <a:p>
            <a:r>
              <a:rPr lang="en-GB" dirty="0"/>
              <a:t>Click to edit Master title style</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dirty="0"/>
              <a:t>Add tracker</a:t>
            </a:r>
          </a:p>
        </p:txBody>
      </p:sp>
      <p:cxnSp>
        <p:nvCxnSpPr>
          <p:cNvPr id="9" name="Straight Connector 8">
            <a:extLst>
              <a:ext uri="{FF2B5EF4-FFF2-40B4-BE49-F238E27FC236}">
                <a16:creationId xmlns:a16="http://schemas.microsoft.com/office/drawing/2014/main" id="{B22C5002-5F8A-4232-A199-EC5D8EA2DAD1}"/>
              </a:ext>
            </a:extLst>
          </p:cNvPr>
          <p:cNvCxnSpPr>
            <a:cxnSpLocks/>
          </p:cNvCxnSpPr>
          <p:nvPr userDrawn="1"/>
        </p:nvCxnSpPr>
        <p:spPr bwMode="ltGray">
          <a:xfrm>
            <a:off x="554736" y="1238860"/>
            <a:ext cx="11082528"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BC0ECFFC-E532-48CA-A3CB-24A22C3383A8}"/>
              </a:ext>
            </a:extLst>
          </p:cNvPr>
          <p:cNvGrpSpPr>
            <a:grpSpLocks/>
          </p:cNvGrpSpPr>
          <p:nvPr userDrawn="1"/>
        </p:nvGrpSpPr>
        <p:grpSpPr>
          <a:xfrm>
            <a:off x="11256172" y="6417372"/>
            <a:ext cx="394856" cy="373880"/>
            <a:chOff x="11105270" y="6244071"/>
            <a:chExt cx="480234" cy="454722"/>
          </a:xfrm>
        </p:grpSpPr>
        <p:sp>
          <p:nvSpPr>
            <p:cNvPr id="33" name="Freeform 5">
              <a:extLst>
                <a:ext uri="{FF2B5EF4-FFF2-40B4-BE49-F238E27FC236}">
                  <a16:creationId xmlns:a16="http://schemas.microsoft.com/office/drawing/2014/main" id="{60A169C7-AB38-45C4-9FA9-87E795DE5FC6}"/>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F1BD6E2F-542C-49A0-9900-1138AC29366C}"/>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EB20AAB2-6BCE-4293-87A4-9ED333292AEA}"/>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A9062CF9-EEC1-4A86-A44A-1324CE9FA5A6}"/>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CC746FE4-F67C-4BA4-AD89-AF94EEE4557C}"/>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grpSp>
        <p:nvGrpSpPr>
          <p:cNvPr id="38" name="Group 37">
            <a:extLst>
              <a:ext uri="{FF2B5EF4-FFF2-40B4-BE49-F238E27FC236}">
                <a16:creationId xmlns:a16="http://schemas.microsoft.com/office/drawing/2014/main" id="{7E6E9983-DF4C-47D2-85F3-A04DA7F2BEE2}"/>
              </a:ext>
            </a:extLst>
          </p:cNvPr>
          <p:cNvGrpSpPr>
            <a:grpSpLocks/>
          </p:cNvGrpSpPr>
          <p:nvPr userDrawn="1"/>
        </p:nvGrpSpPr>
        <p:grpSpPr bwMode="invGray">
          <a:xfrm>
            <a:off x="1608225" y="6435948"/>
            <a:ext cx="910081" cy="356143"/>
            <a:chOff x="9865218" y="6365207"/>
            <a:chExt cx="1011183" cy="395706"/>
          </a:xfrm>
        </p:grpSpPr>
        <p:pic>
          <p:nvPicPr>
            <p:cNvPr id="39" name="Picture 38" descr="EDCTP and Africa CDC workshop report on disparities in research funding -  EDCTP">
              <a:extLst>
                <a:ext uri="{FF2B5EF4-FFF2-40B4-BE49-F238E27FC236}">
                  <a16:creationId xmlns:a16="http://schemas.microsoft.com/office/drawing/2014/main" id="{EC78D270-F7DD-4800-9359-9AD2938FE19B}"/>
                </a:ext>
              </a:extLst>
            </p:cNvPr>
            <p:cNvPicPr>
              <a:picLocks noChangeAspect="1" noChangeArrowheads="1"/>
            </p:cNvPicPr>
            <p:nvPr userDrawn="1"/>
          </p:nvPicPr>
          <p:blipFill rotWithShape="1">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40" name="Picture 39" descr="EDCTP and Africa CDC workshop report on disparities in research funding -  EDCTP">
              <a:extLst>
                <a:ext uri="{FF2B5EF4-FFF2-40B4-BE49-F238E27FC236}">
                  <a16:creationId xmlns:a16="http://schemas.microsoft.com/office/drawing/2014/main" id="{0EFCFBC6-4C2A-4994-8AA2-0F10ACD18F2A}"/>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41" name="Group 40">
            <a:extLst>
              <a:ext uri="{FF2B5EF4-FFF2-40B4-BE49-F238E27FC236}">
                <a16:creationId xmlns:a16="http://schemas.microsoft.com/office/drawing/2014/main" id="{ED2D5FCB-4A6D-4F99-A74B-F8908F4D9EB8}"/>
              </a:ext>
            </a:extLst>
          </p:cNvPr>
          <p:cNvGrpSpPr>
            <a:grpSpLocks/>
          </p:cNvGrpSpPr>
          <p:nvPr userDrawn="1"/>
        </p:nvGrpSpPr>
        <p:grpSpPr>
          <a:xfrm>
            <a:off x="554736" y="6452601"/>
            <a:ext cx="830881" cy="293716"/>
            <a:chOff x="10483273" y="6554997"/>
            <a:chExt cx="638090" cy="225564"/>
          </a:xfrm>
        </p:grpSpPr>
        <p:pic>
          <p:nvPicPr>
            <p:cNvPr id="42" name="Picture 41">
              <a:extLst>
                <a:ext uri="{FF2B5EF4-FFF2-40B4-BE49-F238E27FC236}">
                  <a16:creationId xmlns:a16="http://schemas.microsoft.com/office/drawing/2014/main" id="{6CCC63E7-DCD0-472F-B597-D187BA319146}"/>
                </a:ext>
              </a:extLst>
            </p:cNvPr>
            <p:cNvPicPr>
              <a:picLocks noChangeAspect="1"/>
            </p:cNvPicPr>
            <p:nvPr userDrawn="1"/>
          </p:nvPicPr>
          <p:blipFill rotWithShape="1">
            <a:blip r:embed="rId13"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43" name="Picture 42">
              <a:extLst>
                <a:ext uri="{FF2B5EF4-FFF2-40B4-BE49-F238E27FC236}">
                  <a16:creationId xmlns:a16="http://schemas.microsoft.com/office/drawing/2014/main" id="{ACCE7CD7-1E44-494F-9B7A-33E74BDA298B}"/>
                </a:ext>
              </a:extLst>
            </p:cNvPr>
            <p:cNvPicPr>
              <a:picLocks noChangeAspect="1"/>
            </p:cNvPicPr>
            <p:nvPr userDrawn="1"/>
          </p:nvPicPr>
          <p:blipFill rotWithShape="1">
            <a:blip r:embed="rId14" cstate="email">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45" name="Slide Number">
            <a:extLst>
              <a:ext uri="{FF2B5EF4-FFF2-40B4-BE49-F238E27FC236}">
                <a16:creationId xmlns:a16="http://schemas.microsoft.com/office/drawing/2014/main" id="{EAB49E97-CBA3-4CA0-B41F-3DFE3CB01DDF}"/>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
        <p:nvSpPr>
          <p:cNvPr id="46" name="5. Source" hidden="1">
            <a:extLst>
              <a:ext uri="{FF2B5EF4-FFF2-40B4-BE49-F238E27FC236}">
                <a16:creationId xmlns:a16="http://schemas.microsoft.com/office/drawing/2014/main" id="{CF50C49E-3B87-4955-B611-0A801402E8D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15492561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327714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dirty="0"/>
              <a:t>Add tracker</a:t>
            </a:r>
          </a:p>
        </p:txBody>
      </p:sp>
      <p:sp>
        <p:nvSpPr>
          <p:cNvPr id="22" name="Slide Number">
            <a:extLst>
              <a:ext uri="{FF2B5EF4-FFF2-40B4-BE49-F238E27FC236}">
                <a16:creationId xmlns:a16="http://schemas.microsoft.com/office/drawing/2014/main" id="{E0B24FDA-F726-40FB-9E97-B8FB4BA3EA7B}"/>
              </a:ext>
            </a:extLst>
          </p:cNvPr>
          <p:cNvSpPr>
            <a:spLocks noChangeArrowheads="1"/>
          </p:cNvSpPr>
          <p:nvPr userDrawn="1">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
        <p:nvSpPr>
          <p:cNvPr id="23" name="5. Source" hidden="1">
            <a:extLst>
              <a:ext uri="{FF2B5EF4-FFF2-40B4-BE49-F238E27FC236}">
                <a16:creationId xmlns:a16="http://schemas.microsoft.com/office/drawing/2014/main" id="{95FAC6E9-B568-4052-A069-331C4667D3F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grpSp>
        <p:nvGrpSpPr>
          <p:cNvPr id="6" name="Group 5">
            <a:extLst>
              <a:ext uri="{FF2B5EF4-FFF2-40B4-BE49-F238E27FC236}">
                <a16:creationId xmlns:a16="http://schemas.microsoft.com/office/drawing/2014/main" id="{F8901B0F-9258-434B-9C07-A42AA8E5052B}"/>
              </a:ext>
            </a:extLst>
          </p:cNvPr>
          <p:cNvGrpSpPr>
            <a:grpSpLocks/>
          </p:cNvGrpSpPr>
          <p:nvPr userDrawn="1"/>
        </p:nvGrpSpPr>
        <p:grpSpPr>
          <a:xfrm>
            <a:off x="11256172" y="6417372"/>
            <a:ext cx="394856" cy="373880"/>
            <a:chOff x="11105270" y="6244071"/>
            <a:chExt cx="480234" cy="454722"/>
          </a:xfrm>
        </p:grpSpPr>
        <p:sp>
          <p:nvSpPr>
            <p:cNvPr id="8" name="Freeform 5">
              <a:extLst>
                <a:ext uri="{FF2B5EF4-FFF2-40B4-BE49-F238E27FC236}">
                  <a16:creationId xmlns:a16="http://schemas.microsoft.com/office/drawing/2014/main" id="{996D7568-FADB-42E5-B05F-B5CEC346CB6C}"/>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06C506FF-B436-45F4-9C03-B029C2635602}"/>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B8777B68-7E48-42DE-AB94-EE13DB3A512D}"/>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26D590E6-82D0-42E6-BD48-35CC36EC79BB}"/>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6213D225-1208-40FB-B9EC-94152F0E813D}"/>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grpSp>
        <p:nvGrpSpPr>
          <p:cNvPr id="13" name="Group 12">
            <a:extLst>
              <a:ext uri="{FF2B5EF4-FFF2-40B4-BE49-F238E27FC236}">
                <a16:creationId xmlns:a16="http://schemas.microsoft.com/office/drawing/2014/main" id="{279EFE02-7A36-407F-8C53-BA0108A3BC5F}"/>
              </a:ext>
            </a:extLst>
          </p:cNvPr>
          <p:cNvGrpSpPr>
            <a:grpSpLocks/>
          </p:cNvGrpSpPr>
          <p:nvPr userDrawn="1"/>
        </p:nvGrpSpPr>
        <p:grpSpPr bwMode="invGray">
          <a:xfrm>
            <a:off x="1608225" y="6435948"/>
            <a:ext cx="910081" cy="356143"/>
            <a:chOff x="9865218" y="6365207"/>
            <a:chExt cx="1011183" cy="395706"/>
          </a:xfrm>
        </p:grpSpPr>
        <p:pic>
          <p:nvPicPr>
            <p:cNvPr id="14" name="Picture 13" descr="EDCTP and Africa CDC workshop report on disparities in research funding -  EDCTP">
              <a:extLst>
                <a:ext uri="{FF2B5EF4-FFF2-40B4-BE49-F238E27FC236}">
                  <a16:creationId xmlns:a16="http://schemas.microsoft.com/office/drawing/2014/main" id="{738BE4A9-741B-44EE-B769-3D1235310AFD}"/>
                </a:ext>
              </a:extLst>
            </p:cNvPr>
            <p:cNvPicPr>
              <a:picLocks noChangeAspect="1" noChangeArrowheads="1"/>
            </p:cNvPicPr>
            <p:nvPr userDrawn="1"/>
          </p:nvPicPr>
          <p:blipFill rotWithShape="1">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descr="EDCTP and Africa CDC workshop report on disparities in research funding -  EDCTP">
              <a:extLst>
                <a:ext uri="{FF2B5EF4-FFF2-40B4-BE49-F238E27FC236}">
                  <a16:creationId xmlns:a16="http://schemas.microsoft.com/office/drawing/2014/main" id="{69219033-DF26-4497-B461-C1237AA54EE2}"/>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16" name="Group 15">
            <a:extLst>
              <a:ext uri="{FF2B5EF4-FFF2-40B4-BE49-F238E27FC236}">
                <a16:creationId xmlns:a16="http://schemas.microsoft.com/office/drawing/2014/main" id="{9D7A748D-235B-466B-95F7-5E3BE67C0F41}"/>
              </a:ext>
            </a:extLst>
          </p:cNvPr>
          <p:cNvGrpSpPr>
            <a:grpSpLocks/>
          </p:cNvGrpSpPr>
          <p:nvPr userDrawn="1"/>
        </p:nvGrpSpPr>
        <p:grpSpPr>
          <a:xfrm>
            <a:off x="554736" y="6452601"/>
            <a:ext cx="830881" cy="293716"/>
            <a:chOff x="10483273" y="6554997"/>
            <a:chExt cx="638090" cy="225564"/>
          </a:xfrm>
        </p:grpSpPr>
        <p:pic>
          <p:nvPicPr>
            <p:cNvPr id="17" name="Picture 16">
              <a:extLst>
                <a:ext uri="{FF2B5EF4-FFF2-40B4-BE49-F238E27FC236}">
                  <a16:creationId xmlns:a16="http://schemas.microsoft.com/office/drawing/2014/main" id="{52BFA8AF-79A4-42CF-B2A3-0900A49CB702}"/>
                </a:ext>
              </a:extLst>
            </p:cNvPr>
            <p:cNvPicPr>
              <a:picLocks noChangeAspect="1"/>
            </p:cNvPicPr>
            <p:nvPr userDrawn="1"/>
          </p:nvPicPr>
          <p:blipFill rotWithShape="1">
            <a:blip r:embed="rId11"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18" name="Picture 17">
              <a:extLst>
                <a:ext uri="{FF2B5EF4-FFF2-40B4-BE49-F238E27FC236}">
                  <a16:creationId xmlns:a16="http://schemas.microsoft.com/office/drawing/2014/main" id="{E4A5A551-4354-42CD-9FFA-867CEFAC367C}"/>
                </a:ext>
              </a:extLst>
            </p:cNvPr>
            <p:cNvPicPr>
              <a:picLocks noChangeAspect="1"/>
            </p:cNvPicPr>
            <p:nvPr userDrawn="1"/>
          </p:nvPicPr>
          <p:blipFill rotWithShape="1">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Tree>
    <p:extLst>
      <p:ext uri="{BB962C8B-B14F-4D97-AF65-F5344CB8AC3E}">
        <p14:creationId xmlns:p14="http://schemas.microsoft.com/office/powerpoint/2010/main" val="298590037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6" name="Group 15">
            <a:extLst>
              <a:ext uri="{FF2B5EF4-FFF2-40B4-BE49-F238E27FC236}">
                <a16:creationId xmlns:a16="http://schemas.microsoft.com/office/drawing/2014/main" id="{F4FF23F6-D987-420F-A8C0-A621BED27D3F}"/>
              </a:ext>
            </a:extLst>
          </p:cNvPr>
          <p:cNvGrpSpPr>
            <a:grpSpLocks/>
          </p:cNvGrpSpPr>
          <p:nvPr userDrawn="1"/>
        </p:nvGrpSpPr>
        <p:grpSpPr bwMode="invGray">
          <a:xfrm>
            <a:off x="3803714" y="2877126"/>
            <a:ext cx="2229392" cy="872430"/>
            <a:chOff x="9865218" y="6365207"/>
            <a:chExt cx="1011183" cy="395706"/>
          </a:xfrm>
        </p:grpSpPr>
        <p:pic>
          <p:nvPicPr>
            <p:cNvPr id="26" name="Picture 25" descr="EDCTP and Africa CDC workshop report on disparities in research funding -  EDCTP">
              <a:extLst>
                <a:ext uri="{FF2B5EF4-FFF2-40B4-BE49-F238E27FC236}">
                  <a16:creationId xmlns:a16="http://schemas.microsoft.com/office/drawing/2014/main" id="{87AD8759-474B-43B8-A330-08F93228971E}"/>
                </a:ext>
              </a:extLst>
            </p:cNvPr>
            <p:cNvPicPr>
              <a:picLocks noChangeAspect="1" noChangeArrowheads="1"/>
            </p:cNvPicPr>
            <p:nvPr userDrawn="1"/>
          </p:nvPicPr>
          <p:blipFill rotWithShape="1">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7" name="Picture 26" descr="EDCTP and Africa CDC workshop report on disparities in research funding -  EDCTP">
              <a:extLst>
                <a:ext uri="{FF2B5EF4-FFF2-40B4-BE49-F238E27FC236}">
                  <a16:creationId xmlns:a16="http://schemas.microsoft.com/office/drawing/2014/main" id="{CCBD395C-3F7E-4A36-8E21-6F8FB4D64286}"/>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E5B7F008-C77C-4B38-8B04-F17E5DC956EF}"/>
              </a:ext>
            </a:extLst>
          </p:cNvPr>
          <p:cNvGrpSpPr>
            <a:grpSpLocks/>
          </p:cNvGrpSpPr>
          <p:nvPr userDrawn="1"/>
        </p:nvGrpSpPr>
        <p:grpSpPr>
          <a:xfrm>
            <a:off x="786265" y="2877126"/>
            <a:ext cx="2467979" cy="872430"/>
            <a:chOff x="10483273" y="6554997"/>
            <a:chExt cx="638090" cy="225564"/>
          </a:xfrm>
        </p:grpSpPr>
        <p:pic>
          <p:nvPicPr>
            <p:cNvPr id="19" name="Picture 18">
              <a:extLst>
                <a:ext uri="{FF2B5EF4-FFF2-40B4-BE49-F238E27FC236}">
                  <a16:creationId xmlns:a16="http://schemas.microsoft.com/office/drawing/2014/main" id="{D53C2B31-229B-4958-BA23-2408E2676F2A}"/>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20" name="Picture 19">
              <a:extLst>
                <a:ext uri="{FF2B5EF4-FFF2-40B4-BE49-F238E27FC236}">
                  <a16:creationId xmlns:a16="http://schemas.microsoft.com/office/drawing/2014/main" id="{69A1C915-C231-4C09-B6A4-2722007BA0A4}"/>
                </a:ext>
              </a:extLst>
            </p:cNvPr>
            <p:cNvPicPr>
              <a:picLocks noChangeAspect="1"/>
            </p:cNvPicPr>
            <p:nvPr userDrawn="1"/>
          </p:nvPicPr>
          <p:blipFill rotWithShape="1">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grpSp>
        <p:nvGrpSpPr>
          <p:cNvPr id="32" name="Group 31">
            <a:extLst>
              <a:ext uri="{FF2B5EF4-FFF2-40B4-BE49-F238E27FC236}">
                <a16:creationId xmlns:a16="http://schemas.microsoft.com/office/drawing/2014/main" id="{A45C035A-E664-46F1-AC1F-8646184DA916}"/>
              </a:ext>
            </a:extLst>
          </p:cNvPr>
          <p:cNvGrpSpPr>
            <a:grpSpLocks/>
          </p:cNvGrpSpPr>
          <p:nvPr userDrawn="1"/>
        </p:nvGrpSpPr>
        <p:grpSpPr>
          <a:xfrm>
            <a:off x="9902054" y="2810219"/>
            <a:ext cx="1062701" cy="1006245"/>
            <a:chOff x="11105270" y="6244071"/>
            <a:chExt cx="480234" cy="454722"/>
          </a:xfrm>
        </p:grpSpPr>
        <p:sp>
          <p:nvSpPr>
            <p:cNvPr id="33" name="Freeform 5">
              <a:extLst>
                <a:ext uri="{FF2B5EF4-FFF2-40B4-BE49-F238E27FC236}">
                  <a16:creationId xmlns:a16="http://schemas.microsoft.com/office/drawing/2014/main" id="{AC9C117E-0530-43CD-BA40-7A54D7CF34FB}"/>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9376BC8B-D405-421C-A55B-153E5FA514C9}"/>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1BDF5157-87C3-4CD9-A0D1-599C02FFF5B3}"/>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81C14A4C-4FD1-47F8-9919-CE97469D2C2D}"/>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B823179C-4BD5-4492-A779-98B7A3D57934}"/>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234240426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072296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GB"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dirty="0"/>
              <a:t>Add tracker</a:t>
            </a:r>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11256172"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8"/>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256254315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1"/>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2"/>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3"/>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8255260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0EA743B8-325E-46C7-B856-F38DC0C6F2D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BE744635-1451-46D5-B727-AAA2116613DA}"/>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77501537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214908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34" name="Group 33">
            <a:extLst>
              <a:ext uri="{FF2B5EF4-FFF2-40B4-BE49-F238E27FC236}">
                <a16:creationId xmlns:a16="http://schemas.microsoft.com/office/drawing/2014/main" id="{1BCF65AB-6F17-4B5B-9938-8A3C1351D5D5}"/>
              </a:ext>
            </a:extLst>
          </p:cNvPr>
          <p:cNvGrpSpPr/>
          <p:nvPr userDrawn="1"/>
        </p:nvGrpSpPr>
        <p:grpSpPr bwMode="ltGray">
          <a:xfrm>
            <a:off x="0" y="-1"/>
            <a:ext cx="12192000" cy="837467"/>
            <a:chOff x="0" y="-1"/>
            <a:chExt cx="12192000" cy="837467"/>
          </a:xfrm>
        </p:grpSpPr>
        <p:sp>
          <p:nvSpPr>
            <p:cNvPr id="35" name="Right Triangle 34">
              <a:extLst>
                <a:ext uri="{FF2B5EF4-FFF2-40B4-BE49-F238E27FC236}">
                  <a16:creationId xmlns:a16="http://schemas.microsoft.com/office/drawing/2014/main" id="{83320A02-D7B0-4DC5-9D5F-F3C8C9785928}"/>
                </a:ext>
              </a:extLst>
            </p:cNvPr>
            <p:cNvSpPr/>
            <p:nvPr userDrawn="1"/>
          </p:nvSpPr>
          <p:spPr bwMode="ltGray">
            <a:xfrm flipV="1">
              <a:off x="0" y="-1"/>
              <a:ext cx="2003708" cy="837467"/>
            </a:xfrm>
            <a:prstGeom prst="rtTriangl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cxnSp>
          <p:nvCxnSpPr>
            <p:cNvPr id="36" name="Straight Connector 35">
              <a:extLst>
                <a:ext uri="{FF2B5EF4-FFF2-40B4-BE49-F238E27FC236}">
                  <a16:creationId xmlns:a16="http://schemas.microsoft.com/office/drawing/2014/main" id="{B17356C1-FA6B-469B-996C-B3A12B96C0AF}"/>
                </a:ext>
              </a:extLst>
            </p:cNvPr>
            <p:cNvCxnSpPr>
              <a:cxnSpLocks/>
              <a:stCxn id="35" idx="2"/>
            </p:cNvCxnSpPr>
            <p:nvPr userDrawn="1"/>
          </p:nvCxnSpPr>
          <p:spPr bwMode="ltGray">
            <a:xfrm>
              <a:off x="0" y="-1"/>
              <a:ext cx="12192000" cy="3177"/>
            </a:xfrm>
            <a:prstGeom prst="line">
              <a:avLst/>
            </a:prstGeom>
            <a:noFill/>
            <a:ln w="76200" cap="flat" cmpd="sng" algn="ctr">
              <a:solidFill>
                <a:schemeClr val="accent1"/>
              </a:solidFill>
              <a:prstDash val="solid"/>
              <a:miter lim="800000"/>
              <a:tailEnd type="none"/>
            </a:ln>
            <a:effectLst/>
          </p:spPr>
        </p:cxnSp>
      </p:grpSp>
      <p:grpSp>
        <p:nvGrpSpPr>
          <p:cNvPr id="37" name="Group 36">
            <a:extLst>
              <a:ext uri="{FF2B5EF4-FFF2-40B4-BE49-F238E27FC236}">
                <a16:creationId xmlns:a16="http://schemas.microsoft.com/office/drawing/2014/main" id="{D81BDC6E-C2F1-4016-90EC-6EBC6844A0A4}"/>
              </a:ext>
            </a:extLst>
          </p:cNvPr>
          <p:cNvGrpSpPr/>
          <p:nvPr userDrawn="1"/>
        </p:nvGrpSpPr>
        <p:grpSpPr bwMode="ltGray">
          <a:xfrm flipH="1" flipV="1">
            <a:off x="0" y="6020533"/>
            <a:ext cx="12192000" cy="837467"/>
            <a:chOff x="0" y="-1"/>
            <a:chExt cx="12192000" cy="837467"/>
          </a:xfrm>
          <a:solidFill>
            <a:srgbClr val="ADADAD"/>
          </a:solidFill>
        </p:grpSpPr>
        <p:sp>
          <p:nvSpPr>
            <p:cNvPr id="38" name="Right Triangle 37">
              <a:extLst>
                <a:ext uri="{FF2B5EF4-FFF2-40B4-BE49-F238E27FC236}">
                  <a16:creationId xmlns:a16="http://schemas.microsoft.com/office/drawing/2014/main" id="{790BBED5-8DD1-4261-BAC9-E55EC1D26CFA}"/>
                </a:ext>
              </a:extLst>
            </p:cNvPr>
            <p:cNvSpPr/>
            <p:nvPr userDrawn="1"/>
          </p:nvSpPr>
          <p:spPr bwMode="ltGray">
            <a:xfrm flipV="1">
              <a:off x="0" y="-1"/>
              <a:ext cx="2003708" cy="837467"/>
            </a:xfrm>
            <a:prstGeom prst="rtTriangle">
              <a:avLst/>
            </a:prstGeom>
            <a:grp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8D1A5B8-89AA-4C3A-890F-BD1BE577C054}"/>
                </a:ext>
              </a:extLst>
            </p:cNvPr>
            <p:cNvCxnSpPr>
              <a:cxnSpLocks/>
              <a:stCxn id="38" idx="2"/>
            </p:cNvCxnSpPr>
            <p:nvPr userDrawn="1"/>
          </p:nvCxnSpPr>
          <p:spPr bwMode="ltGray">
            <a:xfrm>
              <a:off x="0" y="-1"/>
              <a:ext cx="12192000" cy="3177"/>
            </a:xfrm>
            <a:prstGeom prst="line">
              <a:avLst/>
            </a:prstGeom>
            <a:grpFill/>
            <a:ln w="76200" cap="flat" cmpd="sng" algn="ctr">
              <a:solidFill>
                <a:srgbClr val="ADADAD"/>
              </a:solidFill>
              <a:prstDash val="solid"/>
              <a:miter lim="800000"/>
              <a:tailEnd type="none"/>
            </a:ln>
            <a:effectLst/>
          </p:spPr>
        </p:cxnSp>
      </p:grpSp>
      <p:grpSp>
        <p:nvGrpSpPr>
          <p:cNvPr id="40" name="Group 4">
            <a:extLst>
              <a:ext uri="{FF2B5EF4-FFF2-40B4-BE49-F238E27FC236}">
                <a16:creationId xmlns:a16="http://schemas.microsoft.com/office/drawing/2014/main" id="{5C966FC7-3456-49F1-A3E9-08B9951BB41B}"/>
              </a:ext>
            </a:extLst>
          </p:cNvPr>
          <p:cNvGrpSpPr>
            <a:grpSpLocks noChangeAspect="1"/>
          </p:cNvGrpSpPr>
          <p:nvPr userDrawn="1"/>
        </p:nvGrpSpPr>
        <p:grpSpPr bwMode="ltGray">
          <a:xfrm>
            <a:off x="5059827" y="697873"/>
            <a:ext cx="759865" cy="719497"/>
            <a:chOff x="-240" y="2757"/>
            <a:chExt cx="960" cy="909"/>
          </a:xfrm>
        </p:grpSpPr>
        <p:sp>
          <p:nvSpPr>
            <p:cNvPr id="41" name="Freeform 5">
              <a:extLst>
                <a:ext uri="{FF2B5EF4-FFF2-40B4-BE49-F238E27FC236}">
                  <a16:creationId xmlns:a16="http://schemas.microsoft.com/office/drawing/2014/main" id="{6528E9C6-D602-45DF-9855-562EAD2DCAE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2" name="Rectangle 6">
              <a:extLst>
                <a:ext uri="{FF2B5EF4-FFF2-40B4-BE49-F238E27FC236}">
                  <a16:creationId xmlns:a16="http://schemas.microsoft.com/office/drawing/2014/main" id="{945CF0FB-79D3-4C60-870A-8969ED4B706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3" name="Freeform 7">
              <a:extLst>
                <a:ext uri="{FF2B5EF4-FFF2-40B4-BE49-F238E27FC236}">
                  <a16:creationId xmlns:a16="http://schemas.microsoft.com/office/drawing/2014/main" id="{4158C671-F661-4E10-9CDE-C4B51D3A4C52}"/>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4" name="Freeform 8">
              <a:extLst>
                <a:ext uri="{FF2B5EF4-FFF2-40B4-BE49-F238E27FC236}">
                  <a16:creationId xmlns:a16="http://schemas.microsoft.com/office/drawing/2014/main" id="{1205A489-8E55-4811-ACAF-BFFE19C0159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5" name="Freeform 9">
              <a:extLst>
                <a:ext uri="{FF2B5EF4-FFF2-40B4-BE49-F238E27FC236}">
                  <a16:creationId xmlns:a16="http://schemas.microsoft.com/office/drawing/2014/main" id="{B57CF8AD-AD31-42B7-843F-1290682C883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pic>
        <p:nvPicPr>
          <p:cNvPr id="46" name="Picture 720" descr="EDCTP and Africa CDC workshop report on disparities in research funding -  EDCTP">
            <a:extLst>
              <a:ext uri="{FF2B5EF4-FFF2-40B4-BE49-F238E27FC236}">
                <a16:creationId xmlns:a16="http://schemas.microsoft.com/office/drawing/2014/main" id="{F2E1AA9D-F801-4EEF-BDC0-B03EE639EB79}"/>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6727" t="9385" r="6805" b="10631"/>
          <a:stretch/>
        </p:blipFill>
        <p:spPr bwMode="ltGray">
          <a:xfrm>
            <a:off x="2776885" y="719068"/>
            <a:ext cx="1730266" cy="67710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8CC065CE-BF4C-470F-A114-71DE07F9D0CD}"/>
              </a:ext>
            </a:extLst>
          </p:cNvPr>
          <p:cNvPicPr>
            <a:picLocks noChangeAspect="1"/>
          </p:cNvPicPr>
          <p:nvPr userDrawn="1"/>
        </p:nvPicPr>
        <p:blipFill>
          <a:blip r:embed="rId11"/>
          <a:stretch>
            <a:fillRect/>
          </a:stretch>
        </p:blipFill>
        <p:spPr bwMode="ltGray">
          <a:xfrm>
            <a:off x="558800" y="763260"/>
            <a:ext cx="1665410" cy="588722"/>
          </a:xfrm>
          <a:prstGeom prst="rect">
            <a:avLst/>
          </a:prstGeom>
        </p:spPr>
      </p:pic>
      <p:grpSp>
        <p:nvGrpSpPr>
          <p:cNvPr id="49" name="Group 48">
            <a:extLst>
              <a:ext uri="{FF2B5EF4-FFF2-40B4-BE49-F238E27FC236}">
                <a16:creationId xmlns:a16="http://schemas.microsoft.com/office/drawing/2014/main" id="{AA0FAE19-54D7-4CEB-BE34-E37048BD7CC1}"/>
              </a:ext>
            </a:extLst>
          </p:cNvPr>
          <p:cNvGrpSpPr/>
          <p:nvPr userDrawn="1"/>
        </p:nvGrpSpPr>
        <p:grpSpPr bwMode="ltGray">
          <a:xfrm>
            <a:off x="-11936" y="1536377"/>
            <a:ext cx="10379791" cy="3810001"/>
            <a:chOff x="-11936" y="1536377"/>
            <a:chExt cx="10379791" cy="3810001"/>
          </a:xfrm>
        </p:grpSpPr>
        <p:sp>
          <p:nvSpPr>
            <p:cNvPr id="50" name="Parallelogram 10">
              <a:extLst>
                <a:ext uri="{FF2B5EF4-FFF2-40B4-BE49-F238E27FC236}">
                  <a16:creationId xmlns:a16="http://schemas.microsoft.com/office/drawing/2014/main" id="{20931F30-1BAD-4FAB-A50E-1E48F5E0770E}"/>
                </a:ext>
              </a:extLst>
            </p:cNvPr>
            <p:cNvSpPr/>
            <p:nvPr userDrawn="1"/>
          </p:nvSpPr>
          <p:spPr bwMode="ltGray">
            <a:xfrm>
              <a:off x="-11936" y="1536378"/>
              <a:ext cx="10379791" cy="3810000"/>
            </a:xfrm>
            <a:custGeom>
              <a:avLst/>
              <a:gdLst>
                <a:gd name="connsiteX0" fmla="*/ 0 w 9680890"/>
                <a:gd name="connsiteY0" fmla="*/ 3810000 h 3810000"/>
                <a:gd name="connsiteX1" fmla="*/ 1705547 w 9680890"/>
                <a:gd name="connsiteY1" fmla="*/ 0 h 3810000"/>
                <a:gd name="connsiteX2" fmla="*/ 9680890 w 9680890"/>
                <a:gd name="connsiteY2" fmla="*/ 0 h 3810000"/>
                <a:gd name="connsiteX3" fmla="*/ 7975344 w 9680890"/>
                <a:gd name="connsiteY3" fmla="*/ 3810000 h 3810000"/>
                <a:gd name="connsiteX4" fmla="*/ 0 w 9680890"/>
                <a:gd name="connsiteY4" fmla="*/ 3810000 h 3810000"/>
                <a:gd name="connsiteX0" fmla="*/ 199453 w 7975343"/>
                <a:gd name="connsiteY0" fmla="*/ 3797300 h 3810000"/>
                <a:gd name="connsiteX1" fmla="*/ 0 w 7975343"/>
                <a:gd name="connsiteY1" fmla="*/ 0 h 3810000"/>
                <a:gd name="connsiteX2" fmla="*/ 7975343 w 7975343"/>
                <a:gd name="connsiteY2" fmla="*/ 0 h 3810000"/>
                <a:gd name="connsiteX3" fmla="*/ 6269797 w 7975343"/>
                <a:gd name="connsiteY3" fmla="*/ 3810000 h 3810000"/>
                <a:gd name="connsiteX4" fmla="*/ 199453 w 7975343"/>
                <a:gd name="connsiteY4" fmla="*/ 3797300 h 3810000"/>
                <a:gd name="connsiteX0" fmla="*/ 8953 w 7784843"/>
                <a:gd name="connsiteY0" fmla="*/ 3797300 h 3810000"/>
                <a:gd name="connsiteX1" fmla="*/ 0 w 7784843"/>
                <a:gd name="connsiteY1" fmla="*/ 0 h 3810000"/>
                <a:gd name="connsiteX2" fmla="*/ 7784843 w 7784843"/>
                <a:gd name="connsiteY2" fmla="*/ 0 h 3810000"/>
                <a:gd name="connsiteX3" fmla="*/ 6079297 w 7784843"/>
                <a:gd name="connsiteY3" fmla="*/ 3810000 h 3810000"/>
                <a:gd name="connsiteX4" fmla="*/ 8953 w 7784843"/>
                <a:gd name="connsiteY4" fmla="*/ 3797300 h 38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4843" h="3810000">
                  <a:moveTo>
                    <a:pt x="8953" y="3797300"/>
                  </a:moveTo>
                  <a:cubicBezTo>
                    <a:pt x="5969" y="2531533"/>
                    <a:pt x="2984" y="1265767"/>
                    <a:pt x="0" y="0"/>
                  </a:cubicBezTo>
                  <a:lnTo>
                    <a:pt x="7784843" y="0"/>
                  </a:lnTo>
                  <a:lnTo>
                    <a:pt x="6079297" y="3810000"/>
                  </a:lnTo>
                  <a:lnTo>
                    <a:pt x="8953" y="3797300"/>
                  </a:lnTo>
                  <a:close/>
                </a:path>
              </a:pathLst>
            </a:custGeom>
            <a:solidFill>
              <a:srgbClr val="782C2D"/>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1" name="Parallelogram 50">
              <a:extLst>
                <a:ext uri="{FF2B5EF4-FFF2-40B4-BE49-F238E27FC236}">
                  <a16:creationId xmlns:a16="http://schemas.microsoft.com/office/drawing/2014/main" id="{E50F4B37-09C0-4E45-A536-8B73D19044D2}"/>
                </a:ext>
              </a:extLst>
            </p:cNvPr>
            <p:cNvSpPr/>
            <p:nvPr userDrawn="1"/>
          </p:nvSpPr>
          <p:spPr bwMode="ltGray">
            <a:xfrm>
              <a:off x="6990016" y="2769790"/>
              <a:ext cx="2610883" cy="2576588"/>
            </a:xfrm>
            <a:prstGeom prst="parallelogram">
              <a:avLst>
                <a:gd name="adj" fmla="val 57894"/>
              </a:avLst>
            </a:prstGeom>
            <a:solidFill>
              <a:schemeClr val="accent1">
                <a:alpha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2" name="Parallelogram 51">
              <a:extLst>
                <a:ext uri="{FF2B5EF4-FFF2-40B4-BE49-F238E27FC236}">
                  <a16:creationId xmlns:a16="http://schemas.microsoft.com/office/drawing/2014/main" id="{21BAEBDE-53B4-446A-926D-87B6EA25B961}"/>
                </a:ext>
              </a:extLst>
            </p:cNvPr>
            <p:cNvSpPr/>
            <p:nvPr userDrawn="1"/>
          </p:nvSpPr>
          <p:spPr bwMode="ltGray">
            <a:xfrm>
              <a:off x="8472264" y="1536377"/>
              <a:ext cx="1895591" cy="2468688"/>
            </a:xfrm>
            <a:prstGeom prst="parallelogram">
              <a:avLst>
                <a:gd name="adj" fmla="val 76706"/>
              </a:avLst>
            </a:prstGeom>
            <a:solidFill>
              <a:schemeClr val="accent2">
                <a:alpha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auto">
          <a:xfrm>
            <a:off x="558800" y="5624690"/>
            <a:ext cx="66548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1400" dirty="0"/>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hasCustomPrompt="1"/>
            <p:custDataLst>
              <p:tags r:id="rId4"/>
            </p:custDataLst>
          </p:nvPr>
        </p:nvSpPr>
        <p:spPr bwMode="ltGray">
          <a:xfrm>
            <a:off x="558800" y="2157172"/>
            <a:ext cx="665480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4400" dirty="0">
                <a:solidFill>
                  <a:schemeClr val="bg2"/>
                </a:solidFill>
              </a:defRPr>
            </a:lvl1pPr>
          </a:lstStyle>
          <a:p>
            <a:pPr lvl="0"/>
            <a:r>
              <a:rPr lang="en-US" dirty="0"/>
              <a:t>Click to edit Master </a:t>
            </a:r>
            <a:br>
              <a:rPr lang="en-US" dirty="0"/>
            </a:br>
            <a:r>
              <a:rPr lang="en-US" dirty="0"/>
              <a:t>title style</a:t>
            </a:r>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558800" y="4540060"/>
            <a:ext cx="665480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2000" dirty="0">
                <a:solidFill>
                  <a:schemeClr val="bg2"/>
                </a:solidFill>
              </a:defRPr>
            </a:lvl1pPr>
          </a:lstStyle>
          <a:p>
            <a:pPr lvl="0">
              <a:buNone/>
            </a:pPr>
            <a:r>
              <a:rPr lang="en-US"/>
              <a:t>Click to edit Master subtitle style</a:t>
            </a:r>
            <a:endParaRPr lang="en-US" dirty="0"/>
          </a:p>
        </p:txBody>
      </p:sp>
      <p:sp>
        <p:nvSpPr>
          <p:cNvPr id="27" name="Documenttype">
            <a:extLst>
              <a:ext uri="{FF2B5EF4-FFF2-40B4-BE49-F238E27FC236}">
                <a16:creationId xmlns:a16="http://schemas.microsoft.com/office/drawing/2014/main" id="{33A31908-D976-4815-A97D-FAA6317A86A4}"/>
              </a:ext>
            </a:extLst>
          </p:cNvPr>
          <p:cNvSpPr txBox="1">
            <a:spLocks/>
          </p:cNvSpPr>
          <p:nvPr userDrawn="1">
            <p:custDataLst>
              <p:tags r:id="rId6"/>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12672819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12" name="Slide Number">
            <a:extLst>
              <a:ext uri="{FF2B5EF4-FFF2-40B4-BE49-F238E27FC236}">
                <a16:creationId xmlns:a16="http://schemas.microsoft.com/office/drawing/2014/main" id="{480918F5-69A8-40D4-9A1C-19A48B2E8F78}"/>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7971660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F8BD4996-F79D-45DC-8DC7-8FEE977CBF41}"/>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49792188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57411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EEB8B76-4CED-477D-92F0-694D708323BC}"/>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30D20F8F-9B1E-4BF1-A6A1-7FA56E3BDA96}"/>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27873030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CF64C615-2582-4DCF-9142-3B691B7548E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8552986C-9452-46D3-8888-20E612BE00A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10503297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94895A5-9A87-472E-A5BA-9BA01ABF90A5}"/>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DB2D9C9-2BCB-4804-8631-381BA36F2FA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02851576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1417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34" name="Slide Number">
            <a:extLst>
              <a:ext uri="{FF2B5EF4-FFF2-40B4-BE49-F238E27FC236}">
                <a16:creationId xmlns:a16="http://schemas.microsoft.com/office/drawing/2014/main" id="{00D78BE5-42EA-4C8E-996C-4517056791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2740914"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4"/>
          <a:stretch>
            <a:fillRect/>
          </a:stretch>
        </p:blipFill>
        <p:spPr bwMode="ltGray">
          <a:xfrm>
            <a:off x="554736" y="6452601"/>
            <a:ext cx="830881" cy="293716"/>
          </a:xfrm>
          <a:prstGeom prst="rect">
            <a:avLst/>
          </a:prstGeom>
        </p:spPr>
      </p:pic>
      <p:sp>
        <p:nvSpPr>
          <p:cNvPr id="30" name="Documenttype">
            <a:extLst>
              <a:ext uri="{FF2B5EF4-FFF2-40B4-BE49-F238E27FC236}">
                <a16:creationId xmlns:a16="http://schemas.microsoft.com/office/drawing/2014/main" id="{CF41017B-E981-4DFE-AC41-41B7E10888EA}"/>
              </a:ext>
            </a:extLst>
          </p:cNvPr>
          <p:cNvSpPr txBox="1">
            <a:spLocks/>
          </p:cNvSpPr>
          <p:nvPr userDrawn="1">
            <p:custDataLst>
              <p:tags r:id="rId8"/>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9"/>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24460362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4032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575BF50E-69E8-4E92-BF47-A468862F9929}"/>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A386E180-04F8-4B18-AFAD-F28A3F606104}"/>
              </a:ext>
            </a:extLst>
          </p:cNvPr>
          <p:cNvGrpSpPr>
            <a:grpSpLocks noChangeAspect="1"/>
          </p:cNvGrpSpPr>
          <p:nvPr userDrawn="1"/>
        </p:nvGrpSpPr>
        <p:grpSpPr bwMode="ltGray">
          <a:xfrm>
            <a:off x="2740914" y="6417372"/>
            <a:ext cx="394856" cy="373880"/>
            <a:chOff x="-240" y="2757"/>
            <a:chExt cx="960" cy="909"/>
          </a:xfrm>
        </p:grpSpPr>
        <p:sp>
          <p:nvSpPr>
            <p:cNvPr id="23" name="Freeform 5">
              <a:extLst>
                <a:ext uri="{FF2B5EF4-FFF2-40B4-BE49-F238E27FC236}">
                  <a16:creationId xmlns:a16="http://schemas.microsoft.com/office/drawing/2014/main" id="{2B78B299-5876-4D7B-9720-0A8A896EEF9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6A5356A1-18AE-470D-8027-E9D8DF8E448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B50C1A43-8E10-4559-A869-314C85AA397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7AF157-A820-4ACD-AB63-8200D1F2777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52797A5B-FBA9-4BF9-A66E-5A9D7016E53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9699D850-373E-438C-83AD-0A7457C5C2E2}"/>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7686E5-229C-438C-A4A6-423982C30F5F}"/>
              </a:ext>
            </a:extLst>
          </p:cNvPr>
          <p:cNvPicPr>
            <a:picLocks noChangeAspect="1"/>
          </p:cNvPicPr>
          <p:nvPr userDrawn="1"/>
        </p:nvPicPr>
        <p:blipFill>
          <a:blip r:embed="rId14"/>
          <a:stretch>
            <a:fillRect/>
          </a:stretch>
        </p:blipFill>
        <p:spPr bwMode="ltGray">
          <a:xfrm>
            <a:off x="554736" y="6452601"/>
            <a:ext cx="830881" cy="293716"/>
          </a:xfrm>
          <a:prstGeom prst="rect">
            <a:avLst/>
          </a:prstGeom>
        </p:spPr>
      </p:pic>
      <p:sp>
        <p:nvSpPr>
          <p:cNvPr id="41" name="Documenttype">
            <a:extLst>
              <a:ext uri="{FF2B5EF4-FFF2-40B4-BE49-F238E27FC236}">
                <a16:creationId xmlns:a16="http://schemas.microsoft.com/office/drawing/2014/main" id="{A51F824A-049C-4D86-B34E-124E418B83C6}"/>
              </a:ext>
            </a:extLst>
          </p:cNvPr>
          <p:cNvSpPr txBox="1">
            <a:spLocks/>
          </p:cNvSpPr>
          <p:nvPr userDrawn="1">
            <p:custDataLst>
              <p:tags r:id="rId8"/>
            </p:custDataLst>
          </p:nvPr>
        </p:nvSpPr>
        <p:spPr>
          <a:xfrm>
            <a:off x="6385191"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42" name="5. Source" hidden="1">
            <a:extLst>
              <a:ext uri="{FF2B5EF4-FFF2-40B4-BE49-F238E27FC236}">
                <a16:creationId xmlns:a16="http://schemas.microsoft.com/office/drawing/2014/main" id="{E3771B26-C02B-439A-9350-D1C91B79CE8B}"/>
              </a:ext>
            </a:extLst>
          </p:cNvPr>
          <p:cNvSpPr txBox="1">
            <a:spLocks/>
          </p:cNvSpPr>
          <p:nvPr userDrawn="1">
            <p:custDataLst>
              <p:tags r:id="rId9"/>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92997363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91CEAC37-6545-4492-AAB0-C163408D5D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1" name="Group 4">
            <a:extLst>
              <a:ext uri="{FF2B5EF4-FFF2-40B4-BE49-F238E27FC236}">
                <a16:creationId xmlns:a16="http://schemas.microsoft.com/office/drawing/2014/main" id="{29DA557C-6F84-460C-9E9A-B319AC79D329}"/>
              </a:ext>
            </a:extLst>
          </p:cNvPr>
          <p:cNvGrpSpPr>
            <a:grpSpLocks noChangeAspect="1"/>
          </p:cNvGrpSpPr>
          <p:nvPr userDrawn="1"/>
        </p:nvGrpSpPr>
        <p:grpSpPr bwMode="ltGray">
          <a:xfrm>
            <a:off x="2740914" y="6417372"/>
            <a:ext cx="394856" cy="373880"/>
            <a:chOff x="-240" y="2757"/>
            <a:chExt cx="960" cy="909"/>
          </a:xfrm>
        </p:grpSpPr>
        <p:sp>
          <p:nvSpPr>
            <p:cNvPr id="23" name="Freeform 5">
              <a:extLst>
                <a:ext uri="{FF2B5EF4-FFF2-40B4-BE49-F238E27FC236}">
                  <a16:creationId xmlns:a16="http://schemas.microsoft.com/office/drawing/2014/main" id="{A33616C8-F276-496E-97F5-626AF1A67BC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5BDB4C95-8B13-42E5-97C9-959C0762DD7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740B257D-609C-4C30-A37B-EDE85750E11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5E5772-7391-4093-8E15-D42F0ACD0E7C}"/>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D3E564C4-9BC2-4793-93C1-7A5968E816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3A103D6D-E496-4AD8-8181-08B1F4D45AC7}"/>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B0CEF7D-62D7-4B16-874C-7D6CF60330FF}"/>
              </a:ext>
            </a:extLst>
          </p:cNvPr>
          <p:cNvPicPr>
            <a:picLocks noChangeAspect="1"/>
          </p:cNvPicPr>
          <p:nvPr userDrawn="1"/>
        </p:nvPicPr>
        <p:blipFill>
          <a:blip r:embed="rId14"/>
          <a:stretch>
            <a:fillRect/>
          </a:stretch>
        </p:blipFill>
        <p:spPr bwMode="ltGray">
          <a:xfrm>
            <a:off x="554736" y="6452601"/>
            <a:ext cx="830881" cy="293716"/>
          </a:xfrm>
          <a:prstGeom prst="rect">
            <a:avLst/>
          </a:prstGeom>
        </p:spPr>
      </p:pic>
      <p:sp>
        <p:nvSpPr>
          <p:cNvPr id="41" name="Documenttype">
            <a:extLst>
              <a:ext uri="{FF2B5EF4-FFF2-40B4-BE49-F238E27FC236}">
                <a16:creationId xmlns:a16="http://schemas.microsoft.com/office/drawing/2014/main" id="{12763D74-A49A-49F7-B301-E70472F864F2}"/>
              </a:ext>
            </a:extLst>
          </p:cNvPr>
          <p:cNvSpPr txBox="1">
            <a:spLocks/>
          </p:cNvSpPr>
          <p:nvPr userDrawn="1">
            <p:custDataLst>
              <p:tags r:id="rId8"/>
            </p:custDataLst>
          </p:nvPr>
        </p:nvSpPr>
        <p:spPr>
          <a:xfrm>
            <a:off x="6385191"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42" name="5. Source" hidden="1">
            <a:extLst>
              <a:ext uri="{FF2B5EF4-FFF2-40B4-BE49-F238E27FC236}">
                <a16:creationId xmlns:a16="http://schemas.microsoft.com/office/drawing/2014/main" id="{7E92BCC7-C8AA-436D-A5D5-738AB904E581}"/>
              </a:ext>
            </a:extLst>
          </p:cNvPr>
          <p:cNvSpPr txBox="1">
            <a:spLocks/>
          </p:cNvSpPr>
          <p:nvPr userDrawn="1">
            <p:custDataLst>
              <p:tags r:id="rId9"/>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67821839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2740914"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4"/>
          <a:stretch>
            <a:fillRect/>
          </a:stretch>
        </p:blipFill>
        <p:spPr bwMode="ltGray">
          <a:xfrm>
            <a:off x="554736" y="6452601"/>
            <a:ext cx="830881" cy="293716"/>
          </a:xfrm>
          <a:prstGeom prst="rect">
            <a:avLst/>
          </a:prstGeom>
        </p:spPr>
      </p:pic>
      <p:sp>
        <p:nvSpPr>
          <p:cNvPr id="43" name="Documenttype">
            <a:extLst>
              <a:ext uri="{FF2B5EF4-FFF2-40B4-BE49-F238E27FC236}">
                <a16:creationId xmlns:a16="http://schemas.microsoft.com/office/drawing/2014/main" id="{3410F8FE-67D8-49B8-982D-C234BB949C86}"/>
              </a:ext>
            </a:extLst>
          </p:cNvPr>
          <p:cNvSpPr txBox="1">
            <a:spLocks/>
          </p:cNvSpPr>
          <p:nvPr userDrawn="1">
            <p:custDataLst>
              <p:tags r:id="rId8"/>
            </p:custDataLst>
          </p:nvPr>
        </p:nvSpPr>
        <p:spPr>
          <a:xfrm>
            <a:off x="3843943"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9"/>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700874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12" name="Slide Number">
            <a:extLst>
              <a:ext uri="{FF2B5EF4-FFF2-40B4-BE49-F238E27FC236}">
                <a16:creationId xmlns:a16="http://schemas.microsoft.com/office/drawing/2014/main" id="{480918F5-69A8-40D4-9A1C-19A48B2E8F78}"/>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C5130BCD-C096-4AD0-81BE-A080EB555E4E}"/>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B9414073-1D27-402B-AF77-887312B36E69}"/>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31267882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4BB34CAF-3D4A-4A48-A97F-048744350F6E}"/>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4" name="Group 4">
            <a:extLst>
              <a:ext uri="{FF2B5EF4-FFF2-40B4-BE49-F238E27FC236}">
                <a16:creationId xmlns:a16="http://schemas.microsoft.com/office/drawing/2014/main" id="{2A80F2F2-115C-4E8E-B9DC-6DD20548D704}"/>
              </a:ext>
            </a:extLst>
          </p:cNvPr>
          <p:cNvGrpSpPr>
            <a:grpSpLocks noChangeAspect="1"/>
          </p:cNvGrpSpPr>
          <p:nvPr userDrawn="1"/>
        </p:nvGrpSpPr>
        <p:grpSpPr bwMode="ltGray">
          <a:xfrm>
            <a:off x="2740914" y="6417372"/>
            <a:ext cx="394856" cy="373880"/>
            <a:chOff x="-240" y="2757"/>
            <a:chExt cx="960" cy="909"/>
          </a:xfrm>
        </p:grpSpPr>
        <p:sp>
          <p:nvSpPr>
            <p:cNvPr id="29" name="Freeform 5">
              <a:extLst>
                <a:ext uri="{FF2B5EF4-FFF2-40B4-BE49-F238E27FC236}">
                  <a16:creationId xmlns:a16="http://schemas.microsoft.com/office/drawing/2014/main" id="{11644F48-425C-46D9-94C1-23978DD0D13C}"/>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Rectangle 6">
              <a:extLst>
                <a:ext uri="{FF2B5EF4-FFF2-40B4-BE49-F238E27FC236}">
                  <a16:creationId xmlns:a16="http://schemas.microsoft.com/office/drawing/2014/main" id="{75CE9D97-8582-48C0-9419-917440456910}"/>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7">
              <a:extLst>
                <a:ext uri="{FF2B5EF4-FFF2-40B4-BE49-F238E27FC236}">
                  <a16:creationId xmlns:a16="http://schemas.microsoft.com/office/drawing/2014/main" id="{E67EF180-B650-4C4A-91F3-F097E0A099E4}"/>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8">
              <a:extLst>
                <a:ext uri="{FF2B5EF4-FFF2-40B4-BE49-F238E27FC236}">
                  <a16:creationId xmlns:a16="http://schemas.microsoft.com/office/drawing/2014/main" id="{3F4879AE-2BA2-4497-B15D-BC59E7461E6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3" name="Freeform 9">
              <a:extLst>
                <a:ext uri="{FF2B5EF4-FFF2-40B4-BE49-F238E27FC236}">
                  <a16:creationId xmlns:a16="http://schemas.microsoft.com/office/drawing/2014/main" id="{CFDF7617-B35D-4046-93A3-76A85D2829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4" name="Picture 720" descr="EDCTP and Africa CDC workshop report on disparities in research funding -  EDCTP">
            <a:extLst>
              <a:ext uri="{FF2B5EF4-FFF2-40B4-BE49-F238E27FC236}">
                <a16:creationId xmlns:a16="http://schemas.microsoft.com/office/drawing/2014/main" id="{814ED359-19C4-4C9A-ADDF-8DC8C13C0852}"/>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899874C-DF8F-4F46-A2EB-C41122F78A75}"/>
              </a:ext>
            </a:extLst>
          </p:cNvPr>
          <p:cNvPicPr>
            <a:picLocks noChangeAspect="1"/>
          </p:cNvPicPr>
          <p:nvPr userDrawn="1"/>
        </p:nvPicPr>
        <p:blipFill>
          <a:blip r:embed="rId14"/>
          <a:stretch>
            <a:fillRect/>
          </a:stretch>
        </p:blipFill>
        <p:spPr bwMode="ltGray">
          <a:xfrm>
            <a:off x="554736" y="6452601"/>
            <a:ext cx="830881" cy="293716"/>
          </a:xfrm>
          <a:prstGeom prst="rect">
            <a:avLst/>
          </a:prstGeom>
        </p:spPr>
      </p:pic>
      <p:sp>
        <p:nvSpPr>
          <p:cNvPr id="38" name="Documenttype">
            <a:extLst>
              <a:ext uri="{FF2B5EF4-FFF2-40B4-BE49-F238E27FC236}">
                <a16:creationId xmlns:a16="http://schemas.microsoft.com/office/drawing/2014/main" id="{06CEDE49-6DB3-4C27-87F8-9E3DB8BC4194}"/>
              </a:ext>
            </a:extLst>
          </p:cNvPr>
          <p:cNvSpPr txBox="1">
            <a:spLocks/>
          </p:cNvSpPr>
          <p:nvPr userDrawn="1">
            <p:custDataLst>
              <p:tags r:id="rId8"/>
            </p:custDataLst>
          </p:nvPr>
        </p:nvSpPr>
        <p:spPr>
          <a:xfrm>
            <a:off x="3843943"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9" name="5. Source" hidden="1">
            <a:extLst>
              <a:ext uri="{FF2B5EF4-FFF2-40B4-BE49-F238E27FC236}">
                <a16:creationId xmlns:a16="http://schemas.microsoft.com/office/drawing/2014/main" id="{B0B197DD-58D4-4FDB-B1A9-FA59611691E7}"/>
              </a:ext>
            </a:extLst>
          </p:cNvPr>
          <p:cNvSpPr txBox="1">
            <a:spLocks/>
          </p:cNvSpPr>
          <p:nvPr userDrawn="1">
            <p:custDataLst>
              <p:tags r:id="rId9"/>
            </p:custDataLst>
          </p:nvPr>
        </p:nvSpPr>
        <p:spPr>
          <a:xfrm>
            <a:off x="554733"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02950588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9" name="Straight Connector 8">
            <a:extLst>
              <a:ext uri="{FF2B5EF4-FFF2-40B4-BE49-F238E27FC236}">
                <a16:creationId xmlns:a16="http://schemas.microsoft.com/office/drawing/2014/main" id="{BC2CB6D3-E8B1-4229-A1B9-B75E7D6E0420}"/>
              </a:ext>
            </a:extLst>
          </p:cNvPr>
          <p:cNvCxnSpPr>
            <a:cxnSpLocks/>
          </p:cNvCxnSpPr>
          <p:nvPr userDrawn="1"/>
        </p:nvCxnSpPr>
        <p:spPr bwMode="ltGray">
          <a:xfrm>
            <a:off x="554736" y="12388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4F9F5BDE-581C-4374-B70C-27D0344EE5B0}"/>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9" name="Group 4">
            <a:extLst>
              <a:ext uri="{FF2B5EF4-FFF2-40B4-BE49-F238E27FC236}">
                <a16:creationId xmlns:a16="http://schemas.microsoft.com/office/drawing/2014/main" id="{341FC139-26C0-428A-9DC5-8A451502DD7A}"/>
              </a:ext>
            </a:extLst>
          </p:cNvPr>
          <p:cNvGrpSpPr>
            <a:grpSpLocks noChangeAspect="1"/>
          </p:cNvGrpSpPr>
          <p:nvPr userDrawn="1"/>
        </p:nvGrpSpPr>
        <p:grpSpPr bwMode="ltGray">
          <a:xfrm>
            <a:off x="2740914" y="6417372"/>
            <a:ext cx="394856" cy="373880"/>
            <a:chOff x="-240" y="2757"/>
            <a:chExt cx="960" cy="909"/>
          </a:xfrm>
        </p:grpSpPr>
        <p:sp>
          <p:nvSpPr>
            <p:cNvPr id="20" name="Freeform 5">
              <a:extLst>
                <a:ext uri="{FF2B5EF4-FFF2-40B4-BE49-F238E27FC236}">
                  <a16:creationId xmlns:a16="http://schemas.microsoft.com/office/drawing/2014/main" id="{57329FBA-126A-4E1D-A53D-36B49F0BA19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2CB24FA4-CB4E-48A9-BAB5-6D243BE23A14}"/>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81CF441F-2F08-469D-9B69-253A5E2C5F5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5B584770-A271-4F31-A098-B5B042A2D27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C18A98AE-A202-476D-AED7-E2B36376F6E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9" name="Picture 720" descr="EDCTP and Africa CDC workshop report on disparities in research funding -  EDCTP">
            <a:extLst>
              <a:ext uri="{FF2B5EF4-FFF2-40B4-BE49-F238E27FC236}">
                <a16:creationId xmlns:a16="http://schemas.microsoft.com/office/drawing/2014/main" id="{A6D66E70-9662-44D7-A1AE-81FDCFDB0A16}"/>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9CA4BC00-CD1D-4AFE-8082-5738A561713E}"/>
              </a:ext>
            </a:extLst>
          </p:cNvPr>
          <p:cNvPicPr>
            <a:picLocks noChangeAspect="1"/>
          </p:cNvPicPr>
          <p:nvPr userDrawn="1"/>
        </p:nvPicPr>
        <p:blipFill>
          <a:blip r:embed="rId12"/>
          <a:stretch>
            <a:fillRect/>
          </a:stretch>
        </p:blipFill>
        <p:spPr bwMode="ltGray">
          <a:xfrm>
            <a:off x="554736" y="6452601"/>
            <a:ext cx="830881" cy="293716"/>
          </a:xfrm>
          <a:prstGeom prst="rect">
            <a:avLst/>
          </a:prstGeom>
        </p:spPr>
      </p:pic>
      <p:sp>
        <p:nvSpPr>
          <p:cNvPr id="31" name="Documenttype">
            <a:extLst>
              <a:ext uri="{FF2B5EF4-FFF2-40B4-BE49-F238E27FC236}">
                <a16:creationId xmlns:a16="http://schemas.microsoft.com/office/drawing/2014/main" id="{E4F7F4B0-2261-499D-96F0-D94031975B49}"/>
              </a:ext>
            </a:extLst>
          </p:cNvPr>
          <p:cNvSpPr txBox="1">
            <a:spLocks/>
          </p:cNvSpPr>
          <p:nvPr userDrawn="1">
            <p:custDataLst>
              <p:tags r:id="rId6"/>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2" name="5. Source" hidden="1">
            <a:extLst>
              <a:ext uri="{FF2B5EF4-FFF2-40B4-BE49-F238E27FC236}">
                <a16:creationId xmlns:a16="http://schemas.microsoft.com/office/drawing/2014/main" id="{64C91C80-6C09-4D3D-856F-40475CD2DD48}"/>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15834250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6DBF7DE7-B91D-4ABB-954A-50FBE28D25BA}"/>
              </a:ext>
            </a:extLst>
          </p:cNvPr>
          <p:cNvSpPr>
            <a:spLocks noChangeArrowheads="1"/>
          </p:cNvSpPr>
          <p:nvPr userDrawn="1">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0" name="Group 4">
            <a:extLst>
              <a:ext uri="{FF2B5EF4-FFF2-40B4-BE49-F238E27FC236}">
                <a16:creationId xmlns:a16="http://schemas.microsoft.com/office/drawing/2014/main" id="{5CC1B763-8C08-49F9-BEC9-5087BB560226}"/>
              </a:ext>
            </a:extLst>
          </p:cNvPr>
          <p:cNvGrpSpPr>
            <a:grpSpLocks noChangeAspect="1"/>
          </p:cNvGrpSpPr>
          <p:nvPr userDrawn="1"/>
        </p:nvGrpSpPr>
        <p:grpSpPr bwMode="ltGray">
          <a:xfrm>
            <a:off x="2740914" y="6417372"/>
            <a:ext cx="394856" cy="373880"/>
            <a:chOff x="-240" y="2757"/>
            <a:chExt cx="960" cy="909"/>
          </a:xfrm>
        </p:grpSpPr>
        <p:sp>
          <p:nvSpPr>
            <p:cNvPr id="11" name="Freeform 5">
              <a:extLst>
                <a:ext uri="{FF2B5EF4-FFF2-40B4-BE49-F238E27FC236}">
                  <a16:creationId xmlns:a16="http://schemas.microsoft.com/office/drawing/2014/main" id="{EA3C5771-FF6B-439E-BBCA-E6C817BB1E7F}"/>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Rectangle 6">
              <a:extLst>
                <a:ext uri="{FF2B5EF4-FFF2-40B4-BE49-F238E27FC236}">
                  <a16:creationId xmlns:a16="http://schemas.microsoft.com/office/drawing/2014/main" id="{01786B40-6CA2-4DEC-805C-762393E1DC16}"/>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3" name="Freeform 7">
              <a:extLst>
                <a:ext uri="{FF2B5EF4-FFF2-40B4-BE49-F238E27FC236}">
                  <a16:creationId xmlns:a16="http://schemas.microsoft.com/office/drawing/2014/main" id="{5E694A86-2684-4105-B2E0-59B7EFF63CB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4" name="Freeform 8">
              <a:extLst>
                <a:ext uri="{FF2B5EF4-FFF2-40B4-BE49-F238E27FC236}">
                  <a16:creationId xmlns:a16="http://schemas.microsoft.com/office/drawing/2014/main" id="{34A7EE5D-12EB-44A4-AF28-C366E13F6991}"/>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5" name="Freeform 9">
              <a:extLst>
                <a:ext uri="{FF2B5EF4-FFF2-40B4-BE49-F238E27FC236}">
                  <a16:creationId xmlns:a16="http://schemas.microsoft.com/office/drawing/2014/main" id="{18810D84-4D21-40C0-953E-91196D5D480C}"/>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 name="Picture 720" descr="EDCTP and Africa CDC workshop report on disparities in research funding -  EDCTP">
            <a:extLst>
              <a:ext uri="{FF2B5EF4-FFF2-40B4-BE49-F238E27FC236}">
                <a16:creationId xmlns:a16="http://schemas.microsoft.com/office/drawing/2014/main" id="{CBCD711D-2D79-4D3B-92B4-9F7E2B664CC6}"/>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FFC9BBF8-E7F9-49B1-BDC0-74C1D3594309}"/>
              </a:ext>
            </a:extLst>
          </p:cNvPr>
          <p:cNvPicPr>
            <a:picLocks noChangeAspect="1"/>
          </p:cNvPicPr>
          <p:nvPr userDrawn="1"/>
        </p:nvPicPr>
        <p:blipFill>
          <a:blip r:embed="rId10"/>
          <a:stretch>
            <a:fillRect/>
          </a:stretch>
        </p:blipFill>
        <p:spPr bwMode="ltGray">
          <a:xfrm>
            <a:off x="554736" y="6452601"/>
            <a:ext cx="830881" cy="293716"/>
          </a:xfrm>
          <a:prstGeom prst="rect">
            <a:avLst/>
          </a:prstGeom>
        </p:spPr>
      </p:pic>
      <p:sp>
        <p:nvSpPr>
          <p:cNvPr id="18" name="Documenttype">
            <a:extLst>
              <a:ext uri="{FF2B5EF4-FFF2-40B4-BE49-F238E27FC236}">
                <a16:creationId xmlns:a16="http://schemas.microsoft.com/office/drawing/2014/main" id="{5080A472-39F7-4622-9EB8-DC9605D41B25}"/>
              </a:ext>
            </a:extLst>
          </p:cNvPr>
          <p:cNvSpPr txBox="1">
            <a:spLocks/>
          </p:cNvSpPr>
          <p:nvPr userDrawn="1">
            <p:custDataLst>
              <p:tags r:id="rId4"/>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19" name="5. Source" hidden="1">
            <a:extLst>
              <a:ext uri="{FF2B5EF4-FFF2-40B4-BE49-F238E27FC236}">
                <a16:creationId xmlns:a16="http://schemas.microsoft.com/office/drawing/2014/main" id="{5593A88A-4833-45F6-99A2-C493C0AB8824}"/>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406204630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F2B5017B-A2A6-4819-847E-4EB745B76E7B}"/>
              </a:ext>
            </a:extLst>
          </p:cNvPr>
          <p:cNvGrpSpPr/>
          <p:nvPr userDrawn="1"/>
        </p:nvGrpSpPr>
        <p:grpSpPr>
          <a:xfrm>
            <a:off x="2666495" y="2810219"/>
            <a:ext cx="6859011" cy="1006245"/>
            <a:chOff x="1193294" y="2810219"/>
            <a:chExt cx="6859011" cy="1006245"/>
          </a:xfrm>
        </p:grpSpPr>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6727" t="9385" r="6805" b="10631"/>
            <a:stretch/>
          </p:blipFill>
          <p:spPr bwMode="ltGray">
            <a:xfrm>
              <a:off x="4210743"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6989604"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7"/>
            <a:stretch>
              <a:fillRect/>
            </a:stretch>
          </p:blipFill>
          <p:spPr bwMode="ltGray">
            <a:xfrm>
              <a:off x="1193294" y="2877126"/>
              <a:ext cx="2467979" cy="872430"/>
            </a:xfrm>
            <a:prstGeom prst="rect">
              <a:avLst/>
            </a:prstGeom>
          </p:spPr>
        </p:pic>
      </p:grpSp>
      <p:sp>
        <p:nvSpPr>
          <p:cNvPr id="15" name="Documenttype">
            <a:extLst>
              <a:ext uri="{FF2B5EF4-FFF2-40B4-BE49-F238E27FC236}">
                <a16:creationId xmlns:a16="http://schemas.microsoft.com/office/drawing/2014/main" id="{0F7CB758-B9E6-4C15-934F-A18C85AE65A1}"/>
              </a:ext>
            </a:extLst>
          </p:cNvPr>
          <p:cNvSpPr txBox="1">
            <a:spLocks/>
          </p:cNvSpPr>
          <p:nvPr userDrawn="1">
            <p:custDataLst>
              <p:tags r:id="rId2"/>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24965125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596223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a:spLocks/>
          </p:cNvSpPr>
          <p:nvPr userDrawn="1">
            <p:custDataLst>
              <p:tags r:id="rId6"/>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22" name="Slide Number">
            <a:extLst>
              <a:ext uri="{FF2B5EF4-FFF2-40B4-BE49-F238E27FC236}">
                <a16:creationId xmlns:a16="http://schemas.microsoft.com/office/drawing/2014/main" id="{01DF17F6-A177-4A80-8EDF-C156E4890AF9}"/>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CD7BC8-0CFB-4A6D-AF2F-E311842E2681}"/>
              </a:ext>
            </a:extLst>
          </p:cNvPr>
          <p:cNvGrpSpPr>
            <a:grpSpLocks noChangeAspect="1"/>
          </p:cNvGrpSpPr>
          <p:nvPr userDrawn="1"/>
        </p:nvGrpSpPr>
        <p:grpSpPr bwMode="ltGray">
          <a:xfrm>
            <a:off x="2740914" y="6417372"/>
            <a:ext cx="394856" cy="373880"/>
            <a:chOff x="-240" y="2757"/>
            <a:chExt cx="960" cy="909"/>
          </a:xfrm>
        </p:grpSpPr>
        <p:sp>
          <p:nvSpPr>
            <p:cNvPr id="24" name="Freeform 5">
              <a:extLst>
                <a:ext uri="{FF2B5EF4-FFF2-40B4-BE49-F238E27FC236}">
                  <a16:creationId xmlns:a16="http://schemas.microsoft.com/office/drawing/2014/main" id="{CDA520CE-B57D-4908-AC54-B751FAA55BA3}"/>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A6415853-B919-48AF-8EA1-9750E295492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E9B903A0-BED4-42AA-A860-81A990A84AF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58DCE238-9D37-4CA9-8561-9B2A9C25FA2B}"/>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9" name="Freeform 9">
              <a:extLst>
                <a:ext uri="{FF2B5EF4-FFF2-40B4-BE49-F238E27FC236}">
                  <a16:creationId xmlns:a16="http://schemas.microsoft.com/office/drawing/2014/main" id="{728F7238-72E1-4E05-AFEC-71D7D90BB9BD}"/>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3" name="Picture 720" descr="EDCTP and Africa CDC workshop report on disparities in research funding -  EDCTP">
            <a:extLst>
              <a:ext uri="{FF2B5EF4-FFF2-40B4-BE49-F238E27FC236}">
                <a16:creationId xmlns:a16="http://schemas.microsoft.com/office/drawing/2014/main" id="{71E62FB3-ED30-4F12-AB15-844350B2A063}"/>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97C993D5-396D-462A-90EB-85623CE5B9BD}"/>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5" name="Documenttype">
            <a:extLst>
              <a:ext uri="{FF2B5EF4-FFF2-40B4-BE49-F238E27FC236}">
                <a16:creationId xmlns:a16="http://schemas.microsoft.com/office/drawing/2014/main" id="{FF12C14D-9D21-4064-B677-D713F6B73AE8}"/>
              </a:ext>
            </a:extLst>
          </p:cNvPr>
          <p:cNvSpPr txBox="1">
            <a:spLocks/>
          </p:cNvSpPr>
          <p:nvPr userDrawn="1">
            <p:custDataLst>
              <p:tags r:id="rId9"/>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41998185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80119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a:spLocks/>
          </p:cNvSpPr>
          <p:nvPr userDrawn="1">
            <p:custDataLst>
              <p:tags r:id="rId6"/>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26" name="Slide Number">
            <a:extLst>
              <a:ext uri="{FF2B5EF4-FFF2-40B4-BE49-F238E27FC236}">
                <a16:creationId xmlns:a16="http://schemas.microsoft.com/office/drawing/2014/main" id="{7676D513-88A0-44E6-ABEC-A1C095B29926}"/>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7" name="Group 4">
            <a:extLst>
              <a:ext uri="{FF2B5EF4-FFF2-40B4-BE49-F238E27FC236}">
                <a16:creationId xmlns:a16="http://schemas.microsoft.com/office/drawing/2014/main" id="{743FB78D-E30E-4E65-ABF6-3A459353F882}"/>
              </a:ext>
            </a:extLst>
          </p:cNvPr>
          <p:cNvGrpSpPr>
            <a:grpSpLocks noChangeAspect="1"/>
          </p:cNvGrpSpPr>
          <p:nvPr userDrawn="1"/>
        </p:nvGrpSpPr>
        <p:grpSpPr bwMode="ltGray">
          <a:xfrm>
            <a:off x="2740914" y="6417372"/>
            <a:ext cx="394856" cy="373880"/>
            <a:chOff x="-240" y="2757"/>
            <a:chExt cx="960" cy="909"/>
          </a:xfrm>
        </p:grpSpPr>
        <p:sp>
          <p:nvSpPr>
            <p:cNvPr id="28" name="Freeform 5">
              <a:extLst>
                <a:ext uri="{FF2B5EF4-FFF2-40B4-BE49-F238E27FC236}">
                  <a16:creationId xmlns:a16="http://schemas.microsoft.com/office/drawing/2014/main" id="{08E8161C-738C-4D83-B9F5-B53611C0B6BF}"/>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9" name="Rectangle 6">
              <a:extLst>
                <a:ext uri="{FF2B5EF4-FFF2-40B4-BE49-F238E27FC236}">
                  <a16:creationId xmlns:a16="http://schemas.microsoft.com/office/drawing/2014/main" id="{153BD764-C54E-4A84-A3CB-75E5A27B7B46}"/>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Freeform 7">
              <a:extLst>
                <a:ext uri="{FF2B5EF4-FFF2-40B4-BE49-F238E27FC236}">
                  <a16:creationId xmlns:a16="http://schemas.microsoft.com/office/drawing/2014/main" id="{6A0581CF-0E24-4046-92B3-E4131A543BC2}"/>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8">
              <a:extLst>
                <a:ext uri="{FF2B5EF4-FFF2-40B4-BE49-F238E27FC236}">
                  <a16:creationId xmlns:a16="http://schemas.microsoft.com/office/drawing/2014/main" id="{0DCC0A9B-07F5-4FDB-A4AD-788DC04C7A4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9">
              <a:extLst>
                <a:ext uri="{FF2B5EF4-FFF2-40B4-BE49-F238E27FC236}">
                  <a16:creationId xmlns:a16="http://schemas.microsoft.com/office/drawing/2014/main" id="{11276EE1-6447-4A5D-9512-B2070BC1A75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3" name="Picture 720" descr="EDCTP and Africa CDC workshop report on disparities in research funding -  EDCTP">
            <a:extLst>
              <a:ext uri="{FF2B5EF4-FFF2-40B4-BE49-F238E27FC236}">
                <a16:creationId xmlns:a16="http://schemas.microsoft.com/office/drawing/2014/main" id="{591C7F33-3592-4C16-92FC-B757C2FCBADD}"/>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7D14B1DC-1AFC-49C3-860D-7B5B7251A364}"/>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5" name="Documenttype">
            <a:extLst>
              <a:ext uri="{FF2B5EF4-FFF2-40B4-BE49-F238E27FC236}">
                <a16:creationId xmlns:a16="http://schemas.microsoft.com/office/drawing/2014/main" id="{064DB36C-B96E-4144-A3D0-BE01C60EBB78}"/>
              </a:ext>
            </a:extLst>
          </p:cNvPr>
          <p:cNvSpPr txBox="1">
            <a:spLocks/>
          </p:cNvSpPr>
          <p:nvPr userDrawn="1">
            <p:custDataLst>
              <p:tags r:id="rId9"/>
            </p:custDataLst>
          </p:nvPr>
        </p:nvSpPr>
        <p:spPr>
          <a:xfrm>
            <a:off x="6385191"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428695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22497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noAutofit/>
          </a:bodyPr>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0783"/>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a:spLocks/>
          </p:cNvSpPr>
          <p:nvPr userDrawn="1">
            <p:custDataLst>
              <p:tags r:id="rId6"/>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26" name="Slide Number">
            <a:extLst>
              <a:ext uri="{FF2B5EF4-FFF2-40B4-BE49-F238E27FC236}">
                <a16:creationId xmlns:a16="http://schemas.microsoft.com/office/drawing/2014/main" id="{0912EF7F-8433-4314-84D8-F5D764C93962}"/>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7" name="Group 4">
            <a:extLst>
              <a:ext uri="{FF2B5EF4-FFF2-40B4-BE49-F238E27FC236}">
                <a16:creationId xmlns:a16="http://schemas.microsoft.com/office/drawing/2014/main" id="{95214689-6D75-444E-8C49-9A920E7FEB6A}"/>
              </a:ext>
            </a:extLst>
          </p:cNvPr>
          <p:cNvGrpSpPr>
            <a:grpSpLocks noChangeAspect="1"/>
          </p:cNvGrpSpPr>
          <p:nvPr userDrawn="1"/>
        </p:nvGrpSpPr>
        <p:grpSpPr bwMode="ltGray">
          <a:xfrm>
            <a:off x="2740914" y="6417372"/>
            <a:ext cx="394856" cy="373880"/>
            <a:chOff x="-240" y="2757"/>
            <a:chExt cx="960" cy="909"/>
          </a:xfrm>
        </p:grpSpPr>
        <p:sp>
          <p:nvSpPr>
            <p:cNvPr id="28" name="Freeform 5">
              <a:extLst>
                <a:ext uri="{FF2B5EF4-FFF2-40B4-BE49-F238E27FC236}">
                  <a16:creationId xmlns:a16="http://schemas.microsoft.com/office/drawing/2014/main" id="{AA169C45-0770-4862-9B1D-1940141677A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9" name="Rectangle 6">
              <a:extLst>
                <a:ext uri="{FF2B5EF4-FFF2-40B4-BE49-F238E27FC236}">
                  <a16:creationId xmlns:a16="http://schemas.microsoft.com/office/drawing/2014/main" id="{963973D4-DBE6-42DA-9A3D-5ADCE3CF325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Freeform 7">
              <a:extLst>
                <a:ext uri="{FF2B5EF4-FFF2-40B4-BE49-F238E27FC236}">
                  <a16:creationId xmlns:a16="http://schemas.microsoft.com/office/drawing/2014/main" id="{BCB22721-99E1-48F7-B384-3D503CD5C5D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8">
              <a:extLst>
                <a:ext uri="{FF2B5EF4-FFF2-40B4-BE49-F238E27FC236}">
                  <a16:creationId xmlns:a16="http://schemas.microsoft.com/office/drawing/2014/main" id="{025A8A8C-C190-4B78-950B-5F42C79ED14D}"/>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9">
              <a:extLst>
                <a:ext uri="{FF2B5EF4-FFF2-40B4-BE49-F238E27FC236}">
                  <a16:creationId xmlns:a16="http://schemas.microsoft.com/office/drawing/2014/main" id="{54342D4D-F4C2-4E0B-96E1-33F543EB68B7}"/>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3" name="Picture 720" descr="EDCTP and Africa CDC workshop report on disparities in research funding -  EDCTP">
            <a:extLst>
              <a:ext uri="{FF2B5EF4-FFF2-40B4-BE49-F238E27FC236}">
                <a16:creationId xmlns:a16="http://schemas.microsoft.com/office/drawing/2014/main" id="{BAB83A2B-0361-4514-9C87-BC479F4723B1}"/>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7E0356D3-EFB3-44B1-9A7D-4A7481D943CA}"/>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5" name="Documenttype">
            <a:extLst>
              <a:ext uri="{FF2B5EF4-FFF2-40B4-BE49-F238E27FC236}">
                <a16:creationId xmlns:a16="http://schemas.microsoft.com/office/drawing/2014/main" id="{F160B4EC-BCA3-44C6-9C18-131AEFA5E40B}"/>
              </a:ext>
            </a:extLst>
          </p:cNvPr>
          <p:cNvSpPr txBox="1">
            <a:spLocks/>
          </p:cNvSpPr>
          <p:nvPr userDrawn="1">
            <p:custDataLst>
              <p:tags r:id="rId9"/>
            </p:custDataLst>
          </p:nvPr>
        </p:nvSpPr>
        <p:spPr>
          <a:xfrm>
            <a:off x="6385191"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16877398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712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2"/>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a:spLocks/>
          </p:cNvSpPr>
          <p:nvPr userDrawn="1">
            <p:custDataLst>
              <p:tags r:id="rId6"/>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26" name="Slide Number">
            <a:extLst>
              <a:ext uri="{FF2B5EF4-FFF2-40B4-BE49-F238E27FC236}">
                <a16:creationId xmlns:a16="http://schemas.microsoft.com/office/drawing/2014/main" id="{61BF3900-D74C-4F76-90EB-424B565E9F74}"/>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7" name="Group 4">
            <a:extLst>
              <a:ext uri="{FF2B5EF4-FFF2-40B4-BE49-F238E27FC236}">
                <a16:creationId xmlns:a16="http://schemas.microsoft.com/office/drawing/2014/main" id="{ACC72846-ACD3-481E-99CF-997C63D48A9F}"/>
              </a:ext>
            </a:extLst>
          </p:cNvPr>
          <p:cNvGrpSpPr>
            <a:grpSpLocks noChangeAspect="1"/>
          </p:cNvGrpSpPr>
          <p:nvPr userDrawn="1"/>
        </p:nvGrpSpPr>
        <p:grpSpPr bwMode="ltGray">
          <a:xfrm>
            <a:off x="2740914" y="6417372"/>
            <a:ext cx="394856" cy="373880"/>
            <a:chOff x="-240" y="2757"/>
            <a:chExt cx="960" cy="909"/>
          </a:xfrm>
        </p:grpSpPr>
        <p:sp>
          <p:nvSpPr>
            <p:cNvPr id="28" name="Freeform 5">
              <a:extLst>
                <a:ext uri="{FF2B5EF4-FFF2-40B4-BE49-F238E27FC236}">
                  <a16:creationId xmlns:a16="http://schemas.microsoft.com/office/drawing/2014/main" id="{A48EC0A3-6F49-407F-9F88-CEAA2D14E129}"/>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9" name="Rectangle 6">
              <a:extLst>
                <a:ext uri="{FF2B5EF4-FFF2-40B4-BE49-F238E27FC236}">
                  <a16:creationId xmlns:a16="http://schemas.microsoft.com/office/drawing/2014/main" id="{E81057B3-C05B-47A7-918C-C798C51F48FB}"/>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Freeform 7">
              <a:extLst>
                <a:ext uri="{FF2B5EF4-FFF2-40B4-BE49-F238E27FC236}">
                  <a16:creationId xmlns:a16="http://schemas.microsoft.com/office/drawing/2014/main" id="{0F3D6906-0B0F-4CBA-B1DB-B111951F944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8">
              <a:extLst>
                <a:ext uri="{FF2B5EF4-FFF2-40B4-BE49-F238E27FC236}">
                  <a16:creationId xmlns:a16="http://schemas.microsoft.com/office/drawing/2014/main" id="{0462860F-F7D7-4558-B157-9E32124A1E13}"/>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9">
              <a:extLst>
                <a:ext uri="{FF2B5EF4-FFF2-40B4-BE49-F238E27FC236}">
                  <a16:creationId xmlns:a16="http://schemas.microsoft.com/office/drawing/2014/main" id="{C516696B-C2D1-45D7-88F0-74D8A1D15B2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3" name="Picture 720" descr="EDCTP and Africa CDC workshop report on disparities in research funding -  EDCTP">
            <a:extLst>
              <a:ext uri="{FF2B5EF4-FFF2-40B4-BE49-F238E27FC236}">
                <a16:creationId xmlns:a16="http://schemas.microsoft.com/office/drawing/2014/main" id="{DA37F7D5-EB0B-4C0D-B3C4-8ECE404AA91F}"/>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FC58291A-5131-4D1A-968A-8EA7CA6A8554}"/>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5" name="Documenttype">
            <a:extLst>
              <a:ext uri="{FF2B5EF4-FFF2-40B4-BE49-F238E27FC236}">
                <a16:creationId xmlns:a16="http://schemas.microsoft.com/office/drawing/2014/main" id="{7E657D58-1F74-4500-9E8E-F58DAD7FFDB2}"/>
              </a:ext>
            </a:extLst>
          </p:cNvPr>
          <p:cNvSpPr txBox="1">
            <a:spLocks/>
          </p:cNvSpPr>
          <p:nvPr userDrawn="1">
            <p:custDataLst>
              <p:tags r:id="rId9"/>
            </p:custDataLst>
          </p:nvPr>
        </p:nvSpPr>
        <p:spPr>
          <a:xfrm>
            <a:off x="3843943"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34234228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4098802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7918704" cy="731520"/>
          </a:xfrm>
        </p:spPr>
        <p:txBody>
          <a:bodyPr vert="horz"/>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a:spLocks/>
          </p:cNvSpPr>
          <p:nvPr userDrawn="1">
            <p:custDataLst>
              <p:tags r:id="rId6"/>
            </p:custDataLst>
          </p:nvPr>
        </p:nvSpPr>
        <p:spPr>
          <a:xfrm>
            <a:off x="554732"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27" name="Slide Number">
            <a:extLst>
              <a:ext uri="{FF2B5EF4-FFF2-40B4-BE49-F238E27FC236}">
                <a16:creationId xmlns:a16="http://schemas.microsoft.com/office/drawing/2014/main" id="{B52B29E9-2B7F-43A3-BA54-EA65AEDDC27B}"/>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8" name="Group 4">
            <a:extLst>
              <a:ext uri="{FF2B5EF4-FFF2-40B4-BE49-F238E27FC236}">
                <a16:creationId xmlns:a16="http://schemas.microsoft.com/office/drawing/2014/main" id="{AEC37CC3-59E6-4EB8-8B2E-4B64575631AE}"/>
              </a:ext>
            </a:extLst>
          </p:cNvPr>
          <p:cNvGrpSpPr>
            <a:grpSpLocks noChangeAspect="1"/>
          </p:cNvGrpSpPr>
          <p:nvPr userDrawn="1"/>
        </p:nvGrpSpPr>
        <p:grpSpPr bwMode="ltGray">
          <a:xfrm>
            <a:off x="2740914" y="6417372"/>
            <a:ext cx="394856" cy="373880"/>
            <a:chOff x="-240" y="2757"/>
            <a:chExt cx="960" cy="909"/>
          </a:xfrm>
        </p:grpSpPr>
        <p:sp>
          <p:nvSpPr>
            <p:cNvPr id="29" name="Freeform 5">
              <a:extLst>
                <a:ext uri="{FF2B5EF4-FFF2-40B4-BE49-F238E27FC236}">
                  <a16:creationId xmlns:a16="http://schemas.microsoft.com/office/drawing/2014/main" id="{B00F7785-298D-47FB-9133-1C349B72D7C7}"/>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Rectangle 6">
              <a:extLst>
                <a:ext uri="{FF2B5EF4-FFF2-40B4-BE49-F238E27FC236}">
                  <a16:creationId xmlns:a16="http://schemas.microsoft.com/office/drawing/2014/main" id="{8F707A0C-E597-44A7-8FE6-DD420F0B7B6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7">
              <a:extLst>
                <a:ext uri="{FF2B5EF4-FFF2-40B4-BE49-F238E27FC236}">
                  <a16:creationId xmlns:a16="http://schemas.microsoft.com/office/drawing/2014/main" id="{D2EF6FC1-720A-4150-B2EF-E6F86F312CE0}"/>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8">
              <a:extLst>
                <a:ext uri="{FF2B5EF4-FFF2-40B4-BE49-F238E27FC236}">
                  <a16:creationId xmlns:a16="http://schemas.microsoft.com/office/drawing/2014/main" id="{A7141B71-F19B-4AF3-AF73-DACAF546D84B}"/>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3" name="Freeform 9">
              <a:extLst>
                <a:ext uri="{FF2B5EF4-FFF2-40B4-BE49-F238E27FC236}">
                  <a16:creationId xmlns:a16="http://schemas.microsoft.com/office/drawing/2014/main" id="{214DA53C-5142-4BD8-9090-AFE513F0A7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4" name="Picture 720" descr="EDCTP and Africa CDC workshop report on disparities in research funding -  EDCTP">
            <a:extLst>
              <a:ext uri="{FF2B5EF4-FFF2-40B4-BE49-F238E27FC236}">
                <a16:creationId xmlns:a16="http://schemas.microsoft.com/office/drawing/2014/main" id="{0084D3BC-1E1B-4046-92B5-F2407D59BDE9}"/>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55A66F6B-7049-430B-A8DF-2E404D816BB0}"/>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6" name="Documenttype">
            <a:extLst>
              <a:ext uri="{FF2B5EF4-FFF2-40B4-BE49-F238E27FC236}">
                <a16:creationId xmlns:a16="http://schemas.microsoft.com/office/drawing/2014/main" id="{BD07D671-2928-4D0A-99C2-BC221A21D33F}"/>
              </a:ext>
            </a:extLst>
          </p:cNvPr>
          <p:cNvSpPr txBox="1">
            <a:spLocks/>
          </p:cNvSpPr>
          <p:nvPr userDrawn="1">
            <p:custDataLst>
              <p:tags r:id="rId9"/>
            </p:custDataLst>
          </p:nvPr>
        </p:nvSpPr>
        <p:spPr>
          <a:xfrm>
            <a:off x="3843943"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1791182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930449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sp>
        <p:nvSpPr>
          <p:cNvPr id="23" name="Slide Number">
            <a:extLst>
              <a:ext uri="{FF2B5EF4-FFF2-40B4-BE49-F238E27FC236}">
                <a16:creationId xmlns:a16="http://schemas.microsoft.com/office/drawing/2014/main" id="{08BCE09A-B083-4E5A-A966-29D20BC2295C}"/>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45" name="Documenttype">
            <a:extLst>
              <a:ext uri="{FF2B5EF4-FFF2-40B4-BE49-F238E27FC236}">
                <a16:creationId xmlns:a16="http://schemas.microsoft.com/office/drawing/2014/main" id="{7BABD58C-917F-491B-A36B-42D5CED0D643}"/>
              </a:ext>
            </a:extLst>
          </p:cNvPr>
          <p:cNvSpPr txBox="1">
            <a:spLocks/>
          </p:cNvSpPr>
          <p:nvPr userDrawn="1">
            <p:custDataLst>
              <p:tags r:id="rId8"/>
            </p:custDataLst>
          </p:nvPr>
        </p:nvSpPr>
        <p:spPr>
          <a:xfrm>
            <a:off x="6385191"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grpSp>
        <p:nvGrpSpPr>
          <p:cNvPr id="46" name="Group 45">
            <a:extLst>
              <a:ext uri="{FF2B5EF4-FFF2-40B4-BE49-F238E27FC236}">
                <a16:creationId xmlns:a16="http://schemas.microsoft.com/office/drawing/2014/main" id="{E40DD9B3-FD25-4432-AFC1-48B4C21BC820}"/>
              </a:ext>
            </a:extLst>
          </p:cNvPr>
          <p:cNvGrpSpPr>
            <a:grpSpLocks/>
          </p:cNvGrpSpPr>
          <p:nvPr userDrawn="1"/>
        </p:nvGrpSpPr>
        <p:grpSpPr>
          <a:xfrm>
            <a:off x="2740914" y="6417372"/>
            <a:ext cx="394856" cy="373880"/>
            <a:chOff x="11105270" y="6244071"/>
            <a:chExt cx="480234" cy="454722"/>
          </a:xfrm>
        </p:grpSpPr>
        <p:sp>
          <p:nvSpPr>
            <p:cNvPr id="47" name="Freeform 5">
              <a:extLst>
                <a:ext uri="{FF2B5EF4-FFF2-40B4-BE49-F238E27FC236}">
                  <a16:creationId xmlns:a16="http://schemas.microsoft.com/office/drawing/2014/main" id="{8178402E-3BE5-4FCA-9806-0F8DB3DA482F}"/>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48" name="Rectangle 6">
              <a:extLst>
                <a:ext uri="{FF2B5EF4-FFF2-40B4-BE49-F238E27FC236}">
                  <a16:creationId xmlns:a16="http://schemas.microsoft.com/office/drawing/2014/main" id="{6DB63118-878F-4ABF-AFCD-D4E81F036E38}"/>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49" name="Freeform 7">
              <a:extLst>
                <a:ext uri="{FF2B5EF4-FFF2-40B4-BE49-F238E27FC236}">
                  <a16:creationId xmlns:a16="http://schemas.microsoft.com/office/drawing/2014/main" id="{2BA1FC94-80EB-4CC9-8713-9999D85FF46E}"/>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50" name="Freeform 8">
              <a:extLst>
                <a:ext uri="{FF2B5EF4-FFF2-40B4-BE49-F238E27FC236}">
                  <a16:creationId xmlns:a16="http://schemas.microsoft.com/office/drawing/2014/main" id="{78B048D1-A767-4D9B-B12D-2CCCF13A011A}"/>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51" name="Freeform 9">
              <a:extLst>
                <a:ext uri="{FF2B5EF4-FFF2-40B4-BE49-F238E27FC236}">
                  <a16:creationId xmlns:a16="http://schemas.microsoft.com/office/drawing/2014/main" id="{DB48239B-1038-4120-BDE0-4AD67809CAA0}"/>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grpSp>
        <p:nvGrpSpPr>
          <p:cNvPr id="52" name="Group 51">
            <a:extLst>
              <a:ext uri="{FF2B5EF4-FFF2-40B4-BE49-F238E27FC236}">
                <a16:creationId xmlns:a16="http://schemas.microsoft.com/office/drawing/2014/main" id="{DACF5643-B643-40B3-821B-8E3C25BA0250}"/>
              </a:ext>
            </a:extLst>
          </p:cNvPr>
          <p:cNvGrpSpPr>
            <a:grpSpLocks/>
          </p:cNvGrpSpPr>
          <p:nvPr userDrawn="1"/>
        </p:nvGrpSpPr>
        <p:grpSpPr bwMode="invGray">
          <a:xfrm>
            <a:off x="1608225" y="6435948"/>
            <a:ext cx="910081" cy="356143"/>
            <a:chOff x="9865218" y="6365207"/>
            <a:chExt cx="1011183" cy="395706"/>
          </a:xfrm>
        </p:grpSpPr>
        <p:pic>
          <p:nvPicPr>
            <p:cNvPr id="53" name="Picture 52" descr="EDCTP and Africa CDC workshop report on disparities in research funding -  EDCTP">
              <a:extLst>
                <a:ext uri="{FF2B5EF4-FFF2-40B4-BE49-F238E27FC236}">
                  <a16:creationId xmlns:a16="http://schemas.microsoft.com/office/drawing/2014/main" id="{1DAC3DD7-D1BC-467A-99AA-565926A3CDAF}"/>
                </a:ext>
              </a:extLst>
            </p:cNvPr>
            <p:cNvPicPr>
              <a:picLocks noChangeAspect="1" noChangeArrowheads="1"/>
            </p:cNvPicPr>
            <p:nvPr userDrawn="1"/>
          </p:nvPicPr>
          <p:blipFill rotWithShape="1">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54" name="Picture 53" descr="EDCTP and Africa CDC workshop report on disparities in research funding -  EDCTP">
              <a:extLst>
                <a:ext uri="{FF2B5EF4-FFF2-40B4-BE49-F238E27FC236}">
                  <a16:creationId xmlns:a16="http://schemas.microsoft.com/office/drawing/2014/main" id="{B7E9A4DC-47C4-4BD9-B494-73B10E463D14}"/>
                </a:ext>
              </a:extLst>
            </p:cNvPr>
            <p:cNvPicPr>
              <a:picLocks noChangeAspect="1" noChangeArrowheads="1"/>
            </p:cNvPicPr>
            <p:nvPr userDrawn="1"/>
          </p:nvPicPr>
          <p:blipFill rotWithShape="1">
            <a:blip r:embed="rId15"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55" name="Group 54">
            <a:extLst>
              <a:ext uri="{FF2B5EF4-FFF2-40B4-BE49-F238E27FC236}">
                <a16:creationId xmlns:a16="http://schemas.microsoft.com/office/drawing/2014/main" id="{BE0141F5-FBDB-43F9-913B-9CE6DA6AB44C}"/>
              </a:ext>
            </a:extLst>
          </p:cNvPr>
          <p:cNvGrpSpPr>
            <a:grpSpLocks/>
          </p:cNvGrpSpPr>
          <p:nvPr userDrawn="1"/>
        </p:nvGrpSpPr>
        <p:grpSpPr>
          <a:xfrm>
            <a:off x="554736" y="6452601"/>
            <a:ext cx="830881" cy="293716"/>
            <a:chOff x="10483273" y="6554997"/>
            <a:chExt cx="638090" cy="225564"/>
          </a:xfrm>
        </p:grpSpPr>
        <p:pic>
          <p:nvPicPr>
            <p:cNvPr id="56" name="Picture 55">
              <a:extLst>
                <a:ext uri="{FF2B5EF4-FFF2-40B4-BE49-F238E27FC236}">
                  <a16:creationId xmlns:a16="http://schemas.microsoft.com/office/drawing/2014/main" id="{605073CD-868D-4C1B-A328-D98E6AF8F635}"/>
                </a:ext>
              </a:extLst>
            </p:cNvPr>
            <p:cNvPicPr>
              <a:picLocks noChangeAspect="1"/>
            </p:cNvPicPr>
            <p:nvPr userDrawn="1"/>
          </p:nvPicPr>
          <p:blipFill rotWithShape="1">
            <a:blip r:embed="rId16"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57" name="Picture 56">
              <a:extLst>
                <a:ext uri="{FF2B5EF4-FFF2-40B4-BE49-F238E27FC236}">
                  <a16:creationId xmlns:a16="http://schemas.microsoft.com/office/drawing/2014/main" id="{A7639BDE-9A07-4A20-87D1-89720D1EB928}"/>
                </a:ext>
              </a:extLst>
            </p:cNvPr>
            <p:cNvPicPr>
              <a:picLocks noChangeAspect="1"/>
            </p:cNvPicPr>
            <p:nvPr userDrawn="1"/>
          </p:nvPicPr>
          <p:blipFill rotWithShape="1">
            <a:blip r:embed="rId17" cstate="email">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58" name="5. Source" hidden="1">
            <a:extLst>
              <a:ext uri="{FF2B5EF4-FFF2-40B4-BE49-F238E27FC236}">
                <a16:creationId xmlns:a16="http://schemas.microsoft.com/office/drawing/2014/main" id="{93B74E5E-50E7-4202-BB91-0B4B6FBEAFC3}"/>
              </a:ext>
            </a:extLst>
          </p:cNvPr>
          <p:cNvSpPr txBox="1">
            <a:spLocks/>
          </p:cNvSpPr>
          <p:nvPr userDrawn="1">
            <p:custDataLst>
              <p:tags r:id="rId9"/>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6178739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649596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35" name="Slide Number">
            <a:extLst>
              <a:ext uri="{FF2B5EF4-FFF2-40B4-BE49-F238E27FC236}">
                <a16:creationId xmlns:a16="http://schemas.microsoft.com/office/drawing/2014/main" id="{C2A29702-11D5-4943-862F-99BA9BC3130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44" name="Documenttype">
            <a:extLst>
              <a:ext uri="{FF2B5EF4-FFF2-40B4-BE49-F238E27FC236}">
                <a16:creationId xmlns:a16="http://schemas.microsoft.com/office/drawing/2014/main" id="{2341CC38-5FA8-4E1D-A9EE-9C5D7FE50542}"/>
              </a:ext>
            </a:extLst>
          </p:cNvPr>
          <p:cNvSpPr txBox="1">
            <a:spLocks/>
          </p:cNvSpPr>
          <p:nvPr userDrawn="1">
            <p:custDataLst>
              <p:tags r:id="rId8"/>
            </p:custDataLst>
          </p:nvPr>
        </p:nvSpPr>
        <p:spPr>
          <a:xfrm>
            <a:off x="6385191"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grpSp>
        <p:nvGrpSpPr>
          <p:cNvPr id="45" name="Group 44">
            <a:extLst>
              <a:ext uri="{FF2B5EF4-FFF2-40B4-BE49-F238E27FC236}">
                <a16:creationId xmlns:a16="http://schemas.microsoft.com/office/drawing/2014/main" id="{6447315E-6C7F-4330-8774-CF9B0D74E51B}"/>
              </a:ext>
            </a:extLst>
          </p:cNvPr>
          <p:cNvGrpSpPr>
            <a:grpSpLocks/>
          </p:cNvGrpSpPr>
          <p:nvPr userDrawn="1"/>
        </p:nvGrpSpPr>
        <p:grpSpPr>
          <a:xfrm>
            <a:off x="2740914" y="6417372"/>
            <a:ext cx="394856" cy="373880"/>
            <a:chOff x="11105270" y="6244071"/>
            <a:chExt cx="480234" cy="454722"/>
          </a:xfrm>
        </p:grpSpPr>
        <p:sp>
          <p:nvSpPr>
            <p:cNvPr id="46" name="Freeform 5">
              <a:extLst>
                <a:ext uri="{FF2B5EF4-FFF2-40B4-BE49-F238E27FC236}">
                  <a16:creationId xmlns:a16="http://schemas.microsoft.com/office/drawing/2014/main" id="{54B7C7C8-BEBC-4F71-A4EE-D0C8D260F811}"/>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47" name="Rectangle 6">
              <a:extLst>
                <a:ext uri="{FF2B5EF4-FFF2-40B4-BE49-F238E27FC236}">
                  <a16:creationId xmlns:a16="http://schemas.microsoft.com/office/drawing/2014/main" id="{48D5E113-F2CD-4A7A-BD13-8B9D207606D9}"/>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48" name="Freeform 7">
              <a:extLst>
                <a:ext uri="{FF2B5EF4-FFF2-40B4-BE49-F238E27FC236}">
                  <a16:creationId xmlns:a16="http://schemas.microsoft.com/office/drawing/2014/main" id="{C2852648-C69C-4719-9CCD-AAAF2E9B8FA0}"/>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49" name="Freeform 8">
              <a:extLst>
                <a:ext uri="{FF2B5EF4-FFF2-40B4-BE49-F238E27FC236}">
                  <a16:creationId xmlns:a16="http://schemas.microsoft.com/office/drawing/2014/main" id="{46834845-6FCC-47F6-8378-57A090005F81}"/>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50" name="Freeform 9">
              <a:extLst>
                <a:ext uri="{FF2B5EF4-FFF2-40B4-BE49-F238E27FC236}">
                  <a16:creationId xmlns:a16="http://schemas.microsoft.com/office/drawing/2014/main" id="{E9A71C48-9F02-404A-B400-D9DD620F08F9}"/>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grpSp>
        <p:nvGrpSpPr>
          <p:cNvPr id="51" name="Group 50">
            <a:extLst>
              <a:ext uri="{FF2B5EF4-FFF2-40B4-BE49-F238E27FC236}">
                <a16:creationId xmlns:a16="http://schemas.microsoft.com/office/drawing/2014/main" id="{B2406E76-3317-453F-808F-FDE49FEDC739}"/>
              </a:ext>
            </a:extLst>
          </p:cNvPr>
          <p:cNvGrpSpPr>
            <a:grpSpLocks/>
          </p:cNvGrpSpPr>
          <p:nvPr userDrawn="1"/>
        </p:nvGrpSpPr>
        <p:grpSpPr bwMode="invGray">
          <a:xfrm>
            <a:off x="1608225" y="6435948"/>
            <a:ext cx="910081" cy="356143"/>
            <a:chOff x="9865218" y="6365207"/>
            <a:chExt cx="1011183" cy="395706"/>
          </a:xfrm>
        </p:grpSpPr>
        <p:pic>
          <p:nvPicPr>
            <p:cNvPr id="52" name="Picture 51" descr="EDCTP and Africa CDC workshop report on disparities in research funding -  EDCTP">
              <a:extLst>
                <a:ext uri="{FF2B5EF4-FFF2-40B4-BE49-F238E27FC236}">
                  <a16:creationId xmlns:a16="http://schemas.microsoft.com/office/drawing/2014/main" id="{A6BE662E-965E-48AA-A26D-C507F693ABF1}"/>
                </a:ext>
              </a:extLst>
            </p:cNvPr>
            <p:cNvPicPr>
              <a:picLocks noChangeAspect="1" noChangeArrowheads="1"/>
            </p:cNvPicPr>
            <p:nvPr userDrawn="1"/>
          </p:nvPicPr>
          <p:blipFill rotWithShape="1">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53" name="Picture 52" descr="EDCTP and Africa CDC workshop report on disparities in research funding -  EDCTP">
              <a:extLst>
                <a:ext uri="{FF2B5EF4-FFF2-40B4-BE49-F238E27FC236}">
                  <a16:creationId xmlns:a16="http://schemas.microsoft.com/office/drawing/2014/main" id="{C4B0F096-5FE0-4FA3-AFE6-9815CD63AECB}"/>
                </a:ext>
              </a:extLst>
            </p:cNvPr>
            <p:cNvPicPr>
              <a:picLocks noChangeAspect="1" noChangeArrowheads="1"/>
            </p:cNvPicPr>
            <p:nvPr userDrawn="1"/>
          </p:nvPicPr>
          <p:blipFill rotWithShape="1">
            <a:blip r:embed="rId15"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54" name="Group 53">
            <a:extLst>
              <a:ext uri="{FF2B5EF4-FFF2-40B4-BE49-F238E27FC236}">
                <a16:creationId xmlns:a16="http://schemas.microsoft.com/office/drawing/2014/main" id="{47363E51-4563-4332-ADE9-4A60BB39DC96}"/>
              </a:ext>
            </a:extLst>
          </p:cNvPr>
          <p:cNvGrpSpPr>
            <a:grpSpLocks/>
          </p:cNvGrpSpPr>
          <p:nvPr userDrawn="1"/>
        </p:nvGrpSpPr>
        <p:grpSpPr>
          <a:xfrm>
            <a:off x="554736" y="6452601"/>
            <a:ext cx="830881" cy="293716"/>
            <a:chOff x="10483273" y="6554997"/>
            <a:chExt cx="638090" cy="225564"/>
          </a:xfrm>
        </p:grpSpPr>
        <p:pic>
          <p:nvPicPr>
            <p:cNvPr id="55" name="Picture 54">
              <a:extLst>
                <a:ext uri="{FF2B5EF4-FFF2-40B4-BE49-F238E27FC236}">
                  <a16:creationId xmlns:a16="http://schemas.microsoft.com/office/drawing/2014/main" id="{09F4FA1E-305C-4328-BD29-ECD2C6B1F5A0}"/>
                </a:ext>
              </a:extLst>
            </p:cNvPr>
            <p:cNvPicPr>
              <a:picLocks noChangeAspect="1"/>
            </p:cNvPicPr>
            <p:nvPr userDrawn="1"/>
          </p:nvPicPr>
          <p:blipFill rotWithShape="1">
            <a:blip r:embed="rId16"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56" name="Picture 55">
              <a:extLst>
                <a:ext uri="{FF2B5EF4-FFF2-40B4-BE49-F238E27FC236}">
                  <a16:creationId xmlns:a16="http://schemas.microsoft.com/office/drawing/2014/main" id="{7614C981-7BF7-4D1C-92CC-10257B583187}"/>
                </a:ext>
              </a:extLst>
            </p:cNvPr>
            <p:cNvPicPr>
              <a:picLocks noChangeAspect="1"/>
            </p:cNvPicPr>
            <p:nvPr userDrawn="1"/>
          </p:nvPicPr>
          <p:blipFill rotWithShape="1">
            <a:blip r:embed="rId17" cstate="email">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57" name="5. Source" hidden="1">
            <a:extLst>
              <a:ext uri="{FF2B5EF4-FFF2-40B4-BE49-F238E27FC236}">
                <a16:creationId xmlns:a16="http://schemas.microsoft.com/office/drawing/2014/main" id="{04DBC258-24BB-4506-8D72-14DC32C90758}"/>
              </a:ext>
            </a:extLst>
          </p:cNvPr>
          <p:cNvSpPr txBox="1">
            <a:spLocks/>
          </p:cNvSpPr>
          <p:nvPr userDrawn="1">
            <p:custDataLst>
              <p:tags r:id="rId9"/>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42719942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324870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36" name="Slide Number">
            <a:extLst>
              <a:ext uri="{FF2B5EF4-FFF2-40B4-BE49-F238E27FC236}">
                <a16:creationId xmlns:a16="http://schemas.microsoft.com/office/drawing/2014/main" id="{64B819D4-0B30-4ACC-9188-9B1D55202D4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45" name="Documenttype">
            <a:extLst>
              <a:ext uri="{FF2B5EF4-FFF2-40B4-BE49-F238E27FC236}">
                <a16:creationId xmlns:a16="http://schemas.microsoft.com/office/drawing/2014/main" id="{847E8261-2520-4FA9-B7E3-CE0050D44B3E}"/>
              </a:ext>
            </a:extLst>
          </p:cNvPr>
          <p:cNvSpPr txBox="1">
            <a:spLocks/>
          </p:cNvSpPr>
          <p:nvPr userDrawn="1">
            <p:custDataLst>
              <p:tags r:id="rId8"/>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grpSp>
        <p:nvGrpSpPr>
          <p:cNvPr id="46" name="Group 45">
            <a:extLst>
              <a:ext uri="{FF2B5EF4-FFF2-40B4-BE49-F238E27FC236}">
                <a16:creationId xmlns:a16="http://schemas.microsoft.com/office/drawing/2014/main" id="{A4010966-E2E3-42CC-B098-BEB453915838}"/>
              </a:ext>
            </a:extLst>
          </p:cNvPr>
          <p:cNvGrpSpPr>
            <a:grpSpLocks/>
          </p:cNvGrpSpPr>
          <p:nvPr userDrawn="1"/>
        </p:nvGrpSpPr>
        <p:grpSpPr>
          <a:xfrm>
            <a:off x="2740914" y="6417372"/>
            <a:ext cx="394856" cy="373880"/>
            <a:chOff x="11105270" y="6244071"/>
            <a:chExt cx="480234" cy="454722"/>
          </a:xfrm>
        </p:grpSpPr>
        <p:sp>
          <p:nvSpPr>
            <p:cNvPr id="47" name="Freeform 5">
              <a:extLst>
                <a:ext uri="{FF2B5EF4-FFF2-40B4-BE49-F238E27FC236}">
                  <a16:creationId xmlns:a16="http://schemas.microsoft.com/office/drawing/2014/main" id="{636AA094-DFC6-4E0E-99C8-1C694A73AC1F}"/>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48" name="Rectangle 6">
              <a:extLst>
                <a:ext uri="{FF2B5EF4-FFF2-40B4-BE49-F238E27FC236}">
                  <a16:creationId xmlns:a16="http://schemas.microsoft.com/office/drawing/2014/main" id="{2097E149-AFF4-4B0F-90EE-D7C5B0CD8450}"/>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49" name="Freeform 7">
              <a:extLst>
                <a:ext uri="{FF2B5EF4-FFF2-40B4-BE49-F238E27FC236}">
                  <a16:creationId xmlns:a16="http://schemas.microsoft.com/office/drawing/2014/main" id="{F1557FBD-44B7-4DC3-AF81-5C47613BC44E}"/>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50" name="Freeform 8">
              <a:extLst>
                <a:ext uri="{FF2B5EF4-FFF2-40B4-BE49-F238E27FC236}">
                  <a16:creationId xmlns:a16="http://schemas.microsoft.com/office/drawing/2014/main" id="{A1E3E084-F0B6-4AA7-9F77-17A36343CA24}"/>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51" name="Freeform 9">
              <a:extLst>
                <a:ext uri="{FF2B5EF4-FFF2-40B4-BE49-F238E27FC236}">
                  <a16:creationId xmlns:a16="http://schemas.microsoft.com/office/drawing/2014/main" id="{A0499336-75F3-4D75-8254-B7AC0E1913B5}"/>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grpSp>
        <p:nvGrpSpPr>
          <p:cNvPr id="52" name="Group 51">
            <a:extLst>
              <a:ext uri="{FF2B5EF4-FFF2-40B4-BE49-F238E27FC236}">
                <a16:creationId xmlns:a16="http://schemas.microsoft.com/office/drawing/2014/main" id="{3EBE7000-6E92-4AA5-ACE2-7CC0CD8F4CED}"/>
              </a:ext>
            </a:extLst>
          </p:cNvPr>
          <p:cNvGrpSpPr>
            <a:grpSpLocks/>
          </p:cNvGrpSpPr>
          <p:nvPr userDrawn="1"/>
        </p:nvGrpSpPr>
        <p:grpSpPr bwMode="invGray">
          <a:xfrm>
            <a:off x="1608225" y="6435948"/>
            <a:ext cx="910081" cy="356143"/>
            <a:chOff x="9865218" y="6365207"/>
            <a:chExt cx="1011183" cy="395706"/>
          </a:xfrm>
        </p:grpSpPr>
        <p:pic>
          <p:nvPicPr>
            <p:cNvPr id="53" name="Picture 52" descr="EDCTP and Africa CDC workshop report on disparities in research funding -  EDCTP">
              <a:extLst>
                <a:ext uri="{FF2B5EF4-FFF2-40B4-BE49-F238E27FC236}">
                  <a16:creationId xmlns:a16="http://schemas.microsoft.com/office/drawing/2014/main" id="{85D24B55-D55D-462D-ABCA-36F8CF4B7CE4}"/>
                </a:ext>
              </a:extLst>
            </p:cNvPr>
            <p:cNvPicPr>
              <a:picLocks noChangeAspect="1" noChangeArrowheads="1"/>
            </p:cNvPicPr>
            <p:nvPr userDrawn="1"/>
          </p:nvPicPr>
          <p:blipFill rotWithShape="1">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54" name="Picture 53" descr="EDCTP and Africa CDC workshop report on disparities in research funding -  EDCTP">
              <a:extLst>
                <a:ext uri="{FF2B5EF4-FFF2-40B4-BE49-F238E27FC236}">
                  <a16:creationId xmlns:a16="http://schemas.microsoft.com/office/drawing/2014/main" id="{F46C024C-C96A-49A3-8D10-E05EEAE34EE8}"/>
                </a:ext>
              </a:extLst>
            </p:cNvPr>
            <p:cNvPicPr>
              <a:picLocks noChangeAspect="1" noChangeArrowheads="1"/>
            </p:cNvPicPr>
            <p:nvPr userDrawn="1"/>
          </p:nvPicPr>
          <p:blipFill rotWithShape="1">
            <a:blip r:embed="rId15"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55" name="Group 54">
            <a:extLst>
              <a:ext uri="{FF2B5EF4-FFF2-40B4-BE49-F238E27FC236}">
                <a16:creationId xmlns:a16="http://schemas.microsoft.com/office/drawing/2014/main" id="{B7D84B40-3507-4AD3-8396-AC0BDF9DBAE4}"/>
              </a:ext>
            </a:extLst>
          </p:cNvPr>
          <p:cNvGrpSpPr>
            <a:grpSpLocks/>
          </p:cNvGrpSpPr>
          <p:nvPr userDrawn="1"/>
        </p:nvGrpSpPr>
        <p:grpSpPr>
          <a:xfrm>
            <a:off x="554736" y="6452601"/>
            <a:ext cx="830881" cy="293716"/>
            <a:chOff x="10483273" y="6554997"/>
            <a:chExt cx="638090" cy="225564"/>
          </a:xfrm>
        </p:grpSpPr>
        <p:pic>
          <p:nvPicPr>
            <p:cNvPr id="56" name="Picture 55">
              <a:extLst>
                <a:ext uri="{FF2B5EF4-FFF2-40B4-BE49-F238E27FC236}">
                  <a16:creationId xmlns:a16="http://schemas.microsoft.com/office/drawing/2014/main" id="{61CED885-8DB4-4B81-B0A7-2EB177EA82BD}"/>
                </a:ext>
              </a:extLst>
            </p:cNvPr>
            <p:cNvPicPr>
              <a:picLocks noChangeAspect="1"/>
            </p:cNvPicPr>
            <p:nvPr userDrawn="1"/>
          </p:nvPicPr>
          <p:blipFill rotWithShape="1">
            <a:blip r:embed="rId16"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57" name="Picture 56">
              <a:extLst>
                <a:ext uri="{FF2B5EF4-FFF2-40B4-BE49-F238E27FC236}">
                  <a16:creationId xmlns:a16="http://schemas.microsoft.com/office/drawing/2014/main" id="{881D19BF-91BD-401E-B1D8-9C3534B92467}"/>
                </a:ext>
              </a:extLst>
            </p:cNvPr>
            <p:cNvPicPr>
              <a:picLocks noChangeAspect="1"/>
            </p:cNvPicPr>
            <p:nvPr userDrawn="1"/>
          </p:nvPicPr>
          <p:blipFill rotWithShape="1">
            <a:blip r:embed="rId17" cstate="email">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58" name="5. Source" hidden="1">
            <a:extLst>
              <a:ext uri="{FF2B5EF4-FFF2-40B4-BE49-F238E27FC236}">
                <a16:creationId xmlns:a16="http://schemas.microsoft.com/office/drawing/2014/main" id="{7DB3F043-500D-4524-B07E-4B872D0EE309}"/>
              </a:ext>
            </a:extLst>
          </p:cNvPr>
          <p:cNvSpPr txBox="1">
            <a:spLocks/>
          </p:cNvSpPr>
          <p:nvPr userDrawn="1">
            <p:custDataLst>
              <p:tags r:id="rId9"/>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4080587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097155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rtl="0">
              <a:defRPr/>
            </a:lvl1pPr>
          </a:lstStyle>
          <a:p>
            <a:r>
              <a:rPr lang="en-US" dirty="0"/>
              <a:t>Click to edit Master title style</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9" name="Straight Connector 8">
            <a:extLst>
              <a:ext uri="{FF2B5EF4-FFF2-40B4-BE49-F238E27FC236}">
                <a16:creationId xmlns:a16="http://schemas.microsoft.com/office/drawing/2014/main" id="{B22C5002-5F8A-4232-A199-EC5D8EA2DAD1}"/>
              </a:ext>
            </a:extLst>
          </p:cNvPr>
          <p:cNvCxnSpPr>
            <a:cxnSpLocks/>
          </p:cNvCxnSpPr>
          <p:nvPr userDrawn="1"/>
        </p:nvCxnSpPr>
        <p:spPr bwMode="ltGray">
          <a:xfrm>
            <a:off x="554736" y="1238860"/>
            <a:ext cx="11082528"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BC0ECFFC-E532-48CA-A3CB-24A22C3383A8}"/>
              </a:ext>
            </a:extLst>
          </p:cNvPr>
          <p:cNvGrpSpPr>
            <a:grpSpLocks/>
          </p:cNvGrpSpPr>
          <p:nvPr userDrawn="1"/>
        </p:nvGrpSpPr>
        <p:grpSpPr>
          <a:xfrm>
            <a:off x="2740914" y="6417372"/>
            <a:ext cx="394856" cy="373880"/>
            <a:chOff x="11105270" y="6244071"/>
            <a:chExt cx="480234" cy="454722"/>
          </a:xfrm>
        </p:grpSpPr>
        <p:sp>
          <p:nvSpPr>
            <p:cNvPr id="33" name="Freeform 5">
              <a:extLst>
                <a:ext uri="{FF2B5EF4-FFF2-40B4-BE49-F238E27FC236}">
                  <a16:creationId xmlns:a16="http://schemas.microsoft.com/office/drawing/2014/main" id="{60A169C7-AB38-45C4-9FA9-87E795DE5FC6}"/>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F1BD6E2F-542C-49A0-9900-1138AC29366C}"/>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EB20AAB2-6BCE-4293-87A4-9ED333292AEA}"/>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A9062CF9-EEC1-4A86-A44A-1324CE9FA5A6}"/>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CC746FE4-F67C-4BA4-AD89-AF94EEE4557C}"/>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grpSp>
        <p:nvGrpSpPr>
          <p:cNvPr id="38" name="Group 37">
            <a:extLst>
              <a:ext uri="{FF2B5EF4-FFF2-40B4-BE49-F238E27FC236}">
                <a16:creationId xmlns:a16="http://schemas.microsoft.com/office/drawing/2014/main" id="{7E6E9983-DF4C-47D2-85F3-A04DA7F2BEE2}"/>
              </a:ext>
            </a:extLst>
          </p:cNvPr>
          <p:cNvGrpSpPr>
            <a:grpSpLocks/>
          </p:cNvGrpSpPr>
          <p:nvPr userDrawn="1"/>
        </p:nvGrpSpPr>
        <p:grpSpPr bwMode="invGray">
          <a:xfrm>
            <a:off x="1608225" y="6435948"/>
            <a:ext cx="910081" cy="356143"/>
            <a:chOff x="9865218" y="6365207"/>
            <a:chExt cx="1011183" cy="395706"/>
          </a:xfrm>
        </p:grpSpPr>
        <p:pic>
          <p:nvPicPr>
            <p:cNvPr id="39" name="Picture 38" descr="EDCTP and Africa CDC workshop report on disparities in research funding -  EDCTP">
              <a:extLst>
                <a:ext uri="{FF2B5EF4-FFF2-40B4-BE49-F238E27FC236}">
                  <a16:creationId xmlns:a16="http://schemas.microsoft.com/office/drawing/2014/main" id="{EC78D270-F7DD-4800-9359-9AD2938FE19B}"/>
                </a:ext>
              </a:extLst>
            </p:cNvPr>
            <p:cNvPicPr>
              <a:picLocks noChangeAspect="1" noChangeArrowheads="1"/>
            </p:cNvPicPr>
            <p:nvPr userDrawn="1"/>
          </p:nvPicPr>
          <p:blipFill rotWithShape="1">
            <a:blip r:embed="rId11" cstate="email">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40" name="Picture 39" descr="EDCTP and Africa CDC workshop report on disparities in research funding -  EDCTP">
              <a:extLst>
                <a:ext uri="{FF2B5EF4-FFF2-40B4-BE49-F238E27FC236}">
                  <a16:creationId xmlns:a16="http://schemas.microsoft.com/office/drawing/2014/main" id="{0EFCFBC6-4C2A-4994-8AA2-0F10ACD18F2A}"/>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41" name="Group 40">
            <a:extLst>
              <a:ext uri="{FF2B5EF4-FFF2-40B4-BE49-F238E27FC236}">
                <a16:creationId xmlns:a16="http://schemas.microsoft.com/office/drawing/2014/main" id="{ED2D5FCB-4A6D-4F99-A74B-F8908F4D9EB8}"/>
              </a:ext>
            </a:extLst>
          </p:cNvPr>
          <p:cNvGrpSpPr>
            <a:grpSpLocks/>
          </p:cNvGrpSpPr>
          <p:nvPr userDrawn="1"/>
        </p:nvGrpSpPr>
        <p:grpSpPr>
          <a:xfrm>
            <a:off x="554736" y="6452601"/>
            <a:ext cx="830881" cy="293716"/>
            <a:chOff x="10483273" y="6554997"/>
            <a:chExt cx="638090" cy="225564"/>
          </a:xfrm>
        </p:grpSpPr>
        <p:pic>
          <p:nvPicPr>
            <p:cNvPr id="42" name="Picture 41">
              <a:extLst>
                <a:ext uri="{FF2B5EF4-FFF2-40B4-BE49-F238E27FC236}">
                  <a16:creationId xmlns:a16="http://schemas.microsoft.com/office/drawing/2014/main" id="{6CCC63E7-DCD0-472F-B597-D187BA319146}"/>
                </a:ext>
              </a:extLst>
            </p:cNvPr>
            <p:cNvPicPr>
              <a:picLocks noChangeAspect="1"/>
            </p:cNvPicPr>
            <p:nvPr userDrawn="1"/>
          </p:nvPicPr>
          <p:blipFill rotWithShape="1">
            <a:blip r:embed="rId14"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43" name="Picture 42">
              <a:extLst>
                <a:ext uri="{FF2B5EF4-FFF2-40B4-BE49-F238E27FC236}">
                  <a16:creationId xmlns:a16="http://schemas.microsoft.com/office/drawing/2014/main" id="{ACCE7CD7-1E44-494F-9B7A-33E74BDA298B}"/>
                </a:ext>
              </a:extLst>
            </p:cNvPr>
            <p:cNvPicPr>
              <a:picLocks noChangeAspect="1"/>
            </p:cNvPicPr>
            <p:nvPr userDrawn="1"/>
          </p:nvPicPr>
          <p:blipFill rotWithShape="1">
            <a:blip r:embed="rId15" cstate="email">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44" name="Documenttype">
            <a:extLst>
              <a:ext uri="{FF2B5EF4-FFF2-40B4-BE49-F238E27FC236}">
                <a16:creationId xmlns:a16="http://schemas.microsoft.com/office/drawing/2014/main" id="{27F16AF0-8961-4771-BF02-49BEB3B88870}"/>
              </a:ext>
            </a:extLst>
          </p:cNvPr>
          <p:cNvSpPr txBox="1">
            <a:spLocks/>
          </p:cNvSpPr>
          <p:nvPr userDrawn="1">
            <p:custDataLst>
              <p:tags r:id="rId5"/>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45" name="Slide Number">
            <a:extLst>
              <a:ext uri="{FF2B5EF4-FFF2-40B4-BE49-F238E27FC236}">
                <a16:creationId xmlns:a16="http://schemas.microsoft.com/office/drawing/2014/main" id="{EAB49E97-CBA3-4CA0-B41F-3DFE3CB01DDF}"/>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46" name="5. Source" hidden="1">
            <a:extLst>
              <a:ext uri="{FF2B5EF4-FFF2-40B4-BE49-F238E27FC236}">
                <a16:creationId xmlns:a16="http://schemas.microsoft.com/office/drawing/2014/main" id="{CF50C49E-3B87-4955-B611-0A801402E8DD}"/>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732163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F8BD4996-F79D-45DC-8DC7-8FEE977CBF41}"/>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9" name="Group 8">
            <a:extLst>
              <a:ext uri="{FF2B5EF4-FFF2-40B4-BE49-F238E27FC236}">
                <a16:creationId xmlns:a16="http://schemas.microsoft.com/office/drawing/2014/main" id="{38E9687C-BA86-4E98-BC1F-BDA61894208B}"/>
              </a:ext>
            </a:extLst>
          </p:cNvPr>
          <p:cNvGrpSpPr>
            <a:grpSpLocks/>
          </p:cNvGrpSpPr>
          <p:nvPr userDrawn="1"/>
        </p:nvGrpSpPr>
        <p:grpSpPr>
          <a:xfrm>
            <a:off x="2740914" y="6417372"/>
            <a:ext cx="394856" cy="373880"/>
            <a:chOff x="11105270" y="6244071"/>
            <a:chExt cx="480234" cy="454722"/>
          </a:xfrm>
        </p:grpSpPr>
        <p:sp>
          <p:nvSpPr>
            <p:cNvPr id="10" name="Freeform 5">
              <a:extLst>
                <a:ext uri="{FF2B5EF4-FFF2-40B4-BE49-F238E27FC236}">
                  <a16:creationId xmlns:a16="http://schemas.microsoft.com/office/drawing/2014/main" id="{E56A0FCD-3031-478A-B98D-D52BA342C937}"/>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11" name="Rectangle 6">
              <a:extLst>
                <a:ext uri="{FF2B5EF4-FFF2-40B4-BE49-F238E27FC236}">
                  <a16:creationId xmlns:a16="http://schemas.microsoft.com/office/drawing/2014/main" id="{B7A3081D-9C89-4639-9B62-F0AF886F7C4E}"/>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7">
              <a:extLst>
                <a:ext uri="{FF2B5EF4-FFF2-40B4-BE49-F238E27FC236}">
                  <a16:creationId xmlns:a16="http://schemas.microsoft.com/office/drawing/2014/main" id="{DCCCFC18-DCBE-437C-8961-2DACDAA5A465}"/>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3" name="Freeform 8">
              <a:extLst>
                <a:ext uri="{FF2B5EF4-FFF2-40B4-BE49-F238E27FC236}">
                  <a16:creationId xmlns:a16="http://schemas.microsoft.com/office/drawing/2014/main" id="{CC001FE0-28E7-40F2-B885-DAE168C1B1FD}"/>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4" name="Freeform 9">
              <a:extLst>
                <a:ext uri="{FF2B5EF4-FFF2-40B4-BE49-F238E27FC236}">
                  <a16:creationId xmlns:a16="http://schemas.microsoft.com/office/drawing/2014/main" id="{78090093-D41C-4A06-813A-24C6B556E6E9}"/>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grpSp>
        <p:nvGrpSpPr>
          <p:cNvPr id="15" name="Group 14">
            <a:extLst>
              <a:ext uri="{FF2B5EF4-FFF2-40B4-BE49-F238E27FC236}">
                <a16:creationId xmlns:a16="http://schemas.microsoft.com/office/drawing/2014/main" id="{EC6FFF39-6A36-49D6-9226-118E0471E396}"/>
              </a:ext>
            </a:extLst>
          </p:cNvPr>
          <p:cNvGrpSpPr>
            <a:grpSpLocks/>
          </p:cNvGrpSpPr>
          <p:nvPr userDrawn="1"/>
        </p:nvGrpSpPr>
        <p:grpSpPr bwMode="invGray">
          <a:xfrm>
            <a:off x="1608225" y="6435948"/>
            <a:ext cx="910081" cy="356143"/>
            <a:chOff x="9865218" y="6365207"/>
            <a:chExt cx="1011183" cy="395706"/>
          </a:xfrm>
        </p:grpSpPr>
        <p:pic>
          <p:nvPicPr>
            <p:cNvPr id="16" name="Picture 15" descr="EDCTP and Africa CDC workshop report on disparities in research funding -  EDCTP">
              <a:extLst>
                <a:ext uri="{FF2B5EF4-FFF2-40B4-BE49-F238E27FC236}">
                  <a16:creationId xmlns:a16="http://schemas.microsoft.com/office/drawing/2014/main" id="{6BA9D31E-140C-4B34-AC73-A6A445CF6249}"/>
                </a:ext>
              </a:extLst>
            </p:cNvPr>
            <p:cNvPicPr>
              <a:picLocks noChangeAspect="1" noChangeArrowheads="1"/>
            </p:cNvPicPr>
            <p:nvPr userDrawn="1"/>
          </p:nvPicPr>
          <p:blipFill rotWithShape="1">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descr="EDCTP and Africa CDC workshop report on disparities in research funding -  EDCTP">
              <a:extLst>
                <a:ext uri="{FF2B5EF4-FFF2-40B4-BE49-F238E27FC236}">
                  <a16:creationId xmlns:a16="http://schemas.microsoft.com/office/drawing/2014/main" id="{BC34D771-384F-4E00-A2BA-6BB9FED33280}"/>
                </a:ext>
              </a:extLst>
            </p:cNvPr>
            <p:cNvPicPr>
              <a:picLocks noChangeAspect="1" noChangeArrowheads="1"/>
            </p:cNvPicPr>
            <p:nvPr userDrawn="1"/>
          </p:nvPicPr>
          <p:blipFill rotWithShape="1">
            <a:blip r:embed="rId11"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1CF380EC-525E-4A36-8AF4-9E2EB6B79BEF}"/>
              </a:ext>
            </a:extLst>
          </p:cNvPr>
          <p:cNvGrpSpPr>
            <a:grpSpLocks/>
          </p:cNvGrpSpPr>
          <p:nvPr userDrawn="1"/>
        </p:nvGrpSpPr>
        <p:grpSpPr>
          <a:xfrm>
            <a:off x="554736" y="6452601"/>
            <a:ext cx="830881" cy="293716"/>
            <a:chOff x="10483273" y="6554997"/>
            <a:chExt cx="638090" cy="225564"/>
          </a:xfrm>
        </p:grpSpPr>
        <p:pic>
          <p:nvPicPr>
            <p:cNvPr id="19" name="Picture 18">
              <a:extLst>
                <a:ext uri="{FF2B5EF4-FFF2-40B4-BE49-F238E27FC236}">
                  <a16:creationId xmlns:a16="http://schemas.microsoft.com/office/drawing/2014/main" id="{FF1246BE-A380-4EF9-956E-E96E39472585}"/>
                </a:ext>
              </a:extLst>
            </p:cNvPr>
            <p:cNvPicPr>
              <a:picLocks noChangeAspect="1"/>
            </p:cNvPicPr>
            <p:nvPr userDrawn="1"/>
          </p:nvPicPr>
          <p:blipFill rotWithShape="1">
            <a:blip r:embed="rId12"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20" name="Picture 19">
              <a:extLst>
                <a:ext uri="{FF2B5EF4-FFF2-40B4-BE49-F238E27FC236}">
                  <a16:creationId xmlns:a16="http://schemas.microsoft.com/office/drawing/2014/main" id="{C942A2F8-AE6D-4EC9-8508-95AA60B53236}"/>
                </a:ext>
              </a:extLst>
            </p:cNvPr>
            <p:cNvPicPr>
              <a:picLocks noChangeAspect="1"/>
            </p:cNvPicPr>
            <p:nvPr userDrawn="1"/>
          </p:nvPicPr>
          <p:blipFill rotWithShape="1">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21" name="Documenttype">
            <a:extLst>
              <a:ext uri="{FF2B5EF4-FFF2-40B4-BE49-F238E27FC236}">
                <a16:creationId xmlns:a16="http://schemas.microsoft.com/office/drawing/2014/main" id="{BC7FFB91-4F0D-4F94-AC4A-99C653EC168D}"/>
              </a:ext>
            </a:extLst>
          </p:cNvPr>
          <p:cNvSpPr txBox="1">
            <a:spLocks/>
          </p:cNvSpPr>
          <p:nvPr userDrawn="1">
            <p:custDataLst>
              <p:tags r:id="rId3"/>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22" name="Slide Number">
            <a:extLst>
              <a:ext uri="{FF2B5EF4-FFF2-40B4-BE49-F238E27FC236}">
                <a16:creationId xmlns:a16="http://schemas.microsoft.com/office/drawing/2014/main" id="{E0B24FDA-F726-40FB-9E97-B8FB4BA3EA7B}"/>
              </a:ext>
            </a:extLst>
          </p:cNvPr>
          <p:cNvSpPr>
            <a:spLocks noChangeArrowheads="1"/>
          </p:cNvSpPr>
          <p:nvPr userDrawn="1">
            <p:custDataLst>
              <p:tags r:id="rId4"/>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23" name="5. Source" hidden="1">
            <a:extLst>
              <a:ext uri="{FF2B5EF4-FFF2-40B4-BE49-F238E27FC236}">
                <a16:creationId xmlns:a16="http://schemas.microsoft.com/office/drawing/2014/main" id="{95FAC6E9-B568-4052-A069-331C4667D3F6}"/>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6" name="Group 15">
            <a:extLst>
              <a:ext uri="{FF2B5EF4-FFF2-40B4-BE49-F238E27FC236}">
                <a16:creationId xmlns:a16="http://schemas.microsoft.com/office/drawing/2014/main" id="{F4FF23F6-D987-420F-A8C0-A621BED27D3F}"/>
              </a:ext>
            </a:extLst>
          </p:cNvPr>
          <p:cNvGrpSpPr>
            <a:grpSpLocks/>
          </p:cNvGrpSpPr>
          <p:nvPr userDrawn="1"/>
        </p:nvGrpSpPr>
        <p:grpSpPr bwMode="invGray">
          <a:xfrm>
            <a:off x="5683944" y="2877126"/>
            <a:ext cx="2229392" cy="872430"/>
            <a:chOff x="9865218" y="6365207"/>
            <a:chExt cx="1011183" cy="395706"/>
          </a:xfrm>
        </p:grpSpPr>
        <p:pic>
          <p:nvPicPr>
            <p:cNvPr id="26" name="Picture 25" descr="EDCTP and Africa CDC workshop report on disparities in research funding -  EDCTP">
              <a:extLst>
                <a:ext uri="{FF2B5EF4-FFF2-40B4-BE49-F238E27FC236}">
                  <a16:creationId xmlns:a16="http://schemas.microsoft.com/office/drawing/2014/main" id="{87AD8759-474B-43B8-A330-08F93228971E}"/>
                </a:ext>
              </a:extLst>
            </p:cNvPr>
            <p:cNvPicPr>
              <a:picLocks noChangeAspect="1" noChangeArrowheads="1"/>
            </p:cNvPicPr>
            <p:nvPr userDrawn="1"/>
          </p:nvPicPr>
          <p:blipFill rotWithShape="1">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7" name="Picture 26" descr="EDCTP and Africa CDC workshop report on disparities in research funding -  EDCTP">
              <a:extLst>
                <a:ext uri="{FF2B5EF4-FFF2-40B4-BE49-F238E27FC236}">
                  <a16:creationId xmlns:a16="http://schemas.microsoft.com/office/drawing/2014/main" id="{CCBD395C-3F7E-4A36-8E21-6F8FB4D64286}"/>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E5B7F008-C77C-4B38-8B04-F17E5DC956EF}"/>
              </a:ext>
            </a:extLst>
          </p:cNvPr>
          <p:cNvGrpSpPr>
            <a:grpSpLocks/>
          </p:cNvGrpSpPr>
          <p:nvPr userDrawn="1"/>
        </p:nvGrpSpPr>
        <p:grpSpPr>
          <a:xfrm>
            <a:off x="2666495" y="2877126"/>
            <a:ext cx="2467979" cy="872430"/>
            <a:chOff x="10483273" y="6554997"/>
            <a:chExt cx="638090" cy="225564"/>
          </a:xfrm>
        </p:grpSpPr>
        <p:pic>
          <p:nvPicPr>
            <p:cNvPr id="19" name="Picture 18">
              <a:extLst>
                <a:ext uri="{FF2B5EF4-FFF2-40B4-BE49-F238E27FC236}">
                  <a16:creationId xmlns:a16="http://schemas.microsoft.com/office/drawing/2014/main" id="{D53C2B31-229B-4958-BA23-2408E2676F2A}"/>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20" name="Picture 19">
              <a:extLst>
                <a:ext uri="{FF2B5EF4-FFF2-40B4-BE49-F238E27FC236}">
                  <a16:creationId xmlns:a16="http://schemas.microsoft.com/office/drawing/2014/main" id="{69A1C915-C231-4C09-B6A4-2722007BA0A4}"/>
                </a:ext>
              </a:extLst>
            </p:cNvPr>
            <p:cNvPicPr>
              <a:picLocks noChangeAspect="1"/>
            </p:cNvPicPr>
            <p:nvPr userDrawn="1"/>
          </p:nvPicPr>
          <p:blipFill rotWithShape="1">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grpSp>
        <p:nvGrpSpPr>
          <p:cNvPr id="32" name="Group 31">
            <a:extLst>
              <a:ext uri="{FF2B5EF4-FFF2-40B4-BE49-F238E27FC236}">
                <a16:creationId xmlns:a16="http://schemas.microsoft.com/office/drawing/2014/main" id="{A45C035A-E664-46F1-AC1F-8646184DA916}"/>
              </a:ext>
            </a:extLst>
          </p:cNvPr>
          <p:cNvGrpSpPr>
            <a:grpSpLocks/>
          </p:cNvGrpSpPr>
          <p:nvPr userDrawn="1"/>
        </p:nvGrpSpPr>
        <p:grpSpPr>
          <a:xfrm>
            <a:off x="8462805" y="2810219"/>
            <a:ext cx="1062701" cy="1006245"/>
            <a:chOff x="11105270" y="6244071"/>
            <a:chExt cx="480234" cy="454722"/>
          </a:xfrm>
        </p:grpSpPr>
        <p:sp>
          <p:nvSpPr>
            <p:cNvPr id="33" name="Freeform 5">
              <a:extLst>
                <a:ext uri="{FF2B5EF4-FFF2-40B4-BE49-F238E27FC236}">
                  <a16:creationId xmlns:a16="http://schemas.microsoft.com/office/drawing/2014/main" id="{AC9C117E-0530-43CD-BA40-7A54D7CF34FB}"/>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9376BC8B-D405-421C-A55B-153E5FA514C9}"/>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1BDF5157-87C3-4CD9-A0D1-599C02FFF5B3}"/>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81C14A4C-4FD1-47F8-9919-CE97469D2C2D}"/>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B823179C-4BD5-4492-A779-98B7A3D57934}"/>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
        <p:nvSpPr>
          <p:cNvPr id="38" name="Documenttype">
            <a:extLst>
              <a:ext uri="{FF2B5EF4-FFF2-40B4-BE49-F238E27FC236}">
                <a16:creationId xmlns:a16="http://schemas.microsoft.com/office/drawing/2014/main" id="{8490EBC8-EF81-4EF6-9AFC-EE45A3EDAD8B}"/>
              </a:ext>
            </a:extLst>
          </p:cNvPr>
          <p:cNvSpPr txBox="1">
            <a:spLocks/>
          </p:cNvSpPr>
          <p:nvPr userDrawn="1">
            <p:custDataLst>
              <p:tags r:id="rId2"/>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36779002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879050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A3D21A23-A104-496A-A3BB-E2824FA8D4F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rtl="0">
              <a:defRPr lang="en-US" sz="1400" dirty="0">
                <a:solidFill>
                  <a:schemeClr val="bg2"/>
                </a:solidFill>
              </a:defRPr>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p:custDataLst>
              <p:tags r:id="rId4"/>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rtl="0">
              <a:defRPr lang="en-US" sz="4400" dirty="0">
                <a:solidFill>
                  <a:schemeClr val="bg2"/>
                </a:solidFill>
              </a:defRPr>
            </a:lvl1pPr>
          </a:lstStyle>
          <a:p>
            <a:pPr lvl="0"/>
            <a:r>
              <a:rPr lang="en-US" dirty="0"/>
              <a:t>Click to edit Master title style</a:t>
            </a:r>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rtl="0">
              <a:defRPr lang="en-US" sz="2000" dirty="0">
                <a:solidFill>
                  <a:schemeClr val="bg2"/>
                </a:solidFill>
              </a:defRPr>
            </a:lvl1pPr>
          </a:lstStyle>
          <a:p>
            <a:pPr lvl="0">
              <a:buNone/>
            </a:pPr>
            <a:r>
              <a:rPr lang="en-US" dirty="0"/>
              <a:t>Click to edit Master subtitle style</a:t>
            </a:r>
          </a:p>
        </p:txBody>
      </p:sp>
      <p:pic>
        <p:nvPicPr>
          <p:cNvPr id="26" name="Picture 25">
            <a:extLst>
              <a:ext uri="{FF2B5EF4-FFF2-40B4-BE49-F238E27FC236}">
                <a16:creationId xmlns:a16="http://schemas.microsoft.com/office/drawing/2014/main" id="{70BACD0A-B176-44DB-A133-D449488AB5A9}"/>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28" name="Picture 27">
            <a:extLst>
              <a:ext uri="{FF2B5EF4-FFF2-40B4-BE49-F238E27FC236}">
                <a16:creationId xmlns:a16="http://schemas.microsoft.com/office/drawing/2014/main" id="{EC3FDF1A-4D14-4090-9EED-9E4DE3DBE79F}"/>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29" name="Group 28">
            <a:extLst>
              <a:ext uri="{FF2B5EF4-FFF2-40B4-BE49-F238E27FC236}">
                <a16:creationId xmlns:a16="http://schemas.microsoft.com/office/drawing/2014/main" id="{CDFBF8AE-F994-4CC4-BA6C-8FAA88311833}"/>
              </a:ext>
            </a:extLst>
          </p:cNvPr>
          <p:cNvGrpSpPr>
            <a:grpSpLocks noChangeAspect="1"/>
          </p:cNvGrpSpPr>
          <p:nvPr userDrawn="1"/>
        </p:nvGrpSpPr>
        <p:grpSpPr bwMode="ltGray">
          <a:xfrm>
            <a:off x="10402367" y="5349875"/>
            <a:ext cx="950497" cy="900000"/>
            <a:chOff x="10236055" y="680939"/>
            <a:chExt cx="759866" cy="719497"/>
          </a:xfrm>
        </p:grpSpPr>
        <p:sp>
          <p:nvSpPr>
            <p:cNvPr id="30" name="Freeform 5">
              <a:extLst>
                <a:ext uri="{FF2B5EF4-FFF2-40B4-BE49-F238E27FC236}">
                  <a16:creationId xmlns:a16="http://schemas.microsoft.com/office/drawing/2014/main" id="{D35963A8-BB09-4371-877B-057423491DF2}"/>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1" name="Rectangle 6">
              <a:extLst>
                <a:ext uri="{FF2B5EF4-FFF2-40B4-BE49-F238E27FC236}">
                  <a16:creationId xmlns:a16="http://schemas.microsoft.com/office/drawing/2014/main" id="{BBE09AF2-2A54-445D-8F64-9D7F19B00A85}"/>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2" name="Freeform 7">
              <a:extLst>
                <a:ext uri="{FF2B5EF4-FFF2-40B4-BE49-F238E27FC236}">
                  <a16:creationId xmlns:a16="http://schemas.microsoft.com/office/drawing/2014/main" id="{3E49903B-7D11-4416-90E4-1D9E7D5436EF}"/>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3" name="Freeform 8">
              <a:extLst>
                <a:ext uri="{FF2B5EF4-FFF2-40B4-BE49-F238E27FC236}">
                  <a16:creationId xmlns:a16="http://schemas.microsoft.com/office/drawing/2014/main" id="{6C832AF7-3499-4BBD-8C3A-99E4268CECD9}"/>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Freeform 9">
              <a:extLst>
                <a:ext uri="{FF2B5EF4-FFF2-40B4-BE49-F238E27FC236}">
                  <a16:creationId xmlns:a16="http://schemas.microsoft.com/office/drawing/2014/main" id="{D4226C4E-AAF5-499A-BD28-C95AE1686913}"/>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27402878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8315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b="0" baseline="0" dirty="0"/>
            </a:lvl1pPr>
          </a:lstStyle>
          <a:p>
            <a:pPr lvl="0">
              <a:buNone/>
            </a:pPr>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rtl="0">
              <a:defRPr lang="en-US" dirty="0"/>
            </a:lvl1pPr>
          </a:lstStyle>
          <a:p>
            <a:pPr lvl="0"/>
            <a:r>
              <a:rPr lang="en-US" dirty="0"/>
              <a:t>Click to edit Master title style</a:t>
            </a:r>
          </a:p>
        </p:txBody>
      </p:sp>
      <p:sp>
        <p:nvSpPr>
          <p:cNvPr id="12" name="Slide Number">
            <a:extLst>
              <a:ext uri="{FF2B5EF4-FFF2-40B4-BE49-F238E27FC236}">
                <a16:creationId xmlns:a16="http://schemas.microsoft.com/office/drawing/2014/main" id="{480918F5-69A8-40D4-9A1C-19A48B2E8F78}"/>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395546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983711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dirty="0"/>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3" name="Slide Number">
            <a:extLst>
              <a:ext uri="{FF2B5EF4-FFF2-40B4-BE49-F238E27FC236}">
                <a16:creationId xmlns:a16="http://schemas.microsoft.com/office/drawing/2014/main" id="{CE0B50F1-6D0E-4C53-B9AB-8889EFECA0E8}"/>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4598165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2615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dirty="0"/>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30D20F8F-9B1E-4BF1-A6A1-7FA56E3BDA96}"/>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8" name="Slide Number">
            <a:extLst>
              <a:ext uri="{FF2B5EF4-FFF2-40B4-BE49-F238E27FC236}">
                <a16:creationId xmlns:a16="http://schemas.microsoft.com/office/drawing/2014/main" id="{C8B1F0DF-FA5B-408A-8FCC-5148EA64CBCE}"/>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3135829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29760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CF64C615-2582-4DCF-9142-3B691B7548E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8552986C-9452-46D3-8888-20E612BE00A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Tree>
    <p:extLst>
      <p:ext uri="{BB962C8B-B14F-4D97-AF65-F5344CB8AC3E}">
        <p14:creationId xmlns:p14="http://schemas.microsoft.com/office/powerpoint/2010/main" val="14722942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978039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94895A5-9A87-472E-A5BA-9BA01ABF90A5}"/>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DB2D9C9-2BCB-4804-8631-381BA36F2FA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Tree>
    <p:extLst>
      <p:ext uri="{BB962C8B-B14F-4D97-AF65-F5344CB8AC3E}">
        <p14:creationId xmlns:p14="http://schemas.microsoft.com/office/powerpoint/2010/main" val="41592164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861344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34" name="Slide Number">
            <a:extLst>
              <a:ext uri="{FF2B5EF4-FFF2-40B4-BE49-F238E27FC236}">
                <a16:creationId xmlns:a16="http://schemas.microsoft.com/office/drawing/2014/main" id="{00D78BE5-42EA-4C8E-996C-4517056791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8"/>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Tree>
    <p:extLst>
      <p:ext uri="{BB962C8B-B14F-4D97-AF65-F5344CB8AC3E}">
        <p14:creationId xmlns:p14="http://schemas.microsoft.com/office/powerpoint/2010/main" val="6615505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76572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575BF50E-69E8-4E92-BF47-A468862F9929}"/>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A386E180-04F8-4B18-AFAD-F28A3F606104}"/>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2B78B299-5876-4D7B-9720-0A8A896EEF9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4" name="Rectangle 6">
              <a:extLst>
                <a:ext uri="{FF2B5EF4-FFF2-40B4-BE49-F238E27FC236}">
                  <a16:creationId xmlns:a16="http://schemas.microsoft.com/office/drawing/2014/main" id="{6A5356A1-18AE-470D-8027-E9D8DF8E448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5" name="Freeform 7">
              <a:extLst>
                <a:ext uri="{FF2B5EF4-FFF2-40B4-BE49-F238E27FC236}">
                  <a16:creationId xmlns:a16="http://schemas.microsoft.com/office/drawing/2014/main" id="{B50C1A43-8E10-4559-A869-314C85AA397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6" name="Freeform 8">
              <a:extLst>
                <a:ext uri="{FF2B5EF4-FFF2-40B4-BE49-F238E27FC236}">
                  <a16:creationId xmlns:a16="http://schemas.microsoft.com/office/drawing/2014/main" id="{B37AF157-A820-4ACD-AB63-8200D1F2777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7" name="Freeform 9">
              <a:extLst>
                <a:ext uri="{FF2B5EF4-FFF2-40B4-BE49-F238E27FC236}">
                  <a16:creationId xmlns:a16="http://schemas.microsoft.com/office/drawing/2014/main" id="{52797A5B-FBA9-4BF9-A66E-5A9D7016E53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grpSp>
      <p:pic>
        <p:nvPicPr>
          <p:cNvPr id="38" name="Picture 720" descr="EDCTP and Africa CDC workshop report on disparities in research funding -  EDCTP">
            <a:extLst>
              <a:ext uri="{FF2B5EF4-FFF2-40B4-BE49-F238E27FC236}">
                <a16:creationId xmlns:a16="http://schemas.microsoft.com/office/drawing/2014/main" id="{9699D850-373E-438C-83AD-0A7457C5C2E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7686E5-229C-438C-A4A6-423982C30F5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E3771B26-C02B-439A-9350-D1C91B79CE8B}"/>
              </a:ext>
            </a:extLst>
          </p:cNvPr>
          <p:cNvSpPr txBox="1">
            <a:spLocks/>
          </p:cNvSpPr>
          <p:nvPr userDrawn="1">
            <p:custDataLst>
              <p:tags r:id="rId8"/>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Tree>
    <p:extLst>
      <p:ext uri="{BB962C8B-B14F-4D97-AF65-F5344CB8AC3E}">
        <p14:creationId xmlns:p14="http://schemas.microsoft.com/office/powerpoint/2010/main" val="18522912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57411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EEB8B76-4CED-477D-92F0-694D708323BC}"/>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30D20F8F-9B1E-4BF1-A6A1-7FA56E3BDA96}"/>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5409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91CEAC37-6545-4492-AAB0-C163408D5D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1" name="Group 4">
            <a:extLst>
              <a:ext uri="{FF2B5EF4-FFF2-40B4-BE49-F238E27FC236}">
                <a16:creationId xmlns:a16="http://schemas.microsoft.com/office/drawing/2014/main" id="{29DA557C-6F84-460C-9E9A-B319AC79D329}"/>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A33616C8-F276-496E-97F5-626AF1A67BC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4" name="Rectangle 6">
              <a:extLst>
                <a:ext uri="{FF2B5EF4-FFF2-40B4-BE49-F238E27FC236}">
                  <a16:creationId xmlns:a16="http://schemas.microsoft.com/office/drawing/2014/main" id="{5BDB4C95-8B13-42E5-97C9-959C0762DD7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5" name="Freeform 7">
              <a:extLst>
                <a:ext uri="{FF2B5EF4-FFF2-40B4-BE49-F238E27FC236}">
                  <a16:creationId xmlns:a16="http://schemas.microsoft.com/office/drawing/2014/main" id="{740B257D-609C-4C30-A37B-EDE85750E11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6" name="Freeform 8">
              <a:extLst>
                <a:ext uri="{FF2B5EF4-FFF2-40B4-BE49-F238E27FC236}">
                  <a16:creationId xmlns:a16="http://schemas.microsoft.com/office/drawing/2014/main" id="{B35E5772-7391-4093-8E15-D42F0ACD0E7C}"/>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7" name="Freeform 9">
              <a:extLst>
                <a:ext uri="{FF2B5EF4-FFF2-40B4-BE49-F238E27FC236}">
                  <a16:creationId xmlns:a16="http://schemas.microsoft.com/office/drawing/2014/main" id="{D3E564C4-9BC2-4793-93C1-7A5968E816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grpSp>
      <p:pic>
        <p:nvPicPr>
          <p:cNvPr id="38" name="Picture 720" descr="EDCTP and Africa CDC workshop report on disparities in research funding -  EDCTP">
            <a:extLst>
              <a:ext uri="{FF2B5EF4-FFF2-40B4-BE49-F238E27FC236}">
                <a16:creationId xmlns:a16="http://schemas.microsoft.com/office/drawing/2014/main" id="{3A103D6D-E496-4AD8-8181-08B1F4D45AC7}"/>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B0CEF7D-62D7-4B16-874C-7D6CF60330F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7E92BCC7-C8AA-436D-A5D5-738AB904E581}"/>
              </a:ext>
            </a:extLst>
          </p:cNvPr>
          <p:cNvSpPr txBox="1">
            <a:spLocks/>
          </p:cNvSpPr>
          <p:nvPr userDrawn="1">
            <p:custDataLst>
              <p:tags r:id="rId8"/>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Tree>
    <p:extLst>
      <p:ext uri="{BB962C8B-B14F-4D97-AF65-F5344CB8AC3E}">
        <p14:creationId xmlns:p14="http://schemas.microsoft.com/office/powerpoint/2010/main" val="33109425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4213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11256172"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8"/>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Tree>
    <p:extLst>
      <p:ext uri="{BB962C8B-B14F-4D97-AF65-F5344CB8AC3E}">
        <p14:creationId xmlns:p14="http://schemas.microsoft.com/office/powerpoint/2010/main" val="10656401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98726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4BB34CAF-3D4A-4A48-A97F-048744350F6E}"/>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4" name="Group 4">
            <a:extLst>
              <a:ext uri="{FF2B5EF4-FFF2-40B4-BE49-F238E27FC236}">
                <a16:creationId xmlns:a16="http://schemas.microsoft.com/office/drawing/2014/main" id="{2A80F2F2-115C-4E8E-B9DC-6DD20548D704}"/>
              </a:ext>
            </a:extLst>
          </p:cNvPr>
          <p:cNvGrpSpPr>
            <a:grpSpLocks noChangeAspect="1"/>
          </p:cNvGrpSpPr>
          <p:nvPr userDrawn="1"/>
        </p:nvGrpSpPr>
        <p:grpSpPr bwMode="ltGray">
          <a:xfrm>
            <a:off x="11256172" y="6417372"/>
            <a:ext cx="394856" cy="373880"/>
            <a:chOff x="-240" y="2757"/>
            <a:chExt cx="960" cy="909"/>
          </a:xfrm>
        </p:grpSpPr>
        <p:sp>
          <p:nvSpPr>
            <p:cNvPr id="29" name="Freeform 5">
              <a:extLst>
                <a:ext uri="{FF2B5EF4-FFF2-40B4-BE49-F238E27FC236}">
                  <a16:creationId xmlns:a16="http://schemas.microsoft.com/office/drawing/2014/main" id="{11644F48-425C-46D9-94C1-23978DD0D13C}"/>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0" name="Rectangle 6">
              <a:extLst>
                <a:ext uri="{FF2B5EF4-FFF2-40B4-BE49-F238E27FC236}">
                  <a16:creationId xmlns:a16="http://schemas.microsoft.com/office/drawing/2014/main" id="{75CE9D97-8582-48C0-9419-917440456910}"/>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1" name="Freeform 7">
              <a:extLst>
                <a:ext uri="{FF2B5EF4-FFF2-40B4-BE49-F238E27FC236}">
                  <a16:creationId xmlns:a16="http://schemas.microsoft.com/office/drawing/2014/main" id="{E67EF180-B650-4C4A-91F3-F097E0A099E4}"/>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2" name="Freeform 8">
              <a:extLst>
                <a:ext uri="{FF2B5EF4-FFF2-40B4-BE49-F238E27FC236}">
                  <a16:creationId xmlns:a16="http://schemas.microsoft.com/office/drawing/2014/main" id="{3F4879AE-2BA2-4497-B15D-BC59E7461E6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33" name="Freeform 9">
              <a:extLst>
                <a:ext uri="{FF2B5EF4-FFF2-40B4-BE49-F238E27FC236}">
                  <a16:creationId xmlns:a16="http://schemas.microsoft.com/office/drawing/2014/main" id="{CFDF7617-B35D-4046-93A3-76A85D2829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grpSp>
      <p:pic>
        <p:nvPicPr>
          <p:cNvPr id="34" name="Picture 720" descr="EDCTP and Africa CDC workshop report on disparities in research funding -  EDCTP">
            <a:extLst>
              <a:ext uri="{FF2B5EF4-FFF2-40B4-BE49-F238E27FC236}">
                <a16:creationId xmlns:a16="http://schemas.microsoft.com/office/drawing/2014/main" id="{814ED359-19C4-4C9A-ADDF-8DC8C13C085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899874C-DF8F-4F46-A2EB-C41122F78A75}"/>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9" name="5. Source" hidden="1">
            <a:extLst>
              <a:ext uri="{FF2B5EF4-FFF2-40B4-BE49-F238E27FC236}">
                <a16:creationId xmlns:a16="http://schemas.microsoft.com/office/drawing/2014/main" id="{B0B197DD-58D4-4FDB-B1A9-FA59611691E7}"/>
              </a:ext>
            </a:extLst>
          </p:cNvPr>
          <p:cNvSpPr txBox="1">
            <a:spLocks/>
          </p:cNvSpPr>
          <p:nvPr userDrawn="1">
            <p:custDataLst>
              <p:tags r:id="rId8"/>
            </p:custDataLst>
          </p:nvPr>
        </p:nvSpPr>
        <p:spPr>
          <a:xfrm>
            <a:off x="554733"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Tree>
    <p:extLst>
      <p:ext uri="{BB962C8B-B14F-4D97-AF65-F5344CB8AC3E}">
        <p14:creationId xmlns:p14="http://schemas.microsoft.com/office/powerpoint/2010/main" val="3007594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872755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dirty="0"/>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9" name="Straight Connector 8">
            <a:extLst>
              <a:ext uri="{FF2B5EF4-FFF2-40B4-BE49-F238E27FC236}">
                <a16:creationId xmlns:a16="http://schemas.microsoft.com/office/drawing/2014/main" id="{BC2CB6D3-E8B1-4229-A1B9-B75E7D6E0420}"/>
              </a:ext>
            </a:extLst>
          </p:cNvPr>
          <p:cNvCxnSpPr>
            <a:cxnSpLocks/>
          </p:cNvCxnSpPr>
          <p:nvPr userDrawn="1"/>
        </p:nvCxnSpPr>
        <p:spPr bwMode="ltGray">
          <a:xfrm>
            <a:off x="554736" y="12388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4F9F5BDE-581C-4374-B70C-27D0344EE5B0}"/>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9" name="Group 4">
            <a:extLst>
              <a:ext uri="{FF2B5EF4-FFF2-40B4-BE49-F238E27FC236}">
                <a16:creationId xmlns:a16="http://schemas.microsoft.com/office/drawing/2014/main" id="{341FC139-26C0-428A-9DC5-8A451502DD7A}"/>
              </a:ext>
            </a:extLst>
          </p:cNvPr>
          <p:cNvGrpSpPr>
            <a:grpSpLocks noChangeAspect="1"/>
          </p:cNvGrpSpPr>
          <p:nvPr userDrawn="1"/>
        </p:nvGrpSpPr>
        <p:grpSpPr bwMode="ltGray">
          <a:xfrm>
            <a:off x="11256172" y="6417372"/>
            <a:ext cx="394856" cy="373880"/>
            <a:chOff x="-240" y="2757"/>
            <a:chExt cx="960" cy="909"/>
          </a:xfrm>
        </p:grpSpPr>
        <p:sp>
          <p:nvSpPr>
            <p:cNvPr id="20" name="Freeform 5">
              <a:extLst>
                <a:ext uri="{FF2B5EF4-FFF2-40B4-BE49-F238E27FC236}">
                  <a16:creationId xmlns:a16="http://schemas.microsoft.com/office/drawing/2014/main" id="{57329FBA-126A-4E1D-A53D-36B49F0BA19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25" name="Rectangle 6">
              <a:extLst>
                <a:ext uri="{FF2B5EF4-FFF2-40B4-BE49-F238E27FC236}">
                  <a16:creationId xmlns:a16="http://schemas.microsoft.com/office/drawing/2014/main" id="{2CB24FA4-CB4E-48A9-BAB5-6D243BE23A14}"/>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26" name="Freeform 7">
              <a:extLst>
                <a:ext uri="{FF2B5EF4-FFF2-40B4-BE49-F238E27FC236}">
                  <a16:creationId xmlns:a16="http://schemas.microsoft.com/office/drawing/2014/main" id="{81CF441F-2F08-469D-9B69-253A5E2C5F5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27" name="Freeform 8">
              <a:extLst>
                <a:ext uri="{FF2B5EF4-FFF2-40B4-BE49-F238E27FC236}">
                  <a16:creationId xmlns:a16="http://schemas.microsoft.com/office/drawing/2014/main" id="{5B584770-A271-4F31-A098-B5B042A2D27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28" name="Freeform 9">
              <a:extLst>
                <a:ext uri="{FF2B5EF4-FFF2-40B4-BE49-F238E27FC236}">
                  <a16:creationId xmlns:a16="http://schemas.microsoft.com/office/drawing/2014/main" id="{C18A98AE-A202-476D-AED7-E2B36376F6E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grpSp>
      <p:pic>
        <p:nvPicPr>
          <p:cNvPr id="29" name="Picture 720" descr="EDCTP and Africa CDC workshop report on disparities in research funding -  EDCTP">
            <a:extLst>
              <a:ext uri="{FF2B5EF4-FFF2-40B4-BE49-F238E27FC236}">
                <a16:creationId xmlns:a16="http://schemas.microsoft.com/office/drawing/2014/main" id="{A6D66E70-9662-44D7-A1AE-81FDCFDB0A16}"/>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9CA4BC00-CD1D-4AFE-8082-5738A561713E}"/>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2" name="5. Source" hidden="1">
            <a:extLst>
              <a:ext uri="{FF2B5EF4-FFF2-40B4-BE49-F238E27FC236}">
                <a16:creationId xmlns:a16="http://schemas.microsoft.com/office/drawing/2014/main" id="{64C91C80-6C09-4D3D-856F-40475CD2DD48}"/>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Tree>
    <p:extLst>
      <p:ext uri="{BB962C8B-B14F-4D97-AF65-F5344CB8AC3E}">
        <p14:creationId xmlns:p14="http://schemas.microsoft.com/office/powerpoint/2010/main" val="36212299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263052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6DBF7DE7-B91D-4ABB-954A-50FBE28D25BA}"/>
              </a:ext>
            </a:extLst>
          </p:cNvPr>
          <p:cNvSpPr>
            <a:spLocks noChangeArrowheads="1"/>
          </p:cNvSpPr>
          <p:nvPr userDrawn="1">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5593A88A-4833-45F6-99A2-C493C0AB8824}"/>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grpSp>
        <p:nvGrpSpPr>
          <p:cNvPr id="6" name="Group 4">
            <a:extLst>
              <a:ext uri="{FF2B5EF4-FFF2-40B4-BE49-F238E27FC236}">
                <a16:creationId xmlns:a16="http://schemas.microsoft.com/office/drawing/2014/main" id="{B647C9C1-5471-4388-BAD4-426A4D690ED9}"/>
              </a:ext>
            </a:extLst>
          </p:cNvPr>
          <p:cNvGrpSpPr>
            <a:grpSpLocks noChangeAspect="1"/>
          </p:cNvGrpSpPr>
          <p:nvPr userDrawn="1"/>
        </p:nvGrpSpPr>
        <p:grpSpPr bwMode="ltGray">
          <a:xfrm>
            <a:off x="11256172" y="6417372"/>
            <a:ext cx="394856" cy="373880"/>
            <a:chOff x="-240" y="2757"/>
            <a:chExt cx="960" cy="909"/>
          </a:xfrm>
        </p:grpSpPr>
        <p:sp>
          <p:nvSpPr>
            <p:cNvPr id="7" name="Freeform 5">
              <a:extLst>
                <a:ext uri="{FF2B5EF4-FFF2-40B4-BE49-F238E27FC236}">
                  <a16:creationId xmlns:a16="http://schemas.microsoft.com/office/drawing/2014/main" id="{F37C1500-6D09-4B69-BE3B-22AF92B92877}"/>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0" name="Rectangle 6">
              <a:extLst>
                <a:ext uri="{FF2B5EF4-FFF2-40B4-BE49-F238E27FC236}">
                  <a16:creationId xmlns:a16="http://schemas.microsoft.com/office/drawing/2014/main" id="{33502601-D301-4859-B697-92C3C2329416}"/>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1" name="Freeform 7">
              <a:extLst>
                <a:ext uri="{FF2B5EF4-FFF2-40B4-BE49-F238E27FC236}">
                  <a16:creationId xmlns:a16="http://schemas.microsoft.com/office/drawing/2014/main" id="{38ACD85C-2DE8-4826-871D-6160EC075A46}"/>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2" name="Freeform 8">
              <a:extLst>
                <a:ext uri="{FF2B5EF4-FFF2-40B4-BE49-F238E27FC236}">
                  <a16:creationId xmlns:a16="http://schemas.microsoft.com/office/drawing/2014/main" id="{FA3DE10D-3AA1-400C-BAAC-13F5B20FCE5F}"/>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3" name="Freeform 9">
              <a:extLst>
                <a:ext uri="{FF2B5EF4-FFF2-40B4-BE49-F238E27FC236}">
                  <a16:creationId xmlns:a16="http://schemas.microsoft.com/office/drawing/2014/main" id="{2DDCBF92-A2DF-4C8B-846F-A6A6F239AADF}"/>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grpSp>
      <p:pic>
        <p:nvPicPr>
          <p:cNvPr id="14" name="Picture 720" descr="EDCTP and Africa CDC workshop report on disparities in research funding -  EDCTP">
            <a:extLst>
              <a:ext uri="{FF2B5EF4-FFF2-40B4-BE49-F238E27FC236}">
                <a16:creationId xmlns:a16="http://schemas.microsoft.com/office/drawing/2014/main" id="{A1D48B6D-051F-45EA-9C47-02764BCD5EFE}"/>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37559406-1D2B-4BD8-A46C-F6B5F936A61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41276579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a:off x="3817044"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10120155"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ltGray">
          <a:xfrm>
            <a:off x="799595" y="2877126"/>
            <a:ext cx="2467979" cy="872430"/>
          </a:xfrm>
          <a:prstGeom prst="rect">
            <a:avLst/>
          </a:prstGeom>
        </p:spPr>
      </p:pic>
    </p:spTree>
    <p:extLst>
      <p:ext uri="{BB962C8B-B14F-4D97-AF65-F5344CB8AC3E}">
        <p14:creationId xmlns:p14="http://schemas.microsoft.com/office/powerpoint/2010/main" val="12469654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Impact Slide 1">
    <p:spTree>
      <p:nvGrpSpPr>
        <p:cNvPr id="1" name=""/>
        <p:cNvGrpSpPr/>
        <p:nvPr/>
      </p:nvGrpSpPr>
      <p:grpSpPr>
        <a:xfrm>
          <a:off x="0" y="0"/>
          <a:ext cx="0" cy="0"/>
          <a:chOff x="0" y="0"/>
          <a:chExt cx="0" cy="0"/>
        </a:xfrm>
      </p:grpSpPr>
      <p:sp>
        <p:nvSpPr>
          <p:cNvPr id="2" name="Title 1"/>
          <p:cNvSpPr>
            <a:spLocks noGrp="1"/>
          </p:cNvSpPr>
          <p:nvPr>
            <p:ph type="title"/>
          </p:nvPr>
        </p:nvSpPr>
        <p:spPr>
          <a:xfrm>
            <a:off x="485154" y="234865"/>
            <a:ext cx="5572782" cy="1243551"/>
          </a:xfrm>
        </p:spPr>
        <p:txBody>
          <a:bodyPr/>
          <a:lstStyle>
            <a:lvl1pPr>
              <a:lnSpc>
                <a:spcPct val="90000"/>
              </a:lnSpc>
              <a:spcBef>
                <a:spcPts val="612"/>
              </a:spcBef>
              <a:spcAft>
                <a:spcPts val="612"/>
              </a:spcAft>
              <a:defRPr sz="4489">
                <a:solidFill>
                  <a:schemeClr val="accent4"/>
                </a:solidFill>
              </a:defRPr>
            </a:lvl1pPr>
          </a:lstStyle>
          <a:p>
            <a:r>
              <a:rPr lang="en-US" dirty="0"/>
              <a:t>Click to edit Master title style</a:t>
            </a:r>
          </a:p>
        </p:txBody>
      </p:sp>
      <p:sp>
        <p:nvSpPr>
          <p:cNvPr id="5" name="Slide Number"/>
          <p:cNvSpPr txBox="1">
            <a:spLocks/>
          </p:cNvSpPr>
          <p:nvPr/>
        </p:nvSpPr>
        <p:spPr bwMode="gray">
          <a:xfrm>
            <a:off x="11652053" y="6639224"/>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16" smtClean="0">
                <a:solidFill>
                  <a:schemeClr val="accent2"/>
                </a:solidFill>
              </a:rPr>
              <a:pPr lvl="0"/>
              <a:t>‹#›</a:t>
            </a:fld>
            <a:endParaRPr lang="x-none" sz="816" dirty="0">
              <a:solidFill>
                <a:schemeClr val="accent2"/>
              </a:solidFill>
            </a:endParaRPr>
          </a:p>
        </p:txBody>
      </p:sp>
      <p:sp>
        <p:nvSpPr>
          <p:cNvPr id="6" name="SlideLogoText"/>
          <p:cNvSpPr>
            <a:spLocks noChangeArrowheads="1"/>
          </p:cNvSpPr>
          <p:nvPr>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kern="1200" baseline="0" noProof="0" dirty="0">
                <a:solidFill>
                  <a:schemeClr val="accent2"/>
                </a:solidFill>
                <a:latin typeface="Arial" charset="0"/>
                <a:ea typeface="+mn-ea"/>
                <a:cs typeface="+mn-cs"/>
              </a:rPr>
              <a:t>McKinsey &amp; Company</a:t>
            </a:r>
          </a:p>
        </p:txBody>
      </p:sp>
    </p:spTree>
    <p:extLst>
      <p:ext uri="{BB962C8B-B14F-4D97-AF65-F5344CB8AC3E}">
        <p14:creationId xmlns:p14="http://schemas.microsoft.com/office/powerpoint/2010/main" val="3119716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a:ea typeface="+mn-ea"/>
                <a:cs typeface="+mn-cs"/>
                <a:sym typeface="Trebuchet MS" panose="020B0603020202020204" pitchFamily="34" charset="0"/>
              </a:rPr>
              <a:t>Copyright © 2022 by Boston Consulting Group. All rights reserved.</a:t>
            </a:r>
          </a:p>
        </p:txBody>
      </p:sp>
      <p:sp>
        <p:nvSpPr>
          <p:cNvPr id="8" name="Title 7"/>
          <p:cNvSpPr>
            <a:spLocks noGrp="1"/>
          </p:cNvSpPr>
          <p:nvPr>
            <p:ph type="title" hasCustomPrompt="1"/>
          </p:nvPr>
        </p:nvSpPr>
        <p:spPr>
          <a:xfrm>
            <a:off x="457079" y="421353"/>
            <a:ext cx="11082528" cy="332399"/>
          </a:xfr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380099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DD627FC9-27AF-9EE0-90F5-62713346F102}"/>
              </a:ext>
            </a:extLst>
          </p:cNvPr>
          <p:cNvPicPr>
            <a:picLocks noChangeAspect="1"/>
          </p:cNvPicPr>
          <p:nvPr userDrawn="1"/>
        </p:nvPicPr>
        <p:blipFill>
          <a:blip r:embed="rId10"/>
          <a:stretch>
            <a:fillRect/>
          </a:stretch>
        </p:blipFill>
        <p:spPr>
          <a:xfrm>
            <a:off x="191258" y="361706"/>
            <a:ext cx="1474501" cy="684338"/>
          </a:xfrm>
          <a:prstGeom prst="rect">
            <a:avLst/>
          </a:prstGeom>
        </p:spPr>
      </p:pic>
      <p:sp>
        <p:nvSpPr>
          <p:cNvPr id="5" name="TextBox 4">
            <a:extLst>
              <a:ext uri="{FF2B5EF4-FFF2-40B4-BE49-F238E27FC236}">
                <a16:creationId xmlns:a16="http://schemas.microsoft.com/office/drawing/2014/main" id="{EB1186A2-64DF-E4D0-FD2B-608449A03FC3}"/>
              </a:ext>
            </a:extLst>
          </p:cNvPr>
          <p:cNvSpPr txBox="1"/>
          <p:nvPr userDrawn="1"/>
        </p:nvSpPr>
        <p:spPr>
          <a:xfrm>
            <a:off x="-392483" y="6390460"/>
            <a:ext cx="3348465" cy="307777"/>
          </a:xfrm>
          <a:prstGeom prst="rect">
            <a:avLst/>
          </a:prstGeom>
          <a:noFill/>
        </p:spPr>
        <p:txBody>
          <a:bodyPr wrap="square">
            <a:spAutoFit/>
          </a:bodyPr>
          <a:lstStyle/>
          <a:p>
            <a:pPr algn="r"/>
            <a:r>
              <a:rPr lang="en-UG" sz="1400" b="1">
                <a:solidFill>
                  <a:srgbClr val="9F2525"/>
                </a:solidFill>
              </a:rPr>
              <a:t>Safeguarding Africa’s Health</a:t>
            </a:r>
          </a:p>
        </p:txBody>
      </p:sp>
      <p:grpSp>
        <p:nvGrpSpPr>
          <p:cNvPr id="10" name="Group 4">
            <a:extLst>
              <a:ext uri="{FF2B5EF4-FFF2-40B4-BE49-F238E27FC236}">
                <a16:creationId xmlns:a16="http://schemas.microsoft.com/office/drawing/2014/main" id="{FAE735BD-53A5-8A27-C97A-FB73492A9A62}"/>
              </a:ext>
            </a:extLst>
          </p:cNvPr>
          <p:cNvGrpSpPr>
            <a:grpSpLocks noChangeAspect="1"/>
          </p:cNvGrpSpPr>
          <p:nvPr userDrawn="1"/>
        </p:nvGrpSpPr>
        <p:grpSpPr bwMode="ltGray">
          <a:xfrm>
            <a:off x="10781610" y="6324357"/>
            <a:ext cx="394856" cy="373880"/>
            <a:chOff x="-240" y="2757"/>
            <a:chExt cx="960" cy="909"/>
          </a:xfrm>
        </p:grpSpPr>
        <p:sp>
          <p:nvSpPr>
            <p:cNvPr id="11" name="Freeform 5">
              <a:extLst>
                <a:ext uri="{FF2B5EF4-FFF2-40B4-BE49-F238E27FC236}">
                  <a16:creationId xmlns:a16="http://schemas.microsoft.com/office/drawing/2014/main" id="{3FDE4EA5-CAB4-8859-C336-399A02192EF3}"/>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Rectangle 6">
              <a:extLst>
                <a:ext uri="{FF2B5EF4-FFF2-40B4-BE49-F238E27FC236}">
                  <a16:creationId xmlns:a16="http://schemas.microsoft.com/office/drawing/2014/main" id="{527977B6-FF72-5565-BA52-37B031A09769}"/>
                </a:ext>
              </a:extLst>
            </p:cNvPr>
            <p:cNvSpPr>
              <a:spLocks noChangeArrowheads="1"/>
            </p:cNvSpPr>
            <p:nvPr userDrawn="1"/>
          </p:nvSpPr>
          <p:spPr bwMode="ltGray">
            <a:xfrm>
              <a:off x="110" y="2819"/>
              <a:ext cx="445"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3" name="Freeform 7">
              <a:extLst>
                <a:ext uri="{FF2B5EF4-FFF2-40B4-BE49-F238E27FC236}">
                  <a16:creationId xmlns:a16="http://schemas.microsoft.com/office/drawing/2014/main" id="{6D7F8014-8C2B-B4D7-F0E2-1CEA7301A1CC}"/>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4" name="Freeform 8">
              <a:extLst>
                <a:ext uri="{FF2B5EF4-FFF2-40B4-BE49-F238E27FC236}">
                  <a16:creationId xmlns:a16="http://schemas.microsoft.com/office/drawing/2014/main" id="{CE831867-729F-9962-C87C-5C59E95F1CCD}"/>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5" name="Freeform 9">
              <a:extLst>
                <a:ext uri="{FF2B5EF4-FFF2-40B4-BE49-F238E27FC236}">
                  <a16:creationId xmlns:a16="http://schemas.microsoft.com/office/drawing/2014/main" id="{4260D1F6-378E-F11E-735B-D4826AF7E4B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
        <p:nvSpPr>
          <p:cNvPr id="19" name="2. Slide Title">
            <a:extLst>
              <a:ext uri="{FF2B5EF4-FFF2-40B4-BE49-F238E27FC236}">
                <a16:creationId xmlns:a16="http://schemas.microsoft.com/office/drawing/2014/main" id="{969DF03A-4E2A-5DD9-4136-EEE045C15C4A}"/>
              </a:ext>
            </a:extLst>
          </p:cNvPr>
          <p:cNvSpPr>
            <a:spLocks noGrp="1"/>
          </p:cNvSpPr>
          <p:nvPr>
            <p:ph type="title"/>
            <p:custDataLst>
              <p:tags r:id="rId5"/>
            </p:custDataLst>
          </p:nvPr>
        </p:nvSpPr>
        <p:spPr>
          <a:xfrm>
            <a:off x="2955982" y="161335"/>
            <a:ext cx="6967728" cy="731520"/>
          </a:xfrm>
        </p:spPr>
        <p:txBody>
          <a:bodyPr vert="horz"/>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76A81D98-0277-F84C-5DBC-24ACBCED1B0D}"/>
              </a:ext>
            </a:extLst>
          </p:cNvPr>
          <p:cNvSpPr>
            <a:spLocks noGrp="1"/>
          </p:cNvSpPr>
          <p:nvPr>
            <p:ph type="subTitle" idx="1"/>
            <p:custDataLst>
              <p:tags r:id="rId6"/>
            </p:custDataLst>
          </p:nvPr>
        </p:nvSpPr>
        <p:spPr>
          <a:xfrm>
            <a:off x="554736" y="919250"/>
            <a:ext cx="69677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rgbClr val="7F7F7F"/>
                </a:solidFill>
              </a:defRPr>
            </a:lvl1pPr>
          </a:lstStyle>
          <a:p>
            <a:pPr lvl="0">
              <a:buNone/>
            </a:pPr>
            <a:r>
              <a:rPr lang="en-US"/>
              <a:t>Click to edit Master subtitle style</a:t>
            </a:r>
          </a:p>
        </p:txBody>
      </p:sp>
      <p:sp>
        <p:nvSpPr>
          <p:cNvPr id="21" name="Google Shape;18;p2">
            <a:extLst>
              <a:ext uri="{FF2B5EF4-FFF2-40B4-BE49-F238E27FC236}">
                <a16:creationId xmlns:a16="http://schemas.microsoft.com/office/drawing/2014/main" id="{665CA073-3687-0F20-6D11-3A4EC8CB5FB2}"/>
              </a:ext>
            </a:extLst>
          </p:cNvPr>
          <p:cNvSpPr txBox="1">
            <a:spLocks noGrp="1"/>
          </p:cNvSpPr>
          <p:nvPr>
            <p:ph type="body" idx="1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Tree>
    <p:extLst>
      <p:ext uri="{BB962C8B-B14F-4D97-AF65-F5344CB8AC3E}">
        <p14:creationId xmlns:p14="http://schemas.microsoft.com/office/powerpoint/2010/main" val="20987155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0F658-7124-4D27-89F8-5AF1A12397FC}"/>
              </a:ext>
            </a:extLst>
          </p:cNvPr>
          <p:cNvSpPr>
            <a:spLocks noGrp="1"/>
          </p:cNvSpPr>
          <p:nvPr>
            <p:ph type="ctrTitle"/>
          </p:nvPr>
        </p:nvSpPr>
        <p:spPr>
          <a:xfrm>
            <a:off x="1524000" y="1380225"/>
            <a:ext cx="9144000" cy="2129737"/>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186E64-5D31-4619-8776-666CB4EB1A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FA96B506-A7C6-49D7-A950-580D461F0A71}"/>
              </a:ext>
            </a:extLst>
          </p:cNvPr>
          <p:cNvSpPr>
            <a:spLocks noGrp="1"/>
          </p:cNvSpPr>
          <p:nvPr>
            <p:ph type="sldNum" sz="quarter" idx="12"/>
          </p:nvPr>
        </p:nvSpPr>
        <p:spPr/>
        <p:txBody>
          <a:bodyPr/>
          <a:lstStyle/>
          <a:p>
            <a:fld id="{CBD43EAB-9A1C-4B58-B84A-AC67B6EC63E1}" type="slidenum">
              <a:rPr lang="en-US" smtClean="0"/>
              <a:t>‹#›</a:t>
            </a:fld>
            <a:endParaRPr lang="en-US"/>
          </a:p>
        </p:txBody>
      </p:sp>
      <p:sp>
        <p:nvSpPr>
          <p:cNvPr id="4" name="TextBox 3">
            <a:extLst>
              <a:ext uri="{FF2B5EF4-FFF2-40B4-BE49-F238E27FC236}">
                <a16:creationId xmlns:a16="http://schemas.microsoft.com/office/drawing/2014/main" id="{D181B0F2-5167-19AF-D4D6-51095A49E557}"/>
              </a:ext>
            </a:extLst>
          </p:cNvPr>
          <p:cNvSpPr txBox="1"/>
          <p:nvPr userDrawn="1"/>
        </p:nvSpPr>
        <p:spPr>
          <a:xfrm>
            <a:off x="8323117" y="765996"/>
            <a:ext cx="3348465" cy="369332"/>
          </a:xfrm>
          <a:prstGeom prst="rect">
            <a:avLst/>
          </a:prstGeom>
          <a:noFill/>
        </p:spPr>
        <p:txBody>
          <a:bodyPr wrap="square">
            <a:spAutoFit/>
          </a:bodyPr>
          <a:lstStyle/>
          <a:p>
            <a:r>
              <a:rPr lang="en-UG" sz="1800" b="1">
                <a:solidFill>
                  <a:schemeClr val="bg1"/>
                </a:solidFill>
              </a:rPr>
              <a:t>Safeguarding Africa’s health</a:t>
            </a:r>
          </a:p>
        </p:txBody>
      </p:sp>
    </p:spTree>
    <p:extLst>
      <p:ext uri="{BB962C8B-B14F-4D97-AF65-F5344CB8AC3E}">
        <p14:creationId xmlns:p14="http://schemas.microsoft.com/office/powerpoint/2010/main" val="2238352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CF64C615-2582-4DCF-9142-3B691B7548E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8552986C-9452-46D3-8888-20E612BE00A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60354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A3D21A23-A104-496A-A3BB-E2824FA8D4F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bg2"/>
                </a:solidFill>
              </a:defRPr>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p:custDataLst>
              <p:tags r:id="rId4"/>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2"/>
                </a:solidFill>
              </a:defRPr>
            </a:lvl1pPr>
          </a:lstStyle>
          <a:p>
            <a:pPr lvl="0"/>
            <a:r>
              <a:rPr lang="en-US"/>
              <a:t>Click to edit Master title style</a:t>
            </a:r>
            <a:endParaRPr lang="en-US" dirty="0"/>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bg2"/>
                </a:solidFill>
              </a:defRPr>
            </a:lvl1pPr>
          </a:lstStyle>
          <a:p>
            <a:pPr lvl="0">
              <a:buNone/>
            </a:pPr>
            <a:r>
              <a:rPr lang="en-US"/>
              <a:t>Click to edit Master subtitle style</a:t>
            </a:r>
            <a:endParaRPr lang="en-US" dirty="0"/>
          </a:p>
        </p:txBody>
      </p:sp>
      <p:pic>
        <p:nvPicPr>
          <p:cNvPr id="26" name="Picture 25">
            <a:extLst>
              <a:ext uri="{FF2B5EF4-FFF2-40B4-BE49-F238E27FC236}">
                <a16:creationId xmlns:a16="http://schemas.microsoft.com/office/drawing/2014/main" id="{70BACD0A-B176-44DB-A133-D449488AB5A9}"/>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28" name="Picture 27">
            <a:extLst>
              <a:ext uri="{FF2B5EF4-FFF2-40B4-BE49-F238E27FC236}">
                <a16:creationId xmlns:a16="http://schemas.microsoft.com/office/drawing/2014/main" id="{EC3FDF1A-4D14-4090-9EED-9E4DE3DBE79F}"/>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29" name="Group 28">
            <a:extLst>
              <a:ext uri="{FF2B5EF4-FFF2-40B4-BE49-F238E27FC236}">
                <a16:creationId xmlns:a16="http://schemas.microsoft.com/office/drawing/2014/main" id="{CDFBF8AE-F994-4CC4-BA6C-8FAA88311833}"/>
              </a:ext>
            </a:extLst>
          </p:cNvPr>
          <p:cNvGrpSpPr>
            <a:grpSpLocks noChangeAspect="1"/>
          </p:cNvGrpSpPr>
          <p:nvPr userDrawn="1"/>
        </p:nvGrpSpPr>
        <p:grpSpPr bwMode="ltGray">
          <a:xfrm>
            <a:off x="10402367" y="5349875"/>
            <a:ext cx="950497" cy="900000"/>
            <a:chOff x="10236055" y="680939"/>
            <a:chExt cx="759866" cy="719497"/>
          </a:xfrm>
        </p:grpSpPr>
        <p:sp>
          <p:nvSpPr>
            <p:cNvPr id="30" name="Freeform 5">
              <a:extLst>
                <a:ext uri="{FF2B5EF4-FFF2-40B4-BE49-F238E27FC236}">
                  <a16:creationId xmlns:a16="http://schemas.microsoft.com/office/drawing/2014/main" id="{D35963A8-BB09-4371-877B-057423491DF2}"/>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1" name="Rectangle 6">
              <a:extLst>
                <a:ext uri="{FF2B5EF4-FFF2-40B4-BE49-F238E27FC236}">
                  <a16:creationId xmlns:a16="http://schemas.microsoft.com/office/drawing/2014/main" id="{BBE09AF2-2A54-445D-8F64-9D7F19B00A85}"/>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2" name="Freeform 7">
              <a:extLst>
                <a:ext uri="{FF2B5EF4-FFF2-40B4-BE49-F238E27FC236}">
                  <a16:creationId xmlns:a16="http://schemas.microsoft.com/office/drawing/2014/main" id="{3E49903B-7D11-4416-90E4-1D9E7D5436EF}"/>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 name="Freeform 8">
              <a:extLst>
                <a:ext uri="{FF2B5EF4-FFF2-40B4-BE49-F238E27FC236}">
                  <a16:creationId xmlns:a16="http://schemas.microsoft.com/office/drawing/2014/main" id="{6C832AF7-3499-4BBD-8C3A-99E4268CECD9}"/>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 name="Freeform 9">
              <a:extLst>
                <a:ext uri="{FF2B5EF4-FFF2-40B4-BE49-F238E27FC236}">
                  <a16:creationId xmlns:a16="http://schemas.microsoft.com/office/drawing/2014/main" id="{D4226C4E-AAF5-499A-BD28-C95AE1686913}"/>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
        <p:nvSpPr>
          <p:cNvPr id="48" name="Documenttype">
            <a:extLst>
              <a:ext uri="{FF2B5EF4-FFF2-40B4-BE49-F238E27FC236}">
                <a16:creationId xmlns:a16="http://schemas.microsoft.com/office/drawing/2014/main" id="{475EA520-EE57-4A02-8771-15CE4FCE82C2}"/>
              </a:ext>
            </a:extLst>
          </p:cNvPr>
          <p:cNvSpPr txBox="1">
            <a:spLocks/>
          </p:cNvSpPr>
          <p:nvPr userDrawn="1">
            <p:custDataLst>
              <p:tags r:id="rId6"/>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bg2"/>
                </a:solidFill>
                <a:effectLst/>
                <a:uLnTx/>
                <a:uFillTx/>
                <a:latin typeface="Arial"/>
                <a:ea typeface="+mn-ea"/>
                <a:cs typeface="Arial" panose="020B0604020202020204" pitchFamily="34" charset="0"/>
              </a:rPr>
              <a:t> </a:t>
            </a:r>
          </a:p>
        </p:txBody>
      </p:sp>
    </p:spTree>
    <p:extLst>
      <p:ext uri="{BB962C8B-B14F-4D97-AF65-F5344CB8AC3E}">
        <p14:creationId xmlns:p14="http://schemas.microsoft.com/office/powerpoint/2010/main" val="2254631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12" name="Slide Number">
            <a:extLst>
              <a:ext uri="{FF2B5EF4-FFF2-40B4-BE49-F238E27FC236}">
                <a16:creationId xmlns:a16="http://schemas.microsoft.com/office/drawing/2014/main" id="{480918F5-69A8-40D4-9A1C-19A48B2E8F78}"/>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04451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3" name="Slide Number">
            <a:extLst>
              <a:ext uri="{FF2B5EF4-FFF2-40B4-BE49-F238E27FC236}">
                <a16:creationId xmlns:a16="http://schemas.microsoft.com/office/drawing/2014/main" id="{CE0B50F1-6D0E-4C53-B9AB-8889EFECA0E8}"/>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447046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57411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30D20F8F-9B1E-4BF1-A6A1-7FA56E3BDA96}"/>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Slide Number">
            <a:extLst>
              <a:ext uri="{FF2B5EF4-FFF2-40B4-BE49-F238E27FC236}">
                <a16:creationId xmlns:a16="http://schemas.microsoft.com/office/drawing/2014/main" id="{C8B1F0DF-FA5B-408A-8FCC-5148EA64CBCE}"/>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196385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CF64C615-2582-4DCF-9142-3B691B7548E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8552986C-9452-46D3-8888-20E612BE00A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6020790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94895A5-9A87-472E-A5BA-9BA01ABF90A5}"/>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DB2D9C9-2BCB-4804-8631-381BA36F2FA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4304649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1417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34" name="Slide Number">
            <a:extLst>
              <a:ext uri="{FF2B5EF4-FFF2-40B4-BE49-F238E27FC236}">
                <a16:creationId xmlns:a16="http://schemas.microsoft.com/office/drawing/2014/main" id="{00D78BE5-42EA-4C8E-996C-4517056791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11320824"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0" name="Documenttype">
            <a:extLst>
              <a:ext uri="{FF2B5EF4-FFF2-40B4-BE49-F238E27FC236}">
                <a16:creationId xmlns:a16="http://schemas.microsoft.com/office/drawing/2014/main" id="{CF41017B-E981-4DFE-AC41-41B7E10888EA}"/>
              </a:ext>
            </a:extLst>
          </p:cNvPr>
          <p:cNvSpPr txBox="1">
            <a:spLocks/>
          </p:cNvSpPr>
          <p:nvPr userDrawn="1">
            <p:custDataLst>
              <p:tags r:id="rId8"/>
            </p:custDataLst>
          </p:nvPr>
        </p:nvSpPr>
        <p:spPr>
          <a:xfrm>
            <a:off x="3258588"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 </a:t>
            </a:r>
          </a:p>
        </p:txBody>
      </p:sp>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9"/>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1199254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4032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575BF50E-69E8-4E92-BF47-A468862F9929}"/>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A386E180-04F8-4B18-AFAD-F28A3F606104}"/>
              </a:ext>
            </a:extLst>
          </p:cNvPr>
          <p:cNvGrpSpPr>
            <a:grpSpLocks noChangeAspect="1"/>
          </p:cNvGrpSpPr>
          <p:nvPr userDrawn="1"/>
        </p:nvGrpSpPr>
        <p:grpSpPr bwMode="ltGray">
          <a:xfrm>
            <a:off x="11320824" y="6417372"/>
            <a:ext cx="394856" cy="373880"/>
            <a:chOff x="-240" y="2757"/>
            <a:chExt cx="960" cy="909"/>
          </a:xfrm>
        </p:grpSpPr>
        <p:sp>
          <p:nvSpPr>
            <p:cNvPr id="23" name="Freeform 5">
              <a:extLst>
                <a:ext uri="{FF2B5EF4-FFF2-40B4-BE49-F238E27FC236}">
                  <a16:creationId xmlns:a16="http://schemas.microsoft.com/office/drawing/2014/main" id="{2B78B299-5876-4D7B-9720-0A8A896EEF9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6A5356A1-18AE-470D-8027-E9D8DF8E448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B50C1A43-8E10-4559-A869-314C85AA397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7AF157-A820-4ACD-AB63-8200D1F2777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52797A5B-FBA9-4BF9-A66E-5A9D7016E53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9699D850-373E-438C-83AD-0A7457C5C2E2}"/>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7686E5-229C-438C-A4A6-423982C30F5F}"/>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1" name="Documenttype">
            <a:extLst>
              <a:ext uri="{FF2B5EF4-FFF2-40B4-BE49-F238E27FC236}">
                <a16:creationId xmlns:a16="http://schemas.microsoft.com/office/drawing/2014/main" id="{A51F824A-049C-4D86-B34E-124E418B83C6}"/>
              </a:ext>
            </a:extLst>
          </p:cNvPr>
          <p:cNvSpPr txBox="1">
            <a:spLocks/>
          </p:cNvSpPr>
          <p:nvPr userDrawn="1">
            <p:custDataLst>
              <p:tags r:id="rId8"/>
            </p:custDataLst>
          </p:nvPr>
        </p:nvSpPr>
        <p:spPr>
          <a:xfrm>
            <a:off x="6385191" y="6621278"/>
            <a:ext cx="3909412"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 </a:t>
            </a:r>
          </a:p>
        </p:txBody>
      </p:sp>
      <p:sp>
        <p:nvSpPr>
          <p:cNvPr id="42" name="5. Source" hidden="1">
            <a:extLst>
              <a:ext uri="{FF2B5EF4-FFF2-40B4-BE49-F238E27FC236}">
                <a16:creationId xmlns:a16="http://schemas.microsoft.com/office/drawing/2014/main" id="{E3771B26-C02B-439A-9350-D1C91B79CE8B}"/>
              </a:ext>
            </a:extLst>
          </p:cNvPr>
          <p:cNvSpPr txBox="1">
            <a:spLocks/>
          </p:cNvSpPr>
          <p:nvPr userDrawn="1">
            <p:custDataLst>
              <p:tags r:id="rId9"/>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5737188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91CEAC37-6545-4492-AAB0-C163408D5D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1" name="Group 4">
            <a:extLst>
              <a:ext uri="{FF2B5EF4-FFF2-40B4-BE49-F238E27FC236}">
                <a16:creationId xmlns:a16="http://schemas.microsoft.com/office/drawing/2014/main" id="{29DA557C-6F84-460C-9E9A-B319AC79D329}"/>
              </a:ext>
            </a:extLst>
          </p:cNvPr>
          <p:cNvGrpSpPr>
            <a:grpSpLocks noChangeAspect="1"/>
          </p:cNvGrpSpPr>
          <p:nvPr userDrawn="1"/>
        </p:nvGrpSpPr>
        <p:grpSpPr bwMode="ltGray">
          <a:xfrm>
            <a:off x="11320824" y="6417372"/>
            <a:ext cx="394856" cy="373880"/>
            <a:chOff x="-240" y="2757"/>
            <a:chExt cx="960" cy="909"/>
          </a:xfrm>
        </p:grpSpPr>
        <p:sp>
          <p:nvSpPr>
            <p:cNvPr id="23" name="Freeform 5">
              <a:extLst>
                <a:ext uri="{FF2B5EF4-FFF2-40B4-BE49-F238E27FC236}">
                  <a16:creationId xmlns:a16="http://schemas.microsoft.com/office/drawing/2014/main" id="{A33616C8-F276-496E-97F5-626AF1A67BC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5BDB4C95-8B13-42E5-97C9-959C0762DD7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740B257D-609C-4C30-A37B-EDE85750E11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5E5772-7391-4093-8E15-D42F0ACD0E7C}"/>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D3E564C4-9BC2-4793-93C1-7A5968E816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3A103D6D-E496-4AD8-8181-08B1F4D45AC7}"/>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B0CEF7D-62D7-4B16-874C-7D6CF60330FF}"/>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1" name="Documenttype">
            <a:extLst>
              <a:ext uri="{FF2B5EF4-FFF2-40B4-BE49-F238E27FC236}">
                <a16:creationId xmlns:a16="http://schemas.microsoft.com/office/drawing/2014/main" id="{12763D74-A49A-49F7-B301-E70472F864F2}"/>
              </a:ext>
            </a:extLst>
          </p:cNvPr>
          <p:cNvSpPr txBox="1">
            <a:spLocks/>
          </p:cNvSpPr>
          <p:nvPr userDrawn="1">
            <p:custDataLst>
              <p:tags r:id="rId8"/>
            </p:custDataLst>
          </p:nvPr>
        </p:nvSpPr>
        <p:spPr>
          <a:xfrm>
            <a:off x="6385191" y="6621278"/>
            <a:ext cx="3909412"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 </a:t>
            </a:r>
          </a:p>
        </p:txBody>
      </p:sp>
      <p:sp>
        <p:nvSpPr>
          <p:cNvPr id="42" name="5. Source" hidden="1">
            <a:extLst>
              <a:ext uri="{FF2B5EF4-FFF2-40B4-BE49-F238E27FC236}">
                <a16:creationId xmlns:a16="http://schemas.microsoft.com/office/drawing/2014/main" id="{7E92BCC7-C8AA-436D-A5D5-738AB904E581}"/>
              </a:ext>
            </a:extLst>
          </p:cNvPr>
          <p:cNvSpPr txBox="1">
            <a:spLocks/>
          </p:cNvSpPr>
          <p:nvPr userDrawn="1">
            <p:custDataLst>
              <p:tags r:id="rId9"/>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40552256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11320824"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3" name="Documenttype">
            <a:extLst>
              <a:ext uri="{FF2B5EF4-FFF2-40B4-BE49-F238E27FC236}">
                <a16:creationId xmlns:a16="http://schemas.microsoft.com/office/drawing/2014/main" id="{3410F8FE-67D8-49B8-982D-C234BB949C86}"/>
              </a:ext>
            </a:extLst>
          </p:cNvPr>
          <p:cNvSpPr txBox="1">
            <a:spLocks/>
          </p:cNvSpPr>
          <p:nvPr userDrawn="1">
            <p:custDataLst>
              <p:tags r:id="rId8"/>
            </p:custDataLst>
          </p:nvPr>
        </p:nvSpPr>
        <p:spPr>
          <a:xfrm>
            <a:off x="3843943" y="6621278"/>
            <a:ext cx="3909412"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 </a:t>
            </a:r>
          </a:p>
        </p:txBody>
      </p:sp>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9"/>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234663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94895A5-9A87-472E-A5BA-9BA01ABF90A5}"/>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DB2D9C9-2BCB-4804-8631-381BA36F2FA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411697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4BB34CAF-3D4A-4A48-A97F-048744350F6E}"/>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4" name="Group 4">
            <a:extLst>
              <a:ext uri="{FF2B5EF4-FFF2-40B4-BE49-F238E27FC236}">
                <a16:creationId xmlns:a16="http://schemas.microsoft.com/office/drawing/2014/main" id="{2A80F2F2-115C-4E8E-B9DC-6DD20548D704}"/>
              </a:ext>
            </a:extLst>
          </p:cNvPr>
          <p:cNvGrpSpPr>
            <a:grpSpLocks noChangeAspect="1"/>
          </p:cNvGrpSpPr>
          <p:nvPr userDrawn="1"/>
        </p:nvGrpSpPr>
        <p:grpSpPr bwMode="ltGray">
          <a:xfrm>
            <a:off x="11320824" y="6417372"/>
            <a:ext cx="394856" cy="373880"/>
            <a:chOff x="-240" y="2757"/>
            <a:chExt cx="960" cy="909"/>
          </a:xfrm>
        </p:grpSpPr>
        <p:sp>
          <p:nvSpPr>
            <p:cNvPr id="29" name="Freeform 5">
              <a:extLst>
                <a:ext uri="{FF2B5EF4-FFF2-40B4-BE49-F238E27FC236}">
                  <a16:creationId xmlns:a16="http://schemas.microsoft.com/office/drawing/2014/main" id="{11644F48-425C-46D9-94C1-23978DD0D13C}"/>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Rectangle 6">
              <a:extLst>
                <a:ext uri="{FF2B5EF4-FFF2-40B4-BE49-F238E27FC236}">
                  <a16:creationId xmlns:a16="http://schemas.microsoft.com/office/drawing/2014/main" id="{75CE9D97-8582-48C0-9419-917440456910}"/>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7">
              <a:extLst>
                <a:ext uri="{FF2B5EF4-FFF2-40B4-BE49-F238E27FC236}">
                  <a16:creationId xmlns:a16="http://schemas.microsoft.com/office/drawing/2014/main" id="{E67EF180-B650-4C4A-91F3-F097E0A099E4}"/>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8">
              <a:extLst>
                <a:ext uri="{FF2B5EF4-FFF2-40B4-BE49-F238E27FC236}">
                  <a16:creationId xmlns:a16="http://schemas.microsoft.com/office/drawing/2014/main" id="{3F4879AE-2BA2-4497-B15D-BC59E7461E6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3" name="Freeform 9">
              <a:extLst>
                <a:ext uri="{FF2B5EF4-FFF2-40B4-BE49-F238E27FC236}">
                  <a16:creationId xmlns:a16="http://schemas.microsoft.com/office/drawing/2014/main" id="{CFDF7617-B35D-4046-93A3-76A85D2829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4" name="Picture 720" descr="EDCTP and Africa CDC workshop report on disparities in research funding -  EDCTP">
            <a:extLst>
              <a:ext uri="{FF2B5EF4-FFF2-40B4-BE49-F238E27FC236}">
                <a16:creationId xmlns:a16="http://schemas.microsoft.com/office/drawing/2014/main" id="{814ED359-19C4-4C9A-ADDF-8DC8C13C0852}"/>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899874C-DF8F-4F46-A2EB-C41122F78A75}"/>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8" name="Documenttype">
            <a:extLst>
              <a:ext uri="{FF2B5EF4-FFF2-40B4-BE49-F238E27FC236}">
                <a16:creationId xmlns:a16="http://schemas.microsoft.com/office/drawing/2014/main" id="{06CEDE49-6DB3-4C27-87F8-9E3DB8BC4194}"/>
              </a:ext>
            </a:extLst>
          </p:cNvPr>
          <p:cNvSpPr txBox="1">
            <a:spLocks/>
          </p:cNvSpPr>
          <p:nvPr userDrawn="1">
            <p:custDataLst>
              <p:tags r:id="rId8"/>
            </p:custDataLst>
          </p:nvPr>
        </p:nvSpPr>
        <p:spPr>
          <a:xfrm>
            <a:off x="3843943" y="6621278"/>
            <a:ext cx="3909412"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 </a:t>
            </a:r>
          </a:p>
        </p:txBody>
      </p:sp>
      <p:sp>
        <p:nvSpPr>
          <p:cNvPr id="39" name="5. Source" hidden="1">
            <a:extLst>
              <a:ext uri="{FF2B5EF4-FFF2-40B4-BE49-F238E27FC236}">
                <a16:creationId xmlns:a16="http://schemas.microsoft.com/office/drawing/2014/main" id="{B0B197DD-58D4-4FDB-B1A9-FA59611691E7}"/>
              </a:ext>
            </a:extLst>
          </p:cNvPr>
          <p:cNvSpPr txBox="1">
            <a:spLocks/>
          </p:cNvSpPr>
          <p:nvPr userDrawn="1">
            <p:custDataLst>
              <p:tags r:id="rId9"/>
            </p:custDataLst>
          </p:nvPr>
        </p:nvSpPr>
        <p:spPr>
          <a:xfrm>
            <a:off x="554733"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8121719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9" name="Straight Connector 8">
            <a:extLst>
              <a:ext uri="{FF2B5EF4-FFF2-40B4-BE49-F238E27FC236}">
                <a16:creationId xmlns:a16="http://schemas.microsoft.com/office/drawing/2014/main" id="{BC2CB6D3-E8B1-4229-A1B9-B75E7D6E0420}"/>
              </a:ext>
            </a:extLst>
          </p:cNvPr>
          <p:cNvCxnSpPr>
            <a:cxnSpLocks/>
          </p:cNvCxnSpPr>
          <p:nvPr userDrawn="1"/>
        </p:nvCxnSpPr>
        <p:spPr bwMode="ltGray">
          <a:xfrm>
            <a:off x="554736" y="12388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4F9F5BDE-581C-4374-B70C-27D0344EE5B0}"/>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9" name="Group 4">
            <a:extLst>
              <a:ext uri="{FF2B5EF4-FFF2-40B4-BE49-F238E27FC236}">
                <a16:creationId xmlns:a16="http://schemas.microsoft.com/office/drawing/2014/main" id="{341FC139-26C0-428A-9DC5-8A451502DD7A}"/>
              </a:ext>
            </a:extLst>
          </p:cNvPr>
          <p:cNvGrpSpPr>
            <a:grpSpLocks noChangeAspect="1"/>
          </p:cNvGrpSpPr>
          <p:nvPr userDrawn="1"/>
        </p:nvGrpSpPr>
        <p:grpSpPr bwMode="ltGray">
          <a:xfrm>
            <a:off x="11320824" y="6417372"/>
            <a:ext cx="394856" cy="373880"/>
            <a:chOff x="-240" y="2757"/>
            <a:chExt cx="960" cy="909"/>
          </a:xfrm>
        </p:grpSpPr>
        <p:sp>
          <p:nvSpPr>
            <p:cNvPr id="20" name="Freeform 5">
              <a:extLst>
                <a:ext uri="{FF2B5EF4-FFF2-40B4-BE49-F238E27FC236}">
                  <a16:creationId xmlns:a16="http://schemas.microsoft.com/office/drawing/2014/main" id="{57329FBA-126A-4E1D-A53D-36B49F0BA19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2CB24FA4-CB4E-48A9-BAB5-6D243BE23A14}"/>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81CF441F-2F08-469D-9B69-253A5E2C5F5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5B584770-A271-4F31-A098-B5B042A2D27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C18A98AE-A202-476D-AED7-E2B36376F6E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9" name="Picture 720" descr="EDCTP and Africa CDC workshop report on disparities in research funding -  EDCTP">
            <a:extLst>
              <a:ext uri="{FF2B5EF4-FFF2-40B4-BE49-F238E27FC236}">
                <a16:creationId xmlns:a16="http://schemas.microsoft.com/office/drawing/2014/main" id="{A6D66E70-9662-44D7-A1AE-81FDCFDB0A16}"/>
              </a:ext>
            </a:extLst>
          </p:cNvPr>
          <p:cNvPicPr>
            <a:picLocks noChangeAspect="1" noChangeArrowheads="1"/>
          </p:cNvPicPr>
          <p:nvPr userDrawn="1"/>
        </p:nvPicPr>
        <p:blipFill rotWithShape="1">
          <a:blip r:embed="rId11"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9CA4BC00-CD1D-4AFE-8082-5738A561713E}"/>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1" name="Documenttype">
            <a:extLst>
              <a:ext uri="{FF2B5EF4-FFF2-40B4-BE49-F238E27FC236}">
                <a16:creationId xmlns:a16="http://schemas.microsoft.com/office/drawing/2014/main" id="{E4F7F4B0-2261-499D-96F0-D94031975B49}"/>
              </a:ext>
            </a:extLst>
          </p:cNvPr>
          <p:cNvSpPr txBox="1">
            <a:spLocks/>
          </p:cNvSpPr>
          <p:nvPr userDrawn="1">
            <p:custDataLst>
              <p:tags r:id="rId6"/>
            </p:custDataLst>
          </p:nvPr>
        </p:nvSpPr>
        <p:spPr>
          <a:xfrm>
            <a:off x="343957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 </a:t>
            </a:r>
          </a:p>
        </p:txBody>
      </p:sp>
      <p:sp>
        <p:nvSpPr>
          <p:cNvPr id="32" name="5. Source" hidden="1">
            <a:extLst>
              <a:ext uri="{FF2B5EF4-FFF2-40B4-BE49-F238E27FC236}">
                <a16:creationId xmlns:a16="http://schemas.microsoft.com/office/drawing/2014/main" id="{64C91C80-6C09-4D3D-856F-40475CD2DD48}"/>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7653282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6DBF7DE7-B91D-4ABB-954A-50FBE28D25BA}"/>
              </a:ext>
            </a:extLst>
          </p:cNvPr>
          <p:cNvSpPr>
            <a:spLocks noChangeArrowheads="1"/>
          </p:cNvSpPr>
          <p:nvPr userDrawn="1">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5593A88A-4833-45F6-99A2-C493C0AB8824}"/>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4011521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a:off x="3817044"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10120155"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ltGray">
          <a:xfrm>
            <a:off x="799595" y="2877126"/>
            <a:ext cx="2467979" cy="872430"/>
          </a:xfrm>
          <a:prstGeom prst="rect">
            <a:avLst/>
          </a:prstGeom>
        </p:spPr>
      </p:pic>
      <p:sp>
        <p:nvSpPr>
          <p:cNvPr id="15" name="Documenttype">
            <a:extLst>
              <a:ext uri="{FF2B5EF4-FFF2-40B4-BE49-F238E27FC236}">
                <a16:creationId xmlns:a16="http://schemas.microsoft.com/office/drawing/2014/main" id="{0F7CB758-B9E6-4C15-934F-A18C85AE65A1}"/>
              </a:ext>
            </a:extLst>
          </p:cNvPr>
          <p:cNvSpPr txBox="1">
            <a:spLocks/>
          </p:cNvSpPr>
          <p:nvPr userDrawn="1">
            <p:custDataLst>
              <p:tags r:id="rId2"/>
            </p:custDataLst>
          </p:nvPr>
        </p:nvSpPr>
        <p:spPr>
          <a:xfrm>
            <a:off x="2289947"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 </a:t>
            </a:r>
          </a:p>
        </p:txBody>
      </p:sp>
    </p:spTree>
    <p:extLst>
      <p:ext uri="{BB962C8B-B14F-4D97-AF65-F5344CB8AC3E}">
        <p14:creationId xmlns:p14="http://schemas.microsoft.com/office/powerpoint/2010/main" val="22703257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649596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35" name="Slide Number">
            <a:extLst>
              <a:ext uri="{FF2B5EF4-FFF2-40B4-BE49-F238E27FC236}">
                <a16:creationId xmlns:a16="http://schemas.microsoft.com/office/drawing/2014/main" id="{C2A29702-11D5-4943-862F-99BA9BC3130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bg2"/>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bg2"/>
              </a:solidFill>
              <a:latin typeface="+mn-lt"/>
              <a:ea typeface="+mn-ea"/>
              <a:cs typeface="Arial" panose="020B0604020202020204" pitchFamily="34" charset="0"/>
            </a:endParaRPr>
          </a:p>
        </p:txBody>
      </p:sp>
      <p:sp>
        <p:nvSpPr>
          <p:cNvPr id="44" name="Documenttype">
            <a:extLst>
              <a:ext uri="{FF2B5EF4-FFF2-40B4-BE49-F238E27FC236}">
                <a16:creationId xmlns:a16="http://schemas.microsoft.com/office/drawing/2014/main" id="{2341CC38-5FA8-4E1D-A9EE-9C5D7FE50542}"/>
              </a:ext>
            </a:extLst>
          </p:cNvPr>
          <p:cNvSpPr txBox="1">
            <a:spLocks/>
          </p:cNvSpPr>
          <p:nvPr userDrawn="1">
            <p:custDataLst>
              <p:tags r:id="rId8"/>
            </p:custDataLst>
          </p:nvPr>
        </p:nvSpPr>
        <p:spPr>
          <a:xfrm>
            <a:off x="6385191"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grpSp>
        <p:nvGrpSpPr>
          <p:cNvPr id="51" name="Group 50">
            <a:extLst>
              <a:ext uri="{FF2B5EF4-FFF2-40B4-BE49-F238E27FC236}">
                <a16:creationId xmlns:a16="http://schemas.microsoft.com/office/drawing/2014/main" id="{B2406E76-3317-453F-808F-FDE49FEDC739}"/>
              </a:ext>
            </a:extLst>
          </p:cNvPr>
          <p:cNvGrpSpPr>
            <a:grpSpLocks/>
          </p:cNvGrpSpPr>
          <p:nvPr userDrawn="1"/>
        </p:nvGrpSpPr>
        <p:grpSpPr bwMode="invGray">
          <a:xfrm>
            <a:off x="1608225" y="6435948"/>
            <a:ext cx="910081" cy="356143"/>
            <a:chOff x="9865218" y="6365207"/>
            <a:chExt cx="1011183" cy="395706"/>
          </a:xfrm>
        </p:grpSpPr>
        <p:pic>
          <p:nvPicPr>
            <p:cNvPr id="52" name="Picture 51" descr="EDCTP and Africa CDC workshop report on disparities in research funding -  EDCTP">
              <a:extLst>
                <a:ext uri="{FF2B5EF4-FFF2-40B4-BE49-F238E27FC236}">
                  <a16:creationId xmlns:a16="http://schemas.microsoft.com/office/drawing/2014/main" id="{A6BE662E-965E-48AA-A26D-C507F693ABF1}"/>
                </a:ext>
              </a:extLst>
            </p:cNvPr>
            <p:cNvPicPr>
              <a:picLocks noChangeAspect="1" noChangeArrowheads="1"/>
            </p:cNvPicPr>
            <p:nvPr userDrawn="1"/>
          </p:nvPicPr>
          <p:blipFill rotWithShape="1">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53" name="Picture 52" descr="EDCTP and Africa CDC workshop report on disparities in research funding -  EDCTP">
              <a:extLst>
                <a:ext uri="{FF2B5EF4-FFF2-40B4-BE49-F238E27FC236}">
                  <a16:creationId xmlns:a16="http://schemas.microsoft.com/office/drawing/2014/main" id="{C4B0F096-5FE0-4FA3-AFE6-9815CD63AECB}"/>
                </a:ext>
              </a:extLst>
            </p:cNvPr>
            <p:cNvPicPr>
              <a:picLocks noChangeAspect="1" noChangeArrowheads="1"/>
            </p:cNvPicPr>
            <p:nvPr userDrawn="1"/>
          </p:nvPicPr>
          <p:blipFill rotWithShape="1">
            <a:blip r:embed="rId15"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54" name="Group 53">
            <a:extLst>
              <a:ext uri="{FF2B5EF4-FFF2-40B4-BE49-F238E27FC236}">
                <a16:creationId xmlns:a16="http://schemas.microsoft.com/office/drawing/2014/main" id="{47363E51-4563-4332-ADE9-4A60BB39DC96}"/>
              </a:ext>
            </a:extLst>
          </p:cNvPr>
          <p:cNvGrpSpPr>
            <a:grpSpLocks/>
          </p:cNvGrpSpPr>
          <p:nvPr userDrawn="1"/>
        </p:nvGrpSpPr>
        <p:grpSpPr>
          <a:xfrm>
            <a:off x="554736" y="6452601"/>
            <a:ext cx="830881" cy="293716"/>
            <a:chOff x="10483273" y="6554997"/>
            <a:chExt cx="638090" cy="225564"/>
          </a:xfrm>
        </p:grpSpPr>
        <p:pic>
          <p:nvPicPr>
            <p:cNvPr id="55" name="Picture 54">
              <a:extLst>
                <a:ext uri="{FF2B5EF4-FFF2-40B4-BE49-F238E27FC236}">
                  <a16:creationId xmlns:a16="http://schemas.microsoft.com/office/drawing/2014/main" id="{09F4FA1E-305C-4328-BD29-ECD2C6B1F5A0}"/>
                </a:ext>
              </a:extLst>
            </p:cNvPr>
            <p:cNvPicPr>
              <a:picLocks noChangeAspect="1"/>
            </p:cNvPicPr>
            <p:nvPr userDrawn="1"/>
          </p:nvPicPr>
          <p:blipFill rotWithShape="1">
            <a:blip r:embed="rId16"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56" name="Picture 55">
              <a:extLst>
                <a:ext uri="{FF2B5EF4-FFF2-40B4-BE49-F238E27FC236}">
                  <a16:creationId xmlns:a16="http://schemas.microsoft.com/office/drawing/2014/main" id="{7614C981-7BF7-4D1C-92CC-10257B583187}"/>
                </a:ext>
              </a:extLst>
            </p:cNvPr>
            <p:cNvPicPr>
              <a:picLocks noChangeAspect="1"/>
            </p:cNvPicPr>
            <p:nvPr userDrawn="1"/>
          </p:nvPicPr>
          <p:blipFill rotWithShape="1">
            <a:blip r:embed="rId17" cstate="email">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57" name="5. Source" hidden="1">
            <a:extLst>
              <a:ext uri="{FF2B5EF4-FFF2-40B4-BE49-F238E27FC236}">
                <a16:creationId xmlns:a16="http://schemas.microsoft.com/office/drawing/2014/main" id="{04DBC258-24BB-4506-8D72-14DC32C90758}"/>
              </a:ext>
            </a:extLst>
          </p:cNvPr>
          <p:cNvSpPr txBox="1">
            <a:spLocks/>
          </p:cNvSpPr>
          <p:nvPr userDrawn="1">
            <p:custDataLst>
              <p:tags r:id="rId9"/>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grpSp>
        <p:nvGrpSpPr>
          <p:cNvPr id="24" name="Group 4">
            <a:extLst>
              <a:ext uri="{FF2B5EF4-FFF2-40B4-BE49-F238E27FC236}">
                <a16:creationId xmlns:a16="http://schemas.microsoft.com/office/drawing/2014/main" id="{DF020C4A-EA94-48CC-8949-37F1ACB06EE9}"/>
              </a:ext>
            </a:extLst>
          </p:cNvPr>
          <p:cNvGrpSpPr>
            <a:grpSpLocks noChangeAspect="1"/>
          </p:cNvGrpSpPr>
          <p:nvPr userDrawn="1"/>
        </p:nvGrpSpPr>
        <p:grpSpPr bwMode="ltGray">
          <a:xfrm>
            <a:off x="11320824" y="6417372"/>
            <a:ext cx="394856" cy="373880"/>
            <a:chOff x="-240" y="2757"/>
            <a:chExt cx="960" cy="909"/>
          </a:xfrm>
        </p:grpSpPr>
        <p:sp>
          <p:nvSpPr>
            <p:cNvPr id="25" name="Freeform 5">
              <a:extLst>
                <a:ext uri="{FF2B5EF4-FFF2-40B4-BE49-F238E27FC236}">
                  <a16:creationId xmlns:a16="http://schemas.microsoft.com/office/drawing/2014/main" id="{A493F06A-F81F-4B23-B674-DB399BC5F443}"/>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Rectangle 6">
              <a:extLst>
                <a:ext uri="{FF2B5EF4-FFF2-40B4-BE49-F238E27FC236}">
                  <a16:creationId xmlns:a16="http://schemas.microsoft.com/office/drawing/2014/main" id="{3529BBF8-09FB-4C7E-9BC5-816AA51C5DEC}"/>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7">
              <a:extLst>
                <a:ext uri="{FF2B5EF4-FFF2-40B4-BE49-F238E27FC236}">
                  <a16:creationId xmlns:a16="http://schemas.microsoft.com/office/drawing/2014/main" id="{B5FBAC57-5AD3-4364-9538-E40B754BEE48}"/>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8">
              <a:extLst>
                <a:ext uri="{FF2B5EF4-FFF2-40B4-BE49-F238E27FC236}">
                  <a16:creationId xmlns:a16="http://schemas.microsoft.com/office/drawing/2014/main" id="{866D1D5D-CD0F-44EB-9226-85C3FB6EBC5E}"/>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9" name="Freeform 9">
              <a:extLst>
                <a:ext uri="{FF2B5EF4-FFF2-40B4-BE49-F238E27FC236}">
                  <a16:creationId xmlns:a16="http://schemas.microsoft.com/office/drawing/2014/main" id="{01FA1366-C352-4701-A6DD-CA53C585964F}"/>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1407570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4461342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354653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416491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2BB30059-FB8E-4561-8E69-3AB6FD5DC469}"/>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E5F47A3A-93A8-4476-96B9-9FB8416DB1B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7412661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60354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A3D21A23-A104-496A-A3BB-E2824FA8D4F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bg2"/>
                </a:solidFill>
              </a:defRPr>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p:custDataLst>
              <p:tags r:id="rId4"/>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2"/>
                </a:solidFill>
              </a:defRPr>
            </a:lvl1pPr>
          </a:lstStyle>
          <a:p>
            <a:pPr lvl="0"/>
            <a:r>
              <a:rPr lang="en-US"/>
              <a:t>Click to edit Master title style</a:t>
            </a:r>
            <a:endParaRPr lang="en-US" dirty="0"/>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bg2"/>
                </a:solidFill>
              </a:defRPr>
            </a:lvl1pPr>
          </a:lstStyle>
          <a:p>
            <a:pPr lvl="0">
              <a:buNone/>
            </a:pPr>
            <a:r>
              <a:rPr lang="en-US"/>
              <a:t>Click to edit Master subtitle style</a:t>
            </a:r>
            <a:endParaRPr lang="en-US" dirty="0"/>
          </a:p>
        </p:txBody>
      </p:sp>
      <p:pic>
        <p:nvPicPr>
          <p:cNvPr id="26" name="Picture 25">
            <a:extLst>
              <a:ext uri="{FF2B5EF4-FFF2-40B4-BE49-F238E27FC236}">
                <a16:creationId xmlns:a16="http://schemas.microsoft.com/office/drawing/2014/main" id="{70BACD0A-B176-44DB-A133-D449488AB5A9}"/>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28" name="Picture 27">
            <a:extLst>
              <a:ext uri="{FF2B5EF4-FFF2-40B4-BE49-F238E27FC236}">
                <a16:creationId xmlns:a16="http://schemas.microsoft.com/office/drawing/2014/main" id="{EC3FDF1A-4D14-4090-9EED-9E4DE3DBE79F}"/>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29" name="Group 28">
            <a:extLst>
              <a:ext uri="{FF2B5EF4-FFF2-40B4-BE49-F238E27FC236}">
                <a16:creationId xmlns:a16="http://schemas.microsoft.com/office/drawing/2014/main" id="{CDFBF8AE-F994-4CC4-BA6C-8FAA88311833}"/>
              </a:ext>
            </a:extLst>
          </p:cNvPr>
          <p:cNvGrpSpPr>
            <a:grpSpLocks noChangeAspect="1"/>
          </p:cNvGrpSpPr>
          <p:nvPr userDrawn="1"/>
        </p:nvGrpSpPr>
        <p:grpSpPr bwMode="ltGray">
          <a:xfrm>
            <a:off x="10402367" y="5349875"/>
            <a:ext cx="950497" cy="900000"/>
            <a:chOff x="10236055" y="680939"/>
            <a:chExt cx="759866" cy="719497"/>
          </a:xfrm>
        </p:grpSpPr>
        <p:sp>
          <p:nvSpPr>
            <p:cNvPr id="30" name="Freeform 5">
              <a:extLst>
                <a:ext uri="{FF2B5EF4-FFF2-40B4-BE49-F238E27FC236}">
                  <a16:creationId xmlns:a16="http://schemas.microsoft.com/office/drawing/2014/main" id="{D35963A8-BB09-4371-877B-057423491DF2}"/>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1" name="Rectangle 6">
              <a:extLst>
                <a:ext uri="{FF2B5EF4-FFF2-40B4-BE49-F238E27FC236}">
                  <a16:creationId xmlns:a16="http://schemas.microsoft.com/office/drawing/2014/main" id="{BBE09AF2-2A54-445D-8F64-9D7F19B00A85}"/>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2" name="Freeform 7">
              <a:extLst>
                <a:ext uri="{FF2B5EF4-FFF2-40B4-BE49-F238E27FC236}">
                  <a16:creationId xmlns:a16="http://schemas.microsoft.com/office/drawing/2014/main" id="{3E49903B-7D11-4416-90E4-1D9E7D5436EF}"/>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 name="Freeform 8">
              <a:extLst>
                <a:ext uri="{FF2B5EF4-FFF2-40B4-BE49-F238E27FC236}">
                  <a16:creationId xmlns:a16="http://schemas.microsoft.com/office/drawing/2014/main" id="{6C832AF7-3499-4BBD-8C3A-99E4268CECD9}"/>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 name="Freeform 9">
              <a:extLst>
                <a:ext uri="{FF2B5EF4-FFF2-40B4-BE49-F238E27FC236}">
                  <a16:creationId xmlns:a16="http://schemas.microsoft.com/office/drawing/2014/main" id="{D4226C4E-AAF5-499A-BD28-C95AE1686913}"/>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21309152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12" name="Slide Number">
            <a:extLst>
              <a:ext uri="{FF2B5EF4-FFF2-40B4-BE49-F238E27FC236}">
                <a16:creationId xmlns:a16="http://schemas.microsoft.com/office/drawing/2014/main" id="{480918F5-69A8-40D4-9A1C-19A48B2E8F78}"/>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436432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1417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34" name="Slide Number">
            <a:extLst>
              <a:ext uri="{FF2B5EF4-FFF2-40B4-BE49-F238E27FC236}">
                <a16:creationId xmlns:a16="http://schemas.microsoft.com/office/drawing/2014/main" id="{00D78BE5-42EA-4C8E-996C-4517056791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2740914"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0" name="Documenttype">
            <a:extLst>
              <a:ext uri="{FF2B5EF4-FFF2-40B4-BE49-F238E27FC236}">
                <a16:creationId xmlns:a16="http://schemas.microsoft.com/office/drawing/2014/main" id="{CF41017B-E981-4DFE-AC41-41B7E10888EA}"/>
              </a:ext>
            </a:extLst>
          </p:cNvPr>
          <p:cNvSpPr txBox="1">
            <a:spLocks/>
          </p:cNvSpPr>
          <p:nvPr userDrawn="1">
            <p:custDataLst>
              <p:tags r:id="rId8"/>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9"/>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8094160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3" name="Slide Number">
            <a:extLst>
              <a:ext uri="{FF2B5EF4-FFF2-40B4-BE49-F238E27FC236}">
                <a16:creationId xmlns:a16="http://schemas.microsoft.com/office/drawing/2014/main" id="{CE0B50F1-6D0E-4C53-B9AB-8889EFECA0E8}"/>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606000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57411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30D20F8F-9B1E-4BF1-A6A1-7FA56E3BDA96}"/>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Slide Number">
            <a:extLst>
              <a:ext uri="{FF2B5EF4-FFF2-40B4-BE49-F238E27FC236}">
                <a16:creationId xmlns:a16="http://schemas.microsoft.com/office/drawing/2014/main" id="{C8B1F0DF-FA5B-408A-8FCC-5148EA64CBCE}"/>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868457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CF64C615-2582-4DCF-9142-3B691B7548E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8552986C-9452-46D3-8888-20E612BE00A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2811703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94895A5-9A87-472E-A5BA-9BA01ABF90A5}"/>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DB2D9C9-2BCB-4804-8631-381BA36F2FA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9608289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1417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34" name="Slide Number">
            <a:extLst>
              <a:ext uri="{FF2B5EF4-FFF2-40B4-BE49-F238E27FC236}">
                <a16:creationId xmlns:a16="http://schemas.microsoft.com/office/drawing/2014/main" id="{00D78BE5-42EA-4C8E-996C-4517056791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8"/>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6909387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4032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575BF50E-69E8-4E92-BF47-A468862F9929}"/>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A386E180-04F8-4B18-AFAD-F28A3F606104}"/>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2B78B299-5876-4D7B-9720-0A8A896EEF9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6A5356A1-18AE-470D-8027-E9D8DF8E448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B50C1A43-8E10-4559-A869-314C85AA397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7AF157-A820-4ACD-AB63-8200D1F2777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52797A5B-FBA9-4BF9-A66E-5A9D7016E53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9699D850-373E-438C-83AD-0A7457C5C2E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7686E5-229C-438C-A4A6-423982C30F5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E3771B26-C02B-439A-9350-D1C91B79CE8B}"/>
              </a:ext>
            </a:extLst>
          </p:cNvPr>
          <p:cNvSpPr txBox="1">
            <a:spLocks/>
          </p:cNvSpPr>
          <p:nvPr userDrawn="1">
            <p:custDataLst>
              <p:tags r:id="rId8"/>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3794162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91CEAC37-6545-4492-AAB0-C163408D5D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1" name="Group 4">
            <a:extLst>
              <a:ext uri="{FF2B5EF4-FFF2-40B4-BE49-F238E27FC236}">
                <a16:creationId xmlns:a16="http://schemas.microsoft.com/office/drawing/2014/main" id="{29DA557C-6F84-460C-9E9A-B319AC79D329}"/>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A33616C8-F276-496E-97F5-626AF1A67BC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5BDB4C95-8B13-42E5-97C9-959C0762DD7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740B257D-609C-4C30-A37B-EDE85750E11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5E5772-7391-4093-8E15-D42F0ACD0E7C}"/>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D3E564C4-9BC2-4793-93C1-7A5968E816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3A103D6D-E496-4AD8-8181-08B1F4D45AC7}"/>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B0CEF7D-62D7-4B16-874C-7D6CF60330F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7E92BCC7-C8AA-436D-A5D5-738AB904E581}"/>
              </a:ext>
            </a:extLst>
          </p:cNvPr>
          <p:cNvSpPr txBox="1">
            <a:spLocks/>
          </p:cNvSpPr>
          <p:nvPr userDrawn="1">
            <p:custDataLst>
              <p:tags r:id="rId8"/>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8748648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11256172"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8"/>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8723031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4BB34CAF-3D4A-4A48-A97F-048744350F6E}"/>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4" name="Group 4">
            <a:extLst>
              <a:ext uri="{FF2B5EF4-FFF2-40B4-BE49-F238E27FC236}">
                <a16:creationId xmlns:a16="http://schemas.microsoft.com/office/drawing/2014/main" id="{2A80F2F2-115C-4E8E-B9DC-6DD20548D704}"/>
              </a:ext>
            </a:extLst>
          </p:cNvPr>
          <p:cNvGrpSpPr>
            <a:grpSpLocks noChangeAspect="1"/>
          </p:cNvGrpSpPr>
          <p:nvPr userDrawn="1"/>
        </p:nvGrpSpPr>
        <p:grpSpPr bwMode="ltGray">
          <a:xfrm>
            <a:off x="11256172" y="6417372"/>
            <a:ext cx="394856" cy="373880"/>
            <a:chOff x="-240" y="2757"/>
            <a:chExt cx="960" cy="909"/>
          </a:xfrm>
        </p:grpSpPr>
        <p:sp>
          <p:nvSpPr>
            <p:cNvPr id="29" name="Freeform 5">
              <a:extLst>
                <a:ext uri="{FF2B5EF4-FFF2-40B4-BE49-F238E27FC236}">
                  <a16:creationId xmlns:a16="http://schemas.microsoft.com/office/drawing/2014/main" id="{11644F48-425C-46D9-94C1-23978DD0D13C}"/>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Rectangle 6">
              <a:extLst>
                <a:ext uri="{FF2B5EF4-FFF2-40B4-BE49-F238E27FC236}">
                  <a16:creationId xmlns:a16="http://schemas.microsoft.com/office/drawing/2014/main" id="{75CE9D97-8582-48C0-9419-917440456910}"/>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7">
              <a:extLst>
                <a:ext uri="{FF2B5EF4-FFF2-40B4-BE49-F238E27FC236}">
                  <a16:creationId xmlns:a16="http://schemas.microsoft.com/office/drawing/2014/main" id="{E67EF180-B650-4C4A-91F3-F097E0A099E4}"/>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8">
              <a:extLst>
                <a:ext uri="{FF2B5EF4-FFF2-40B4-BE49-F238E27FC236}">
                  <a16:creationId xmlns:a16="http://schemas.microsoft.com/office/drawing/2014/main" id="{3F4879AE-2BA2-4497-B15D-BC59E7461E6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3" name="Freeform 9">
              <a:extLst>
                <a:ext uri="{FF2B5EF4-FFF2-40B4-BE49-F238E27FC236}">
                  <a16:creationId xmlns:a16="http://schemas.microsoft.com/office/drawing/2014/main" id="{CFDF7617-B35D-4046-93A3-76A85D2829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4" name="Picture 720" descr="EDCTP and Africa CDC workshop report on disparities in research funding -  EDCTP">
            <a:extLst>
              <a:ext uri="{FF2B5EF4-FFF2-40B4-BE49-F238E27FC236}">
                <a16:creationId xmlns:a16="http://schemas.microsoft.com/office/drawing/2014/main" id="{814ED359-19C4-4C9A-ADDF-8DC8C13C085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899874C-DF8F-4F46-A2EB-C41122F78A75}"/>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9" name="5. Source" hidden="1">
            <a:extLst>
              <a:ext uri="{FF2B5EF4-FFF2-40B4-BE49-F238E27FC236}">
                <a16:creationId xmlns:a16="http://schemas.microsoft.com/office/drawing/2014/main" id="{B0B197DD-58D4-4FDB-B1A9-FA59611691E7}"/>
              </a:ext>
            </a:extLst>
          </p:cNvPr>
          <p:cNvSpPr txBox="1">
            <a:spLocks/>
          </p:cNvSpPr>
          <p:nvPr userDrawn="1">
            <p:custDataLst>
              <p:tags r:id="rId8"/>
            </p:custDataLst>
          </p:nvPr>
        </p:nvSpPr>
        <p:spPr>
          <a:xfrm>
            <a:off x="554733"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41524797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9" name="Straight Connector 8">
            <a:extLst>
              <a:ext uri="{FF2B5EF4-FFF2-40B4-BE49-F238E27FC236}">
                <a16:creationId xmlns:a16="http://schemas.microsoft.com/office/drawing/2014/main" id="{BC2CB6D3-E8B1-4229-A1B9-B75E7D6E0420}"/>
              </a:ext>
            </a:extLst>
          </p:cNvPr>
          <p:cNvCxnSpPr>
            <a:cxnSpLocks/>
          </p:cNvCxnSpPr>
          <p:nvPr userDrawn="1"/>
        </p:nvCxnSpPr>
        <p:spPr bwMode="ltGray">
          <a:xfrm>
            <a:off x="554736" y="12388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4F9F5BDE-581C-4374-B70C-27D0344EE5B0}"/>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9" name="Group 4">
            <a:extLst>
              <a:ext uri="{FF2B5EF4-FFF2-40B4-BE49-F238E27FC236}">
                <a16:creationId xmlns:a16="http://schemas.microsoft.com/office/drawing/2014/main" id="{341FC139-26C0-428A-9DC5-8A451502DD7A}"/>
              </a:ext>
            </a:extLst>
          </p:cNvPr>
          <p:cNvGrpSpPr>
            <a:grpSpLocks noChangeAspect="1"/>
          </p:cNvGrpSpPr>
          <p:nvPr userDrawn="1"/>
        </p:nvGrpSpPr>
        <p:grpSpPr bwMode="ltGray">
          <a:xfrm>
            <a:off x="11256172" y="6417372"/>
            <a:ext cx="394856" cy="373880"/>
            <a:chOff x="-240" y="2757"/>
            <a:chExt cx="960" cy="909"/>
          </a:xfrm>
        </p:grpSpPr>
        <p:sp>
          <p:nvSpPr>
            <p:cNvPr id="20" name="Freeform 5">
              <a:extLst>
                <a:ext uri="{FF2B5EF4-FFF2-40B4-BE49-F238E27FC236}">
                  <a16:creationId xmlns:a16="http://schemas.microsoft.com/office/drawing/2014/main" id="{57329FBA-126A-4E1D-A53D-36B49F0BA19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2CB24FA4-CB4E-48A9-BAB5-6D243BE23A14}"/>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81CF441F-2F08-469D-9B69-253A5E2C5F5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5B584770-A271-4F31-A098-B5B042A2D27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C18A98AE-A202-476D-AED7-E2B36376F6E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9" name="Picture 720" descr="EDCTP and Africa CDC workshop report on disparities in research funding -  EDCTP">
            <a:extLst>
              <a:ext uri="{FF2B5EF4-FFF2-40B4-BE49-F238E27FC236}">
                <a16:creationId xmlns:a16="http://schemas.microsoft.com/office/drawing/2014/main" id="{A6D66E70-9662-44D7-A1AE-81FDCFDB0A16}"/>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9CA4BC00-CD1D-4AFE-8082-5738A561713E}"/>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2" name="5. Source" hidden="1">
            <a:extLst>
              <a:ext uri="{FF2B5EF4-FFF2-40B4-BE49-F238E27FC236}">
                <a16:creationId xmlns:a16="http://schemas.microsoft.com/office/drawing/2014/main" id="{64C91C80-6C09-4D3D-856F-40475CD2DD48}"/>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5884338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4032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575BF50E-69E8-4E92-BF47-A468862F9929}"/>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A386E180-04F8-4B18-AFAD-F28A3F606104}"/>
              </a:ext>
            </a:extLst>
          </p:cNvPr>
          <p:cNvGrpSpPr>
            <a:grpSpLocks noChangeAspect="1"/>
          </p:cNvGrpSpPr>
          <p:nvPr userDrawn="1"/>
        </p:nvGrpSpPr>
        <p:grpSpPr bwMode="ltGray">
          <a:xfrm>
            <a:off x="2740914" y="6417372"/>
            <a:ext cx="394856" cy="373880"/>
            <a:chOff x="-240" y="2757"/>
            <a:chExt cx="960" cy="909"/>
          </a:xfrm>
        </p:grpSpPr>
        <p:sp>
          <p:nvSpPr>
            <p:cNvPr id="23" name="Freeform 5">
              <a:extLst>
                <a:ext uri="{FF2B5EF4-FFF2-40B4-BE49-F238E27FC236}">
                  <a16:creationId xmlns:a16="http://schemas.microsoft.com/office/drawing/2014/main" id="{2B78B299-5876-4D7B-9720-0A8A896EEF9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6A5356A1-18AE-470D-8027-E9D8DF8E448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B50C1A43-8E10-4559-A869-314C85AA397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7AF157-A820-4ACD-AB63-8200D1F2777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52797A5B-FBA9-4BF9-A66E-5A9D7016E53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9699D850-373E-438C-83AD-0A7457C5C2E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7686E5-229C-438C-A4A6-423982C30F5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E3771B26-C02B-439A-9350-D1C91B79CE8B}"/>
              </a:ext>
            </a:extLst>
          </p:cNvPr>
          <p:cNvSpPr txBox="1">
            <a:spLocks/>
          </p:cNvSpPr>
          <p:nvPr userDrawn="1">
            <p:custDataLst>
              <p:tags r:id="rId8"/>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5750988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6DBF7DE7-B91D-4ABB-954A-50FBE28D25BA}"/>
              </a:ext>
            </a:extLst>
          </p:cNvPr>
          <p:cNvSpPr>
            <a:spLocks noChangeArrowheads="1"/>
          </p:cNvSpPr>
          <p:nvPr userDrawn="1">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5593A88A-4833-45F6-99A2-C493C0AB8824}"/>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grpSp>
        <p:nvGrpSpPr>
          <p:cNvPr id="6" name="Group 4">
            <a:extLst>
              <a:ext uri="{FF2B5EF4-FFF2-40B4-BE49-F238E27FC236}">
                <a16:creationId xmlns:a16="http://schemas.microsoft.com/office/drawing/2014/main" id="{B647C9C1-5471-4388-BAD4-426A4D690ED9}"/>
              </a:ext>
            </a:extLst>
          </p:cNvPr>
          <p:cNvGrpSpPr>
            <a:grpSpLocks noChangeAspect="1"/>
          </p:cNvGrpSpPr>
          <p:nvPr userDrawn="1"/>
        </p:nvGrpSpPr>
        <p:grpSpPr bwMode="ltGray">
          <a:xfrm>
            <a:off x="11256172" y="6417372"/>
            <a:ext cx="394856" cy="373880"/>
            <a:chOff x="-240" y="2757"/>
            <a:chExt cx="960" cy="909"/>
          </a:xfrm>
        </p:grpSpPr>
        <p:sp>
          <p:nvSpPr>
            <p:cNvPr id="7" name="Freeform 5">
              <a:extLst>
                <a:ext uri="{FF2B5EF4-FFF2-40B4-BE49-F238E27FC236}">
                  <a16:creationId xmlns:a16="http://schemas.microsoft.com/office/drawing/2014/main" id="{F37C1500-6D09-4B69-BE3B-22AF92B92877}"/>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Rectangle 6">
              <a:extLst>
                <a:ext uri="{FF2B5EF4-FFF2-40B4-BE49-F238E27FC236}">
                  <a16:creationId xmlns:a16="http://schemas.microsoft.com/office/drawing/2014/main" id="{33502601-D301-4859-B697-92C3C2329416}"/>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7">
              <a:extLst>
                <a:ext uri="{FF2B5EF4-FFF2-40B4-BE49-F238E27FC236}">
                  <a16:creationId xmlns:a16="http://schemas.microsoft.com/office/drawing/2014/main" id="{38ACD85C-2DE8-4826-871D-6160EC075A46}"/>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8">
              <a:extLst>
                <a:ext uri="{FF2B5EF4-FFF2-40B4-BE49-F238E27FC236}">
                  <a16:creationId xmlns:a16="http://schemas.microsoft.com/office/drawing/2014/main" id="{FA3DE10D-3AA1-400C-BAAC-13F5B20FCE5F}"/>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3" name="Freeform 9">
              <a:extLst>
                <a:ext uri="{FF2B5EF4-FFF2-40B4-BE49-F238E27FC236}">
                  <a16:creationId xmlns:a16="http://schemas.microsoft.com/office/drawing/2014/main" id="{2DDCBF92-A2DF-4C8B-846F-A6A6F239AADF}"/>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4" name="Picture 720" descr="EDCTP and Africa CDC workshop report on disparities in research funding -  EDCTP">
            <a:extLst>
              <a:ext uri="{FF2B5EF4-FFF2-40B4-BE49-F238E27FC236}">
                <a16:creationId xmlns:a16="http://schemas.microsoft.com/office/drawing/2014/main" id="{A1D48B6D-051F-45EA-9C47-02764BCD5EFE}"/>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37559406-1D2B-4BD8-A46C-F6B5F936A61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998918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a:off x="3817044"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10120155"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ltGray">
          <a:xfrm>
            <a:off x="799595" y="2877126"/>
            <a:ext cx="2467979" cy="872430"/>
          </a:xfrm>
          <a:prstGeom prst="rect">
            <a:avLst/>
          </a:prstGeom>
        </p:spPr>
      </p:pic>
    </p:spTree>
    <p:extLst>
      <p:ext uri="{BB962C8B-B14F-4D97-AF65-F5344CB8AC3E}">
        <p14:creationId xmlns:p14="http://schemas.microsoft.com/office/powerpoint/2010/main" val="411218188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84944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GB"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tx1"/>
                </a:solidFill>
              </a:defRPr>
            </a:lvl1pPr>
          </a:lstStyle>
          <a:p>
            <a:r>
              <a:rPr lang="en-GB"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dirty="0"/>
              <a:t>Click to edit Master subtitle style</a:t>
            </a:r>
          </a:p>
        </p:txBody>
      </p:sp>
      <p:sp>
        <p:nvSpPr>
          <p:cNvPr id="36" name="Slide Number">
            <a:extLst>
              <a:ext uri="{FF2B5EF4-FFF2-40B4-BE49-F238E27FC236}">
                <a16:creationId xmlns:a16="http://schemas.microsoft.com/office/drawing/2014/main" id="{64B819D4-0B30-4ACC-9188-9B1D55202D4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bg2"/>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bg2"/>
              </a:solidFill>
              <a:latin typeface="+mn-lt"/>
              <a:ea typeface="+mn-ea"/>
              <a:cs typeface="Arial" panose="020B0604020202020204" pitchFamily="34" charset="0"/>
            </a:endParaRPr>
          </a:p>
        </p:txBody>
      </p:sp>
      <p:grpSp>
        <p:nvGrpSpPr>
          <p:cNvPr id="52" name="Group 51">
            <a:extLst>
              <a:ext uri="{FF2B5EF4-FFF2-40B4-BE49-F238E27FC236}">
                <a16:creationId xmlns:a16="http://schemas.microsoft.com/office/drawing/2014/main" id="{3EBE7000-6E92-4AA5-ACE2-7CC0CD8F4CED}"/>
              </a:ext>
            </a:extLst>
          </p:cNvPr>
          <p:cNvGrpSpPr>
            <a:grpSpLocks/>
          </p:cNvGrpSpPr>
          <p:nvPr userDrawn="1"/>
        </p:nvGrpSpPr>
        <p:grpSpPr bwMode="invGray">
          <a:xfrm>
            <a:off x="1608225" y="6435948"/>
            <a:ext cx="910081" cy="356143"/>
            <a:chOff x="9865218" y="6365207"/>
            <a:chExt cx="1011183" cy="395706"/>
          </a:xfrm>
        </p:grpSpPr>
        <p:pic>
          <p:nvPicPr>
            <p:cNvPr id="53" name="Picture 52" descr="EDCTP and Africa CDC workshop report on disparities in research funding -  EDCTP">
              <a:extLst>
                <a:ext uri="{FF2B5EF4-FFF2-40B4-BE49-F238E27FC236}">
                  <a16:creationId xmlns:a16="http://schemas.microsoft.com/office/drawing/2014/main" id="{85D24B55-D55D-462D-ABCA-36F8CF4B7CE4}"/>
                </a:ext>
              </a:extLst>
            </p:cNvPr>
            <p:cNvPicPr>
              <a:picLocks noChangeAspect="1" noChangeArrowheads="1"/>
            </p:cNvPicPr>
            <p:nvPr userDrawn="1"/>
          </p:nvPicPr>
          <p:blipFill rotWithShape="1">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54" name="Picture 53" descr="EDCTP and Africa CDC workshop report on disparities in research funding -  EDCTP">
              <a:extLst>
                <a:ext uri="{FF2B5EF4-FFF2-40B4-BE49-F238E27FC236}">
                  <a16:creationId xmlns:a16="http://schemas.microsoft.com/office/drawing/2014/main" id="{F46C024C-C96A-49A3-8D10-E05EEAE34EE8}"/>
                </a:ext>
              </a:extLst>
            </p:cNvPr>
            <p:cNvPicPr>
              <a:picLocks noChangeAspect="1" noChangeArrowheads="1"/>
            </p:cNvPicPr>
            <p:nvPr userDrawn="1"/>
          </p:nvPicPr>
          <p:blipFill rotWithShape="1">
            <a:blip r:embed="rId14"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55" name="Group 54">
            <a:extLst>
              <a:ext uri="{FF2B5EF4-FFF2-40B4-BE49-F238E27FC236}">
                <a16:creationId xmlns:a16="http://schemas.microsoft.com/office/drawing/2014/main" id="{B7D84B40-3507-4AD3-8396-AC0BDF9DBAE4}"/>
              </a:ext>
            </a:extLst>
          </p:cNvPr>
          <p:cNvGrpSpPr>
            <a:grpSpLocks/>
          </p:cNvGrpSpPr>
          <p:nvPr userDrawn="1"/>
        </p:nvGrpSpPr>
        <p:grpSpPr>
          <a:xfrm>
            <a:off x="554736" y="6452601"/>
            <a:ext cx="830881" cy="293716"/>
            <a:chOff x="10483273" y="6554997"/>
            <a:chExt cx="638090" cy="225564"/>
          </a:xfrm>
        </p:grpSpPr>
        <p:pic>
          <p:nvPicPr>
            <p:cNvPr id="56" name="Picture 55">
              <a:extLst>
                <a:ext uri="{FF2B5EF4-FFF2-40B4-BE49-F238E27FC236}">
                  <a16:creationId xmlns:a16="http://schemas.microsoft.com/office/drawing/2014/main" id="{61CED885-8DB4-4B81-B0A7-2EB177EA82BD}"/>
                </a:ext>
              </a:extLst>
            </p:cNvPr>
            <p:cNvPicPr>
              <a:picLocks noChangeAspect="1"/>
            </p:cNvPicPr>
            <p:nvPr userDrawn="1"/>
          </p:nvPicPr>
          <p:blipFill rotWithShape="1">
            <a:blip r:embed="rId15"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57" name="Picture 56">
              <a:extLst>
                <a:ext uri="{FF2B5EF4-FFF2-40B4-BE49-F238E27FC236}">
                  <a16:creationId xmlns:a16="http://schemas.microsoft.com/office/drawing/2014/main" id="{881D19BF-91BD-401E-B1D8-9C3534B92467}"/>
                </a:ext>
              </a:extLst>
            </p:cNvPr>
            <p:cNvPicPr>
              <a:picLocks noChangeAspect="1"/>
            </p:cNvPicPr>
            <p:nvPr userDrawn="1"/>
          </p:nvPicPr>
          <p:blipFill rotWithShape="1">
            <a:blip r:embed="rId16" cstate="email">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58" name="5. Source" hidden="1">
            <a:extLst>
              <a:ext uri="{FF2B5EF4-FFF2-40B4-BE49-F238E27FC236}">
                <a16:creationId xmlns:a16="http://schemas.microsoft.com/office/drawing/2014/main" id="{7DB3F043-500D-4524-B07E-4B872D0EE309}"/>
              </a:ext>
            </a:extLst>
          </p:cNvPr>
          <p:cNvSpPr txBox="1">
            <a:spLocks/>
          </p:cNvSpPr>
          <p:nvPr userDrawn="1">
            <p:custDataLst>
              <p:tags r:id="rId8"/>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grpSp>
        <p:nvGrpSpPr>
          <p:cNvPr id="23" name="Group 4">
            <a:extLst>
              <a:ext uri="{FF2B5EF4-FFF2-40B4-BE49-F238E27FC236}">
                <a16:creationId xmlns:a16="http://schemas.microsoft.com/office/drawing/2014/main" id="{AFE856FF-D2AD-4CF9-A31F-8F2AFCF8DD77}"/>
              </a:ext>
            </a:extLst>
          </p:cNvPr>
          <p:cNvGrpSpPr>
            <a:grpSpLocks noChangeAspect="1"/>
          </p:cNvGrpSpPr>
          <p:nvPr userDrawn="1"/>
        </p:nvGrpSpPr>
        <p:grpSpPr bwMode="ltGray">
          <a:xfrm>
            <a:off x="11256172" y="6417372"/>
            <a:ext cx="394856" cy="373880"/>
            <a:chOff x="-240" y="2757"/>
            <a:chExt cx="960" cy="909"/>
          </a:xfrm>
        </p:grpSpPr>
        <p:sp>
          <p:nvSpPr>
            <p:cNvPr id="24" name="Freeform 5">
              <a:extLst>
                <a:ext uri="{FF2B5EF4-FFF2-40B4-BE49-F238E27FC236}">
                  <a16:creationId xmlns:a16="http://schemas.microsoft.com/office/drawing/2014/main" id="{C9217257-FBE5-477B-813C-F00B809E8562}"/>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65EDE484-151A-4DBC-B5EA-53ED5FC52BE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27343DFB-7BDD-408D-AA61-6B090842C73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AB400D9F-93E8-4CCA-A841-7A36AE31B586}"/>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F6C0D759-D006-43AA-ADCC-440246DCB63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spTree>
    <p:extLst>
      <p:ext uri="{BB962C8B-B14F-4D97-AF65-F5344CB8AC3E}">
        <p14:creationId xmlns:p14="http://schemas.microsoft.com/office/powerpoint/2010/main" val="39072606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60354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A3D21A23-A104-496A-A3BB-E2824FA8D4F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bg2"/>
                </a:solidFill>
              </a:defRPr>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p:custDataLst>
              <p:tags r:id="rId4"/>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2"/>
                </a:solidFill>
              </a:defRPr>
            </a:lvl1pPr>
          </a:lstStyle>
          <a:p>
            <a:pPr lvl="0"/>
            <a:r>
              <a:rPr lang="en-US"/>
              <a:t>Click to edit Master title style</a:t>
            </a:r>
            <a:endParaRPr lang="en-US" dirty="0"/>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bg2"/>
                </a:solidFill>
              </a:defRPr>
            </a:lvl1pPr>
          </a:lstStyle>
          <a:p>
            <a:pPr lvl="0">
              <a:buNone/>
            </a:pPr>
            <a:r>
              <a:rPr lang="en-US"/>
              <a:t>Click to edit Master subtitle style</a:t>
            </a:r>
            <a:endParaRPr lang="en-US" dirty="0"/>
          </a:p>
        </p:txBody>
      </p:sp>
      <p:pic>
        <p:nvPicPr>
          <p:cNvPr id="26" name="Picture 25">
            <a:extLst>
              <a:ext uri="{FF2B5EF4-FFF2-40B4-BE49-F238E27FC236}">
                <a16:creationId xmlns:a16="http://schemas.microsoft.com/office/drawing/2014/main" id="{70BACD0A-B176-44DB-A133-D449488AB5A9}"/>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28" name="Picture 27">
            <a:extLst>
              <a:ext uri="{FF2B5EF4-FFF2-40B4-BE49-F238E27FC236}">
                <a16:creationId xmlns:a16="http://schemas.microsoft.com/office/drawing/2014/main" id="{EC3FDF1A-4D14-4090-9EED-9E4DE3DBE79F}"/>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29" name="Group 28">
            <a:extLst>
              <a:ext uri="{FF2B5EF4-FFF2-40B4-BE49-F238E27FC236}">
                <a16:creationId xmlns:a16="http://schemas.microsoft.com/office/drawing/2014/main" id="{CDFBF8AE-F994-4CC4-BA6C-8FAA88311833}"/>
              </a:ext>
            </a:extLst>
          </p:cNvPr>
          <p:cNvGrpSpPr>
            <a:grpSpLocks noChangeAspect="1"/>
          </p:cNvGrpSpPr>
          <p:nvPr userDrawn="1"/>
        </p:nvGrpSpPr>
        <p:grpSpPr bwMode="ltGray">
          <a:xfrm>
            <a:off x="10402367" y="5349875"/>
            <a:ext cx="950497" cy="900000"/>
            <a:chOff x="10236055" y="680939"/>
            <a:chExt cx="759866" cy="719497"/>
          </a:xfrm>
        </p:grpSpPr>
        <p:sp>
          <p:nvSpPr>
            <p:cNvPr id="30" name="Freeform 5">
              <a:extLst>
                <a:ext uri="{FF2B5EF4-FFF2-40B4-BE49-F238E27FC236}">
                  <a16:creationId xmlns:a16="http://schemas.microsoft.com/office/drawing/2014/main" id="{D35963A8-BB09-4371-877B-057423491DF2}"/>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1" name="Rectangle 6">
              <a:extLst>
                <a:ext uri="{FF2B5EF4-FFF2-40B4-BE49-F238E27FC236}">
                  <a16:creationId xmlns:a16="http://schemas.microsoft.com/office/drawing/2014/main" id="{BBE09AF2-2A54-445D-8F64-9D7F19B00A85}"/>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2" name="Freeform 7">
              <a:extLst>
                <a:ext uri="{FF2B5EF4-FFF2-40B4-BE49-F238E27FC236}">
                  <a16:creationId xmlns:a16="http://schemas.microsoft.com/office/drawing/2014/main" id="{3E49903B-7D11-4416-90E4-1D9E7D5436EF}"/>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 name="Freeform 8">
              <a:extLst>
                <a:ext uri="{FF2B5EF4-FFF2-40B4-BE49-F238E27FC236}">
                  <a16:creationId xmlns:a16="http://schemas.microsoft.com/office/drawing/2014/main" id="{6C832AF7-3499-4BBD-8C3A-99E4268CECD9}"/>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 name="Freeform 9">
              <a:extLst>
                <a:ext uri="{FF2B5EF4-FFF2-40B4-BE49-F238E27FC236}">
                  <a16:creationId xmlns:a16="http://schemas.microsoft.com/office/drawing/2014/main" id="{D4226C4E-AAF5-499A-BD28-C95AE1686913}"/>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15317345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12" name="Slide Number">
            <a:extLst>
              <a:ext uri="{FF2B5EF4-FFF2-40B4-BE49-F238E27FC236}">
                <a16:creationId xmlns:a16="http://schemas.microsoft.com/office/drawing/2014/main" id="{480918F5-69A8-40D4-9A1C-19A48B2E8F78}"/>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300799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fault Without Number">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28625542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3" name="Slide Number">
            <a:extLst>
              <a:ext uri="{FF2B5EF4-FFF2-40B4-BE49-F238E27FC236}">
                <a16:creationId xmlns:a16="http://schemas.microsoft.com/office/drawing/2014/main" id="{CE0B50F1-6D0E-4C53-B9AB-8889EFECA0E8}"/>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994196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57411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30D20F8F-9B1E-4BF1-A6A1-7FA56E3BDA96}"/>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Slide Number">
            <a:extLst>
              <a:ext uri="{FF2B5EF4-FFF2-40B4-BE49-F238E27FC236}">
                <a16:creationId xmlns:a16="http://schemas.microsoft.com/office/drawing/2014/main" id="{C8B1F0DF-FA5B-408A-8FCC-5148EA64CBCE}"/>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256457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CF64C615-2582-4DCF-9142-3B691B7548E7}"/>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8552986C-9452-46D3-8888-20E612BE00AD}"/>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34177643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94895A5-9A87-472E-A5BA-9BA01ABF90A5}"/>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DB2D9C9-2BCB-4804-8631-381BA36F2FA7}"/>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0519197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91CEAC37-6545-4492-AAB0-C163408D5D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1" name="Group 4">
            <a:extLst>
              <a:ext uri="{FF2B5EF4-FFF2-40B4-BE49-F238E27FC236}">
                <a16:creationId xmlns:a16="http://schemas.microsoft.com/office/drawing/2014/main" id="{29DA557C-6F84-460C-9E9A-B319AC79D329}"/>
              </a:ext>
            </a:extLst>
          </p:cNvPr>
          <p:cNvGrpSpPr>
            <a:grpSpLocks noChangeAspect="1"/>
          </p:cNvGrpSpPr>
          <p:nvPr userDrawn="1"/>
        </p:nvGrpSpPr>
        <p:grpSpPr bwMode="ltGray">
          <a:xfrm>
            <a:off x="2740914" y="6417372"/>
            <a:ext cx="394856" cy="373880"/>
            <a:chOff x="-240" y="2757"/>
            <a:chExt cx="960" cy="909"/>
          </a:xfrm>
        </p:grpSpPr>
        <p:sp>
          <p:nvSpPr>
            <p:cNvPr id="23" name="Freeform 5">
              <a:extLst>
                <a:ext uri="{FF2B5EF4-FFF2-40B4-BE49-F238E27FC236}">
                  <a16:creationId xmlns:a16="http://schemas.microsoft.com/office/drawing/2014/main" id="{A33616C8-F276-496E-97F5-626AF1A67BC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5BDB4C95-8B13-42E5-97C9-959C0762DD7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740B257D-609C-4C30-A37B-EDE85750E11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5E5772-7391-4093-8E15-D42F0ACD0E7C}"/>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D3E564C4-9BC2-4793-93C1-7A5968E816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3A103D6D-E496-4AD8-8181-08B1F4D45AC7}"/>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B0CEF7D-62D7-4B16-874C-7D6CF60330FF}"/>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1" name="Documenttype">
            <a:extLst>
              <a:ext uri="{FF2B5EF4-FFF2-40B4-BE49-F238E27FC236}">
                <a16:creationId xmlns:a16="http://schemas.microsoft.com/office/drawing/2014/main" id="{12763D74-A49A-49F7-B301-E70472F864F2}"/>
              </a:ext>
            </a:extLst>
          </p:cNvPr>
          <p:cNvSpPr txBox="1">
            <a:spLocks/>
          </p:cNvSpPr>
          <p:nvPr userDrawn="1">
            <p:custDataLst>
              <p:tags r:id="rId8"/>
            </p:custDataLst>
          </p:nvPr>
        </p:nvSpPr>
        <p:spPr>
          <a:xfrm>
            <a:off x="6385191" y="6498937"/>
            <a:ext cx="3909412" cy="24468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
        <p:nvSpPr>
          <p:cNvPr id="42" name="5. Source" hidden="1">
            <a:extLst>
              <a:ext uri="{FF2B5EF4-FFF2-40B4-BE49-F238E27FC236}">
                <a16:creationId xmlns:a16="http://schemas.microsoft.com/office/drawing/2014/main" id="{7E92BCC7-C8AA-436D-A5D5-738AB904E581}"/>
              </a:ext>
            </a:extLst>
          </p:cNvPr>
          <p:cNvSpPr txBox="1">
            <a:spLocks/>
          </p:cNvSpPr>
          <p:nvPr userDrawn="1">
            <p:custDataLst>
              <p:tags r:id="rId9"/>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540961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1417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34" name="Slide Number">
            <a:extLst>
              <a:ext uri="{FF2B5EF4-FFF2-40B4-BE49-F238E27FC236}">
                <a16:creationId xmlns:a16="http://schemas.microsoft.com/office/drawing/2014/main" id="{00D78BE5-42EA-4C8E-996C-4517056791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8"/>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288343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4032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575BF50E-69E8-4E92-BF47-A468862F9929}"/>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A386E180-04F8-4B18-AFAD-F28A3F606104}"/>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2B78B299-5876-4D7B-9720-0A8A896EEF9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6A5356A1-18AE-470D-8027-E9D8DF8E448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B50C1A43-8E10-4559-A869-314C85AA397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7AF157-A820-4ACD-AB63-8200D1F2777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52797A5B-FBA9-4BF9-A66E-5A9D7016E53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9699D850-373E-438C-83AD-0A7457C5C2E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7686E5-229C-438C-A4A6-423982C30F5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E3771B26-C02B-439A-9350-D1C91B79CE8B}"/>
              </a:ext>
            </a:extLst>
          </p:cNvPr>
          <p:cNvSpPr txBox="1">
            <a:spLocks/>
          </p:cNvSpPr>
          <p:nvPr userDrawn="1">
            <p:custDataLst>
              <p:tags r:id="rId8"/>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22239718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5" name="Slide Number">
            <a:extLst>
              <a:ext uri="{FF2B5EF4-FFF2-40B4-BE49-F238E27FC236}">
                <a16:creationId xmlns:a16="http://schemas.microsoft.com/office/drawing/2014/main" id="{91CEAC37-6545-4492-AAB0-C163408D5D3A}"/>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1" name="Group 4">
            <a:extLst>
              <a:ext uri="{FF2B5EF4-FFF2-40B4-BE49-F238E27FC236}">
                <a16:creationId xmlns:a16="http://schemas.microsoft.com/office/drawing/2014/main" id="{29DA557C-6F84-460C-9E9A-B319AC79D329}"/>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A33616C8-F276-496E-97F5-626AF1A67BC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5BDB4C95-8B13-42E5-97C9-959C0762DD7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740B257D-609C-4C30-A37B-EDE85750E11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5E5772-7391-4093-8E15-D42F0ACD0E7C}"/>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D3E564C4-9BC2-4793-93C1-7A5968E816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3A103D6D-E496-4AD8-8181-08B1F4D45AC7}"/>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B0CEF7D-62D7-4B16-874C-7D6CF60330F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7E92BCC7-C8AA-436D-A5D5-738AB904E581}"/>
              </a:ext>
            </a:extLst>
          </p:cNvPr>
          <p:cNvSpPr txBox="1">
            <a:spLocks/>
          </p:cNvSpPr>
          <p:nvPr userDrawn="1">
            <p:custDataLst>
              <p:tags r:id="rId8"/>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8978327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11256172"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8"/>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7264989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0783"/>
            <a:ext cx="7918704" cy="246221"/>
          </a:xfrm>
          <a:prstGeom prst="rect">
            <a:avLst/>
          </a:prstGeom>
        </p:spPr>
        <p:txBody>
          <a:bodyPr wrap="square">
            <a:no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4BB34CAF-3D4A-4A48-A97F-048744350F6E}"/>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24" name="Group 4">
            <a:extLst>
              <a:ext uri="{FF2B5EF4-FFF2-40B4-BE49-F238E27FC236}">
                <a16:creationId xmlns:a16="http://schemas.microsoft.com/office/drawing/2014/main" id="{2A80F2F2-115C-4E8E-B9DC-6DD20548D704}"/>
              </a:ext>
            </a:extLst>
          </p:cNvPr>
          <p:cNvGrpSpPr>
            <a:grpSpLocks noChangeAspect="1"/>
          </p:cNvGrpSpPr>
          <p:nvPr userDrawn="1"/>
        </p:nvGrpSpPr>
        <p:grpSpPr bwMode="ltGray">
          <a:xfrm>
            <a:off x="11256172" y="6417372"/>
            <a:ext cx="394856" cy="373880"/>
            <a:chOff x="-240" y="2757"/>
            <a:chExt cx="960" cy="909"/>
          </a:xfrm>
        </p:grpSpPr>
        <p:sp>
          <p:nvSpPr>
            <p:cNvPr id="29" name="Freeform 5">
              <a:extLst>
                <a:ext uri="{FF2B5EF4-FFF2-40B4-BE49-F238E27FC236}">
                  <a16:creationId xmlns:a16="http://schemas.microsoft.com/office/drawing/2014/main" id="{11644F48-425C-46D9-94C1-23978DD0D13C}"/>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Rectangle 6">
              <a:extLst>
                <a:ext uri="{FF2B5EF4-FFF2-40B4-BE49-F238E27FC236}">
                  <a16:creationId xmlns:a16="http://schemas.microsoft.com/office/drawing/2014/main" id="{75CE9D97-8582-48C0-9419-917440456910}"/>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7">
              <a:extLst>
                <a:ext uri="{FF2B5EF4-FFF2-40B4-BE49-F238E27FC236}">
                  <a16:creationId xmlns:a16="http://schemas.microsoft.com/office/drawing/2014/main" id="{E67EF180-B650-4C4A-91F3-F097E0A099E4}"/>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8">
              <a:extLst>
                <a:ext uri="{FF2B5EF4-FFF2-40B4-BE49-F238E27FC236}">
                  <a16:creationId xmlns:a16="http://schemas.microsoft.com/office/drawing/2014/main" id="{3F4879AE-2BA2-4497-B15D-BC59E7461E6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3" name="Freeform 9">
              <a:extLst>
                <a:ext uri="{FF2B5EF4-FFF2-40B4-BE49-F238E27FC236}">
                  <a16:creationId xmlns:a16="http://schemas.microsoft.com/office/drawing/2014/main" id="{CFDF7617-B35D-4046-93A3-76A85D2829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4" name="Picture 720" descr="EDCTP and Africa CDC workshop report on disparities in research funding -  EDCTP">
            <a:extLst>
              <a:ext uri="{FF2B5EF4-FFF2-40B4-BE49-F238E27FC236}">
                <a16:creationId xmlns:a16="http://schemas.microsoft.com/office/drawing/2014/main" id="{814ED359-19C4-4C9A-ADDF-8DC8C13C0852}"/>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899874C-DF8F-4F46-A2EB-C41122F78A75}"/>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9" name="5. Source" hidden="1">
            <a:extLst>
              <a:ext uri="{FF2B5EF4-FFF2-40B4-BE49-F238E27FC236}">
                <a16:creationId xmlns:a16="http://schemas.microsoft.com/office/drawing/2014/main" id="{B0B197DD-58D4-4FDB-B1A9-FA59611691E7}"/>
              </a:ext>
            </a:extLst>
          </p:cNvPr>
          <p:cNvSpPr txBox="1">
            <a:spLocks/>
          </p:cNvSpPr>
          <p:nvPr userDrawn="1">
            <p:custDataLst>
              <p:tags r:id="rId8"/>
            </p:custDataLst>
          </p:nvPr>
        </p:nvSpPr>
        <p:spPr>
          <a:xfrm>
            <a:off x="554733"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5100881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9" name="Straight Connector 8">
            <a:extLst>
              <a:ext uri="{FF2B5EF4-FFF2-40B4-BE49-F238E27FC236}">
                <a16:creationId xmlns:a16="http://schemas.microsoft.com/office/drawing/2014/main" id="{BC2CB6D3-E8B1-4229-A1B9-B75E7D6E0420}"/>
              </a:ext>
            </a:extLst>
          </p:cNvPr>
          <p:cNvCxnSpPr>
            <a:cxnSpLocks/>
          </p:cNvCxnSpPr>
          <p:nvPr userDrawn="1"/>
        </p:nvCxnSpPr>
        <p:spPr bwMode="ltGray">
          <a:xfrm>
            <a:off x="554736" y="12388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4F9F5BDE-581C-4374-B70C-27D0344EE5B0}"/>
              </a:ext>
            </a:extLst>
          </p:cNvPr>
          <p:cNvSpPr>
            <a:spLocks noChangeArrowheads="1"/>
          </p:cNvSpPr>
          <p:nvPr userDrawn="1">
            <p:custDataLst>
              <p:tags r:id="rId5"/>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grpSp>
        <p:nvGrpSpPr>
          <p:cNvPr id="19" name="Group 4">
            <a:extLst>
              <a:ext uri="{FF2B5EF4-FFF2-40B4-BE49-F238E27FC236}">
                <a16:creationId xmlns:a16="http://schemas.microsoft.com/office/drawing/2014/main" id="{341FC139-26C0-428A-9DC5-8A451502DD7A}"/>
              </a:ext>
            </a:extLst>
          </p:cNvPr>
          <p:cNvGrpSpPr>
            <a:grpSpLocks noChangeAspect="1"/>
          </p:cNvGrpSpPr>
          <p:nvPr userDrawn="1"/>
        </p:nvGrpSpPr>
        <p:grpSpPr bwMode="ltGray">
          <a:xfrm>
            <a:off x="11256172" y="6417372"/>
            <a:ext cx="394856" cy="373880"/>
            <a:chOff x="-240" y="2757"/>
            <a:chExt cx="960" cy="909"/>
          </a:xfrm>
        </p:grpSpPr>
        <p:sp>
          <p:nvSpPr>
            <p:cNvPr id="20" name="Freeform 5">
              <a:extLst>
                <a:ext uri="{FF2B5EF4-FFF2-40B4-BE49-F238E27FC236}">
                  <a16:creationId xmlns:a16="http://schemas.microsoft.com/office/drawing/2014/main" id="{57329FBA-126A-4E1D-A53D-36B49F0BA19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2CB24FA4-CB4E-48A9-BAB5-6D243BE23A14}"/>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81CF441F-2F08-469D-9B69-253A5E2C5F5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5B584770-A271-4F31-A098-B5B042A2D27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C18A98AE-A202-476D-AED7-E2B36376F6E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9" name="Picture 720" descr="EDCTP and Africa CDC workshop report on disparities in research funding -  EDCTP">
            <a:extLst>
              <a:ext uri="{FF2B5EF4-FFF2-40B4-BE49-F238E27FC236}">
                <a16:creationId xmlns:a16="http://schemas.microsoft.com/office/drawing/2014/main" id="{A6D66E70-9662-44D7-A1AE-81FDCFDB0A16}"/>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9CA4BC00-CD1D-4AFE-8082-5738A561713E}"/>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32" name="5. Source" hidden="1">
            <a:extLst>
              <a:ext uri="{FF2B5EF4-FFF2-40B4-BE49-F238E27FC236}">
                <a16:creationId xmlns:a16="http://schemas.microsoft.com/office/drawing/2014/main" id="{64C91C80-6C09-4D3D-856F-40475CD2DD48}"/>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0671790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6DBF7DE7-B91D-4ABB-954A-50FBE28D25BA}"/>
              </a:ext>
            </a:extLst>
          </p:cNvPr>
          <p:cNvSpPr>
            <a:spLocks noChangeArrowheads="1"/>
          </p:cNvSpPr>
          <p:nvPr userDrawn="1">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5593A88A-4833-45F6-99A2-C493C0AB8824}"/>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grpSp>
        <p:nvGrpSpPr>
          <p:cNvPr id="6" name="Group 4">
            <a:extLst>
              <a:ext uri="{FF2B5EF4-FFF2-40B4-BE49-F238E27FC236}">
                <a16:creationId xmlns:a16="http://schemas.microsoft.com/office/drawing/2014/main" id="{B647C9C1-5471-4388-BAD4-426A4D690ED9}"/>
              </a:ext>
            </a:extLst>
          </p:cNvPr>
          <p:cNvGrpSpPr>
            <a:grpSpLocks noChangeAspect="1"/>
          </p:cNvGrpSpPr>
          <p:nvPr userDrawn="1"/>
        </p:nvGrpSpPr>
        <p:grpSpPr bwMode="ltGray">
          <a:xfrm>
            <a:off x="11256172" y="6417372"/>
            <a:ext cx="394856" cy="373880"/>
            <a:chOff x="-240" y="2757"/>
            <a:chExt cx="960" cy="909"/>
          </a:xfrm>
        </p:grpSpPr>
        <p:sp>
          <p:nvSpPr>
            <p:cNvPr id="7" name="Freeform 5">
              <a:extLst>
                <a:ext uri="{FF2B5EF4-FFF2-40B4-BE49-F238E27FC236}">
                  <a16:creationId xmlns:a16="http://schemas.microsoft.com/office/drawing/2014/main" id="{F37C1500-6D09-4B69-BE3B-22AF92B92877}"/>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Rectangle 6">
              <a:extLst>
                <a:ext uri="{FF2B5EF4-FFF2-40B4-BE49-F238E27FC236}">
                  <a16:creationId xmlns:a16="http://schemas.microsoft.com/office/drawing/2014/main" id="{33502601-D301-4859-B697-92C3C2329416}"/>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7">
              <a:extLst>
                <a:ext uri="{FF2B5EF4-FFF2-40B4-BE49-F238E27FC236}">
                  <a16:creationId xmlns:a16="http://schemas.microsoft.com/office/drawing/2014/main" id="{38ACD85C-2DE8-4826-871D-6160EC075A46}"/>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8">
              <a:extLst>
                <a:ext uri="{FF2B5EF4-FFF2-40B4-BE49-F238E27FC236}">
                  <a16:creationId xmlns:a16="http://schemas.microsoft.com/office/drawing/2014/main" id="{FA3DE10D-3AA1-400C-BAAC-13F5B20FCE5F}"/>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3" name="Freeform 9">
              <a:extLst>
                <a:ext uri="{FF2B5EF4-FFF2-40B4-BE49-F238E27FC236}">
                  <a16:creationId xmlns:a16="http://schemas.microsoft.com/office/drawing/2014/main" id="{2DDCBF92-A2DF-4C8B-846F-A6A6F239AADF}"/>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4" name="Picture 720" descr="EDCTP and Africa CDC workshop report on disparities in research funding -  EDCTP">
            <a:extLst>
              <a:ext uri="{FF2B5EF4-FFF2-40B4-BE49-F238E27FC236}">
                <a16:creationId xmlns:a16="http://schemas.microsoft.com/office/drawing/2014/main" id="{A1D48B6D-051F-45EA-9C47-02764BCD5EFE}"/>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37559406-1D2B-4BD8-A46C-F6B5F936A61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242172640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a:off x="3817044"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10120155"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ltGray">
          <a:xfrm>
            <a:off x="799595" y="2877126"/>
            <a:ext cx="2467979" cy="872430"/>
          </a:xfrm>
          <a:prstGeom prst="rect">
            <a:avLst/>
          </a:prstGeom>
        </p:spPr>
      </p:pic>
    </p:spTree>
    <p:extLst>
      <p:ext uri="{BB962C8B-B14F-4D97-AF65-F5344CB8AC3E}">
        <p14:creationId xmlns:p14="http://schemas.microsoft.com/office/powerpoint/2010/main" val="191972671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60354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A3D21A23-A104-496A-A3BB-E2824FA8D4F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3"/>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bg2"/>
                </a:solidFill>
              </a:defRPr>
            </a:lvl1pPr>
          </a:lstStyle>
          <a:p>
            <a:pPr lvl="0">
              <a:buNone/>
            </a:pPr>
            <a:r>
              <a:rPr lang="en-US"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p:custDataLst>
              <p:tags r:id="rId4"/>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2"/>
                </a:solidFill>
              </a:defRPr>
            </a:lvl1pPr>
          </a:lstStyle>
          <a:p>
            <a:pPr lvl="0"/>
            <a:r>
              <a:rPr lang="en-US"/>
              <a:t>Click to edit Master title style</a:t>
            </a:r>
            <a:endParaRPr lang="en-US" dirty="0"/>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5"/>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bg2"/>
                </a:solidFill>
              </a:defRPr>
            </a:lvl1pPr>
          </a:lstStyle>
          <a:p>
            <a:pPr lvl="0">
              <a:buNone/>
            </a:pPr>
            <a:r>
              <a:rPr lang="en-US"/>
              <a:t>Click to edit Master subtitle style</a:t>
            </a:r>
            <a:endParaRPr lang="en-US" dirty="0"/>
          </a:p>
        </p:txBody>
      </p:sp>
      <p:pic>
        <p:nvPicPr>
          <p:cNvPr id="26" name="Picture 25">
            <a:extLst>
              <a:ext uri="{FF2B5EF4-FFF2-40B4-BE49-F238E27FC236}">
                <a16:creationId xmlns:a16="http://schemas.microsoft.com/office/drawing/2014/main" id="{70BACD0A-B176-44DB-A133-D449488AB5A9}"/>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28" name="Picture 27">
            <a:extLst>
              <a:ext uri="{FF2B5EF4-FFF2-40B4-BE49-F238E27FC236}">
                <a16:creationId xmlns:a16="http://schemas.microsoft.com/office/drawing/2014/main" id="{EC3FDF1A-4D14-4090-9EED-9E4DE3DBE79F}"/>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29" name="Group 28">
            <a:extLst>
              <a:ext uri="{FF2B5EF4-FFF2-40B4-BE49-F238E27FC236}">
                <a16:creationId xmlns:a16="http://schemas.microsoft.com/office/drawing/2014/main" id="{CDFBF8AE-F994-4CC4-BA6C-8FAA88311833}"/>
              </a:ext>
            </a:extLst>
          </p:cNvPr>
          <p:cNvGrpSpPr>
            <a:grpSpLocks noChangeAspect="1"/>
          </p:cNvGrpSpPr>
          <p:nvPr userDrawn="1"/>
        </p:nvGrpSpPr>
        <p:grpSpPr bwMode="ltGray">
          <a:xfrm>
            <a:off x="10402367" y="5349875"/>
            <a:ext cx="950497" cy="900000"/>
            <a:chOff x="10236055" y="680939"/>
            <a:chExt cx="759866" cy="719497"/>
          </a:xfrm>
        </p:grpSpPr>
        <p:sp>
          <p:nvSpPr>
            <p:cNvPr id="30" name="Freeform 5">
              <a:extLst>
                <a:ext uri="{FF2B5EF4-FFF2-40B4-BE49-F238E27FC236}">
                  <a16:creationId xmlns:a16="http://schemas.microsoft.com/office/drawing/2014/main" id="{D35963A8-BB09-4371-877B-057423491DF2}"/>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1" name="Rectangle 6">
              <a:extLst>
                <a:ext uri="{FF2B5EF4-FFF2-40B4-BE49-F238E27FC236}">
                  <a16:creationId xmlns:a16="http://schemas.microsoft.com/office/drawing/2014/main" id="{BBE09AF2-2A54-445D-8F64-9D7F19B00A85}"/>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2" name="Freeform 7">
              <a:extLst>
                <a:ext uri="{FF2B5EF4-FFF2-40B4-BE49-F238E27FC236}">
                  <a16:creationId xmlns:a16="http://schemas.microsoft.com/office/drawing/2014/main" id="{3E49903B-7D11-4416-90E4-1D9E7D5436EF}"/>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 name="Freeform 8">
              <a:extLst>
                <a:ext uri="{FF2B5EF4-FFF2-40B4-BE49-F238E27FC236}">
                  <a16:creationId xmlns:a16="http://schemas.microsoft.com/office/drawing/2014/main" id="{6C832AF7-3499-4BBD-8C3A-99E4268CECD9}"/>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 name="Freeform 9">
              <a:extLst>
                <a:ext uri="{FF2B5EF4-FFF2-40B4-BE49-F238E27FC236}">
                  <a16:creationId xmlns:a16="http://schemas.microsoft.com/office/drawing/2014/main" id="{D4226C4E-AAF5-499A-BD28-C95AE1686913}"/>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140743740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12" name="Slide Number">
            <a:extLst>
              <a:ext uri="{FF2B5EF4-FFF2-40B4-BE49-F238E27FC236}">
                <a16:creationId xmlns:a16="http://schemas.microsoft.com/office/drawing/2014/main" id="{480918F5-69A8-40D4-9A1C-19A48B2E8F78}"/>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7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104234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image" Target="../media/image2.png"/><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oleObject" Target="../embeddings/oleObject1.bin"/><Relationship Id="rId40"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67.xml"/><Relationship Id="rId18" Type="http://schemas.openxmlformats.org/officeDocument/2006/relationships/tags" Target="../tags/tag1192.xml"/><Relationship Id="rId26" Type="http://schemas.openxmlformats.org/officeDocument/2006/relationships/tags" Target="../tags/tag1200.xml"/><Relationship Id="rId39" Type="http://schemas.openxmlformats.org/officeDocument/2006/relationships/image" Target="../media/image24.png"/><Relationship Id="rId21" Type="http://schemas.openxmlformats.org/officeDocument/2006/relationships/tags" Target="../tags/tag1195.xml"/><Relationship Id="rId34" Type="http://schemas.openxmlformats.org/officeDocument/2006/relationships/tags" Target="../tags/tag1208.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tags" Target="../tags/tag1191.xml"/><Relationship Id="rId25" Type="http://schemas.openxmlformats.org/officeDocument/2006/relationships/tags" Target="../tags/tag1199.xml"/><Relationship Id="rId33" Type="http://schemas.openxmlformats.org/officeDocument/2006/relationships/tags" Target="../tags/tag1207.xml"/><Relationship Id="rId38" Type="http://schemas.openxmlformats.org/officeDocument/2006/relationships/image" Target="../media/image1.emf"/><Relationship Id="rId2" Type="http://schemas.openxmlformats.org/officeDocument/2006/relationships/slideLayout" Target="../slideLayouts/slideLayout156.xml"/><Relationship Id="rId16" Type="http://schemas.openxmlformats.org/officeDocument/2006/relationships/theme" Target="../theme/theme10.xml"/><Relationship Id="rId20" Type="http://schemas.openxmlformats.org/officeDocument/2006/relationships/tags" Target="../tags/tag1194.xml"/><Relationship Id="rId29" Type="http://schemas.openxmlformats.org/officeDocument/2006/relationships/tags" Target="../tags/tag120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tags" Target="../tags/tag1198.xml"/><Relationship Id="rId32" Type="http://schemas.openxmlformats.org/officeDocument/2006/relationships/tags" Target="../tags/tag1206.xml"/><Relationship Id="rId37" Type="http://schemas.openxmlformats.org/officeDocument/2006/relationships/oleObject" Target="../embeddings/oleObject162.bin"/><Relationship Id="rId40" Type="http://schemas.openxmlformats.org/officeDocument/2006/relationships/image" Target="../media/image3.png"/><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tags" Target="../tags/tag1197.xml"/><Relationship Id="rId28" Type="http://schemas.openxmlformats.org/officeDocument/2006/relationships/tags" Target="../tags/tag1202.xml"/><Relationship Id="rId36" Type="http://schemas.openxmlformats.org/officeDocument/2006/relationships/tags" Target="../tags/tag1210.xml"/><Relationship Id="rId10" Type="http://schemas.openxmlformats.org/officeDocument/2006/relationships/slideLayout" Target="../slideLayouts/slideLayout164.xml"/><Relationship Id="rId19" Type="http://schemas.openxmlformats.org/officeDocument/2006/relationships/tags" Target="../tags/tag1193.xml"/><Relationship Id="rId31" Type="http://schemas.openxmlformats.org/officeDocument/2006/relationships/tags" Target="../tags/tag1205.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tags" Target="../tags/tag1196.xml"/><Relationship Id="rId27" Type="http://schemas.openxmlformats.org/officeDocument/2006/relationships/tags" Target="../tags/tag1201.xml"/><Relationship Id="rId30" Type="http://schemas.openxmlformats.org/officeDocument/2006/relationships/tags" Target="../tags/tag1204.xml"/><Relationship Id="rId35" Type="http://schemas.openxmlformats.org/officeDocument/2006/relationships/tags" Target="../tags/tag1209.xml"/><Relationship Id="rId8" Type="http://schemas.openxmlformats.org/officeDocument/2006/relationships/slideLayout" Target="../slideLayouts/slideLayout162.xml"/><Relationship Id="rId3" Type="http://schemas.openxmlformats.org/officeDocument/2006/relationships/slideLayout" Target="../slideLayouts/slideLayout157.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tags" Target="../tags/tag1314.xml"/><Relationship Id="rId39" Type="http://schemas.openxmlformats.org/officeDocument/2006/relationships/tags" Target="../tags/tag1327.xml"/><Relationship Id="rId21" Type="http://schemas.openxmlformats.org/officeDocument/2006/relationships/theme" Target="../theme/theme11.xml"/><Relationship Id="rId34" Type="http://schemas.openxmlformats.org/officeDocument/2006/relationships/tags" Target="../tags/tag1322.xml"/><Relationship Id="rId42" Type="http://schemas.openxmlformats.org/officeDocument/2006/relationships/tags" Target="../tags/tag1330.xml"/><Relationship Id="rId47" Type="http://schemas.openxmlformats.org/officeDocument/2006/relationships/image" Target="../media/image9.png"/><Relationship Id="rId50" Type="http://schemas.microsoft.com/office/2007/relationships/hdphoto" Target="../media/hdphoto7.wdp"/><Relationship Id="rId7" Type="http://schemas.openxmlformats.org/officeDocument/2006/relationships/slideLayout" Target="../slideLayouts/slideLayout17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9" Type="http://schemas.openxmlformats.org/officeDocument/2006/relationships/tags" Target="../tags/tag1317.xml"/><Relationship Id="rId11" Type="http://schemas.openxmlformats.org/officeDocument/2006/relationships/slideLayout" Target="../slideLayouts/slideLayout180.xml"/><Relationship Id="rId24" Type="http://schemas.openxmlformats.org/officeDocument/2006/relationships/tags" Target="../tags/tag1312.xml"/><Relationship Id="rId32" Type="http://schemas.openxmlformats.org/officeDocument/2006/relationships/tags" Target="../tags/tag1320.xml"/><Relationship Id="rId37" Type="http://schemas.openxmlformats.org/officeDocument/2006/relationships/tags" Target="../tags/tag1325.xml"/><Relationship Id="rId40" Type="http://schemas.openxmlformats.org/officeDocument/2006/relationships/tags" Target="../tags/tag1328.xml"/><Relationship Id="rId45" Type="http://schemas.openxmlformats.org/officeDocument/2006/relationships/image" Target="../media/image8.png"/><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tags" Target="../tags/tag1311.xml"/><Relationship Id="rId28" Type="http://schemas.openxmlformats.org/officeDocument/2006/relationships/tags" Target="../tags/tag1316.xml"/><Relationship Id="rId36" Type="http://schemas.openxmlformats.org/officeDocument/2006/relationships/tags" Target="../tags/tag1324.xml"/><Relationship Id="rId49" Type="http://schemas.openxmlformats.org/officeDocument/2006/relationships/image" Target="../media/image23.png"/><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tags" Target="../tags/tag1319.xml"/><Relationship Id="rId44" Type="http://schemas.openxmlformats.org/officeDocument/2006/relationships/image" Target="../media/image4.emf"/><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tags" Target="../tags/tag1310.xml"/><Relationship Id="rId27" Type="http://schemas.openxmlformats.org/officeDocument/2006/relationships/tags" Target="../tags/tag1315.xml"/><Relationship Id="rId30" Type="http://schemas.openxmlformats.org/officeDocument/2006/relationships/tags" Target="../tags/tag1318.xml"/><Relationship Id="rId35" Type="http://schemas.openxmlformats.org/officeDocument/2006/relationships/tags" Target="../tags/tag1323.xml"/><Relationship Id="rId43" Type="http://schemas.openxmlformats.org/officeDocument/2006/relationships/oleObject" Target="../embeddings/oleObject178.bin"/><Relationship Id="rId48" Type="http://schemas.openxmlformats.org/officeDocument/2006/relationships/image" Target="../media/image3.png"/><Relationship Id="rId8" Type="http://schemas.openxmlformats.org/officeDocument/2006/relationships/slideLayout" Target="../slideLayouts/slideLayout177.xml"/><Relationship Id="rId3" Type="http://schemas.openxmlformats.org/officeDocument/2006/relationships/slideLayout" Target="../slideLayouts/slideLayout172.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tags" Target="../tags/tag1313.xml"/><Relationship Id="rId33" Type="http://schemas.openxmlformats.org/officeDocument/2006/relationships/tags" Target="../tags/tag1321.xml"/><Relationship Id="rId38" Type="http://schemas.openxmlformats.org/officeDocument/2006/relationships/tags" Target="../tags/tag1326.xml"/><Relationship Id="rId46" Type="http://schemas.microsoft.com/office/2007/relationships/hdphoto" Target="../media/hdphoto1.wdp"/><Relationship Id="rId20" Type="http://schemas.openxmlformats.org/officeDocument/2006/relationships/slideLayout" Target="../slideLayouts/slideLayout189.xml"/><Relationship Id="rId41" Type="http://schemas.openxmlformats.org/officeDocument/2006/relationships/tags" Target="../tags/tag1329.xml"/><Relationship Id="rId1" Type="http://schemas.openxmlformats.org/officeDocument/2006/relationships/slideLayout" Target="../slideLayouts/slideLayout170.xml"/><Relationship Id="rId6" Type="http://schemas.openxmlformats.org/officeDocument/2006/relationships/slideLayout" Target="../slideLayouts/slideLayout17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02.xml"/><Relationship Id="rId18" Type="http://schemas.openxmlformats.org/officeDocument/2006/relationships/tags" Target="../tags/tag1473.xml"/><Relationship Id="rId26" Type="http://schemas.openxmlformats.org/officeDocument/2006/relationships/tags" Target="../tags/tag1481.xml"/><Relationship Id="rId39" Type="http://schemas.openxmlformats.org/officeDocument/2006/relationships/image" Target="../media/image28.png"/><Relationship Id="rId21" Type="http://schemas.openxmlformats.org/officeDocument/2006/relationships/tags" Target="../tags/tag1476.xml"/><Relationship Id="rId34" Type="http://schemas.openxmlformats.org/officeDocument/2006/relationships/tags" Target="../tags/tag1489.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tags" Target="../tags/tag1472.xml"/><Relationship Id="rId25" Type="http://schemas.openxmlformats.org/officeDocument/2006/relationships/tags" Target="../tags/tag1480.xml"/><Relationship Id="rId33" Type="http://schemas.openxmlformats.org/officeDocument/2006/relationships/tags" Target="../tags/tag1488.xml"/><Relationship Id="rId38" Type="http://schemas.openxmlformats.org/officeDocument/2006/relationships/image" Target="../media/image1.emf"/><Relationship Id="rId2" Type="http://schemas.openxmlformats.org/officeDocument/2006/relationships/slideLayout" Target="../slideLayouts/slideLayout191.xml"/><Relationship Id="rId16" Type="http://schemas.openxmlformats.org/officeDocument/2006/relationships/tags" Target="../tags/tag1471.xml"/><Relationship Id="rId20" Type="http://schemas.openxmlformats.org/officeDocument/2006/relationships/tags" Target="../tags/tag1475.xml"/><Relationship Id="rId29" Type="http://schemas.openxmlformats.org/officeDocument/2006/relationships/tags" Target="../tags/tag1484.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tags" Target="../tags/tag1479.xml"/><Relationship Id="rId32" Type="http://schemas.openxmlformats.org/officeDocument/2006/relationships/tags" Target="../tags/tag1487.xml"/><Relationship Id="rId37" Type="http://schemas.openxmlformats.org/officeDocument/2006/relationships/oleObject" Target="../embeddings/oleObject199.bin"/><Relationship Id="rId40" Type="http://schemas.openxmlformats.org/officeDocument/2006/relationships/image" Target="../media/image3.png"/><Relationship Id="rId5" Type="http://schemas.openxmlformats.org/officeDocument/2006/relationships/slideLayout" Target="../slideLayouts/slideLayout194.xml"/><Relationship Id="rId15" Type="http://schemas.openxmlformats.org/officeDocument/2006/relationships/theme" Target="../theme/theme12.xml"/><Relationship Id="rId23" Type="http://schemas.openxmlformats.org/officeDocument/2006/relationships/tags" Target="../tags/tag1478.xml"/><Relationship Id="rId28" Type="http://schemas.openxmlformats.org/officeDocument/2006/relationships/tags" Target="../tags/tag1483.xml"/><Relationship Id="rId36" Type="http://schemas.openxmlformats.org/officeDocument/2006/relationships/tags" Target="../tags/tag1491.xml"/><Relationship Id="rId10" Type="http://schemas.openxmlformats.org/officeDocument/2006/relationships/slideLayout" Target="../slideLayouts/slideLayout199.xml"/><Relationship Id="rId19" Type="http://schemas.openxmlformats.org/officeDocument/2006/relationships/tags" Target="../tags/tag1474.xml"/><Relationship Id="rId31" Type="http://schemas.openxmlformats.org/officeDocument/2006/relationships/tags" Target="../tags/tag1486.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tags" Target="../tags/tag1477.xml"/><Relationship Id="rId27" Type="http://schemas.openxmlformats.org/officeDocument/2006/relationships/tags" Target="../tags/tag1482.xml"/><Relationship Id="rId30" Type="http://schemas.openxmlformats.org/officeDocument/2006/relationships/tags" Target="../tags/tag1485.xml"/><Relationship Id="rId35" Type="http://schemas.openxmlformats.org/officeDocument/2006/relationships/tags" Target="../tags/tag1490.xml"/><Relationship Id="rId8" Type="http://schemas.openxmlformats.org/officeDocument/2006/relationships/slideLayout" Target="../slideLayouts/slideLayout197.xml"/><Relationship Id="rId3" Type="http://schemas.openxmlformats.org/officeDocument/2006/relationships/slideLayout" Target="../slideLayouts/slideLayout19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26.xml"/><Relationship Id="rId39" Type="http://schemas.openxmlformats.org/officeDocument/2006/relationships/tags" Target="../tags/tag139.xml"/><Relationship Id="rId21" Type="http://schemas.openxmlformats.org/officeDocument/2006/relationships/tags" Target="../tags/tag121.xml"/><Relationship Id="rId34" Type="http://schemas.openxmlformats.org/officeDocument/2006/relationships/tags" Target="../tags/tag134.xml"/><Relationship Id="rId42" Type="http://schemas.openxmlformats.org/officeDocument/2006/relationships/image" Target="../media/image4.emf"/><Relationship Id="rId47" Type="http://schemas.openxmlformats.org/officeDocument/2006/relationships/image" Target="../media/image10.png"/><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tags" Target="../tags/tag129.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tags" Target="../tags/tag137.xml"/><Relationship Id="rId40" Type="http://schemas.openxmlformats.org/officeDocument/2006/relationships/tags" Target="../tags/tag140.xml"/><Relationship Id="rId45" Type="http://schemas.openxmlformats.org/officeDocument/2006/relationships/image" Target="../media/image9.png"/><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10" Type="http://schemas.openxmlformats.org/officeDocument/2006/relationships/slideLayout" Target="../slideLayouts/slideLayout24.xml"/><Relationship Id="rId19" Type="http://schemas.openxmlformats.org/officeDocument/2006/relationships/tags" Target="../tags/tag119.xml"/><Relationship Id="rId31" Type="http://schemas.openxmlformats.org/officeDocument/2006/relationships/tags" Target="../tags/tag131.xml"/><Relationship Id="rId44" Type="http://schemas.microsoft.com/office/2007/relationships/hdphoto" Target="../media/hdphoto1.wdp"/><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tags" Target="../tags/tag135.xml"/><Relationship Id="rId43" Type="http://schemas.openxmlformats.org/officeDocument/2006/relationships/image" Target="../media/image8.png"/><Relationship Id="rId48" Type="http://schemas.microsoft.com/office/2007/relationships/hdphoto" Target="../media/hdphoto2.wdp"/><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tags" Target="../tags/tag138.xml"/><Relationship Id="rId46" Type="http://schemas.openxmlformats.org/officeDocument/2006/relationships/image" Target="../media/image3.png"/><Relationship Id="rId20" Type="http://schemas.openxmlformats.org/officeDocument/2006/relationships/tags" Target="../tags/tag120.xml"/><Relationship Id="rId41" Type="http://schemas.openxmlformats.org/officeDocument/2006/relationships/oleObject" Target="../embeddings/oleObject16.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270.xml"/><Relationship Id="rId39" Type="http://schemas.openxmlformats.org/officeDocument/2006/relationships/tags" Target="../tags/tag283.xml"/><Relationship Id="rId21" Type="http://schemas.openxmlformats.org/officeDocument/2006/relationships/tags" Target="../tags/tag265.xml"/><Relationship Id="rId34" Type="http://schemas.openxmlformats.org/officeDocument/2006/relationships/tags" Target="../tags/tag278.xml"/><Relationship Id="rId42" Type="http://schemas.openxmlformats.org/officeDocument/2006/relationships/image" Target="../media/image2.png"/><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ags" Target="../tags/tag264.xml"/><Relationship Id="rId29" Type="http://schemas.openxmlformats.org/officeDocument/2006/relationships/tags" Target="../tags/tag273.xml"/><Relationship Id="rId41" Type="http://schemas.openxmlformats.org/officeDocument/2006/relationships/image" Target="../media/image1.emf"/><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268.xml"/><Relationship Id="rId32" Type="http://schemas.openxmlformats.org/officeDocument/2006/relationships/tags" Target="../tags/tag276.xml"/><Relationship Id="rId37" Type="http://schemas.openxmlformats.org/officeDocument/2006/relationships/tags" Target="../tags/tag281.xml"/><Relationship Id="rId40" Type="http://schemas.openxmlformats.org/officeDocument/2006/relationships/oleObject" Target="../embeddings/oleObject34.bin"/><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267.xml"/><Relationship Id="rId28" Type="http://schemas.openxmlformats.org/officeDocument/2006/relationships/tags" Target="../tags/tag272.xml"/><Relationship Id="rId36" Type="http://schemas.openxmlformats.org/officeDocument/2006/relationships/tags" Target="../tags/tag280.xml"/><Relationship Id="rId10" Type="http://schemas.openxmlformats.org/officeDocument/2006/relationships/slideLayout" Target="../slideLayouts/slideLayout41.xml"/><Relationship Id="rId19" Type="http://schemas.openxmlformats.org/officeDocument/2006/relationships/theme" Target="../theme/theme3.xml"/><Relationship Id="rId31" Type="http://schemas.openxmlformats.org/officeDocument/2006/relationships/tags" Target="../tags/tag275.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266.xml"/><Relationship Id="rId27" Type="http://schemas.openxmlformats.org/officeDocument/2006/relationships/tags" Target="../tags/tag271.xml"/><Relationship Id="rId30" Type="http://schemas.openxmlformats.org/officeDocument/2006/relationships/tags" Target="../tags/tag274.xml"/><Relationship Id="rId35" Type="http://schemas.openxmlformats.org/officeDocument/2006/relationships/tags" Target="../tags/tag279.xml"/><Relationship Id="rId43" Type="http://schemas.openxmlformats.org/officeDocument/2006/relationships/image" Target="../media/image3.png"/><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269.xml"/><Relationship Id="rId33" Type="http://schemas.openxmlformats.org/officeDocument/2006/relationships/tags" Target="../tags/tag277.xml"/><Relationship Id="rId38" Type="http://schemas.openxmlformats.org/officeDocument/2006/relationships/tags" Target="../tags/tag28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ags" Target="../tags/tag386.xml"/><Relationship Id="rId39" Type="http://schemas.openxmlformats.org/officeDocument/2006/relationships/tags" Target="../tags/tag399.xml"/><Relationship Id="rId21" Type="http://schemas.openxmlformats.org/officeDocument/2006/relationships/tags" Target="../tags/tag381.xml"/><Relationship Id="rId34" Type="http://schemas.openxmlformats.org/officeDocument/2006/relationships/tags" Target="../tags/tag394.xml"/><Relationship Id="rId42" Type="http://schemas.openxmlformats.org/officeDocument/2006/relationships/image" Target="../media/image1.emf"/><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tags" Target="../tags/tag380.xml"/><Relationship Id="rId29" Type="http://schemas.openxmlformats.org/officeDocument/2006/relationships/tags" Target="../tags/tag389.xml"/><Relationship Id="rId41" Type="http://schemas.openxmlformats.org/officeDocument/2006/relationships/oleObject" Target="../embeddings/oleObject51.bin"/><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ags" Target="../tags/tag384.xml"/><Relationship Id="rId32" Type="http://schemas.openxmlformats.org/officeDocument/2006/relationships/tags" Target="../tags/tag392.xml"/><Relationship Id="rId37" Type="http://schemas.openxmlformats.org/officeDocument/2006/relationships/tags" Target="../tags/tag397.xml"/><Relationship Id="rId40" Type="http://schemas.openxmlformats.org/officeDocument/2006/relationships/tags" Target="../tags/tag40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tags" Target="../tags/tag383.xml"/><Relationship Id="rId28" Type="http://schemas.openxmlformats.org/officeDocument/2006/relationships/tags" Target="../tags/tag388.xml"/><Relationship Id="rId36" Type="http://schemas.openxmlformats.org/officeDocument/2006/relationships/tags" Target="../tags/tag396.xml"/><Relationship Id="rId10" Type="http://schemas.openxmlformats.org/officeDocument/2006/relationships/slideLayout" Target="../slideLayouts/slideLayout59.xml"/><Relationship Id="rId19" Type="http://schemas.openxmlformats.org/officeDocument/2006/relationships/theme" Target="../theme/theme4.xml"/><Relationship Id="rId31" Type="http://schemas.openxmlformats.org/officeDocument/2006/relationships/tags" Target="../tags/tag391.xml"/><Relationship Id="rId44" Type="http://schemas.openxmlformats.org/officeDocument/2006/relationships/image" Target="../media/image3.pn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tags" Target="../tags/tag382.xml"/><Relationship Id="rId27" Type="http://schemas.openxmlformats.org/officeDocument/2006/relationships/tags" Target="../tags/tag387.xml"/><Relationship Id="rId30" Type="http://schemas.openxmlformats.org/officeDocument/2006/relationships/tags" Target="../tags/tag390.xml"/><Relationship Id="rId35" Type="http://schemas.openxmlformats.org/officeDocument/2006/relationships/tags" Target="../tags/tag395.xml"/><Relationship Id="rId43" Type="http://schemas.openxmlformats.org/officeDocument/2006/relationships/image" Target="../media/image2.png"/><Relationship Id="rId8" Type="http://schemas.openxmlformats.org/officeDocument/2006/relationships/slideLayout" Target="../slideLayouts/slideLayout57.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ags" Target="../tags/tag385.xml"/><Relationship Id="rId33" Type="http://schemas.openxmlformats.org/officeDocument/2006/relationships/tags" Target="../tags/tag393.xml"/><Relationship Id="rId38" Type="http://schemas.openxmlformats.org/officeDocument/2006/relationships/tags" Target="../tags/tag39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tags" Target="../tags/tag528.xml"/><Relationship Id="rId26" Type="http://schemas.openxmlformats.org/officeDocument/2006/relationships/tags" Target="../tags/tag536.xml"/><Relationship Id="rId39" Type="http://schemas.openxmlformats.org/officeDocument/2006/relationships/image" Target="../media/image21.png"/><Relationship Id="rId21" Type="http://schemas.openxmlformats.org/officeDocument/2006/relationships/tags" Target="../tags/tag531.xml"/><Relationship Id="rId34" Type="http://schemas.openxmlformats.org/officeDocument/2006/relationships/tags" Target="../tags/tag544.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ags" Target="../tags/tag527.xml"/><Relationship Id="rId25" Type="http://schemas.openxmlformats.org/officeDocument/2006/relationships/tags" Target="../tags/tag535.xml"/><Relationship Id="rId33" Type="http://schemas.openxmlformats.org/officeDocument/2006/relationships/tags" Target="../tags/tag543.xml"/><Relationship Id="rId38"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theme" Target="../theme/theme5.xml"/><Relationship Id="rId20" Type="http://schemas.openxmlformats.org/officeDocument/2006/relationships/tags" Target="../tags/tag530.xml"/><Relationship Id="rId29" Type="http://schemas.openxmlformats.org/officeDocument/2006/relationships/tags" Target="../tags/tag53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tags" Target="../tags/tag534.xml"/><Relationship Id="rId32" Type="http://schemas.openxmlformats.org/officeDocument/2006/relationships/tags" Target="../tags/tag542.xml"/><Relationship Id="rId37" Type="http://schemas.openxmlformats.org/officeDocument/2006/relationships/oleObject" Target="../embeddings/oleObject70.bin"/><Relationship Id="rId40" Type="http://schemas.openxmlformats.org/officeDocument/2006/relationships/image" Target="../media/image3.png"/><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tags" Target="../tags/tag533.xml"/><Relationship Id="rId28" Type="http://schemas.openxmlformats.org/officeDocument/2006/relationships/tags" Target="../tags/tag538.xml"/><Relationship Id="rId36" Type="http://schemas.openxmlformats.org/officeDocument/2006/relationships/tags" Target="../tags/tag546.xml"/><Relationship Id="rId10" Type="http://schemas.openxmlformats.org/officeDocument/2006/relationships/slideLayout" Target="../slideLayouts/slideLayout77.xml"/><Relationship Id="rId19" Type="http://schemas.openxmlformats.org/officeDocument/2006/relationships/tags" Target="../tags/tag529.xml"/><Relationship Id="rId31" Type="http://schemas.openxmlformats.org/officeDocument/2006/relationships/tags" Target="../tags/tag541.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ags" Target="../tags/tag532.xml"/><Relationship Id="rId27" Type="http://schemas.openxmlformats.org/officeDocument/2006/relationships/tags" Target="../tags/tag537.xml"/><Relationship Id="rId30" Type="http://schemas.openxmlformats.org/officeDocument/2006/relationships/tags" Target="../tags/tag540.xml"/><Relationship Id="rId35" Type="http://schemas.openxmlformats.org/officeDocument/2006/relationships/tags" Target="../tags/tag545.xml"/><Relationship Id="rId8" Type="http://schemas.openxmlformats.org/officeDocument/2006/relationships/slideLayout" Target="../slideLayouts/slideLayout75.xml"/><Relationship Id="rId3"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5.xml"/><Relationship Id="rId18" Type="http://schemas.openxmlformats.org/officeDocument/2006/relationships/tags" Target="../tags/tag644.xml"/><Relationship Id="rId26" Type="http://schemas.openxmlformats.org/officeDocument/2006/relationships/tags" Target="../tags/tag652.xml"/><Relationship Id="rId39" Type="http://schemas.openxmlformats.org/officeDocument/2006/relationships/image" Target="../media/image24.png"/><Relationship Id="rId21" Type="http://schemas.openxmlformats.org/officeDocument/2006/relationships/tags" Target="../tags/tag647.xml"/><Relationship Id="rId34" Type="http://schemas.openxmlformats.org/officeDocument/2006/relationships/tags" Target="../tags/tag660.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ags" Target="../tags/tag643.xml"/><Relationship Id="rId25" Type="http://schemas.openxmlformats.org/officeDocument/2006/relationships/tags" Target="../tags/tag651.xml"/><Relationship Id="rId33" Type="http://schemas.openxmlformats.org/officeDocument/2006/relationships/tags" Target="../tags/tag659.xml"/><Relationship Id="rId38" Type="http://schemas.openxmlformats.org/officeDocument/2006/relationships/image" Target="../media/image1.emf"/><Relationship Id="rId2" Type="http://schemas.openxmlformats.org/officeDocument/2006/relationships/slideLayout" Target="../slideLayouts/slideLayout84.xml"/><Relationship Id="rId16" Type="http://schemas.openxmlformats.org/officeDocument/2006/relationships/theme" Target="../theme/theme6.xml"/><Relationship Id="rId20" Type="http://schemas.openxmlformats.org/officeDocument/2006/relationships/tags" Target="../tags/tag646.xml"/><Relationship Id="rId29" Type="http://schemas.openxmlformats.org/officeDocument/2006/relationships/tags" Target="../tags/tag655.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ags" Target="../tags/tag650.xml"/><Relationship Id="rId32" Type="http://schemas.openxmlformats.org/officeDocument/2006/relationships/tags" Target="../tags/tag658.xml"/><Relationship Id="rId37" Type="http://schemas.openxmlformats.org/officeDocument/2006/relationships/oleObject" Target="../embeddings/oleObject86.bin"/><Relationship Id="rId40" Type="http://schemas.openxmlformats.org/officeDocument/2006/relationships/image" Target="../media/image3.png"/><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tags" Target="../tags/tag649.xml"/><Relationship Id="rId28" Type="http://schemas.openxmlformats.org/officeDocument/2006/relationships/tags" Target="../tags/tag654.xml"/><Relationship Id="rId36" Type="http://schemas.openxmlformats.org/officeDocument/2006/relationships/tags" Target="../tags/tag662.xml"/><Relationship Id="rId10" Type="http://schemas.openxmlformats.org/officeDocument/2006/relationships/slideLayout" Target="../slideLayouts/slideLayout92.xml"/><Relationship Id="rId19" Type="http://schemas.openxmlformats.org/officeDocument/2006/relationships/tags" Target="../tags/tag645.xml"/><Relationship Id="rId31" Type="http://schemas.openxmlformats.org/officeDocument/2006/relationships/tags" Target="../tags/tag657.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tags" Target="../tags/tag648.xml"/><Relationship Id="rId27" Type="http://schemas.openxmlformats.org/officeDocument/2006/relationships/tags" Target="../tags/tag653.xml"/><Relationship Id="rId30" Type="http://schemas.openxmlformats.org/officeDocument/2006/relationships/tags" Target="../tags/tag656.xml"/><Relationship Id="rId35" Type="http://schemas.openxmlformats.org/officeDocument/2006/relationships/tags" Target="../tags/tag661.xml"/><Relationship Id="rId8" Type="http://schemas.openxmlformats.org/officeDocument/2006/relationships/slideLayout" Target="../slideLayouts/slideLayout90.xml"/><Relationship Id="rId3" Type="http://schemas.openxmlformats.org/officeDocument/2006/relationships/slideLayout" Target="../slideLayouts/slideLayout8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theme" Target="../theme/theme7.xml"/><Relationship Id="rId26" Type="http://schemas.openxmlformats.org/officeDocument/2006/relationships/tags" Target="../tags/tag764.xml"/><Relationship Id="rId39" Type="http://schemas.openxmlformats.org/officeDocument/2006/relationships/oleObject" Target="../embeddings/oleObject102.bin"/><Relationship Id="rId21" Type="http://schemas.openxmlformats.org/officeDocument/2006/relationships/tags" Target="../tags/tag759.xml"/><Relationship Id="rId34" Type="http://schemas.openxmlformats.org/officeDocument/2006/relationships/tags" Target="../tags/tag772.xml"/><Relationship Id="rId42" Type="http://schemas.openxmlformats.org/officeDocument/2006/relationships/image" Target="../media/image3.png"/><Relationship Id="rId7" Type="http://schemas.openxmlformats.org/officeDocument/2006/relationships/slideLayout" Target="../slideLayouts/slideLayout10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tags" Target="../tags/tag758.xml"/><Relationship Id="rId29" Type="http://schemas.openxmlformats.org/officeDocument/2006/relationships/tags" Target="../tags/tag767.xml"/><Relationship Id="rId41" Type="http://schemas.openxmlformats.org/officeDocument/2006/relationships/image" Target="../media/image2.png"/><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tags" Target="../tags/tag762.xml"/><Relationship Id="rId32" Type="http://schemas.openxmlformats.org/officeDocument/2006/relationships/tags" Target="../tags/tag770.xml"/><Relationship Id="rId37" Type="http://schemas.openxmlformats.org/officeDocument/2006/relationships/tags" Target="../tags/tag775.xml"/><Relationship Id="rId40" Type="http://schemas.openxmlformats.org/officeDocument/2006/relationships/image" Target="../media/image1.emf"/><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tags" Target="../tags/tag761.xml"/><Relationship Id="rId28" Type="http://schemas.openxmlformats.org/officeDocument/2006/relationships/tags" Target="../tags/tag766.xml"/><Relationship Id="rId36" Type="http://schemas.openxmlformats.org/officeDocument/2006/relationships/tags" Target="../tags/tag774.xml"/><Relationship Id="rId10" Type="http://schemas.openxmlformats.org/officeDocument/2006/relationships/slideLayout" Target="../slideLayouts/slideLayout107.xml"/><Relationship Id="rId19" Type="http://schemas.openxmlformats.org/officeDocument/2006/relationships/tags" Target="../tags/tag757.xml"/><Relationship Id="rId31" Type="http://schemas.openxmlformats.org/officeDocument/2006/relationships/tags" Target="../tags/tag769.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tags" Target="../tags/tag760.xml"/><Relationship Id="rId27" Type="http://schemas.openxmlformats.org/officeDocument/2006/relationships/tags" Target="../tags/tag765.xml"/><Relationship Id="rId30" Type="http://schemas.openxmlformats.org/officeDocument/2006/relationships/tags" Target="../tags/tag768.xml"/><Relationship Id="rId35" Type="http://schemas.openxmlformats.org/officeDocument/2006/relationships/tags" Target="../tags/tag773.xml"/><Relationship Id="rId8" Type="http://schemas.openxmlformats.org/officeDocument/2006/relationships/slideLayout" Target="../slideLayouts/slideLayout105.xml"/><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ags" Target="../tags/tag763.xml"/><Relationship Id="rId33" Type="http://schemas.openxmlformats.org/officeDocument/2006/relationships/tags" Target="../tags/tag771.xml"/><Relationship Id="rId38" Type="http://schemas.openxmlformats.org/officeDocument/2006/relationships/tags" Target="../tags/tag77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tags" Target="../tags/tag891.xml"/><Relationship Id="rId26" Type="http://schemas.openxmlformats.org/officeDocument/2006/relationships/tags" Target="../tags/tag899.xml"/><Relationship Id="rId39" Type="http://schemas.openxmlformats.org/officeDocument/2006/relationships/image" Target="../media/image1.emf"/><Relationship Id="rId21" Type="http://schemas.openxmlformats.org/officeDocument/2006/relationships/tags" Target="../tags/tag894.xml"/><Relationship Id="rId34" Type="http://schemas.openxmlformats.org/officeDocument/2006/relationships/tags" Target="../tags/tag907.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tags" Target="../tags/tag893.xml"/><Relationship Id="rId29" Type="http://schemas.openxmlformats.org/officeDocument/2006/relationships/tags" Target="../tags/tag902.xml"/><Relationship Id="rId41" Type="http://schemas.openxmlformats.org/officeDocument/2006/relationships/image" Target="../media/image3.png"/><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tags" Target="../tags/tag897.xml"/><Relationship Id="rId32" Type="http://schemas.openxmlformats.org/officeDocument/2006/relationships/tags" Target="../tags/tag905.xml"/><Relationship Id="rId37" Type="http://schemas.openxmlformats.org/officeDocument/2006/relationships/tags" Target="../tags/tag910.xml"/><Relationship Id="rId40" Type="http://schemas.openxmlformats.org/officeDocument/2006/relationships/image" Target="../media/image26.png"/><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tags" Target="../tags/tag896.xml"/><Relationship Id="rId28" Type="http://schemas.openxmlformats.org/officeDocument/2006/relationships/tags" Target="../tags/tag901.xml"/><Relationship Id="rId36" Type="http://schemas.openxmlformats.org/officeDocument/2006/relationships/tags" Target="../tags/tag909.xml"/><Relationship Id="rId10" Type="http://schemas.openxmlformats.org/officeDocument/2006/relationships/slideLayout" Target="../slideLayouts/slideLayout124.xml"/><Relationship Id="rId19" Type="http://schemas.openxmlformats.org/officeDocument/2006/relationships/tags" Target="../tags/tag892.xml"/><Relationship Id="rId31" Type="http://schemas.openxmlformats.org/officeDocument/2006/relationships/tags" Target="../tags/tag90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tags" Target="../tags/tag895.xml"/><Relationship Id="rId27" Type="http://schemas.openxmlformats.org/officeDocument/2006/relationships/tags" Target="../tags/tag900.xml"/><Relationship Id="rId30" Type="http://schemas.openxmlformats.org/officeDocument/2006/relationships/tags" Target="../tags/tag903.xml"/><Relationship Id="rId35" Type="http://schemas.openxmlformats.org/officeDocument/2006/relationships/tags" Target="../tags/tag908.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theme" Target="../theme/theme8.xml"/><Relationship Id="rId25" Type="http://schemas.openxmlformats.org/officeDocument/2006/relationships/tags" Target="../tags/tag898.xml"/><Relationship Id="rId33" Type="http://schemas.openxmlformats.org/officeDocument/2006/relationships/tags" Target="../tags/tag906.xml"/><Relationship Id="rId38" Type="http://schemas.openxmlformats.org/officeDocument/2006/relationships/oleObject" Target="../embeddings/oleObject120.bin"/></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tags" Target="../tags/tag1018.xml"/><Relationship Id="rId39" Type="http://schemas.openxmlformats.org/officeDocument/2006/relationships/tags" Target="../tags/tag1031.xml"/><Relationship Id="rId21" Type="http://schemas.openxmlformats.org/officeDocument/2006/relationships/slideLayout" Target="../slideLayouts/slideLayout151.xml"/><Relationship Id="rId34" Type="http://schemas.openxmlformats.org/officeDocument/2006/relationships/tags" Target="../tags/tag1026.xml"/><Relationship Id="rId42" Type="http://schemas.openxmlformats.org/officeDocument/2006/relationships/tags" Target="../tags/tag1034.xml"/><Relationship Id="rId47" Type="http://schemas.openxmlformats.org/officeDocument/2006/relationships/oleObject" Target="../embeddings/oleObject137.bin"/><Relationship Id="rId50" Type="http://schemas.openxmlformats.org/officeDocument/2006/relationships/image" Target="../media/image3.png"/><Relationship Id="rId7" Type="http://schemas.openxmlformats.org/officeDocument/2006/relationships/slideLayout" Target="../slideLayouts/slideLayout13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9" Type="http://schemas.openxmlformats.org/officeDocument/2006/relationships/tags" Target="../tags/tag1021.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tags" Target="../tags/tag1024.xml"/><Relationship Id="rId37" Type="http://schemas.openxmlformats.org/officeDocument/2006/relationships/tags" Target="../tags/tag1029.xml"/><Relationship Id="rId40" Type="http://schemas.openxmlformats.org/officeDocument/2006/relationships/tags" Target="../tags/tag1032.xml"/><Relationship Id="rId45" Type="http://schemas.openxmlformats.org/officeDocument/2006/relationships/tags" Target="../tags/tag1037.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tags" Target="../tags/tag1020.xml"/><Relationship Id="rId36" Type="http://schemas.openxmlformats.org/officeDocument/2006/relationships/tags" Target="../tags/tag1028.xml"/><Relationship Id="rId49" Type="http://schemas.openxmlformats.org/officeDocument/2006/relationships/image" Target="../media/image2.png"/><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tags" Target="../tags/tag1023.xml"/><Relationship Id="rId44" Type="http://schemas.openxmlformats.org/officeDocument/2006/relationships/tags" Target="../tags/tag1036.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tags" Target="../tags/tag1019.xml"/><Relationship Id="rId30" Type="http://schemas.openxmlformats.org/officeDocument/2006/relationships/tags" Target="../tags/tag1022.xml"/><Relationship Id="rId35" Type="http://schemas.openxmlformats.org/officeDocument/2006/relationships/tags" Target="../tags/tag1027.xml"/><Relationship Id="rId43" Type="http://schemas.openxmlformats.org/officeDocument/2006/relationships/tags" Target="../tags/tag1035.xml"/><Relationship Id="rId48" Type="http://schemas.openxmlformats.org/officeDocument/2006/relationships/image" Target="../media/image1.emf"/><Relationship Id="rId8" Type="http://schemas.openxmlformats.org/officeDocument/2006/relationships/slideLayout" Target="../slideLayouts/slideLayout138.xml"/><Relationship Id="rId3" Type="http://schemas.openxmlformats.org/officeDocument/2006/relationships/slideLayout" Target="../slideLayouts/slideLayout133.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theme" Target="../theme/theme9.xml"/><Relationship Id="rId33" Type="http://schemas.openxmlformats.org/officeDocument/2006/relationships/tags" Target="../tags/tag1025.xml"/><Relationship Id="rId38" Type="http://schemas.openxmlformats.org/officeDocument/2006/relationships/tags" Target="../tags/tag1030.xml"/><Relationship Id="rId46" Type="http://schemas.openxmlformats.org/officeDocument/2006/relationships/tags" Target="../tags/tag1038.xml"/><Relationship Id="rId20" Type="http://schemas.openxmlformats.org/officeDocument/2006/relationships/slideLayout" Target="../slideLayouts/slideLayout150.xml"/><Relationship Id="rId41" Type="http://schemas.openxmlformats.org/officeDocument/2006/relationships/tags" Target="../tags/tag1033.xml"/><Relationship Id="rId1" Type="http://schemas.openxmlformats.org/officeDocument/2006/relationships/slideLayout" Target="../slideLayouts/slideLayout131.xml"/><Relationship Id="rId6"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54194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18"/>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519011"/>
            <a:ext cx="11082528" cy="38472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1364B865-8072-4F03-8422-E440AD78324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8432E73F-8518-432C-9F45-9FE0BB88458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E1A54DB5-2A81-4519-8F23-7A5F2C3E563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2BC954A4-AC4F-4411-B5CD-D601D567BEB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4886C75-764E-410F-BA50-D2ECB0F7D7E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71F7E9E-078E-4C4A-A7ED-BAC4E4AF97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4744E330-0770-4123-B576-6FC96F1374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815020A4-D434-4383-9910-7502CB5FDF6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7FABD61-D65F-42F7-A11B-B325A1BD633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CD64247-937E-47B3-A41C-BC0468190A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69D11EC3-9E74-4EA2-B142-6934993ACD4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25460176-8297-4221-8A72-B884E131AC6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98E4B142-A0A9-466C-958C-BBC9D3A773E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5A0018DF-A5BF-4F8E-B33B-C131AA5B82E6}"/>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103E35C-ED69-41D7-AA72-094198147E1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B11B165D-518D-4187-A3F8-C09EB23F0C06}"/>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D7F4D128-F65E-46ED-99F0-B25E203C631C}"/>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0A166D5-4572-4BEA-B8C5-0C71EFDB044E}"/>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12698842-6C8C-49D8-B72B-233491E7BBCB}"/>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7F912689-F62E-42A0-84EF-19CA325570A5}"/>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D444534-572F-4911-B123-5BA686480FB9}"/>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A821882-6ED8-4DA8-BE2C-0B45D5CBE4F1}"/>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B491F90A-708A-4C0E-B746-05B435419379}"/>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74C6738-75AC-4341-A2B3-5A476BC30C9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01856841-3462-4838-92D3-8B99CB336B31}"/>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BE1C2933-999D-4E7A-89CA-0D245217D9CE}"/>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78C276F-C183-467B-A856-09EBE44972B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9F76163E-F627-4CF9-8653-B1389E4ED3AA}"/>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E67967F-F474-4864-9482-CB7DF73A819E}"/>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17CC32A-5DCF-48B3-9FD1-2557BA2B1C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13CCE224-F358-4F25-ABBC-AB48605B0C6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90348EE0-93FC-4E2D-8B8C-843646B844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05A3BFF-FF85-4297-BA1F-B4FCCCDCA3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43643E7E-77CF-4388-83F7-2BAE8C3644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E283854C-3C1E-4F96-9CC5-ABA0573BA75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45B0D6C1-DF53-42B8-B48C-EA2C22A8164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2EF2C8D0-7D79-40E6-826F-7CAF3B98E49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494BFBA9-663B-458D-8C75-4C550AC86FB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1543DE47-6844-480B-8A74-9EE25C0F98A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cxnSp>
        <p:nvCxnSpPr>
          <p:cNvPr id="148" name="Straight Connector 147">
            <a:extLst>
              <a:ext uri="{FF2B5EF4-FFF2-40B4-BE49-F238E27FC236}">
                <a16:creationId xmlns:a16="http://schemas.microsoft.com/office/drawing/2014/main" id="{2B774D77-1894-4C50-8543-E4448C6EECCD}"/>
              </a:ext>
            </a:extLst>
          </p:cNvPr>
          <p:cNvCxnSpPr>
            <a:cxnSpLocks/>
          </p:cNvCxnSpPr>
          <p:nvPr userDrawn="1"/>
        </p:nvCxnSpPr>
        <p:spPr bwMode="ltGray">
          <a:xfrm>
            <a:off x="554736" y="12007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8" name="Group 4">
            <a:extLst>
              <a:ext uri="{FF2B5EF4-FFF2-40B4-BE49-F238E27FC236}">
                <a16:creationId xmlns:a16="http://schemas.microsoft.com/office/drawing/2014/main" id="{F60C5AA7-8CEA-4030-8AB2-77BBB3754FF4}"/>
              </a:ext>
            </a:extLst>
          </p:cNvPr>
          <p:cNvGrpSpPr>
            <a:grpSpLocks noChangeAspect="1"/>
          </p:cNvGrpSpPr>
          <p:nvPr userDrawn="1"/>
        </p:nvGrpSpPr>
        <p:grpSpPr bwMode="ltGray">
          <a:xfrm>
            <a:off x="2740914" y="6417372"/>
            <a:ext cx="394856" cy="373880"/>
            <a:chOff x="-240" y="2757"/>
            <a:chExt cx="960" cy="909"/>
          </a:xfrm>
        </p:grpSpPr>
        <p:sp>
          <p:nvSpPr>
            <p:cNvPr id="159" name="Freeform 5">
              <a:extLst>
                <a:ext uri="{FF2B5EF4-FFF2-40B4-BE49-F238E27FC236}">
                  <a16:creationId xmlns:a16="http://schemas.microsoft.com/office/drawing/2014/main" id="{7763B3BE-F262-4B10-B8E4-6F146BCD0C8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0" name="Rectangle 6">
              <a:extLst>
                <a:ext uri="{FF2B5EF4-FFF2-40B4-BE49-F238E27FC236}">
                  <a16:creationId xmlns:a16="http://schemas.microsoft.com/office/drawing/2014/main" id="{495262E6-582A-40EA-BAD8-D69027FE9A1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1" name="Freeform 7">
              <a:extLst>
                <a:ext uri="{FF2B5EF4-FFF2-40B4-BE49-F238E27FC236}">
                  <a16:creationId xmlns:a16="http://schemas.microsoft.com/office/drawing/2014/main" id="{F84C5E75-5A8B-4B24-8EFC-A18A5671FC8B}"/>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2" name="Freeform 8">
              <a:extLst>
                <a:ext uri="{FF2B5EF4-FFF2-40B4-BE49-F238E27FC236}">
                  <a16:creationId xmlns:a16="http://schemas.microsoft.com/office/drawing/2014/main" id="{54009637-629C-4985-A5DA-0FB2269FA99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3" name="Freeform 9">
              <a:extLst>
                <a:ext uri="{FF2B5EF4-FFF2-40B4-BE49-F238E27FC236}">
                  <a16:creationId xmlns:a16="http://schemas.microsoft.com/office/drawing/2014/main" id="{7668EA33-06EF-41A8-A017-722924C71A9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4" name="Picture 720" descr="EDCTP and Africa CDC workshop report on disparities in research funding -  EDCTP">
            <a:extLst>
              <a:ext uri="{FF2B5EF4-FFF2-40B4-BE49-F238E27FC236}">
                <a16:creationId xmlns:a16="http://schemas.microsoft.com/office/drawing/2014/main" id="{0F3408E6-FF9A-4C53-A548-45525DC25B79}"/>
              </a:ext>
            </a:extLst>
          </p:cNvPr>
          <p:cNvPicPr>
            <a:picLocks noChangeAspect="1" noChangeArrowheads="1"/>
          </p:cNvPicPr>
          <p:nvPr userDrawn="1"/>
        </p:nvPicPr>
        <p:blipFill rotWithShape="1">
          <a:blip r:embed="rId39"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E1EC4667-3EFB-4FE9-9D38-A066CC100086}"/>
              </a:ext>
            </a:extLst>
          </p:cNvPr>
          <p:cNvPicPr>
            <a:picLocks noChangeAspect="1"/>
          </p:cNvPicPr>
          <p:nvPr userDrawn="1"/>
        </p:nvPicPr>
        <p:blipFill>
          <a:blip r:embed="rId40"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167" name="Documenttype">
            <a:extLst>
              <a:ext uri="{FF2B5EF4-FFF2-40B4-BE49-F238E27FC236}">
                <a16:creationId xmlns:a16="http://schemas.microsoft.com/office/drawing/2014/main" id="{056C81C2-7BA0-4F4B-95FB-6D965AB7602E}"/>
              </a:ext>
            </a:extLst>
          </p:cNvPr>
          <p:cNvSpPr txBox="1">
            <a:spLocks/>
          </p:cNvSpPr>
          <p:nvPr userDrawn="1">
            <p:custDataLst>
              <p:tags r:id="rId21"/>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54194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19"/>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519011"/>
            <a:ext cx="11082528" cy="38472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1364B865-8072-4F03-8422-E440AD78324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8432E73F-8518-432C-9F45-9FE0BB88458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E1A54DB5-2A81-4519-8F23-7A5F2C3E563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2BC954A4-AC4F-4411-B5CD-D601D567BEB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4886C75-764E-410F-BA50-D2ECB0F7D7E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71F7E9E-078E-4C4A-A7ED-BAC4E4AF97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4744E330-0770-4123-B576-6FC96F1374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815020A4-D434-4383-9910-7502CB5FDF6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7FABD61-D65F-42F7-A11B-B325A1BD633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CD64247-937E-47B3-A41C-BC0468190A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69D11EC3-9E74-4EA2-B142-6934993ACD4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25460176-8297-4221-8A72-B884E131AC6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98E4B142-A0A9-466C-958C-BBC9D3A773E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5A0018DF-A5BF-4F8E-B33B-C131AA5B82E6}"/>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103E35C-ED69-41D7-AA72-094198147E1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B11B165D-518D-4187-A3F8-C09EB23F0C06}"/>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D7F4D128-F65E-46ED-99F0-B25E203C631C}"/>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0A166D5-4572-4BEA-B8C5-0C71EFDB044E}"/>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12698842-6C8C-49D8-B72B-233491E7BBCB}"/>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7F912689-F62E-42A0-84EF-19CA325570A5}"/>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D444534-572F-4911-B123-5BA686480FB9}"/>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A821882-6ED8-4DA8-BE2C-0B45D5CBE4F1}"/>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B491F90A-708A-4C0E-B746-05B435419379}"/>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74C6738-75AC-4341-A2B3-5A476BC30C9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01856841-3462-4838-92D3-8B99CB336B31}"/>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BE1C2933-999D-4E7A-89CA-0D245217D9CE}"/>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78C276F-C183-467B-A856-09EBE44972B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9F76163E-F627-4CF9-8653-B1389E4ED3AA}"/>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E67967F-F474-4864-9482-CB7DF73A819E}"/>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17CC32A-5DCF-48B3-9FD1-2557BA2B1C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13CCE224-F358-4F25-ABBC-AB48605B0C6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90348EE0-93FC-4E2D-8B8C-843646B844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05A3BFF-FF85-4297-BA1F-B4FCCCDCA3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43643E7E-77CF-4388-83F7-2BAE8C3644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E283854C-3C1E-4F96-9CC5-ABA0573BA75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45B0D6C1-DF53-42B8-B48C-EA2C22A8164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2EF2C8D0-7D79-40E6-826F-7CAF3B98E49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494BFBA9-663B-458D-8C75-4C550AC86FB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1543DE47-6844-480B-8A74-9EE25C0F98A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cxnSp>
        <p:nvCxnSpPr>
          <p:cNvPr id="148" name="Straight Connector 147">
            <a:extLst>
              <a:ext uri="{FF2B5EF4-FFF2-40B4-BE49-F238E27FC236}">
                <a16:creationId xmlns:a16="http://schemas.microsoft.com/office/drawing/2014/main" id="{2B774D77-1894-4C50-8543-E4448C6EECCD}"/>
              </a:ext>
            </a:extLst>
          </p:cNvPr>
          <p:cNvCxnSpPr>
            <a:cxnSpLocks/>
          </p:cNvCxnSpPr>
          <p:nvPr userDrawn="1"/>
        </p:nvCxnSpPr>
        <p:spPr bwMode="ltGray">
          <a:xfrm>
            <a:off x="554736" y="12007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8" name="Group 4">
            <a:extLst>
              <a:ext uri="{FF2B5EF4-FFF2-40B4-BE49-F238E27FC236}">
                <a16:creationId xmlns:a16="http://schemas.microsoft.com/office/drawing/2014/main" id="{F60C5AA7-8CEA-4030-8AB2-77BBB3754FF4}"/>
              </a:ext>
            </a:extLst>
          </p:cNvPr>
          <p:cNvGrpSpPr>
            <a:grpSpLocks noChangeAspect="1"/>
          </p:cNvGrpSpPr>
          <p:nvPr userDrawn="1"/>
        </p:nvGrpSpPr>
        <p:grpSpPr bwMode="ltGray">
          <a:xfrm>
            <a:off x="11256172" y="6417372"/>
            <a:ext cx="394856" cy="373880"/>
            <a:chOff x="-240" y="2757"/>
            <a:chExt cx="960" cy="909"/>
          </a:xfrm>
        </p:grpSpPr>
        <p:sp>
          <p:nvSpPr>
            <p:cNvPr id="159" name="Freeform 5">
              <a:extLst>
                <a:ext uri="{FF2B5EF4-FFF2-40B4-BE49-F238E27FC236}">
                  <a16:creationId xmlns:a16="http://schemas.microsoft.com/office/drawing/2014/main" id="{7763B3BE-F262-4B10-B8E4-6F146BCD0C8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0" name="Rectangle 6">
              <a:extLst>
                <a:ext uri="{FF2B5EF4-FFF2-40B4-BE49-F238E27FC236}">
                  <a16:creationId xmlns:a16="http://schemas.microsoft.com/office/drawing/2014/main" id="{495262E6-582A-40EA-BAD8-D69027FE9A1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1" name="Freeform 7">
              <a:extLst>
                <a:ext uri="{FF2B5EF4-FFF2-40B4-BE49-F238E27FC236}">
                  <a16:creationId xmlns:a16="http://schemas.microsoft.com/office/drawing/2014/main" id="{F84C5E75-5A8B-4B24-8EFC-A18A5671FC8B}"/>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2" name="Freeform 8">
              <a:extLst>
                <a:ext uri="{FF2B5EF4-FFF2-40B4-BE49-F238E27FC236}">
                  <a16:creationId xmlns:a16="http://schemas.microsoft.com/office/drawing/2014/main" id="{54009637-629C-4985-A5DA-0FB2269FA99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3" name="Freeform 9">
              <a:extLst>
                <a:ext uri="{FF2B5EF4-FFF2-40B4-BE49-F238E27FC236}">
                  <a16:creationId xmlns:a16="http://schemas.microsoft.com/office/drawing/2014/main" id="{7668EA33-06EF-41A8-A017-722924C71A9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4" name="Picture 720" descr="EDCTP and Africa CDC workshop report on disparities in research funding -  EDCTP">
            <a:extLst>
              <a:ext uri="{FF2B5EF4-FFF2-40B4-BE49-F238E27FC236}">
                <a16:creationId xmlns:a16="http://schemas.microsoft.com/office/drawing/2014/main" id="{0F3408E6-FF9A-4C53-A548-45525DC25B79}"/>
              </a:ext>
            </a:extLst>
          </p:cNvPr>
          <p:cNvPicPr>
            <a:picLocks noChangeAspect="1" noChangeArrowheads="1"/>
          </p:cNvPicPr>
          <p:nvPr userDrawn="1"/>
        </p:nvPicPr>
        <p:blipFill rotWithShape="1">
          <a:blip r:embed="rId39"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E1EC4667-3EFB-4FE9-9D38-A066CC100086}"/>
              </a:ext>
            </a:extLst>
          </p:cNvPr>
          <p:cNvPicPr>
            <a:picLocks noChangeAspect="1"/>
          </p:cNvPicPr>
          <p:nvPr userDrawn="1"/>
        </p:nvPicPr>
        <p:blipFill>
          <a:blip r:embed="rId40"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3108463853"/>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2"/>
            </p:custDataLst>
            <p:extLst>
              <p:ext uri="{D42A27DB-BD31-4B8C-83A1-F6EECF244321}">
                <p14:modId xmlns:p14="http://schemas.microsoft.com/office/powerpoint/2010/main" val="2666423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592" imgH="591" progId="TCLayout.ActiveDocument.1">
                  <p:embed/>
                </p:oleObj>
              </mc:Choice>
              <mc:Fallback>
                <p:oleObj name="think-cell Slide" r:id="rId43"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519011"/>
            <a:ext cx="11082528" cy="384721"/>
          </a:xfrm>
          <a:prstGeom prst="rect">
            <a:avLst/>
          </a:prstGeom>
        </p:spPr>
        <p:txBody>
          <a:bodyPr vert="horz" wrap="square" lIns="0" tIns="0" rIns="0" bIns="0" rtlCol="0" anchor="b" anchorCtr="0">
            <a:noAutofit/>
          </a:bodyPr>
          <a:lstStyle/>
          <a:p>
            <a:pPr lvl="0"/>
            <a:r>
              <a:rPr lang="en-GB"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a:spLocks/>
          </p:cNvSpPr>
          <p:nvPr userDrawn="1">
            <p:custDataLst>
              <p:tags r:id="rId26"/>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7"/>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Above Chart Exhibit Title</a:t>
            </a:r>
            <a:br>
              <a:rPr lang="en-GB" dirty="0"/>
            </a:br>
            <a:r>
              <a:rPr lang="en-GB"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631216"/>
          </a:xfrm>
          <a:prstGeom prst="rect">
            <a:avLst/>
          </a:prstGeom>
        </p:spPr>
        <p:txBody>
          <a:bodyPr vert="horz" lIns="0" tIns="0" rIns="0" bIns="0" rtlCol="0">
            <a:sp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grpSp>
        <p:nvGrpSpPr>
          <p:cNvPr id="146" name="LegendBoxes" hidden="1">
            <a:extLst>
              <a:ext uri="{FF2B5EF4-FFF2-40B4-BE49-F238E27FC236}">
                <a16:creationId xmlns:a16="http://schemas.microsoft.com/office/drawing/2014/main" id="{51EAD735-997F-406A-93B2-0B2F8F4D7BFF}"/>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A142FB7F-CF56-4F46-8CED-2C51B18EF97E}"/>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148" name="RectangleLegend2" hidden="1">
              <a:extLst>
                <a:ext uri="{FF2B5EF4-FFF2-40B4-BE49-F238E27FC236}">
                  <a16:creationId xmlns:a16="http://schemas.microsoft.com/office/drawing/2014/main" id="{D12E30B7-C335-4844-AE76-5855BBABD1D8}"/>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149" name="RectangleLegend3" hidden="1">
              <a:extLst>
                <a:ext uri="{FF2B5EF4-FFF2-40B4-BE49-F238E27FC236}">
                  <a16:creationId xmlns:a16="http://schemas.microsoft.com/office/drawing/2014/main" id="{73313129-E359-47F3-A680-C1BC3832C4DE}"/>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150" name="RectangleLegend4" hidden="1">
              <a:extLst>
                <a:ext uri="{FF2B5EF4-FFF2-40B4-BE49-F238E27FC236}">
                  <a16:creationId xmlns:a16="http://schemas.microsoft.com/office/drawing/2014/main" id="{7D54E92F-561C-4F41-A67F-EA3D2F6C75F9}"/>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151" name="RectangleLegend5" hidden="1">
              <a:extLst>
                <a:ext uri="{FF2B5EF4-FFF2-40B4-BE49-F238E27FC236}">
                  <a16:creationId xmlns:a16="http://schemas.microsoft.com/office/drawing/2014/main" id="{4C23ECB0-8494-4C99-9AFD-2DF3EA620B6C}"/>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152" name="Legend1" hidden="1">
              <a:extLst>
                <a:ext uri="{FF2B5EF4-FFF2-40B4-BE49-F238E27FC236}">
                  <a16:creationId xmlns:a16="http://schemas.microsoft.com/office/drawing/2014/main" id="{65C90053-E908-43B3-814E-B4986C2080CF}"/>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53" name="Legend2" hidden="1">
              <a:extLst>
                <a:ext uri="{FF2B5EF4-FFF2-40B4-BE49-F238E27FC236}">
                  <a16:creationId xmlns:a16="http://schemas.microsoft.com/office/drawing/2014/main" id="{A36DC3E3-589F-4388-9520-209C9BF63FB6}"/>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54" name="Legend3" hidden="1">
              <a:extLst>
                <a:ext uri="{FF2B5EF4-FFF2-40B4-BE49-F238E27FC236}">
                  <a16:creationId xmlns:a16="http://schemas.microsoft.com/office/drawing/2014/main" id="{0849FD82-772F-427C-9095-A26271E2BB71}"/>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55" name="Legend4" hidden="1">
              <a:extLst>
                <a:ext uri="{FF2B5EF4-FFF2-40B4-BE49-F238E27FC236}">
                  <a16:creationId xmlns:a16="http://schemas.microsoft.com/office/drawing/2014/main" id="{E661C0AE-5874-4188-BD52-002453C8AEA3}"/>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56" name="Legend5" hidden="1">
              <a:extLst>
                <a:ext uri="{FF2B5EF4-FFF2-40B4-BE49-F238E27FC236}">
                  <a16:creationId xmlns:a16="http://schemas.microsoft.com/office/drawing/2014/main" id="{BCE75276-F7A8-42E8-8A28-523AD095CADA}"/>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grpSp>
      <p:grpSp>
        <p:nvGrpSpPr>
          <p:cNvPr id="157" name="LegendLines" hidden="1">
            <a:extLst>
              <a:ext uri="{FF2B5EF4-FFF2-40B4-BE49-F238E27FC236}">
                <a16:creationId xmlns:a16="http://schemas.microsoft.com/office/drawing/2014/main" id="{75E6359C-2EDA-4CC2-AD17-D99E69B8C689}"/>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2EE4CA93-1153-4BF7-8F0A-5D66AC3366D7}"/>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59" name="Legend2" hidden="1">
              <a:extLst>
                <a:ext uri="{FF2B5EF4-FFF2-40B4-BE49-F238E27FC236}">
                  <a16:creationId xmlns:a16="http://schemas.microsoft.com/office/drawing/2014/main" id="{330CD57C-C88D-4ABD-BF6C-5B9A5F7452F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60" name="Legend3" hidden="1">
              <a:extLst>
                <a:ext uri="{FF2B5EF4-FFF2-40B4-BE49-F238E27FC236}">
                  <a16:creationId xmlns:a16="http://schemas.microsoft.com/office/drawing/2014/main" id="{ADE753AC-3362-4C48-BC1B-032438768BD3}"/>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61" name="LineLegend3" hidden="1">
              <a:extLst>
                <a:ext uri="{FF2B5EF4-FFF2-40B4-BE49-F238E27FC236}">
                  <a16:creationId xmlns:a16="http://schemas.microsoft.com/office/drawing/2014/main" id="{C71C452C-D51C-4FCE-87A0-37416E028D2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latin typeface="+mn-lt"/>
                <a:ea typeface="+mn-ea"/>
              </a:endParaRPr>
            </a:p>
          </p:txBody>
        </p:sp>
        <p:sp>
          <p:nvSpPr>
            <p:cNvPr id="162" name="LineLegend2" hidden="1">
              <a:extLst>
                <a:ext uri="{FF2B5EF4-FFF2-40B4-BE49-F238E27FC236}">
                  <a16:creationId xmlns:a16="http://schemas.microsoft.com/office/drawing/2014/main" id="{CC1199D0-0E39-4F9D-A384-534F556B586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latin typeface="+mn-lt"/>
                <a:ea typeface="+mn-ea"/>
              </a:endParaRPr>
            </a:p>
          </p:txBody>
        </p:sp>
        <p:sp>
          <p:nvSpPr>
            <p:cNvPr id="163" name="LineLegend1" hidden="1">
              <a:extLst>
                <a:ext uri="{FF2B5EF4-FFF2-40B4-BE49-F238E27FC236}">
                  <a16:creationId xmlns:a16="http://schemas.microsoft.com/office/drawing/2014/main" id="{F1A26BB8-64B4-47B6-9B78-DFE8422BB6E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latin typeface="+mn-lt"/>
                <a:ea typeface="+mn-ea"/>
              </a:endParaRPr>
            </a:p>
          </p:txBody>
        </p:sp>
      </p:grpSp>
      <p:grpSp>
        <p:nvGrpSpPr>
          <p:cNvPr id="164" name="LegendMoons" hidden="1">
            <a:extLst>
              <a:ext uri="{FF2B5EF4-FFF2-40B4-BE49-F238E27FC236}">
                <a16:creationId xmlns:a16="http://schemas.microsoft.com/office/drawing/2014/main" id="{5F5E19C8-8032-4274-8682-81F1C5110E46}"/>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34EF7607-9CD2-4D2D-AB7B-6305303A022B}"/>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66" name="Legend2" hidden="1">
              <a:extLst>
                <a:ext uri="{FF2B5EF4-FFF2-40B4-BE49-F238E27FC236}">
                  <a16:creationId xmlns:a16="http://schemas.microsoft.com/office/drawing/2014/main" id="{008D265D-B535-4C76-B688-47BB9762B127}"/>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67" name="Legend3" hidden="1">
              <a:extLst>
                <a:ext uri="{FF2B5EF4-FFF2-40B4-BE49-F238E27FC236}">
                  <a16:creationId xmlns:a16="http://schemas.microsoft.com/office/drawing/2014/main" id="{2654C0C3-11A4-4A9F-B743-28931FDB4F0A}"/>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208" name="Legend4" hidden="1">
              <a:extLst>
                <a:ext uri="{FF2B5EF4-FFF2-40B4-BE49-F238E27FC236}">
                  <a16:creationId xmlns:a16="http://schemas.microsoft.com/office/drawing/2014/main" id="{EDE011B5-DC91-4392-A68C-4FC31FEB77A4}"/>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209" name="Legend5" hidden="1">
              <a:extLst>
                <a:ext uri="{FF2B5EF4-FFF2-40B4-BE49-F238E27FC236}">
                  <a16:creationId xmlns:a16="http://schemas.microsoft.com/office/drawing/2014/main" id="{53BD1688-3886-4AAA-AAE1-E91260592E1F}"/>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grpSp>
          <p:nvGrpSpPr>
            <p:cNvPr id="210" name="MoonLegend1" hidden="1">
              <a:extLst>
                <a:ext uri="{FF2B5EF4-FFF2-40B4-BE49-F238E27FC236}">
                  <a16:creationId xmlns:a16="http://schemas.microsoft.com/office/drawing/2014/main" id="{E634DFFC-4624-4B9E-9197-919BFF591883}"/>
                </a:ext>
              </a:extLst>
            </p:cNvPr>
            <p:cNvGrpSpPr>
              <a:grpSpLocks noChangeAspect="1"/>
            </p:cNvGrpSpPr>
            <p:nvPr>
              <p:custDataLst>
                <p:tags r:id="rId28"/>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5745759B-D064-429C-A6D9-C80CE6818F8C}"/>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24" name="Arc 223" hidden="1">
                <a:extLst>
                  <a:ext uri="{FF2B5EF4-FFF2-40B4-BE49-F238E27FC236}">
                    <a16:creationId xmlns:a16="http://schemas.microsoft.com/office/drawing/2014/main" id="{DF9304E0-16CE-4D37-B577-23359490F866}"/>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11" name="MoonLegend2" hidden="1">
              <a:extLst>
                <a:ext uri="{FF2B5EF4-FFF2-40B4-BE49-F238E27FC236}">
                  <a16:creationId xmlns:a16="http://schemas.microsoft.com/office/drawing/2014/main" id="{2AF60F53-8C78-4E90-BD69-5EE601532320}"/>
                </a:ext>
              </a:extLst>
            </p:cNvPr>
            <p:cNvGrpSpPr>
              <a:grpSpLocks noChangeAspect="1"/>
            </p:cNvGrpSpPr>
            <p:nvPr>
              <p:custDataLst>
                <p:tags r:id="rId29"/>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330601F2-D6C9-4B37-924B-929F9F2414CE}"/>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22" name="Arc 221" hidden="1">
                <a:extLst>
                  <a:ext uri="{FF2B5EF4-FFF2-40B4-BE49-F238E27FC236}">
                    <a16:creationId xmlns:a16="http://schemas.microsoft.com/office/drawing/2014/main" id="{7844EE20-5261-4A43-A141-AC54B7031F0A}"/>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12" name="MoonLegend3" hidden="1">
              <a:extLst>
                <a:ext uri="{FF2B5EF4-FFF2-40B4-BE49-F238E27FC236}">
                  <a16:creationId xmlns:a16="http://schemas.microsoft.com/office/drawing/2014/main" id="{6AA75CD6-9D12-4909-9C3F-814767D185A8}"/>
                </a:ext>
              </a:extLst>
            </p:cNvPr>
            <p:cNvGrpSpPr>
              <a:grpSpLocks noChangeAspect="1"/>
            </p:cNvGrpSpPr>
            <p:nvPr>
              <p:custDataLst>
                <p:tags r:id="rId30"/>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05797EC3-987D-4391-AE13-8BED084522CC}"/>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20" name="Arc 219" hidden="1">
                <a:extLst>
                  <a:ext uri="{FF2B5EF4-FFF2-40B4-BE49-F238E27FC236}">
                    <a16:creationId xmlns:a16="http://schemas.microsoft.com/office/drawing/2014/main" id="{0EA30E0D-0AC0-4717-A6FB-4D74AB9236CC}"/>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13" name="MoonLegend4" hidden="1">
              <a:extLst>
                <a:ext uri="{FF2B5EF4-FFF2-40B4-BE49-F238E27FC236}">
                  <a16:creationId xmlns:a16="http://schemas.microsoft.com/office/drawing/2014/main" id="{CEBCF5D2-0E4D-4E3F-8C6F-CA18D07AE5A7}"/>
                </a:ext>
              </a:extLst>
            </p:cNvPr>
            <p:cNvGrpSpPr>
              <a:grpSpLocks noChangeAspect="1"/>
            </p:cNvGrpSpPr>
            <p:nvPr>
              <p:custDataLst>
                <p:tags r:id="rId31"/>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409B2AB2-5F21-4EC7-A200-4B313AC9336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18" name="Arc 217" hidden="1">
                <a:extLst>
                  <a:ext uri="{FF2B5EF4-FFF2-40B4-BE49-F238E27FC236}">
                    <a16:creationId xmlns:a16="http://schemas.microsoft.com/office/drawing/2014/main" id="{3715CA9C-A4CF-499A-B37C-890349D20363}"/>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14" name="MoonLegend5" hidden="1">
              <a:extLst>
                <a:ext uri="{FF2B5EF4-FFF2-40B4-BE49-F238E27FC236}">
                  <a16:creationId xmlns:a16="http://schemas.microsoft.com/office/drawing/2014/main" id="{D6EA6D24-D9F2-429F-A5D3-377AE93F1A34}"/>
                </a:ext>
              </a:extLst>
            </p:cNvPr>
            <p:cNvGrpSpPr>
              <a:grpSpLocks noChangeAspect="1"/>
            </p:cNvGrpSpPr>
            <p:nvPr>
              <p:custDataLst>
                <p:tags r:id="rId32"/>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55F0946F-2AD1-41B0-97D7-27AC074EC08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16" name="Arc 215" hidden="1">
                <a:extLst>
                  <a:ext uri="{FF2B5EF4-FFF2-40B4-BE49-F238E27FC236}">
                    <a16:creationId xmlns:a16="http://schemas.microsoft.com/office/drawing/2014/main" id="{F8D9E233-3DBC-4EEC-8704-3AA59094D863}"/>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cxnSp>
        <p:nvCxnSpPr>
          <p:cNvPr id="144" name="Straight Connector 143">
            <a:extLst>
              <a:ext uri="{FF2B5EF4-FFF2-40B4-BE49-F238E27FC236}">
                <a16:creationId xmlns:a16="http://schemas.microsoft.com/office/drawing/2014/main" id="{DAB98A89-C414-443F-B9D8-E1C6D5761418}"/>
              </a:ext>
            </a:extLst>
          </p:cNvPr>
          <p:cNvCxnSpPr>
            <a:cxnSpLocks/>
          </p:cNvCxnSpPr>
          <p:nvPr userDrawn="1"/>
        </p:nvCxnSpPr>
        <p:spPr bwMode="ltGray">
          <a:xfrm>
            <a:off x="554736" y="1200760"/>
            <a:ext cx="11082528"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3F8B2350-2735-496D-AA9C-919E451A2B23}"/>
              </a:ext>
            </a:extLst>
          </p:cNvPr>
          <p:cNvGrpSpPr>
            <a:grpSpLocks/>
          </p:cNvGrpSpPr>
          <p:nvPr userDrawn="1"/>
        </p:nvGrpSpPr>
        <p:grpSpPr>
          <a:xfrm>
            <a:off x="11256172" y="6417372"/>
            <a:ext cx="394856" cy="373880"/>
            <a:chOff x="11105270" y="6244071"/>
            <a:chExt cx="480234" cy="454722"/>
          </a:xfrm>
        </p:grpSpPr>
        <p:sp>
          <p:nvSpPr>
            <p:cNvPr id="169" name="Freeform 5">
              <a:extLst>
                <a:ext uri="{FF2B5EF4-FFF2-40B4-BE49-F238E27FC236}">
                  <a16:creationId xmlns:a16="http://schemas.microsoft.com/office/drawing/2014/main" id="{02D3CD15-5C12-4A34-A799-E361C18BD040}"/>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170" name="Rectangle 6">
              <a:extLst>
                <a:ext uri="{FF2B5EF4-FFF2-40B4-BE49-F238E27FC236}">
                  <a16:creationId xmlns:a16="http://schemas.microsoft.com/office/drawing/2014/main" id="{153F79B8-42A1-45A7-81CC-DECE532466D9}"/>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71" name="Freeform 7">
              <a:extLst>
                <a:ext uri="{FF2B5EF4-FFF2-40B4-BE49-F238E27FC236}">
                  <a16:creationId xmlns:a16="http://schemas.microsoft.com/office/drawing/2014/main" id="{ED702AE2-E1EF-441D-90BF-4FB82D7197D9}"/>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72" name="Freeform 8">
              <a:extLst>
                <a:ext uri="{FF2B5EF4-FFF2-40B4-BE49-F238E27FC236}">
                  <a16:creationId xmlns:a16="http://schemas.microsoft.com/office/drawing/2014/main" id="{2C2C804F-FBB8-4653-A1D7-2F712D8B827E}"/>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73" name="Freeform 9">
              <a:extLst>
                <a:ext uri="{FF2B5EF4-FFF2-40B4-BE49-F238E27FC236}">
                  <a16:creationId xmlns:a16="http://schemas.microsoft.com/office/drawing/2014/main" id="{976F0AD1-29DB-4D33-94FE-7548C678A3B1}"/>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grpSp>
        <p:nvGrpSpPr>
          <p:cNvPr id="178" name="Group 177">
            <a:extLst>
              <a:ext uri="{FF2B5EF4-FFF2-40B4-BE49-F238E27FC236}">
                <a16:creationId xmlns:a16="http://schemas.microsoft.com/office/drawing/2014/main" id="{267D5327-9C22-4E6E-A9BD-071A74B20D1F}"/>
              </a:ext>
            </a:extLst>
          </p:cNvPr>
          <p:cNvGrpSpPr>
            <a:grpSpLocks/>
          </p:cNvGrpSpPr>
          <p:nvPr userDrawn="1"/>
        </p:nvGrpSpPr>
        <p:grpSpPr bwMode="invGray">
          <a:xfrm>
            <a:off x="1608225" y="6435948"/>
            <a:ext cx="910081" cy="356143"/>
            <a:chOff x="9865218" y="6365207"/>
            <a:chExt cx="1011183" cy="395706"/>
          </a:xfrm>
        </p:grpSpPr>
        <p:pic>
          <p:nvPicPr>
            <p:cNvPr id="179" name="Picture 178" descr="EDCTP and Africa CDC workshop report on disparities in research funding -  EDCTP">
              <a:extLst>
                <a:ext uri="{FF2B5EF4-FFF2-40B4-BE49-F238E27FC236}">
                  <a16:creationId xmlns:a16="http://schemas.microsoft.com/office/drawing/2014/main" id="{C703D31A-452F-4551-9C89-2FA048536560}"/>
                </a:ext>
              </a:extLst>
            </p:cNvPr>
            <p:cNvPicPr>
              <a:picLocks noChangeAspect="1" noChangeArrowheads="1"/>
            </p:cNvPicPr>
            <p:nvPr userDrawn="1"/>
          </p:nvPicPr>
          <p:blipFill rotWithShape="1">
            <a:blip r:embed="rId45" cstate="email">
              <a:extLst>
                <a:ext uri="{BEBA8EAE-BF5A-486C-A8C5-ECC9F3942E4B}">
                  <a14:imgProps xmlns:a14="http://schemas.microsoft.com/office/drawing/2010/main">
                    <a14:imgLayer r:embed="rId46">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80" name="Picture 179" descr="EDCTP and Africa CDC workshop report on disparities in research funding -  EDCTP">
              <a:extLst>
                <a:ext uri="{FF2B5EF4-FFF2-40B4-BE49-F238E27FC236}">
                  <a16:creationId xmlns:a16="http://schemas.microsoft.com/office/drawing/2014/main" id="{804FAECD-A709-44AD-AF49-A3C226169099}"/>
                </a:ext>
              </a:extLst>
            </p:cNvPr>
            <p:cNvPicPr>
              <a:picLocks noChangeAspect="1" noChangeArrowheads="1"/>
            </p:cNvPicPr>
            <p:nvPr userDrawn="1"/>
          </p:nvPicPr>
          <p:blipFill rotWithShape="1">
            <a:blip r:embed="rId47"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181" name="Group 180">
            <a:extLst>
              <a:ext uri="{FF2B5EF4-FFF2-40B4-BE49-F238E27FC236}">
                <a16:creationId xmlns:a16="http://schemas.microsoft.com/office/drawing/2014/main" id="{F02318D0-77DD-4FF9-8DE8-9DE4D0586A59}"/>
              </a:ext>
            </a:extLst>
          </p:cNvPr>
          <p:cNvGrpSpPr>
            <a:grpSpLocks/>
          </p:cNvGrpSpPr>
          <p:nvPr userDrawn="1"/>
        </p:nvGrpSpPr>
        <p:grpSpPr>
          <a:xfrm>
            <a:off x="554736" y="6452601"/>
            <a:ext cx="830881" cy="293716"/>
            <a:chOff x="10483273" y="6554997"/>
            <a:chExt cx="638090" cy="225564"/>
          </a:xfrm>
        </p:grpSpPr>
        <p:pic>
          <p:nvPicPr>
            <p:cNvPr id="182" name="Picture 181">
              <a:extLst>
                <a:ext uri="{FF2B5EF4-FFF2-40B4-BE49-F238E27FC236}">
                  <a16:creationId xmlns:a16="http://schemas.microsoft.com/office/drawing/2014/main" id="{0208DDA5-7BFE-4B34-913C-83B5287DD93D}"/>
                </a:ext>
              </a:extLst>
            </p:cNvPr>
            <p:cNvPicPr>
              <a:picLocks noChangeAspect="1"/>
            </p:cNvPicPr>
            <p:nvPr userDrawn="1"/>
          </p:nvPicPr>
          <p:blipFill rotWithShape="1">
            <a:blip r:embed="rId48"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183" name="Picture 182">
              <a:extLst>
                <a:ext uri="{FF2B5EF4-FFF2-40B4-BE49-F238E27FC236}">
                  <a16:creationId xmlns:a16="http://schemas.microsoft.com/office/drawing/2014/main" id="{ED5325C0-89EB-40B3-9D92-6C04732D9360}"/>
                </a:ext>
              </a:extLst>
            </p:cNvPr>
            <p:cNvPicPr>
              <a:picLocks noChangeAspect="1"/>
            </p:cNvPicPr>
            <p:nvPr userDrawn="1"/>
          </p:nvPicPr>
          <p:blipFill rotWithShape="1">
            <a:blip r:embed="rId49" cstate="email">
              <a:extLst>
                <a:ext uri="{BEBA8EAE-BF5A-486C-A8C5-ECC9F3942E4B}">
                  <a14:imgProps xmlns:a14="http://schemas.microsoft.com/office/drawing/2010/main">
                    <a14:imgLayer r:embed="rId50">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Tree>
    <p:extLst>
      <p:ext uri="{BB962C8B-B14F-4D97-AF65-F5344CB8AC3E}">
        <p14:creationId xmlns:p14="http://schemas.microsoft.com/office/powerpoint/2010/main" val="2532920828"/>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54194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18"/>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519011"/>
            <a:ext cx="11082528" cy="38472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1364B865-8072-4F03-8422-E440AD78324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8432E73F-8518-432C-9F45-9FE0BB88458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E1A54DB5-2A81-4519-8F23-7A5F2C3E563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2BC954A4-AC4F-4411-B5CD-D601D567BEB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4886C75-764E-410F-BA50-D2ECB0F7D7E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71F7E9E-078E-4C4A-A7ED-BAC4E4AF97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4744E330-0770-4123-B576-6FC96F1374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815020A4-D434-4383-9910-7502CB5FDF6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7FABD61-D65F-42F7-A11B-B325A1BD633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CD64247-937E-47B3-A41C-BC0468190A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69D11EC3-9E74-4EA2-B142-6934993ACD4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25460176-8297-4221-8A72-B884E131AC6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98E4B142-A0A9-466C-958C-BBC9D3A773E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5A0018DF-A5BF-4F8E-B33B-C131AA5B82E6}"/>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103E35C-ED69-41D7-AA72-094198147E1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B11B165D-518D-4187-A3F8-C09EB23F0C06}"/>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D7F4D128-F65E-46ED-99F0-B25E203C631C}"/>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0A166D5-4572-4BEA-B8C5-0C71EFDB044E}"/>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12698842-6C8C-49D8-B72B-233491E7BBCB}"/>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7F912689-F62E-42A0-84EF-19CA325570A5}"/>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D444534-572F-4911-B123-5BA686480FB9}"/>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A821882-6ED8-4DA8-BE2C-0B45D5CBE4F1}"/>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B491F90A-708A-4C0E-B746-05B435419379}"/>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74C6738-75AC-4341-A2B3-5A476BC30C9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01856841-3462-4838-92D3-8B99CB336B31}"/>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BE1C2933-999D-4E7A-89CA-0D245217D9CE}"/>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78C276F-C183-467B-A856-09EBE44972B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9F76163E-F627-4CF9-8653-B1389E4ED3AA}"/>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E67967F-F474-4864-9482-CB7DF73A819E}"/>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17CC32A-5DCF-48B3-9FD1-2557BA2B1C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13CCE224-F358-4F25-ABBC-AB48605B0C6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90348EE0-93FC-4E2D-8B8C-843646B844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05A3BFF-FF85-4297-BA1F-B4FCCCDCA3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43643E7E-77CF-4388-83F7-2BAE8C3644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E283854C-3C1E-4F96-9CC5-ABA0573BA75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45B0D6C1-DF53-42B8-B48C-EA2C22A8164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2EF2C8D0-7D79-40E6-826F-7CAF3B98E49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494BFBA9-663B-458D-8C75-4C550AC86FB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1543DE47-6844-480B-8A74-9EE25C0F98A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cxnSp>
        <p:nvCxnSpPr>
          <p:cNvPr id="148" name="Straight Connector 147">
            <a:extLst>
              <a:ext uri="{FF2B5EF4-FFF2-40B4-BE49-F238E27FC236}">
                <a16:creationId xmlns:a16="http://schemas.microsoft.com/office/drawing/2014/main" id="{2B774D77-1894-4C50-8543-E4448C6EECCD}"/>
              </a:ext>
            </a:extLst>
          </p:cNvPr>
          <p:cNvCxnSpPr>
            <a:cxnSpLocks/>
          </p:cNvCxnSpPr>
          <p:nvPr userDrawn="1"/>
        </p:nvCxnSpPr>
        <p:spPr bwMode="ltGray">
          <a:xfrm>
            <a:off x="554736" y="12007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8" name="Group 4">
            <a:extLst>
              <a:ext uri="{FF2B5EF4-FFF2-40B4-BE49-F238E27FC236}">
                <a16:creationId xmlns:a16="http://schemas.microsoft.com/office/drawing/2014/main" id="{F60C5AA7-8CEA-4030-8AB2-77BBB3754FF4}"/>
              </a:ext>
            </a:extLst>
          </p:cNvPr>
          <p:cNvGrpSpPr>
            <a:grpSpLocks noChangeAspect="1"/>
          </p:cNvGrpSpPr>
          <p:nvPr userDrawn="1"/>
        </p:nvGrpSpPr>
        <p:grpSpPr bwMode="ltGray">
          <a:xfrm>
            <a:off x="2740914" y="6417372"/>
            <a:ext cx="394856" cy="373880"/>
            <a:chOff x="-240" y="2757"/>
            <a:chExt cx="960" cy="909"/>
          </a:xfrm>
        </p:grpSpPr>
        <p:sp>
          <p:nvSpPr>
            <p:cNvPr id="159" name="Freeform 5">
              <a:extLst>
                <a:ext uri="{FF2B5EF4-FFF2-40B4-BE49-F238E27FC236}">
                  <a16:creationId xmlns:a16="http://schemas.microsoft.com/office/drawing/2014/main" id="{7763B3BE-F262-4B10-B8E4-6F146BCD0C8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0" name="Rectangle 6">
              <a:extLst>
                <a:ext uri="{FF2B5EF4-FFF2-40B4-BE49-F238E27FC236}">
                  <a16:creationId xmlns:a16="http://schemas.microsoft.com/office/drawing/2014/main" id="{495262E6-582A-40EA-BAD8-D69027FE9A1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1" name="Freeform 7">
              <a:extLst>
                <a:ext uri="{FF2B5EF4-FFF2-40B4-BE49-F238E27FC236}">
                  <a16:creationId xmlns:a16="http://schemas.microsoft.com/office/drawing/2014/main" id="{F84C5E75-5A8B-4B24-8EFC-A18A5671FC8B}"/>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2" name="Freeform 8">
              <a:extLst>
                <a:ext uri="{FF2B5EF4-FFF2-40B4-BE49-F238E27FC236}">
                  <a16:creationId xmlns:a16="http://schemas.microsoft.com/office/drawing/2014/main" id="{54009637-629C-4985-A5DA-0FB2269FA99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3" name="Freeform 9">
              <a:extLst>
                <a:ext uri="{FF2B5EF4-FFF2-40B4-BE49-F238E27FC236}">
                  <a16:creationId xmlns:a16="http://schemas.microsoft.com/office/drawing/2014/main" id="{7668EA33-06EF-41A8-A017-722924C71A9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4" name="Picture 720" descr="EDCTP and Africa CDC workshop report on disparities in research funding -  EDCTP">
            <a:extLst>
              <a:ext uri="{FF2B5EF4-FFF2-40B4-BE49-F238E27FC236}">
                <a16:creationId xmlns:a16="http://schemas.microsoft.com/office/drawing/2014/main" id="{0F3408E6-FF9A-4C53-A548-45525DC25B79}"/>
              </a:ext>
            </a:extLst>
          </p:cNvPr>
          <p:cNvPicPr>
            <a:picLocks noChangeAspect="1" noChangeArrowheads="1"/>
          </p:cNvPicPr>
          <p:nvPr userDrawn="1"/>
        </p:nvPicPr>
        <p:blipFill rotWithShape="1">
          <a:blip r:embed="rId39">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E1EC4667-3EFB-4FE9-9D38-A066CC100086}"/>
              </a:ext>
            </a:extLst>
          </p:cNvPr>
          <p:cNvPicPr>
            <a:picLocks noChangeAspect="1"/>
          </p:cNvPicPr>
          <p:nvPr userDrawn="1"/>
        </p:nvPicPr>
        <p:blipFill>
          <a:blip r:embed="rId40"/>
          <a:stretch>
            <a:fillRect/>
          </a:stretch>
        </p:blipFill>
        <p:spPr bwMode="ltGray">
          <a:xfrm>
            <a:off x="554736" y="6452601"/>
            <a:ext cx="830881" cy="293716"/>
          </a:xfrm>
          <a:prstGeom prst="rect">
            <a:avLst/>
          </a:prstGeom>
        </p:spPr>
      </p:pic>
      <p:sp>
        <p:nvSpPr>
          <p:cNvPr id="167" name="Documenttype">
            <a:extLst>
              <a:ext uri="{FF2B5EF4-FFF2-40B4-BE49-F238E27FC236}">
                <a16:creationId xmlns:a16="http://schemas.microsoft.com/office/drawing/2014/main" id="{056C81C2-7BA0-4F4B-95FB-6D965AB7602E}"/>
              </a:ext>
            </a:extLst>
          </p:cNvPr>
          <p:cNvSpPr txBox="1">
            <a:spLocks/>
          </p:cNvSpPr>
          <p:nvPr userDrawn="1">
            <p:custDataLst>
              <p:tags r:id="rId21"/>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3324874605"/>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 id="2147484075" r:id="rId13"/>
    <p:sldLayoutId id="2147484076"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4264876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92" imgH="591" progId="TCLayout.ActiveDocument.1">
                  <p:embed/>
                </p:oleObj>
              </mc:Choice>
              <mc:Fallback>
                <p:oleObj name="think-cell Slide" r:id="rId41"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519011"/>
            <a:ext cx="11082528" cy="384721"/>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a:spLocks/>
          </p:cNvSpPr>
          <p:nvPr userDrawn="1">
            <p:custDataLst>
              <p:tags r:id="rId23"/>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63121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51EAD735-997F-406A-93B2-0B2F8F4D7BFF}"/>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A142FB7F-CF56-4F46-8CED-2C51B18EF97E}"/>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8" name="RectangleLegend2" hidden="1">
              <a:extLst>
                <a:ext uri="{FF2B5EF4-FFF2-40B4-BE49-F238E27FC236}">
                  <a16:creationId xmlns:a16="http://schemas.microsoft.com/office/drawing/2014/main" id="{D12E30B7-C335-4844-AE76-5855BBABD1D8}"/>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9" name="RectangleLegend3" hidden="1">
              <a:extLst>
                <a:ext uri="{FF2B5EF4-FFF2-40B4-BE49-F238E27FC236}">
                  <a16:creationId xmlns:a16="http://schemas.microsoft.com/office/drawing/2014/main" id="{73313129-E359-47F3-A680-C1BC3832C4DE}"/>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0" name="RectangleLegend4" hidden="1">
              <a:extLst>
                <a:ext uri="{FF2B5EF4-FFF2-40B4-BE49-F238E27FC236}">
                  <a16:creationId xmlns:a16="http://schemas.microsoft.com/office/drawing/2014/main" id="{7D54E92F-561C-4F41-A67F-EA3D2F6C75F9}"/>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1" name="RectangleLegend5" hidden="1">
              <a:extLst>
                <a:ext uri="{FF2B5EF4-FFF2-40B4-BE49-F238E27FC236}">
                  <a16:creationId xmlns:a16="http://schemas.microsoft.com/office/drawing/2014/main" id="{4C23ECB0-8494-4C99-9AFD-2DF3EA620B6C}"/>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2" name="Legend1" hidden="1">
              <a:extLst>
                <a:ext uri="{FF2B5EF4-FFF2-40B4-BE49-F238E27FC236}">
                  <a16:creationId xmlns:a16="http://schemas.microsoft.com/office/drawing/2014/main" id="{65C90053-E908-43B3-814E-B4986C2080CF}"/>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3" name="Legend2" hidden="1">
              <a:extLst>
                <a:ext uri="{FF2B5EF4-FFF2-40B4-BE49-F238E27FC236}">
                  <a16:creationId xmlns:a16="http://schemas.microsoft.com/office/drawing/2014/main" id="{A36DC3E3-589F-4388-9520-209C9BF63FB6}"/>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4" name="Legend3" hidden="1">
              <a:extLst>
                <a:ext uri="{FF2B5EF4-FFF2-40B4-BE49-F238E27FC236}">
                  <a16:creationId xmlns:a16="http://schemas.microsoft.com/office/drawing/2014/main" id="{0849FD82-772F-427C-9095-A26271E2BB71}"/>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5" name="Legend4" hidden="1">
              <a:extLst>
                <a:ext uri="{FF2B5EF4-FFF2-40B4-BE49-F238E27FC236}">
                  <a16:creationId xmlns:a16="http://schemas.microsoft.com/office/drawing/2014/main" id="{E661C0AE-5874-4188-BD52-002453C8AEA3}"/>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6" name="Legend5" hidden="1">
              <a:extLst>
                <a:ext uri="{FF2B5EF4-FFF2-40B4-BE49-F238E27FC236}">
                  <a16:creationId xmlns:a16="http://schemas.microsoft.com/office/drawing/2014/main" id="{BCE75276-F7A8-42E8-8A28-523AD095CADA}"/>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57" name="LegendLines" hidden="1">
            <a:extLst>
              <a:ext uri="{FF2B5EF4-FFF2-40B4-BE49-F238E27FC236}">
                <a16:creationId xmlns:a16="http://schemas.microsoft.com/office/drawing/2014/main" id="{75E6359C-2EDA-4CC2-AD17-D99E69B8C689}"/>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2EE4CA93-1153-4BF7-8F0A-5D66AC3366D7}"/>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2" hidden="1">
              <a:extLst>
                <a:ext uri="{FF2B5EF4-FFF2-40B4-BE49-F238E27FC236}">
                  <a16:creationId xmlns:a16="http://schemas.microsoft.com/office/drawing/2014/main" id="{330CD57C-C88D-4ABD-BF6C-5B9A5F7452F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3" hidden="1">
              <a:extLst>
                <a:ext uri="{FF2B5EF4-FFF2-40B4-BE49-F238E27FC236}">
                  <a16:creationId xmlns:a16="http://schemas.microsoft.com/office/drawing/2014/main" id="{ADE753AC-3362-4C48-BC1B-032438768BD3}"/>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1" name="LineLegend3" hidden="1">
              <a:extLst>
                <a:ext uri="{FF2B5EF4-FFF2-40B4-BE49-F238E27FC236}">
                  <a16:creationId xmlns:a16="http://schemas.microsoft.com/office/drawing/2014/main" id="{C71C452C-D51C-4FCE-87A0-37416E028D2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2" name="LineLegend2" hidden="1">
              <a:extLst>
                <a:ext uri="{FF2B5EF4-FFF2-40B4-BE49-F238E27FC236}">
                  <a16:creationId xmlns:a16="http://schemas.microsoft.com/office/drawing/2014/main" id="{CC1199D0-0E39-4F9D-A384-534F556B586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3" name="LineLegend1" hidden="1">
              <a:extLst>
                <a:ext uri="{FF2B5EF4-FFF2-40B4-BE49-F238E27FC236}">
                  <a16:creationId xmlns:a16="http://schemas.microsoft.com/office/drawing/2014/main" id="{F1A26BB8-64B4-47B6-9B78-DFE8422BB6E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64" name="LegendMoons" hidden="1">
            <a:extLst>
              <a:ext uri="{FF2B5EF4-FFF2-40B4-BE49-F238E27FC236}">
                <a16:creationId xmlns:a16="http://schemas.microsoft.com/office/drawing/2014/main" id="{5F5E19C8-8032-4274-8682-81F1C5110E46}"/>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34EF7607-9CD2-4D2D-AB7B-6305303A022B}"/>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6" name="Legend2" hidden="1">
              <a:extLst>
                <a:ext uri="{FF2B5EF4-FFF2-40B4-BE49-F238E27FC236}">
                  <a16:creationId xmlns:a16="http://schemas.microsoft.com/office/drawing/2014/main" id="{008D265D-B535-4C76-B688-47BB9762B127}"/>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7" name="Legend3" hidden="1">
              <a:extLst>
                <a:ext uri="{FF2B5EF4-FFF2-40B4-BE49-F238E27FC236}">
                  <a16:creationId xmlns:a16="http://schemas.microsoft.com/office/drawing/2014/main" id="{2654C0C3-11A4-4A9F-B743-28931FDB4F0A}"/>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8" name="Legend4" hidden="1">
              <a:extLst>
                <a:ext uri="{FF2B5EF4-FFF2-40B4-BE49-F238E27FC236}">
                  <a16:creationId xmlns:a16="http://schemas.microsoft.com/office/drawing/2014/main" id="{EDE011B5-DC91-4392-A68C-4FC31FEB77A4}"/>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9" name="Legend5" hidden="1">
              <a:extLst>
                <a:ext uri="{FF2B5EF4-FFF2-40B4-BE49-F238E27FC236}">
                  <a16:creationId xmlns:a16="http://schemas.microsoft.com/office/drawing/2014/main" id="{53BD1688-3886-4AAA-AAE1-E91260592E1F}"/>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10" name="MoonLegend1" hidden="1">
              <a:extLst>
                <a:ext uri="{FF2B5EF4-FFF2-40B4-BE49-F238E27FC236}">
                  <a16:creationId xmlns:a16="http://schemas.microsoft.com/office/drawing/2014/main" id="{E634DFFC-4624-4B9E-9197-919BFF591883}"/>
                </a:ext>
              </a:extLst>
            </p:cNvPr>
            <p:cNvGrpSpPr>
              <a:grpSpLocks noChangeAspect="1"/>
            </p:cNvGrpSpPr>
            <p:nvPr>
              <p:custDataLst>
                <p:tags r:id="rId26"/>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5745759B-D064-429C-A6D9-C80CE6818F8C}"/>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4" name="Arc 223" hidden="1">
                <a:extLst>
                  <a:ext uri="{FF2B5EF4-FFF2-40B4-BE49-F238E27FC236}">
                    <a16:creationId xmlns:a16="http://schemas.microsoft.com/office/drawing/2014/main" id="{DF9304E0-16CE-4D37-B577-23359490F866}"/>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1" name="MoonLegend2" hidden="1">
              <a:extLst>
                <a:ext uri="{FF2B5EF4-FFF2-40B4-BE49-F238E27FC236}">
                  <a16:creationId xmlns:a16="http://schemas.microsoft.com/office/drawing/2014/main" id="{2AF60F53-8C78-4E90-BD69-5EE601532320}"/>
                </a:ext>
              </a:extLst>
            </p:cNvPr>
            <p:cNvGrpSpPr>
              <a:grpSpLocks noChangeAspect="1"/>
            </p:cNvGrpSpPr>
            <p:nvPr>
              <p:custDataLst>
                <p:tags r:id="rId27"/>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330601F2-D6C9-4B37-924B-929F9F2414CE}"/>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2" name="Arc 221" hidden="1">
                <a:extLst>
                  <a:ext uri="{FF2B5EF4-FFF2-40B4-BE49-F238E27FC236}">
                    <a16:creationId xmlns:a16="http://schemas.microsoft.com/office/drawing/2014/main" id="{7844EE20-5261-4A43-A141-AC54B7031F0A}"/>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2" name="MoonLegend3" hidden="1">
              <a:extLst>
                <a:ext uri="{FF2B5EF4-FFF2-40B4-BE49-F238E27FC236}">
                  <a16:creationId xmlns:a16="http://schemas.microsoft.com/office/drawing/2014/main" id="{6AA75CD6-9D12-4909-9C3F-814767D185A8}"/>
                </a:ext>
              </a:extLst>
            </p:cNvPr>
            <p:cNvGrpSpPr>
              <a:grpSpLocks noChangeAspect="1"/>
            </p:cNvGrpSpPr>
            <p:nvPr>
              <p:custDataLst>
                <p:tags r:id="rId28"/>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05797EC3-987D-4391-AE13-8BED084522C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0" name="Arc 219" hidden="1">
                <a:extLst>
                  <a:ext uri="{FF2B5EF4-FFF2-40B4-BE49-F238E27FC236}">
                    <a16:creationId xmlns:a16="http://schemas.microsoft.com/office/drawing/2014/main" id="{0EA30E0D-0AC0-4717-A6FB-4D74AB9236C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3" name="MoonLegend4" hidden="1">
              <a:extLst>
                <a:ext uri="{FF2B5EF4-FFF2-40B4-BE49-F238E27FC236}">
                  <a16:creationId xmlns:a16="http://schemas.microsoft.com/office/drawing/2014/main" id="{CEBCF5D2-0E4D-4E3F-8C6F-CA18D07AE5A7}"/>
                </a:ext>
              </a:extLst>
            </p:cNvPr>
            <p:cNvGrpSpPr>
              <a:grpSpLocks noChangeAspect="1"/>
            </p:cNvGrpSpPr>
            <p:nvPr>
              <p:custDataLst>
                <p:tags r:id="rId29"/>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409B2AB2-5F21-4EC7-A200-4B313AC9336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8" name="Arc 217" hidden="1">
                <a:extLst>
                  <a:ext uri="{FF2B5EF4-FFF2-40B4-BE49-F238E27FC236}">
                    <a16:creationId xmlns:a16="http://schemas.microsoft.com/office/drawing/2014/main" id="{3715CA9C-A4CF-499A-B37C-890349D20363}"/>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4" name="MoonLegend5" hidden="1">
              <a:extLst>
                <a:ext uri="{FF2B5EF4-FFF2-40B4-BE49-F238E27FC236}">
                  <a16:creationId xmlns:a16="http://schemas.microsoft.com/office/drawing/2014/main" id="{D6EA6D24-D9F2-429F-A5D3-377AE93F1A34}"/>
                </a:ext>
              </a:extLst>
            </p:cNvPr>
            <p:cNvGrpSpPr>
              <a:grpSpLocks noChangeAspect="1"/>
            </p:cNvGrpSpPr>
            <p:nvPr>
              <p:custDataLst>
                <p:tags r:id="rId30"/>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55F0946F-2AD1-41B0-97D7-27AC074EC08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6" name="Arc 215" hidden="1">
                <a:extLst>
                  <a:ext uri="{FF2B5EF4-FFF2-40B4-BE49-F238E27FC236}">
                    <a16:creationId xmlns:a16="http://schemas.microsoft.com/office/drawing/2014/main" id="{F8D9E233-3DBC-4EEC-8704-3AA59094D863}"/>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cxnSp>
        <p:nvCxnSpPr>
          <p:cNvPr id="144" name="Straight Connector 143">
            <a:extLst>
              <a:ext uri="{FF2B5EF4-FFF2-40B4-BE49-F238E27FC236}">
                <a16:creationId xmlns:a16="http://schemas.microsoft.com/office/drawing/2014/main" id="{DAB98A89-C414-443F-B9D8-E1C6D5761418}"/>
              </a:ext>
            </a:extLst>
          </p:cNvPr>
          <p:cNvCxnSpPr>
            <a:cxnSpLocks/>
          </p:cNvCxnSpPr>
          <p:nvPr userDrawn="1"/>
        </p:nvCxnSpPr>
        <p:spPr bwMode="ltGray">
          <a:xfrm>
            <a:off x="554736" y="1200760"/>
            <a:ext cx="11082528"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3F8B2350-2735-496D-AA9C-919E451A2B23}"/>
              </a:ext>
            </a:extLst>
          </p:cNvPr>
          <p:cNvGrpSpPr>
            <a:grpSpLocks/>
          </p:cNvGrpSpPr>
          <p:nvPr userDrawn="1"/>
        </p:nvGrpSpPr>
        <p:grpSpPr>
          <a:xfrm>
            <a:off x="2740914" y="6417372"/>
            <a:ext cx="394856" cy="373880"/>
            <a:chOff x="11105270" y="6244071"/>
            <a:chExt cx="480234" cy="454722"/>
          </a:xfrm>
        </p:grpSpPr>
        <p:sp>
          <p:nvSpPr>
            <p:cNvPr id="169" name="Freeform 5">
              <a:extLst>
                <a:ext uri="{FF2B5EF4-FFF2-40B4-BE49-F238E27FC236}">
                  <a16:creationId xmlns:a16="http://schemas.microsoft.com/office/drawing/2014/main" id="{02D3CD15-5C12-4A34-A799-E361C18BD040}"/>
                </a:ext>
              </a:extLst>
            </p:cNvPr>
            <p:cNvSpPr>
              <a:spLocks noEditPoints="1"/>
            </p:cNvSpPr>
            <p:nvPr userDrawn="1"/>
          </p:nvSpPr>
          <p:spPr bwMode="ltGray">
            <a:xfrm>
              <a:off x="11129782" y="6559725"/>
              <a:ext cx="433210" cy="13906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rtl="0"/>
              <a:endParaRPr lang="en-GB" dirty="0"/>
            </a:p>
          </p:txBody>
        </p:sp>
        <p:sp>
          <p:nvSpPr>
            <p:cNvPr id="170" name="Rectangle 6">
              <a:extLst>
                <a:ext uri="{FF2B5EF4-FFF2-40B4-BE49-F238E27FC236}">
                  <a16:creationId xmlns:a16="http://schemas.microsoft.com/office/drawing/2014/main" id="{153F79B8-42A1-45A7-81CC-DECE532466D9}"/>
                </a:ext>
              </a:extLst>
            </p:cNvPr>
            <p:cNvSpPr>
              <a:spLocks noChangeArrowheads="1"/>
            </p:cNvSpPr>
            <p:nvPr userDrawn="1"/>
          </p:nvSpPr>
          <p:spPr bwMode="ltGray">
            <a:xfrm>
              <a:off x="11280355" y="6275086"/>
              <a:ext cx="130063" cy="23411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71" name="Freeform 7">
              <a:extLst>
                <a:ext uri="{FF2B5EF4-FFF2-40B4-BE49-F238E27FC236}">
                  <a16:creationId xmlns:a16="http://schemas.microsoft.com/office/drawing/2014/main" id="{ED702AE2-E1EF-441D-90BF-4FB82D7197D9}"/>
                </a:ext>
              </a:extLst>
            </p:cNvPr>
            <p:cNvSpPr>
              <a:spLocks/>
            </p:cNvSpPr>
            <p:nvPr userDrawn="1"/>
          </p:nvSpPr>
          <p:spPr bwMode="ltGray">
            <a:xfrm>
              <a:off x="11105270" y="6244071"/>
              <a:ext cx="240117" cy="297145"/>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72" name="Freeform 8">
              <a:extLst>
                <a:ext uri="{FF2B5EF4-FFF2-40B4-BE49-F238E27FC236}">
                  <a16:creationId xmlns:a16="http://schemas.microsoft.com/office/drawing/2014/main" id="{2C2C804F-FBB8-4653-A1D7-2F712D8B827E}"/>
                </a:ext>
              </a:extLst>
            </p:cNvPr>
            <p:cNvSpPr>
              <a:spLocks/>
            </p:cNvSpPr>
            <p:nvPr userDrawn="1"/>
          </p:nvSpPr>
          <p:spPr bwMode="ltGray">
            <a:xfrm>
              <a:off x="11345387" y="6244071"/>
              <a:ext cx="240117" cy="297145"/>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73" name="Freeform 9">
              <a:extLst>
                <a:ext uri="{FF2B5EF4-FFF2-40B4-BE49-F238E27FC236}">
                  <a16:creationId xmlns:a16="http://schemas.microsoft.com/office/drawing/2014/main" id="{976F0AD1-29DB-4D33-94FE-7548C678A3B1}"/>
                </a:ext>
              </a:extLst>
            </p:cNvPr>
            <p:cNvSpPr>
              <a:spLocks noEditPoints="1"/>
            </p:cNvSpPr>
            <p:nvPr userDrawn="1"/>
          </p:nvSpPr>
          <p:spPr bwMode="ltGray">
            <a:xfrm>
              <a:off x="11567995" y="6478185"/>
              <a:ext cx="12506" cy="6003"/>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grpSp>
        <p:nvGrpSpPr>
          <p:cNvPr id="178" name="Group 177">
            <a:extLst>
              <a:ext uri="{FF2B5EF4-FFF2-40B4-BE49-F238E27FC236}">
                <a16:creationId xmlns:a16="http://schemas.microsoft.com/office/drawing/2014/main" id="{267D5327-9C22-4E6E-A9BD-071A74B20D1F}"/>
              </a:ext>
            </a:extLst>
          </p:cNvPr>
          <p:cNvGrpSpPr>
            <a:grpSpLocks/>
          </p:cNvGrpSpPr>
          <p:nvPr userDrawn="1"/>
        </p:nvGrpSpPr>
        <p:grpSpPr bwMode="invGray">
          <a:xfrm>
            <a:off x="1608225" y="6435948"/>
            <a:ext cx="910081" cy="356143"/>
            <a:chOff x="9865218" y="6365207"/>
            <a:chExt cx="1011183" cy="395706"/>
          </a:xfrm>
        </p:grpSpPr>
        <p:pic>
          <p:nvPicPr>
            <p:cNvPr id="179" name="Picture 178" descr="EDCTP and Africa CDC workshop report on disparities in research funding -  EDCTP">
              <a:extLst>
                <a:ext uri="{FF2B5EF4-FFF2-40B4-BE49-F238E27FC236}">
                  <a16:creationId xmlns:a16="http://schemas.microsoft.com/office/drawing/2014/main" id="{C703D31A-452F-4551-9C89-2FA048536560}"/>
                </a:ext>
              </a:extLst>
            </p:cNvPr>
            <p:cNvPicPr>
              <a:picLocks noChangeAspect="1" noChangeArrowheads="1"/>
            </p:cNvPicPr>
            <p:nvPr userDrawn="1"/>
          </p:nvPicPr>
          <p:blipFill rotWithShape="1">
            <a:blip r:embed="rId43" cstate="email">
              <a:extLst>
                <a:ext uri="{BEBA8EAE-BF5A-486C-A8C5-ECC9F3942E4B}">
                  <a14:imgProps xmlns:a14="http://schemas.microsoft.com/office/drawing/2010/main">
                    <a14:imgLayer r:embed="rId44">
                      <a14:imgEffect>
                        <a14:brightnessContrast bright="100000"/>
                      </a14:imgEffect>
                    </a14:imgLayer>
                  </a14:imgProps>
                </a:ext>
                <a:ext uri="{28A0092B-C50C-407E-A947-70E740481C1C}">
                  <a14:useLocalDpi xmlns:a14="http://schemas.microsoft.com/office/drawing/2010/main"/>
                </a:ext>
              </a:extLst>
            </a:blip>
            <a:srcRect/>
            <a:stretch/>
          </p:blipFill>
          <p:spPr bwMode="invGray">
            <a:xfrm>
              <a:off x="9865218" y="6489831"/>
              <a:ext cx="802782" cy="212490"/>
            </a:xfrm>
            <a:custGeom>
              <a:avLst/>
              <a:gdLst>
                <a:gd name="connsiteX0" fmla="*/ 0 w 802782"/>
                <a:gd name="connsiteY0" fmla="*/ 0 h 212490"/>
                <a:gd name="connsiteX1" fmla="*/ 693245 w 802782"/>
                <a:gd name="connsiteY1" fmla="*/ 27009 h 212490"/>
                <a:gd name="connsiteX2" fmla="*/ 755157 w 802782"/>
                <a:gd name="connsiteY2" fmla="*/ 36534 h 212490"/>
                <a:gd name="connsiteX3" fmla="*/ 802782 w 802782"/>
                <a:gd name="connsiteY3" fmla="*/ 107971 h 212490"/>
                <a:gd name="connsiteX4" fmla="*/ 762301 w 802782"/>
                <a:gd name="connsiteY4" fmla="*/ 129402 h 212490"/>
                <a:gd name="connsiteX5" fmla="*/ 759920 w 802782"/>
                <a:gd name="connsiteY5" fmla="*/ 205602 h 212490"/>
                <a:gd name="connsiteX6" fmla="*/ 0 w 802782"/>
                <a:gd name="connsiteY6" fmla="*/ 212490 h 212490"/>
                <a:gd name="connsiteX7" fmla="*/ 0 w 802782"/>
                <a:gd name="connsiteY7" fmla="*/ 0 h 2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2" h="212490">
                  <a:moveTo>
                    <a:pt x="0" y="0"/>
                  </a:moveTo>
                  <a:lnTo>
                    <a:pt x="693245" y="27009"/>
                  </a:lnTo>
                  <a:lnTo>
                    <a:pt x="755157" y="36534"/>
                  </a:lnTo>
                  <a:lnTo>
                    <a:pt x="802782" y="107971"/>
                  </a:lnTo>
                  <a:lnTo>
                    <a:pt x="762301" y="129402"/>
                  </a:lnTo>
                  <a:cubicBezTo>
                    <a:pt x="761507" y="154802"/>
                    <a:pt x="760714" y="180202"/>
                    <a:pt x="759920" y="205602"/>
                  </a:cubicBezTo>
                  <a:lnTo>
                    <a:pt x="0" y="21249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80" name="Picture 179" descr="EDCTP and Africa CDC workshop report on disparities in research funding -  EDCTP">
              <a:extLst>
                <a:ext uri="{FF2B5EF4-FFF2-40B4-BE49-F238E27FC236}">
                  <a16:creationId xmlns:a16="http://schemas.microsoft.com/office/drawing/2014/main" id="{804FAECD-A709-44AD-AF49-A3C226169099}"/>
                </a:ext>
              </a:extLst>
            </p:cNvPr>
            <p:cNvPicPr>
              <a:picLocks noChangeAspect="1" noChangeArrowheads="1"/>
            </p:cNvPicPr>
            <p:nvPr userDrawn="1"/>
          </p:nvPicPr>
          <p:blipFill rotWithShape="1">
            <a:blip r:embed="rId45" cstate="email">
              <a:extLst>
                <a:ext uri="{28A0092B-C50C-407E-A947-70E740481C1C}">
                  <a14:useLocalDpi xmlns:a14="http://schemas.microsoft.com/office/drawing/2010/main"/>
                </a:ext>
              </a:extLst>
            </a:blip>
            <a:srcRect l="6727" t="9385" r="6805" b="10631"/>
            <a:stretch/>
          </p:blipFill>
          <p:spPr bwMode="invGray">
            <a:xfrm>
              <a:off x="9865218" y="6365207"/>
              <a:ext cx="1011183" cy="395706"/>
            </a:xfrm>
            <a:custGeom>
              <a:avLst/>
              <a:gdLst>
                <a:gd name="connsiteX0" fmla="*/ 0 w 1011183"/>
                <a:gd name="connsiteY0" fmla="*/ 0 h 395706"/>
                <a:gd name="connsiteX1" fmla="*/ 1011183 w 1011183"/>
                <a:gd name="connsiteY1" fmla="*/ 0 h 395706"/>
                <a:gd name="connsiteX2" fmla="*/ 1011183 w 1011183"/>
                <a:gd name="connsiteY2" fmla="*/ 395706 h 395706"/>
                <a:gd name="connsiteX3" fmla="*/ 0 w 1011183"/>
                <a:gd name="connsiteY3" fmla="*/ 395706 h 395706"/>
                <a:gd name="connsiteX4" fmla="*/ 0 w 1011183"/>
                <a:gd name="connsiteY4" fmla="*/ 337114 h 395706"/>
                <a:gd name="connsiteX5" fmla="*/ 759920 w 1011183"/>
                <a:gd name="connsiteY5" fmla="*/ 330226 h 395706"/>
                <a:gd name="connsiteX6" fmla="*/ 762301 w 1011183"/>
                <a:gd name="connsiteY6" fmla="*/ 254026 h 395706"/>
                <a:gd name="connsiteX7" fmla="*/ 802782 w 1011183"/>
                <a:gd name="connsiteY7" fmla="*/ 232595 h 395706"/>
                <a:gd name="connsiteX8" fmla="*/ 755157 w 1011183"/>
                <a:gd name="connsiteY8" fmla="*/ 161158 h 395706"/>
                <a:gd name="connsiteX9" fmla="*/ 693245 w 1011183"/>
                <a:gd name="connsiteY9" fmla="*/ 151633 h 395706"/>
                <a:gd name="connsiteX10" fmla="*/ 0 w 1011183"/>
                <a:gd name="connsiteY10" fmla="*/ 124624 h 395706"/>
                <a:gd name="connsiteX11" fmla="*/ 0 w 1011183"/>
                <a:gd name="connsiteY11" fmla="*/ 0 h 3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183" h="395706">
                  <a:moveTo>
                    <a:pt x="0" y="0"/>
                  </a:moveTo>
                  <a:lnTo>
                    <a:pt x="1011183" y="0"/>
                  </a:lnTo>
                  <a:lnTo>
                    <a:pt x="1011183" y="395706"/>
                  </a:lnTo>
                  <a:lnTo>
                    <a:pt x="0" y="395706"/>
                  </a:lnTo>
                  <a:lnTo>
                    <a:pt x="0" y="337114"/>
                  </a:lnTo>
                  <a:lnTo>
                    <a:pt x="759920" y="330226"/>
                  </a:lnTo>
                  <a:cubicBezTo>
                    <a:pt x="760714" y="304826"/>
                    <a:pt x="761507" y="279426"/>
                    <a:pt x="762301" y="254026"/>
                  </a:cubicBezTo>
                  <a:lnTo>
                    <a:pt x="802782" y="232595"/>
                  </a:lnTo>
                  <a:lnTo>
                    <a:pt x="755157" y="161158"/>
                  </a:lnTo>
                  <a:lnTo>
                    <a:pt x="693245" y="151633"/>
                  </a:lnTo>
                  <a:lnTo>
                    <a:pt x="0" y="124624"/>
                  </a:lnTo>
                  <a:lnTo>
                    <a:pt x="0" y="0"/>
                  </a:lnTo>
                  <a:close/>
                </a:path>
              </a:pathLst>
            </a:custGeom>
            <a:noFill/>
            <a:extLst>
              <a:ext uri="{909E8E84-426E-40DD-AFC4-6F175D3DCCD1}">
                <a14:hiddenFill xmlns:a14="http://schemas.microsoft.com/office/drawing/2010/main">
                  <a:solidFill>
                    <a:srgbClr val="FFFFFF"/>
                  </a:solidFill>
                </a14:hiddenFill>
              </a:ext>
            </a:extLst>
          </p:spPr>
        </p:pic>
      </p:grpSp>
      <p:grpSp>
        <p:nvGrpSpPr>
          <p:cNvPr id="181" name="Group 180">
            <a:extLst>
              <a:ext uri="{FF2B5EF4-FFF2-40B4-BE49-F238E27FC236}">
                <a16:creationId xmlns:a16="http://schemas.microsoft.com/office/drawing/2014/main" id="{F02318D0-77DD-4FF9-8DE8-9DE4D0586A59}"/>
              </a:ext>
            </a:extLst>
          </p:cNvPr>
          <p:cNvGrpSpPr>
            <a:grpSpLocks/>
          </p:cNvGrpSpPr>
          <p:nvPr userDrawn="1"/>
        </p:nvGrpSpPr>
        <p:grpSpPr>
          <a:xfrm>
            <a:off x="554736" y="6452601"/>
            <a:ext cx="830881" cy="293716"/>
            <a:chOff x="10483273" y="6554997"/>
            <a:chExt cx="638090" cy="225564"/>
          </a:xfrm>
        </p:grpSpPr>
        <p:pic>
          <p:nvPicPr>
            <p:cNvPr id="182" name="Picture 181">
              <a:extLst>
                <a:ext uri="{FF2B5EF4-FFF2-40B4-BE49-F238E27FC236}">
                  <a16:creationId xmlns:a16="http://schemas.microsoft.com/office/drawing/2014/main" id="{0208DDA5-7BFE-4B34-913C-83B5287DD93D}"/>
                </a:ext>
              </a:extLst>
            </p:cNvPr>
            <p:cNvPicPr>
              <a:picLocks noChangeAspect="1"/>
            </p:cNvPicPr>
            <p:nvPr userDrawn="1"/>
          </p:nvPicPr>
          <p:blipFill rotWithShape="1">
            <a:blip r:embed="rId46" cstate="email">
              <a:extLst>
                <a:ext uri="{28A0092B-C50C-407E-A947-70E740481C1C}">
                  <a14:useLocalDpi xmlns:a14="http://schemas.microsoft.com/office/drawing/2010/main"/>
                </a:ext>
              </a:extLst>
            </a:blip>
            <a:srcRect l="59103"/>
            <a:stretch/>
          </p:blipFill>
          <p:spPr bwMode="ltGray">
            <a:xfrm>
              <a:off x="10860405" y="6554997"/>
              <a:ext cx="260958" cy="225564"/>
            </a:xfrm>
            <a:prstGeom prst="rect">
              <a:avLst/>
            </a:prstGeom>
          </p:spPr>
        </p:pic>
        <p:pic>
          <p:nvPicPr>
            <p:cNvPr id="183" name="Picture 182">
              <a:extLst>
                <a:ext uri="{FF2B5EF4-FFF2-40B4-BE49-F238E27FC236}">
                  <a16:creationId xmlns:a16="http://schemas.microsoft.com/office/drawing/2014/main" id="{ED5325C0-89EB-40B3-9D92-6C04732D9360}"/>
                </a:ext>
              </a:extLst>
            </p:cNvPr>
            <p:cNvPicPr>
              <a:picLocks noChangeAspect="1"/>
            </p:cNvPicPr>
            <p:nvPr userDrawn="1"/>
          </p:nvPicPr>
          <p:blipFill rotWithShape="1">
            <a:blip r:embed="rId47" cstate="email">
              <a:extLst>
                <a:ext uri="{BEBA8EAE-BF5A-486C-A8C5-ECC9F3942E4B}">
                  <a14:imgProps xmlns:a14="http://schemas.microsoft.com/office/drawing/2010/main">
                    <a14:imgLayer r:embed="rId48">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483273" y="6554997"/>
              <a:ext cx="382847" cy="225564"/>
            </a:xfrm>
            <a:prstGeom prst="rect">
              <a:avLst/>
            </a:prstGeom>
          </p:spPr>
        </p:pic>
      </p:grpSp>
      <p:sp>
        <p:nvSpPr>
          <p:cNvPr id="189" name="Documenttype">
            <a:extLst>
              <a:ext uri="{FF2B5EF4-FFF2-40B4-BE49-F238E27FC236}">
                <a16:creationId xmlns:a16="http://schemas.microsoft.com/office/drawing/2014/main" id="{E1112443-E9FC-4B0B-A190-47655F163545}"/>
              </a:ext>
            </a:extLst>
          </p:cNvPr>
          <p:cNvSpPr txBox="1">
            <a:spLocks/>
          </p:cNvSpPr>
          <p:nvPr userDrawn="1">
            <p:custDataLst>
              <p:tags r:id="rId25"/>
            </p:custDataLst>
          </p:nvPr>
        </p:nvSpPr>
        <p:spPr>
          <a:xfrm>
            <a:off x="3679882"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3662223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22"/>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519011"/>
            <a:ext cx="11082528" cy="384721"/>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1364B865-8072-4F03-8422-E440AD78324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8432E73F-8518-432C-9F45-9FE0BB88458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72" name="Legend2" hidden="1">
              <a:extLst>
                <a:ext uri="{FF2B5EF4-FFF2-40B4-BE49-F238E27FC236}">
                  <a16:creationId xmlns:a16="http://schemas.microsoft.com/office/drawing/2014/main" id="{E1A54DB5-2A81-4519-8F23-7A5F2C3E563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73" name="Legend3" hidden="1">
              <a:extLst>
                <a:ext uri="{FF2B5EF4-FFF2-40B4-BE49-F238E27FC236}">
                  <a16:creationId xmlns:a16="http://schemas.microsoft.com/office/drawing/2014/main" id="{2BC954A4-AC4F-4411-B5CD-D601D567BEB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74" name="LineLegend3" hidden="1">
              <a:extLst>
                <a:ext uri="{FF2B5EF4-FFF2-40B4-BE49-F238E27FC236}">
                  <a16:creationId xmlns:a16="http://schemas.microsoft.com/office/drawing/2014/main" id="{A4886C75-764E-410F-BA50-D2ECB0F7D7E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75" name="LineLegend2" hidden="1">
              <a:extLst>
                <a:ext uri="{FF2B5EF4-FFF2-40B4-BE49-F238E27FC236}">
                  <a16:creationId xmlns:a16="http://schemas.microsoft.com/office/drawing/2014/main" id="{E71F7E9E-078E-4C4A-A7ED-BAC4E4AF97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76" name="LineLegend1" hidden="1">
              <a:extLst>
                <a:ext uri="{FF2B5EF4-FFF2-40B4-BE49-F238E27FC236}">
                  <a16:creationId xmlns:a16="http://schemas.microsoft.com/office/drawing/2014/main" id="{4744E330-0770-4123-B576-6FC96F1374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grpSp>
      <p:grpSp>
        <p:nvGrpSpPr>
          <p:cNvPr id="177" name="LegendMoons" hidden="1">
            <a:extLst>
              <a:ext uri="{FF2B5EF4-FFF2-40B4-BE49-F238E27FC236}">
                <a16:creationId xmlns:a16="http://schemas.microsoft.com/office/drawing/2014/main" id="{815020A4-D434-4383-9910-7502CB5FDF6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7FABD61-D65F-42F7-A11B-B325A1BD633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86" name="Legend2" hidden="1">
              <a:extLst>
                <a:ext uri="{FF2B5EF4-FFF2-40B4-BE49-F238E27FC236}">
                  <a16:creationId xmlns:a16="http://schemas.microsoft.com/office/drawing/2014/main" id="{3CD64247-937E-47B3-A41C-BC0468190A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8" name="Legend3" hidden="1">
              <a:extLst>
                <a:ext uri="{FF2B5EF4-FFF2-40B4-BE49-F238E27FC236}">
                  <a16:creationId xmlns:a16="http://schemas.microsoft.com/office/drawing/2014/main" id="{69D11EC3-9E74-4EA2-B142-6934993ACD4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99" name="Legend4" hidden="1">
              <a:extLst>
                <a:ext uri="{FF2B5EF4-FFF2-40B4-BE49-F238E27FC236}">
                  <a16:creationId xmlns:a16="http://schemas.microsoft.com/office/drawing/2014/main" id="{25460176-8297-4221-8A72-B884E131AC6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00" name="Legend5" hidden="1">
              <a:extLst>
                <a:ext uri="{FF2B5EF4-FFF2-40B4-BE49-F238E27FC236}">
                  <a16:creationId xmlns:a16="http://schemas.microsoft.com/office/drawing/2014/main" id="{98E4B142-A0A9-466C-958C-BBC9D3A773E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nvGrpSpPr>
            <p:cNvPr id="201" name="MoonLegend1" hidden="1">
              <a:extLst>
                <a:ext uri="{FF2B5EF4-FFF2-40B4-BE49-F238E27FC236}">
                  <a16:creationId xmlns:a16="http://schemas.microsoft.com/office/drawing/2014/main" id="{5A0018DF-A5BF-4F8E-B33B-C131AA5B82E6}"/>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103E35C-ED69-41D7-AA72-094198147E14}"/>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15" name="Arc 214" hidden="1">
                <a:extLst>
                  <a:ext uri="{FF2B5EF4-FFF2-40B4-BE49-F238E27FC236}">
                    <a16:creationId xmlns:a16="http://schemas.microsoft.com/office/drawing/2014/main" id="{B11B165D-518D-4187-A3F8-C09EB23F0C06}"/>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02" name="MoonLegend2" hidden="1">
              <a:extLst>
                <a:ext uri="{FF2B5EF4-FFF2-40B4-BE49-F238E27FC236}">
                  <a16:creationId xmlns:a16="http://schemas.microsoft.com/office/drawing/2014/main" id="{D7F4D128-F65E-46ED-99F0-B25E203C631C}"/>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0A166D5-4572-4BEA-B8C5-0C71EFDB044E}"/>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13" name="Arc 212" hidden="1">
                <a:extLst>
                  <a:ext uri="{FF2B5EF4-FFF2-40B4-BE49-F238E27FC236}">
                    <a16:creationId xmlns:a16="http://schemas.microsoft.com/office/drawing/2014/main" id="{12698842-6C8C-49D8-B72B-233491E7BBCB}"/>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03" name="MoonLegend3" hidden="1">
              <a:extLst>
                <a:ext uri="{FF2B5EF4-FFF2-40B4-BE49-F238E27FC236}">
                  <a16:creationId xmlns:a16="http://schemas.microsoft.com/office/drawing/2014/main" id="{7F912689-F62E-42A0-84EF-19CA325570A5}"/>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D444534-572F-4911-B123-5BA686480FB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11" name="Arc 210" hidden="1">
                <a:extLst>
                  <a:ext uri="{FF2B5EF4-FFF2-40B4-BE49-F238E27FC236}">
                    <a16:creationId xmlns:a16="http://schemas.microsoft.com/office/drawing/2014/main" id="{4A821882-6ED8-4DA8-BE2C-0B45D5CBE4F1}"/>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04" name="MoonLegend4" hidden="1">
              <a:extLst>
                <a:ext uri="{FF2B5EF4-FFF2-40B4-BE49-F238E27FC236}">
                  <a16:creationId xmlns:a16="http://schemas.microsoft.com/office/drawing/2014/main" id="{B491F90A-708A-4C0E-B746-05B435419379}"/>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74C6738-75AC-4341-A2B3-5A476BC30C98}"/>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09" name="Arc 208" hidden="1">
                <a:extLst>
                  <a:ext uri="{FF2B5EF4-FFF2-40B4-BE49-F238E27FC236}">
                    <a16:creationId xmlns:a16="http://schemas.microsoft.com/office/drawing/2014/main" id="{01856841-3462-4838-92D3-8B99CB336B31}"/>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05" name="MoonLegend5" hidden="1">
              <a:extLst>
                <a:ext uri="{FF2B5EF4-FFF2-40B4-BE49-F238E27FC236}">
                  <a16:creationId xmlns:a16="http://schemas.microsoft.com/office/drawing/2014/main" id="{BE1C2933-999D-4E7A-89CA-0D245217D9CE}"/>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78C276F-C183-467B-A856-09EBE44972B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07" name="Arc 206" hidden="1">
                <a:extLst>
                  <a:ext uri="{FF2B5EF4-FFF2-40B4-BE49-F238E27FC236}">
                    <a16:creationId xmlns:a16="http://schemas.microsoft.com/office/drawing/2014/main" id="{9F76163E-F627-4CF9-8653-B1389E4ED3AA}"/>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grpSp>
        <p:nvGrpSpPr>
          <p:cNvPr id="216" name="LegendBoxes" hidden="1">
            <a:extLst>
              <a:ext uri="{FF2B5EF4-FFF2-40B4-BE49-F238E27FC236}">
                <a16:creationId xmlns:a16="http://schemas.microsoft.com/office/drawing/2014/main" id="{FE67967F-F474-4864-9482-CB7DF73A819E}"/>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17CC32A-5DCF-48B3-9FD1-2557BA2B1C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18" name="RectangleLegend2" hidden="1">
              <a:extLst>
                <a:ext uri="{FF2B5EF4-FFF2-40B4-BE49-F238E27FC236}">
                  <a16:creationId xmlns:a16="http://schemas.microsoft.com/office/drawing/2014/main" id="{13CCE224-F358-4F25-ABBC-AB48605B0C6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19" name="RectangleLegend3" hidden="1">
              <a:extLst>
                <a:ext uri="{FF2B5EF4-FFF2-40B4-BE49-F238E27FC236}">
                  <a16:creationId xmlns:a16="http://schemas.microsoft.com/office/drawing/2014/main" id="{90348EE0-93FC-4E2D-8B8C-843646B844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20" name="RectangleLegend4" hidden="1">
              <a:extLst>
                <a:ext uri="{FF2B5EF4-FFF2-40B4-BE49-F238E27FC236}">
                  <a16:creationId xmlns:a16="http://schemas.microsoft.com/office/drawing/2014/main" id="{105A3BFF-FF85-4297-BA1F-B4FCCCDCA3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21" name="RectangleLegend5" hidden="1">
              <a:extLst>
                <a:ext uri="{FF2B5EF4-FFF2-40B4-BE49-F238E27FC236}">
                  <a16:creationId xmlns:a16="http://schemas.microsoft.com/office/drawing/2014/main" id="{43643E7E-77CF-4388-83F7-2BAE8C3644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22" name="Legend1" hidden="1">
              <a:extLst>
                <a:ext uri="{FF2B5EF4-FFF2-40B4-BE49-F238E27FC236}">
                  <a16:creationId xmlns:a16="http://schemas.microsoft.com/office/drawing/2014/main" id="{E283854C-3C1E-4F96-9CC5-ABA0573BA75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23" name="Legend2" hidden="1">
              <a:extLst>
                <a:ext uri="{FF2B5EF4-FFF2-40B4-BE49-F238E27FC236}">
                  <a16:creationId xmlns:a16="http://schemas.microsoft.com/office/drawing/2014/main" id="{45B0D6C1-DF53-42B8-B48C-EA2C22A8164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24" name="Legend3" hidden="1">
              <a:extLst>
                <a:ext uri="{FF2B5EF4-FFF2-40B4-BE49-F238E27FC236}">
                  <a16:creationId xmlns:a16="http://schemas.microsoft.com/office/drawing/2014/main" id="{2EF2C8D0-7D79-40E6-826F-7CAF3B98E49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25" name="Legend4" hidden="1">
              <a:extLst>
                <a:ext uri="{FF2B5EF4-FFF2-40B4-BE49-F238E27FC236}">
                  <a16:creationId xmlns:a16="http://schemas.microsoft.com/office/drawing/2014/main" id="{494BFBA9-663B-458D-8C75-4C550AC86FB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26" name="Legend5" hidden="1">
              <a:extLst>
                <a:ext uri="{FF2B5EF4-FFF2-40B4-BE49-F238E27FC236}">
                  <a16:creationId xmlns:a16="http://schemas.microsoft.com/office/drawing/2014/main" id="{1543DE47-6844-480B-8A74-9EE25C0F98A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cxnSp>
        <p:nvCxnSpPr>
          <p:cNvPr id="148" name="Straight Connector 147">
            <a:extLst>
              <a:ext uri="{FF2B5EF4-FFF2-40B4-BE49-F238E27FC236}">
                <a16:creationId xmlns:a16="http://schemas.microsoft.com/office/drawing/2014/main" id="{2B774D77-1894-4C50-8543-E4448C6EECCD}"/>
              </a:ext>
            </a:extLst>
          </p:cNvPr>
          <p:cNvCxnSpPr>
            <a:cxnSpLocks/>
          </p:cNvCxnSpPr>
          <p:nvPr userDrawn="1"/>
        </p:nvCxnSpPr>
        <p:spPr bwMode="ltGray">
          <a:xfrm>
            <a:off x="554736" y="12007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8" name="Group 4">
            <a:extLst>
              <a:ext uri="{FF2B5EF4-FFF2-40B4-BE49-F238E27FC236}">
                <a16:creationId xmlns:a16="http://schemas.microsoft.com/office/drawing/2014/main" id="{F60C5AA7-8CEA-4030-8AB2-77BBB3754FF4}"/>
              </a:ext>
            </a:extLst>
          </p:cNvPr>
          <p:cNvGrpSpPr>
            <a:grpSpLocks noChangeAspect="1"/>
          </p:cNvGrpSpPr>
          <p:nvPr userDrawn="1"/>
        </p:nvGrpSpPr>
        <p:grpSpPr bwMode="ltGray">
          <a:xfrm>
            <a:off x="11256172" y="6417372"/>
            <a:ext cx="394856" cy="373880"/>
            <a:chOff x="-240" y="2757"/>
            <a:chExt cx="960" cy="909"/>
          </a:xfrm>
        </p:grpSpPr>
        <p:sp>
          <p:nvSpPr>
            <p:cNvPr id="159" name="Freeform 5">
              <a:extLst>
                <a:ext uri="{FF2B5EF4-FFF2-40B4-BE49-F238E27FC236}">
                  <a16:creationId xmlns:a16="http://schemas.microsoft.com/office/drawing/2014/main" id="{7763B3BE-F262-4B10-B8E4-6F146BCD0C8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60" name="Rectangle 6">
              <a:extLst>
                <a:ext uri="{FF2B5EF4-FFF2-40B4-BE49-F238E27FC236}">
                  <a16:creationId xmlns:a16="http://schemas.microsoft.com/office/drawing/2014/main" id="{495262E6-582A-40EA-BAD8-D69027FE9A1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61" name="Freeform 7">
              <a:extLst>
                <a:ext uri="{FF2B5EF4-FFF2-40B4-BE49-F238E27FC236}">
                  <a16:creationId xmlns:a16="http://schemas.microsoft.com/office/drawing/2014/main" id="{F84C5E75-5A8B-4B24-8EFC-A18A5671FC8B}"/>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62" name="Freeform 8">
              <a:extLst>
                <a:ext uri="{FF2B5EF4-FFF2-40B4-BE49-F238E27FC236}">
                  <a16:creationId xmlns:a16="http://schemas.microsoft.com/office/drawing/2014/main" id="{54009637-629C-4985-A5DA-0FB2269FA99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63" name="Freeform 9">
              <a:extLst>
                <a:ext uri="{FF2B5EF4-FFF2-40B4-BE49-F238E27FC236}">
                  <a16:creationId xmlns:a16="http://schemas.microsoft.com/office/drawing/2014/main" id="{7668EA33-06EF-41A8-A017-722924C71A9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grpSp>
      <p:pic>
        <p:nvPicPr>
          <p:cNvPr id="164" name="Picture 720" descr="EDCTP and Africa CDC workshop report on disparities in research funding -  EDCTP">
            <a:extLst>
              <a:ext uri="{FF2B5EF4-FFF2-40B4-BE49-F238E27FC236}">
                <a16:creationId xmlns:a16="http://schemas.microsoft.com/office/drawing/2014/main" id="{0F3408E6-FF9A-4C53-A548-45525DC25B79}"/>
              </a:ext>
            </a:extLst>
          </p:cNvPr>
          <p:cNvPicPr>
            <a:picLocks noChangeAspect="1" noChangeArrowheads="1"/>
          </p:cNvPicPr>
          <p:nvPr userDrawn="1"/>
        </p:nvPicPr>
        <p:blipFill rotWithShape="1">
          <a:blip r:embed="rId42"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E1EC4667-3EFB-4FE9-9D38-A066CC100086}"/>
              </a:ext>
            </a:extLst>
          </p:cNvPr>
          <p:cNvPicPr>
            <a:picLocks noChangeAspect="1"/>
          </p:cNvPicPr>
          <p:nvPr userDrawn="1"/>
        </p:nvPicPr>
        <p:blipFill>
          <a:blip r:embed="rId43"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2182456883"/>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4040" r:id="rId15"/>
    <p:sldLayoutId id="2147484077" r:id="rId16"/>
    <p:sldLayoutId id="2147484078" r:id="rId17"/>
    <p:sldLayoutId id="2147484079"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54194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22"/>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519011"/>
            <a:ext cx="11082528" cy="38472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1364B865-8072-4F03-8422-E440AD78324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8432E73F-8518-432C-9F45-9FE0BB88458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E1A54DB5-2A81-4519-8F23-7A5F2C3E563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2BC954A4-AC4F-4411-B5CD-D601D567BEB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4886C75-764E-410F-BA50-D2ECB0F7D7E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71F7E9E-078E-4C4A-A7ED-BAC4E4AF97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4744E330-0770-4123-B576-6FC96F1374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815020A4-D434-4383-9910-7502CB5FDF6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7FABD61-D65F-42F7-A11B-B325A1BD633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CD64247-937E-47B3-A41C-BC0468190A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69D11EC3-9E74-4EA2-B142-6934993ACD4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25460176-8297-4221-8A72-B884E131AC6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98E4B142-A0A9-466C-958C-BBC9D3A773E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5A0018DF-A5BF-4F8E-B33B-C131AA5B82E6}"/>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103E35C-ED69-41D7-AA72-094198147E14}"/>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B11B165D-518D-4187-A3F8-C09EB23F0C06}"/>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D7F4D128-F65E-46ED-99F0-B25E203C631C}"/>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0A166D5-4572-4BEA-B8C5-0C71EFDB044E}"/>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12698842-6C8C-49D8-B72B-233491E7BBCB}"/>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7F912689-F62E-42A0-84EF-19CA325570A5}"/>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D444534-572F-4911-B123-5BA686480FB9}"/>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A821882-6ED8-4DA8-BE2C-0B45D5CBE4F1}"/>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B491F90A-708A-4C0E-B746-05B435419379}"/>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74C6738-75AC-4341-A2B3-5A476BC30C98}"/>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01856841-3462-4838-92D3-8B99CB336B31}"/>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BE1C2933-999D-4E7A-89CA-0D245217D9CE}"/>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78C276F-C183-467B-A856-09EBE44972BB}"/>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9F76163E-F627-4CF9-8653-B1389E4ED3AA}"/>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E67967F-F474-4864-9482-CB7DF73A819E}"/>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17CC32A-5DCF-48B3-9FD1-2557BA2B1C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13CCE224-F358-4F25-ABBC-AB48605B0C6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90348EE0-93FC-4E2D-8B8C-843646B844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05A3BFF-FF85-4297-BA1F-B4FCCCDCA3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43643E7E-77CF-4388-83F7-2BAE8C3644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E283854C-3C1E-4F96-9CC5-ABA0573BA75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45B0D6C1-DF53-42B8-B48C-EA2C22A8164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2EF2C8D0-7D79-40E6-826F-7CAF3B98E49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494BFBA9-663B-458D-8C75-4C550AC86FB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1543DE47-6844-480B-8A74-9EE25C0F98A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cxnSp>
        <p:nvCxnSpPr>
          <p:cNvPr id="148" name="Straight Connector 147">
            <a:extLst>
              <a:ext uri="{FF2B5EF4-FFF2-40B4-BE49-F238E27FC236}">
                <a16:creationId xmlns:a16="http://schemas.microsoft.com/office/drawing/2014/main" id="{2B774D77-1894-4C50-8543-E4448C6EECCD}"/>
              </a:ext>
            </a:extLst>
          </p:cNvPr>
          <p:cNvCxnSpPr>
            <a:cxnSpLocks/>
          </p:cNvCxnSpPr>
          <p:nvPr userDrawn="1"/>
        </p:nvCxnSpPr>
        <p:spPr bwMode="ltGray">
          <a:xfrm>
            <a:off x="554736" y="12007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8" name="Group 4">
            <a:extLst>
              <a:ext uri="{FF2B5EF4-FFF2-40B4-BE49-F238E27FC236}">
                <a16:creationId xmlns:a16="http://schemas.microsoft.com/office/drawing/2014/main" id="{F60C5AA7-8CEA-4030-8AB2-77BBB3754FF4}"/>
              </a:ext>
            </a:extLst>
          </p:cNvPr>
          <p:cNvGrpSpPr>
            <a:grpSpLocks noChangeAspect="1"/>
          </p:cNvGrpSpPr>
          <p:nvPr userDrawn="1"/>
        </p:nvGrpSpPr>
        <p:grpSpPr bwMode="ltGray">
          <a:xfrm>
            <a:off x="11320824" y="6417372"/>
            <a:ext cx="394856" cy="373880"/>
            <a:chOff x="-240" y="2757"/>
            <a:chExt cx="960" cy="909"/>
          </a:xfrm>
        </p:grpSpPr>
        <p:sp>
          <p:nvSpPr>
            <p:cNvPr id="159" name="Freeform 5">
              <a:extLst>
                <a:ext uri="{FF2B5EF4-FFF2-40B4-BE49-F238E27FC236}">
                  <a16:creationId xmlns:a16="http://schemas.microsoft.com/office/drawing/2014/main" id="{7763B3BE-F262-4B10-B8E4-6F146BCD0C8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0" name="Rectangle 6">
              <a:extLst>
                <a:ext uri="{FF2B5EF4-FFF2-40B4-BE49-F238E27FC236}">
                  <a16:creationId xmlns:a16="http://schemas.microsoft.com/office/drawing/2014/main" id="{495262E6-582A-40EA-BAD8-D69027FE9A1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1" name="Freeform 7">
              <a:extLst>
                <a:ext uri="{FF2B5EF4-FFF2-40B4-BE49-F238E27FC236}">
                  <a16:creationId xmlns:a16="http://schemas.microsoft.com/office/drawing/2014/main" id="{F84C5E75-5A8B-4B24-8EFC-A18A5671FC8B}"/>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2" name="Freeform 8">
              <a:extLst>
                <a:ext uri="{FF2B5EF4-FFF2-40B4-BE49-F238E27FC236}">
                  <a16:creationId xmlns:a16="http://schemas.microsoft.com/office/drawing/2014/main" id="{54009637-629C-4985-A5DA-0FB2269FA99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3" name="Freeform 9">
              <a:extLst>
                <a:ext uri="{FF2B5EF4-FFF2-40B4-BE49-F238E27FC236}">
                  <a16:creationId xmlns:a16="http://schemas.microsoft.com/office/drawing/2014/main" id="{7668EA33-06EF-41A8-A017-722924C71A9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4" name="Picture 720" descr="EDCTP and Africa CDC workshop report on disparities in research funding -  EDCTP">
            <a:extLst>
              <a:ext uri="{FF2B5EF4-FFF2-40B4-BE49-F238E27FC236}">
                <a16:creationId xmlns:a16="http://schemas.microsoft.com/office/drawing/2014/main" id="{0F3408E6-FF9A-4C53-A548-45525DC25B79}"/>
              </a:ext>
            </a:extLst>
          </p:cNvPr>
          <p:cNvPicPr>
            <a:picLocks noChangeAspect="1" noChangeArrowheads="1"/>
          </p:cNvPicPr>
          <p:nvPr userDrawn="1"/>
        </p:nvPicPr>
        <p:blipFill rotWithShape="1">
          <a:blip r:embed="rId43"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E1EC4667-3EFB-4FE9-9D38-A066CC100086}"/>
              </a:ext>
            </a:extLst>
          </p:cNvPr>
          <p:cNvPicPr>
            <a:picLocks noChangeAspect="1"/>
          </p:cNvPicPr>
          <p:nvPr userDrawn="1"/>
        </p:nvPicPr>
        <p:blipFill>
          <a:blip r:embed="rId44"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167" name="Documenttype">
            <a:extLst>
              <a:ext uri="{FF2B5EF4-FFF2-40B4-BE49-F238E27FC236}">
                <a16:creationId xmlns:a16="http://schemas.microsoft.com/office/drawing/2014/main" id="{056C81C2-7BA0-4F4B-95FB-6D965AB7602E}"/>
              </a:ext>
            </a:extLst>
          </p:cNvPr>
          <p:cNvSpPr txBox="1">
            <a:spLocks/>
          </p:cNvSpPr>
          <p:nvPr userDrawn="1">
            <p:custDataLst>
              <p:tags r:id="rId25"/>
            </p:custDataLst>
          </p:nvPr>
        </p:nvSpPr>
        <p:spPr>
          <a:xfrm>
            <a:off x="2636393"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 </a:t>
            </a:r>
          </a:p>
        </p:txBody>
      </p:sp>
    </p:spTree>
    <p:extLst>
      <p:ext uri="{BB962C8B-B14F-4D97-AF65-F5344CB8AC3E}">
        <p14:creationId xmlns:p14="http://schemas.microsoft.com/office/powerpoint/2010/main" val="2842183413"/>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54194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19"/>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519011"/>
            <a:ext cx="11082528" cy="38472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1364B865-8072-4F03-8422-E440AD78324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8432E73F-8518-432C-9F45-9FE0BB88458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E1A54DB5-2A81-4519-8F23-7A5F2C3E563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2BC954A4-AC4F-4411-B5CD-D601D567BEB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4886C75-764E-410F-BA50-D2ECB0F7D7E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71F7E9E-078E-4C4A-A7ED-BAC4E4AF97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4744E330-0770-4123-B576-6FC96F1374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815020A4-D434-4383-9910-7502CB5FDF6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7FABD61-D65F-42F7-A11B-B325A1BD633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CD64247-937E-47B3-A41C-BC0468190A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69D11EC3-9E74-4EA2-B142-6934993ACD4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25460176-8297-4221-8A72-B884E131AC6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98E4B142-A0A9-466C-958C-BBC9D3A773E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5A0018DF-A5BF-4F8E-B33B-C131AA5B82E6}"/>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103E35C-ED69-41D7-AA72-094198147E1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B11B165D-518D-4187-A3F8-C09EB23F0C06}"/>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D7F4D128-F65E-46ED-99F0-B25E203C631C}"/>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0A166D5-4572-4BEA-B8C5-0C71EFDB044E}"/>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12698842-6C8C-49D8-B72B-233491E7BBCB}"/>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7F912689-F62E-42A0-84EF-19CA325570A5}"/>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D444534-572F-4911-B123-5BA686480FB9}"/>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A821882-6ED8-4DA8-BE2C-0B45D5CBE4F1}"/>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B491F90A-708A-4C0E-B746-05B435419379}"/>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74C6738-75AC-4341-A2B3-5A476BC30C9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01856841-3462-4838-92D3-8B99CB336B31}"/>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BE1C2933-999D-4E7A-89CA-0D245217D9CE}"/>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78C276F-C183-467B-A856-09EBE44972B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9F76163E-F627-4CF9-8653-B1389E4ED3AA}"/>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E67967F-F474-4864-9482-CB7DF73A819E}"/>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17CC32A-5DCF-48B3-9FD1-2557BA2B1C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13CCE224-F358-4F25-ABBC-AB48605B0C6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90348EE0-93FC-4E2D-8B8C-843646B844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05A3BFF-FF85-4297-BA1F-B4FCCCDCA3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43643E7E-77CF-4388-83F7-2BAE8C3644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E283854C-3C1E-4F96-9CC5-ABA0573BA75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45B0D6C1-DF53-42B8-B48C-EA2C22A8164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2EF2C8D0-7D79-40E6-826F-7CAF3B98E49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494BFBA9-663B-458D-8C75-4C550AC86FB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1543DE47-6844-480B-8A74-9EE25C0F98A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cxnSp>
        <p:nvCxnSpPr>
          <p:cNvPr id="148" name="Straight Connector 147">
            <a:extLst>
              <a:ext uri="{FF2B5EF4-FFF2-40B4-BE49-F238E27FC236}">
                <a16:creationId xmlns:a16="http://schemas.microsoft.com/office/drawing/2014/main" id="{2B774D77-1894-4C50-8543-E4448C6EECCD}"/>
              </a:ext>
            </a:extLst>
          </p:cNvPr>
          <p:cNvCxnSpPr>
            <a:cxnSpLocks/>
          </p:cNvCxnSpPr>
          <p:nvPr userDrawn="1"/>
        </p:nvCxnSpPr>
        <p:spPr bwMode="ltGray">
          <a:xfrm>
            <a:off x="554736" y="12007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8" name="Group 4">
            <a:extLst>
              <a:ext uri="{FF2B5EF4-FFF2-40B4-BE49-F238E27FC236}">
                <a16:creationId xmlns:a16="http://schemas.microsoft.com/office/drawing/2014/main" id="{F60C5AA7-8CEA-4030-8AB2-77BBB3754FF4}"/>
              </a:ext>
            </a:extLst>
          </p:cNvPr>
          <p:cNvGrpSpPr>
            <a:grpSpLocks noChangeAspect="1"/>
          </p:cNvGrpSpPr>
          <p:nvPr userDrawn="1"/>
        </p:nvGrpSpPr>
        <p:grpSpPr bwMode="ltGray">
          <a:xfrm>
            <a:off x="11256172" y="6417372"/>
            <a:ext cx="394856" cy="373880"/>
            <a:chOff x="-240" y="2757"/>
            <a:chExt cx="960" cy="909"/>
          </a:xfrm>
        </p:grpSpPr>
        <p:sp>
          <p:nvSpPr>
            <p:cNvPr id="159" name="Freeform 5">
              <a:extLst>
                <a:ext uri="{FF2B5EF4-FFF2-40B4-BE49-F238E27FC236}">
                  <a16:creationId xmlns:a16="http://schemas.microsoft.com/office/drawing/2014/main" id="{7763B3BE-F262-4B10-B8E4-6F146BCD0C8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0" name="Rectangle 6">
              <a:extLst>
                <a:ext uri="{FF2B5EF4-FFF2-40B4-BE49-F238E27FC236}">
                  <a16:creationId xmlns:a16="http://schemas.microsoft.com/office/drawing/2014/main" id="{495262E6-582A-40EA-BAD8-D69027FE9A1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1" name="Freeform 7">
              <a:extLst>
                <a:ext uri="{FF2B5EF4-FFF2-40B4-BE49-F238E27FC236}">
                  <a16:creationId xmlns:a16="http://schemas.microsoft.com/office/drawing/2014/main" id="{F84C5E75-5A8B-4B24-8EFC-A18A5671FC8B}"/>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2" name="Freeform 8">
              <a:extLst>
                <a:ext uri="{FF2B5EF4-FFF2-40B4-BE49-F238E27FC236}">
                  <a16:creationId xmlns:a16="http://schemas.microsoft.com/office/drawing/2014/main" id="{54009637-629C-4985-A5DA-0FB2269FA99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3" name="Freeform 9">
              <a:extLst>
                <a:ext uri="{FF2B5EF4-FFF2-40B4-BE49-F238E27FC236}">
                  <a16:creationId xmlns:a16="http://schemas.microsoft.com/office/drawing/2014/main" id="{7668EA33-06EF-41A8-A017-722924C71A9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4" name="Picture 720" descr="EDCTP and Africa CDC workshop report on disparities in research funding -  EDCTP">
            <a:extLst>
              <a:ext uri="{FF2B5EF4-FFF2-40B4-BE49-F238E27FC236}">
                <a16:creationId xmlns:a16="http://schemas.microsoft.com/office/drawing/2014/main" id="{0F3408E6-FF9A-4C53-A548-45525DC25B79}"/>
              </a:ext>
            </a:extLst>
          </p:cNvPr>
          <p:cNvPicPr>
            <a:picLocks noChangeAspect="1" noChangeArrowheads="1"/>
          </p:cNvPicPr>
          <p:nvPr userDrawn="1"/>
        </p:nvPicPr>
        <p:blipFill rotWithShape="1">
          <a:blip r:embed="rId39"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E1EC4667-3EFB-4FE9-9D38-A066CC100086}"/>
              </a:ext>
            </a:extLst>
          </p:cNvPr>
          <p:cNvPicPr>
            <a:picLocks noChangeAspect="1"/>
          </p:cNvPicPr>
          <p:nvPr userDrawn="1"/>
        </p:nvPicPr>
        <p:blipFill>
          <a:blip r:embed="rId40"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301608222"/>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54194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19"/>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519011"/>
            <a:ext cx="11082528" cy="38472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1364B865-8072-4F03-8422-E440AD78324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8432E73F-8518-432C-9F45-9FE0BB88458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E1A54DB5-2A81-4519-8F23-7A5F2C3E563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2BC954A4-AC4F-4411-B5CD-D601D567BEB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4886C75-764E-410F-BA50-D2ECB0F7D7E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71F7E9E-078E-4C4A-A7ED-BAC4E4AF97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4744E330-0770-4123-B576-6FC96F1374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815020A4-D434-4383-9910-7502CB5FDF6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7FABD61-D65F-42F7-A11B-B325A1BD633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CD64247-937E-47B3-A41C-BC0468190A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69D11EC3-9E74-4EA2-B142-6934993ACD4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25460176-8297-4221-8A72-B884E131AC6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98E4B142-A0A9-466C-958C-BBC9D3A773E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5A0018DF-A5BF-4F8E-B33B-C131AA5B82E6}"/>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103E35C-ED69-41D7-AA72-094198147E1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B11B165D-518D-4187-A3F8-C09EB23F0C06}"/>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D7F4D128-F65E-46ED-99F0-B25E203C631C}"/>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0A166D5-4572-4BEA-B8C5-0C71EFDB044E}"/>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12698842-6C8C-49D8-B72B-233491E7BBCB}"/>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7F912689-F62E-42A0-84EF-19CA325570A5}"/>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D444534-572F-4911-B123-5BA686480FB9}"/>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A821882-6ED8-4DA8-BE2C-0B45D5CBE4F1}"/>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B491F90A-708A-4C0E-B746-05B435419379}"/>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74C6738-75AC-4341-A2B3-5A476BC30C9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01856841-3462-4838-92D3-8B99CB336B31}"/>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BE1C2933-999D-4E7A-89CA-0D245217D9CE}"/>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78C276F-C183-467B-A856-09EBE44972B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9F76163E-F627-4CF9-8653-B1389E4ED3AA}"/>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E67967F-F474-4864-9482-CB7DF73A819E}"/>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17CC32A-5DCF-48B3-9FD1-2557BA2B1C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13CCE224-F358-4F25-ABBC-AB48605B0C6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90348EE0-93FC-4E2D-8B8C-843646B844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05A3BFF-FF85-4297-BA1F-B4FCCCDCA3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43643E7E-77CF-4388-83F7-2BAE8C3644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E283854C-3C1E-4F96-9CC5-ABA0573BA75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45B0D6C1-DF53-42B8-B48C-EA2C22A8164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2EF2C8D0-7D79-40E6-826F-7CAF3B98E49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494BFBA9-663B-458D-8C75-4C550AC86FB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1543DE47-6844-480B-8A74-9EE25C0F98A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cxnSp>
        <p:nvCxnSpPr>
          <p:cNvPr id="148" name="Straight Connector 147">
            <a:extLst>
              <a:ext uri="{FF2B5EF4-FFF2-40B4-BE49-F238E27FC236}">
                <a16:creationId xmlns:a16="http://schemas.microsoft.com/office/drawing/2014/main" id="{2B774D77-1894-4C50-8543-E4448C6EECCD}"/>
              </a:ext>
            </a:extLst>
          </p:cNvPr>
          <p:cNvCxnSpPr>
            <a:cxnSpLocks/>
          </p:cNvCxnSpPr>
          <p:nvPr userDrawn="1"/>
        </p:nvCxnSpPr>
        <p:spPr bwMode="ltGray">
          <a:xfrm>
            <a:off x="554736" y="12007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8" name="Group 4">
            <a:extLst>
              <a:ext uri="{FF2B5EF4-FFF2-40B4-BE49-F238E27FC236}">
                <a16:creationId xmlns:a16="http://schemas.microsoft.com/office/drawing/2014/main" id="{F60C5AA7-8CEA-4030-8AB2-77BBB3754FF4}"/>
              </a:ext>
            </a:extLst>
          </p:cNvPr>
          <p:cNvGrpSpPr>
            <a:grpSpLocks noChangeAspect="1"/>
          </p:cNvGrpSpPr>
          <p:nvPr userDrawn="1"/>
        </p:nvGrpSpPr>
        <p:grpSpPr bwMode="ltGray">
          <a:xfrm>
            <a:off x="11256172" y="6417372"/>
            <a:ext cx="394856" cy="373880"/>
            <a:chOff x="-240" y="2757"/>
            <a:chExt cx="960" cy="909"/>
          </a:xfrm>
        </p:grpSpPr>
        <p:sp>
          <p:nvSpPr>
            <p:cNvPr id="159" name="Freeform 5">
              <a:extLst>
                <a:ext uri="{FF2B5EF4-FFF2-40B4-BE49-F238E27FC236}">
                  <a16:creationId xmlns:a16="http://schemas.microsoft.com/office/drawing/2014/main" id="{7763B3BE-F262-4B10-B8E4-6F146BCD0C8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0" name="Rectangle 6">
              <a:extLst>
                <a:ext uri="{FF2B5EF4-FFF2-40B4-BE49-F238E27FC236}">
                  <a16:creationId xmlns:a16="http://schemas.microsoft.com/office/drawing/2014/main" id="{495262E6-582A-40EA-BAD8-D69027FE9A1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1" name="Freeform 7">
              <a:extLst>
                <a:ext uri="{FF2B5EF4-FFF2-40B4-BE49-F238E27FC236}">
                  <a16:creationId xmlns:a16="http://schemas.microsoft.com/office/drawing/2014/main" id="{F84C5E75-5A8B-4B24-8EFC-A18A5671FC8B}"/>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2" name="Freeform 8">
              <a:extLst>
                <a:ext uri="{FF2B5EF4-FFF2-40B4-BE49-F238E27FC236}">
                  <a16:creationId xmlns:a16="http://schemas.microsoft.com/office/drawing/2014/main" id="{54009637-629C-4985-A5DA-0FB2269FA99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3" name="Freeform 9">
              <a:extLst>
                <a:ext uri="{FF2B5EF4-FFF2-40B4-BE49-F238E27FC236}">
                  <a16:creationId xmlns:a16="http://schemas.microsoft.com/office/drawing/2014/main" id="{7668EA33-06EF-41A8-A017-722924C71A9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4" name="Picture 720" descr="EDCTP and Africa CDC workshop report on disparities in research funding -  EDCTP">
            <a:extLst>
              <a:ext uri="{FF2B5EF4-FFF2-40B4-BE49-F238E27FC236}">
                <a16:creationId xmlns:a16="http://schemas.microsoft.com/office/drawing/2014/main" id="{0F3408E6-FF9A-4C53-A548-45525DC25B79}"/>
              </a:ext>
            </a:extLst>
          </p:cNvPr>
          <p:cNvPicPr>
            <a:picLocks noChangeAspect="1" noChangeArrowheads="1"/>
          </p:cNvPicPr>
          <p:nvPr userDrawn="1"/>
        </p:nvPicPr>
        <p:blipFill rotWithShape="1">
          <a:blip r:embed="rId39"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E1EC4667-3EFB-4FE9-9D38-A066CC100086}"/>
              </a:ext>
            </a:extLst>
          </p:cNvPr>
          <p:cNvPicPr>
            <a:picLocks noChangeAspect="1"/>
          </p:cNvPicPr>
          <p:nvPr userDrawn="1"/>
        </p:nvPicPr>
        <p:blipFill>
          <a:blip r:embed="rId40"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2730577083"/>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54194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21"/>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519011"/>
            <a:ext cx="11082528" cy="38472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1364B865-8072-4F03-8422-E440AD78324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8432E73F-8518-432C-9F45-9FE0BB88458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E1A54DB5-2A81-4519-8F23-7A5F2C3E563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2BC954A4-AC4F-4411-B5CD-D601D567BEB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4886C75-764E-410F-BA50-D2ECB0F7D7E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71F7E9E-078E-4C4A-A7ED-BAC4E4AF97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4744E330-0770-4123-B576-6FC96F1374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815020A4-D434-4383-9910-7502CB5FDF6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7FABD61-D65F-42F7-A11B-B325A1BD633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CD64247-937E-47B3-A41C-BC0468190A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69D11EC3-9E74-4EA2-B142-6934993ACD4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25460176-8297-4221-8A72-B884E131AC6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98E4B142-A0A9-466C-958C-BBC9D3A773E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5A0018DF-A5BF-4F8E-B33B-C131AA5B82E6}"/>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103E35C-ED69-41D7-AA72-094198147E1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B11B165D-518D-4187-A3F8-C09EB23F0C06}"/>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D7F4D128-F65E-46ED-99F0-B25E203C631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0A166D5-4572-4BEA-B8C5-0C71EFDB044E}"/>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12698842-6C8C-49D8-B72B-233491E7BBCB}"/>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7F912689-F62E-42A0-84EF-19CA325570A5}"/>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D444534-572F-4911-B123-5BA686480FB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A821882-6ED8-4DA8-BE2C-0B45D5CBE4F1}"/>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B491F90A-708A-4C0E-B746-05B435419379}"/>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74C6738-75AC-4341-A2B3-5A476BC30C9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01856841-3462-4838-92D3-8B99CB336B31}"/>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BE1C2933-999D-4E7A-89CA-0D245217D9CE}"/>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78C276F-C183-467B-A856-09EBE44972B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9F76163E-F627-4CF9-8653-B1389E4ED3AA}"/>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E67967F-F474-4864-9482-CB7DF73A819E}"/>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17CC32A-5DCF-48B3-9FD1-2557BA2B1C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13CCE224-F358-4F25-ABBC-AB48605B0C6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90348EE0-93FC-4E2D-8B8C-843646B844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05A3BFF-FF85-4297-BA1F-B4FCCCDCA3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43643E7E-77CF-4388-83F7-2BAE8C3644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E283854C-3C1E-4F96-9CC5-ABA0573BA75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45B0D6C1-DF53-42B8-B48C-EA2C22A8164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2EF2C8D0-7D79-40E6-826F-7CAF3B98E49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494BFBA9-663B-458D-8C75-4C550AC86FB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1543DE47-6844-480B-8A74-9EE25C0F98A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cxnSp>
        <p:nvCxnSpPr>
          <p:cNvPr id="148" name="Straight Connector 147">
            <a:extLst>
              <a:ext uri="{FF2B5EF4-FFF2-40B4-BE49-F238E27FC236}">
                <a16:creationId xmlns:a16="http://schemas.microsoft.com/office/drawing/2014/main" id="{2B774D77-1894-4C50-8543-E4448C6EECCD}"/>
              </a:ext>
            </a:extLst>
          </p:cNvPr>
          <p:cNvCxnSpPr>
            <a:cxnSpLocks/>
          </p:cNvCxnSpPr>
          <p:nvPr userDrawn="1"/>
        </p:nvCxnSpPr>
        <p:spPr bwMode="ltGray">
          <a:xfrm>
            <a:off x="554736" y="12007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8" name="Group 4">
            <a:extLst>
              <a:ext uri="{FF2B5EF4-FFF2-40B4-BE49-F238E27FC236}">
                <a16:creationId xmlns:a16="http://schemas.microsoft.com/office/drawing/2014/main" id="{F60C5AA7-8CEA-4030-8AB2-77BBB3754FF4}"/>
              </a:ext>
            </a:extLst>
          </p:cNvPr>
          <p:cNvGrpSpPr>
            <a:grpSpLocks noChangeAspect="1"/>
          </p:cNvGrpSpPr>
          <p:nvPr userDrawn="1"/>
        </p:nvGrpSpPr>
        <p:grpSpPr bwMode="ltGray">
          <a:xfrm>
            <a:off x="11256172" y="6417372"/>
            <a:ext cx="394856" cy="373880"/>
            <a:chOff x="-240" y="2757"/>
            <a:chExt cx="960" cy="909"/>
          </a:xfrm>
        </p:grpSpPr>
        <p:sp>
          <p:nvSpPr>
            <p:cNvPr id="159" name="Freeform 5">
              <a:extLst>
                <a:ext uri="{FF2B5EF4-FFF2-40B4-BE49-F238E27FC236}">
                  <a16:creationId xmlns:a16="http://schemas.microsoft.com/office/drawing/2014/main" id="{7763B3BE-F262-4B10-B8E4-6F146BCD0C8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0" name="Rectangle 6">
              <a:extLst>
                <a:ext uri="{FF2B5EF4-FFF2-40B4-BE49-F238E27FC236}">
                  <a16:creationId xmlns:a16="http://schemas.microsoft.com/office/drawing/2014/main" id="{495262E6-582A-40EA-BAD8-D69027FE9A1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1" name="Freeform 7">
              <a:extLst>
                <a:ext uri="{FF2B5EF4-FFF2-40B4-BE49-F238E27FC236}">
                  <a16:creationId xmlns:a16="http://schemas.microsoft.com/office/drawing/2014/main" id="{F84C5E75-5A8B-4B24-8EFC-A18A5671FC8B}"/>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2" name="Freeform 8">
              <a:extLst>
                <a:ext uri="{FF2B5EF4-FFF2-40B4-BE49-F238E27FC236}">
                  <a16:creationId xmlns:a16="http://schemas.microsoft.com/office/drawing/2014/main" id="{54009637-629C-4985-A5DA-0FB2269FA99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3" name="Freeform 9">
              <a:extLst>
                <a:ext uri="{FF2B5EF4-FFF2-40B4-BE49-F238E27FC236}">
                  <a16:creationId xmlns:a16="http://schemas.microsoft.com/office/drawing/2014/main" id="{7668EA33-06EF-41A8-A017-722924C71A9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4" name="Picture 720" descr="EDCTP and Africa CDC workshop report on disparities in research funding -  EDCTP">
            <a:extLst>
              <a:ext uri="{FF2B5EF4-FFF2-40B4-BE49-F238E27FC236}">
                <a16:creationId xmlns:a16="http://schemas.microsoft.com/office/drawing/2014/main" id="{0F3408E6-FF9A-4C53-A548-45525DC25B79}"/>
              </a:ext>
            </a:extLst>
          </p:cNvPr>
          <p:cNvPicPr>
            <a:picLocks noChangeAspect="1" noChangeArrowheads="1"/>
          </p:cNvPicPr>
          <p:nvPr userDrawn="1"/>
        </p:nvPicPr>
        <p:blipFill rotWithShape="1">
          <a:blip r:embed="rId41"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E1EC4667-3EFB-4FE9-9D38-A066CC100086}"/>
              </a:ext>
            </a:extLst>
          </p:cNvPr>
          <p:cNvPicPr>
            <a:picLocks noChangeAspect="1"/>
          </p:cNvPicPr>
          <p:nvPr userDrawn="1"/>
        </p:nvPicPr>
        <p:blipFill>
          <a:blip r:embed="rId42"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3792618432"/>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54194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20"/>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519011"/>
            <a:ext cx="11082528" cy="38472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1364B865-8072-4F03-8422-E440AD78324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8432E73F-8518-432C-9F45-9FE0BB88458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E1A54DB5-2A81-4519-8F23-7A5F2C3E563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2BC954A4-AC4F-4411-B5CD-D601D567BEB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4886C75-764E-410F-BA50-D2ECB0F7D7E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71F7E9E-078E-4C4A-A7ED-BAC4E4AF97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4744E330-0770-4123-B576-6FC96F1374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815020A4-D434-4383-9910-7502CB5FDF6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7FABD61-D65F-42F7-A11B-B325A1BD633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CD64247-937E-47B3-A41C-BC0468190A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69D11EC3-9E74-4EA2-B142-6934993ACD4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25460176-8297-4221-8A72-B884E131AC6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98E4B142-A0A9-466C-958C-BBC9D3A773E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5A0018DF-A5BF-4F8E-B33B-C131AA5B82E6}"/>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103E35C-ED69-41D7-AA72-094198147E14}"/>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B11B165D-518D-4187-A3F8-C09EB23F0C06}"/>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D7F4D128-F65E-46ED-99F0-B25E203C631C}"/>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0A166D5-4572-4BEA-B8C5-0C71EFDB044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12698842-6C8C-49D8-B72B-233491E7BBCB}"/>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7F912689-F62E-42A0-84EF-19CA325570A5}"/>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D444534-572F-4911-B123-5BA686480FB9}"/>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A821882-6ED8-4DA8-BE2C-0B45D5CBE4F1}"/>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B491F90A-708A-4C0E-B746-05B435419379}"/>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74C6738-75AC-4341-A2B3-5A476BC30C9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01856841-3462-4838-92D3-8B99CB336B31}"/>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BE1C2933-999D-4E7A-89CA-0D245217D9CE}"/>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78C276F-C183-467B-A856-09EBE44972B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9F76163E-F627-4CF9-8653-B1389E4ED3AA}"/>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E67967F-F474-4864-9482-CB7DF73A819E}"/>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17CC32A-5DCF-48B3-9FD1-2557BA2B1C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13CCE224-F358-4F25-ABBC-AB48605B0C6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90348EE0-93FC-4E2D-8B8C-843646B844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05A3BFF-FF85-4297-BA1F-B4FCCCDCA3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43643E7E-77CF-4388-83F7-2BAE8C3644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E283854C-3C1E-4F96-9CC5-ABA0573BA75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45B0D6C1-DF53-42B8-B48C-EA2C22A8164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2EF2C8D0-7D79-40E6-826F-7CAF3B98E49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494BFBA9-663B-458D-8C75-4C550AC86FB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1543DE47-6844-480B-8A74-9EE25C0F98A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cxnSp>
        <p:nvCxnSpPr>
          <p:cNvPr id="148" name="Straight Connector 147">
            <a:extLst>
              <a:ext uri="{FF2B5EF4-FFF2-40B4-BE49-F238E27FC236}">
                <a16:creationId xmlns:a16="http://schemas.microsoft.com/office/drawing/2014/main" id="{2B774D77-1894-4C50-8543-E4448C6EECCD}"/>
              </a:ext>
            </a:extLst>
          </p:cNvPr>
          <p:cNvCxnSpPr>
            <a:cxnSpLocks/>
          </p:cNvCxnSpPr>
          <p:nvPr userDrawn="1"/>
        </p:nvCxnSpPr>
        <p:spPr bwMode="ltGray">
          <a:xfrm>
            <a:off x="554736" y="12007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8" name="Group 4">
            <a:extLst>
              <a:ext uri="{FF2B5EF4-FFF2-40B4-BE49-F238E27FC236}">
                <a16:creationId xmlns:a16="http://schemas.microsoft.com/office/drawing/2014/main" id="{F60C5AA7-8CEA-4030-8AB2-77BBB3754FF4}"/>
              </a:ext>
            </a:extLst>
          </p:cNvPr>
          <p:cNvGrpSpPr>
            <a:grpSpLocks noChangeAspect="1"/>
          </p:cNvGrpSpPr>
          <p:nvPr userDrawn="1"/>
        </p:nvGrpSpPr>
        <p:grpSpPr bwMode="ltGray">
          <a:xfrm>
            <a:off x="11256172" y="6417372"/>
            <a:ext cx="394856" cy="373880"/>
            <a:chOff x="-240" y="2757"/>
            <a:chExt cx="960" cy="909"/>
          </a:xfrm>
        </p:grpSpPr>
        <p:sp>
          <p:nvSpPr>
            <p:cNvPr id="159" name="Freeform 5">
              <a:extLst>
                <a:ext uri="{FF2B5EF4-FFF2-40B4-BE49-F238E27FC236}">
                  <a16:creationId xmlns:a16="http://schemas.microsoft.com/office/drawing/2014/main" id="{7763B3BE-F262-4B10-B8E4-6F146BCD0C8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0" name="Rectangle 6">
              <a:extLst>
                <a:ext uri="{FF2B5EF4-FFF2-40B4-BE49-F238E27FC236}">
                  <a16:creationId xmlns:a16="http://schemas.microsoft.com/office/drawing/2014/main" id="{495262E6-582A-40EA-BAD8-D69027FE9A1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1" name="Freeform 7">
              <a:extLst>
                <a:ext uri="{FF2B5EF4-FFF2-40B4-BE49-F238E27FC236}">
                  <a16:creationId xmlns:a16="http://schemas.microsoft.com/office/drawing/2014/main" id="{F84C5E75-5A8B-4B24-8EFC-A18A5671FC8B}"/>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2" name="Freeform 8">
              <a:extLst>
                <a:ext uri="{FF2B5EF4-FFF2-40B4-BE49-F238E27FC236}">
                  <a16:creationId xmlns:a16="http://schemas.microsoft.com/office/drawing/2014/main" id="{54009637-629C-4985-A5DA-0FB2269FA99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3" name="Freeform 9">
              <a:extLst>
                <a:ext uri="{FF2B5EF4-FFF2-40B4-BE49-F238E27FC236}">
                  <a16:creationId xmlns:a16="http://schemas.microsoft.com/office/drawing/2014/main" id="{7668EA33-06EF-41A8-A017-722924C71A9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4" name="Picture 720" descr="EDCTP and Africa CDC workshop report on disparities in research funding -  EDCTP">
            <a:extLst>
              <a:ext uri="{FF2B5EF4-FFF2-40B4-BE49-F238E27FC236}">
                <a16:creationId xmlns:a16="http://schemas.microsoft.com/office/drawing/2014/main" id="{0F3408E6-FF9A-4C53-A548-45525DC25B79}"/>
              </a:ext>
            </a:extLst>
          </p:cNvPr>
          <p:cNvPicPr>
            <a:picLocks noChangeAspect="1" noChangeArrowheads="1"/>
          </p:cNvPicPr>
          <p:nvPr userDrawn="1"/>
        </p:nvPicPr>
        <p:blipFill rotWithShape="1">
          <a:blip r:embed="rId40"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E1EC4667-3EFB-4FE9-9D38-A066CC100086}"/>
              </a:ext>
            </a:extLst>
          </p:cNvPr>
          <p:cNvPicPr>
            <a:picLocks noChangeAspect="1"/>
          </p:cNvPicPr>
          <p:nvPr userDrawn="1"/>
        </p:nvPicPr>
        <p:blipFill>
          <a:blip r:embed="rId41"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3401121263"/>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54194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13" imgH="416" progId="TCLayout.ActiveDocument.1">
                  <p:embed/>
                </p:oleObj>
              </mc:Choice>
              <mc:Fallback>
                <p:oleObj name="think-cell Slide" r:id="rId4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28"/>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519011"/>
            <a:ext cx="11082528" cy="38472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1364B865-8072-4F03-8422-E440AD78324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8432E73F-8518-432C-9F45-9FE0BB88458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E1A54DB5-2A81-4519-8F23-7A5F2C3E563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2BC954A4-AC4F-4411-B5CD-D601D567BEB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4886C75-764E-410F-BA50-D2ECB0F7D7E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71F7E9E-078E-4C4A-A7ED-BAC4E4AF97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4744E330-0770-4123-B576-6FC96F1374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815020A4-D434-4383-9910-7502CB5FDF6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7FABD61-D65F-42F7-A11B-B325A1BD633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CD64247-937E-47B3-A41C-BC0468190A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69D11EC3-9E74-4EA2-B142-6934993ACD4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25460176-8297-4221-8A72-B884E131AC6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98E4B142-A0A9-466C-958C-BBC9D3A773E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5A0018DF-A5BF-4F8E-B33B-C131AA5B82E6}"/>
                </a:ext>
              </a:extLst>
            </p:cNvPr>
            <p:cNvGrpSpPr>
              <a:grpSpLocks noChangeAspect="1"/>
            </p:cNvGrpSpPr>
            <p:nvPr>
              <p:custDataLst>
                <p:tags r:id="rId3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103E35C-ED69-41D7-AA72-094198147E14}"/>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B11B165D-518D-4187-A3F8-C09EB23F0C06}"/>
                  </a:ext>
                </a:extLst>
              </p:cNvPr>
              <p:cNvSpPr/>
              <p:nvPr>
                <p:custDataLst>
                  <p:tags r:id="rId4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D7F4D128-F65E-46ED-99F0-B25E203C631C}"/>
                </a:ext>
              </a:extLst>
            </p:cNvPr>
            <p:cNvGrpSpPr>
              <a:grpSpLocks noChangeAspect="1"/>
            </p:cNvGrpSpPr>
            <p:nvPr>
              <p:custDataLst>
                <p:tags r:id="rId3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0A166D5-4572-4BEA-B8C5-0C71EFDB044E}"/>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12698842-6C8C-49D8-B72B-233491E7BBCB}"/>
                  </a:ext>
                </a:extLst>
              </p:cNvPr>
              <p:cNvSpPr/>
              <p:nvPr>
                <p:custDataLst>
                  <p:tags r:id="rId4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7F912689-F62E-42A0-84EF-19CA325570A5}"/>
                </a:ext>
              </a:extLst>
            </p:cNvPr>
            <p:cNvGrpSpPr>
              <a:grpSpLocks noChangeAspect="1"/>
            </p:cNvGrpSpPr>
            <p:nvPr>
              <p:custDataLst>
                <p:tags r:id="rId3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D444534-572F-4911-B123-5BA686480FB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A821882-6ED8-4DA8-BE2C-0B45D5CBE4F1}"/>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B491F90A-708A-4C0E-B746-05B435419379}"/>
                </a:ext>
              </a:extLst>
            </p:cNvPr>
            <p:cNvGrpSpPr>
              <a:grpSpLocks noChangeAspect="1"/>
            </p:cNvGrpSpPr>
            <p:nvPr>
              <p:custDataLst>
                <p:tags r:id="rId3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74C6738-75AC-4341-A2B3-5A476BC30C98}"/>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01856841-3462-4838-92D3-8B99CB336B31}"/>
                  </a:ext>
                </a:extLst>
              </p:cNvPr>
              <p:cNvSpPr/>
              <p:nvPr>
                <p:custDataLst>
                  <p:tags r:id="rId4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BE1C2933-999D-4E7A-89CA-0D245217D9CE}"/>
                </a:ext>
              </a:extLst>
            </p:cNvPr>
            <p:cNvGrpSpPr>
              <a:grpSpLocks noChangeAspect="1"/>
            </p:cNvGrpSpPr>
            <p:nvPr>
              <p:custDataLst>
                <p:tags r:id="rId3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78C276F-C183-467B-A856-09EBE44972BB}"/>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9F76163E-F627-4CF9-8653-B1389E4ED3AA}"/>
                  </a:ext>
                </a:extLst>
              </p:cNvPr>
              <p:cNvSpPr/>
              <p:nvPr>
                <p:custDataLst>
                  <p:tags r:id="rId3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E67967F-F474-4864-9482-CB7DF73A819E}"/>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17CC32A-5DCF-48B3-9FD1-2557BA2B1C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13CCE224-F358-4F25-ABBC-AB48605B0C6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90348EE0-93FC-4E2D-8B8C-843646B844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05A3BFF-FF85-4297-BA1F-B4FCCCDCA3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43643E7E-77CF-4388-83F7-2BAE8C3644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E283854C-3C1E-4F96-9CC5-ABA0573BA75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45B0D6C1-DF53-42B8-B48C-EA2C22A8164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2EF2C8D0-7D79-40E6-826F-7CAF3B98E49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494BFBA9-663B-458D-8C75-4C550AC86FB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1543DE47-6844-480B-8A74-9EE25C0F98A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cxnSp>
        <p:nvCxnSpPr>
          <p:cNvPr id="148" name="Straight Connector 147">
            <a:extLst>
              <a:ext uri="{FF2B5EF4-FFF2-40B4-BE49-F238E27FC236}">
                <a16:creationId xmlns:a16="http://schemas.microsoft.com/office/drawing/2014/main" id="{2B774D77-1894-4C50-8543-E4448C6EECCD}"/>
              </a:ext>
            </a:extLst>
          </p:cNvPr>
          <p:cNvCxnSpPr>
            <a:cxnSpLocks/>
          </p:cNvCxnSpPr>
          <p:nvPr userDrawn="1"/>
        </p:nvCxnSpPr>
        <p:spPr bwMode="ltGray">
          <a:xfrm>
            <a:off x="554736" y="12007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8" name="Group 4">
            <a:extLst>
              <a:ext uri="{FF2B5EF4-FFF2-40B4-BE49-F238E27FC236}">
                <a16:creationId xmlns:a16="http://schemas.microsoft.com/office/drawing/2014/main" id="{F60C5AA7-8CEA-4030-8AB2-77BBB3754FF4}"/>
              </a:ext>
            </a:extLst>
          </p:cNvPr>
          <p:cNvGrpSpPr>
            <a:grpSpLocks noChangeAspect="1"/>
          </p:cNvGrpSpPr>
          <p:nvPr userDrawn="1"/>
        </p:nvGrpSpPr>
        <p:grpSpPr bwMode="ltGray">
          <a:xfrm>
            <a:off x="11320824" y="6417372"/>
            <a:ext cx="394856" cy="373880"/>
            <a:chOff x="-240" y="2757"/>
            <a:chExt cx="960" cy="909"/>
          </a:xfrm>
        </p:grpSpPr>
        <p:sp>
          <p:nvSpPr>
            <p:cNvPr id="159" name="Freeform 5">
              <a:extLst>
                <a:ext uri="{FF2B5EF4-FFF2-40B4-BE49-F238E27FC236}">
                  <a16:creationId xmlns:a16="http://schemas.microsoft.com/office/drawing/2014/main" id="{7763B3BE-F262-4B10-B8E4-6F146BCD0C8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0" name="Rectangle 6">
              <a:extLst>
                <a:ext uri="{FF2B5EF4-FFF2-40B4-BE49-F238E27FC236}">
                  <a16:creationId xmlns:a16="http://schemas.microsoft.com/office/drawing/2014/main" id="{495262E6-582A-40EA-BAD8-D69027FE9A1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1" name="Freeform 7">
              <a:extLst>
                <a:ext uri="{FF2B5EF4-FFF2-40B4-BE49-F238E27FC236}">
                  <a16:creationId xmlns:a16="http://schemas.microsoft.com/office/drawing/2014/main" id="{F84C5E75-5A8B-4B24-8EFC-A18A5671FC8B}"/>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2" name="Freeform 8">
              <a:extLst>
                <a:ext uri="{FF2B5EF4-FFF2-40B4-BE49-F238E27FC236}">
                  <a16:creationId xmlns:a16="http://schemas.microsoft.com/office/drawing/2014/main" id="{54009637-629C-4985-A5DA-0FB2269FA99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3" name="Freeform 9">
              <a:extLst>
                <a:ext uri="{FF2B5EF4-FFF2-40B4-BE49-F238E27FC236}">
                  <a16:creationId xmlns:a16="http://schemas.microsoft.com/office/drawing/2014/main" id="{7668EA33-06EF-41A8-A017-722924C71A9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4" name="Picture 720" descr="EDCTP and Africa CDC workshop report on disparities in research funding -  EDCTP">
            <a:extLst>
              <a:ext uri="{FF2B5EF4-FFF2-40B4-BE49-F238E27FC236}">
                <a16:creationId xmlns:a16="http://schemas.microsoft.com/office/drawing/2014/main" id="{0F3408E6-FF9A-4C53-A548-45525DC25B79}"/>
              </a:ext>
            </a:extLst>
          </p:cNvPr>
          <p:cNvPicPr>
            <a:picLocks noChangeAspect="1" noChangeArrowheads="1"/>
          </p:cNvPicPr>
          <p:nvPr userDrawn="1"/>
        </p:nvPicPr>
        <p:blipFill rotWithShape="1">
          <a:blip r:embed="rId49" cstate="email">
            <a:extLst>
              <a:ext uri="{28A0092B-C50C-407E-A947-70E740481C1C}">
                <a14:useLocalDpi xmlns:a14="http://schemas.microsoft.com/office/drawing/2010/main"/>
              </a:ext>
            </a:extLst>
          </a:blip>
          <a:srcRect/>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E1EC4667-3EFB-4FE9-9D38-A066CC100086}"/>
              </a:ext>
            </a:extLst>
          </p:cNvPr>
          <p:cNvPicPr>
            <a:picLocks noChangeAspect="1"/>
          </p:cNvPicPr>
          <p:nvPr userDrawn="1"/>
        </p:nvPicPr>
        <p:blipFill>
          <a:blip r:embed="rId50" cstate="email">
            <a:extLst>
              <a:ext uri="{28A0092B-C50C-407E-A947-70E740481C1C}">
                <a14:useLocalDpi xmlns:a14="http://schemas.microsoft.com/office/drawing/2010/main"/>
              </a:ext>
            </a:extLst>
          </a:blip>
          <a:stretch>
            <a:fillRect/>
          </a:stretch>
        </p:blipFill>
        <p:spPr bwMode="ltGray">
          <a:xfrm>
            <a:off x="554736" y="6452601"/>
            <a:ext cx="830881" cy="293716"/>
          </a:xfrm>
          <a:prstGeom prst="rect">
            <a:avLst/>
          </a:prstGeom>
        </p:spPr>
      </p:pic>
      <p:sp>
        <p:nvSpPr>
          <p:cNvPr id="167" name="Documenttype">
            <a:extLst>
              <a:ext uri="{FF2B5EF4-FFF2-40B4-BE49-F238E27FC236}">
                <a16:creationId xmlns:a16="http://schemas.microsoft.com/office/drawing/2014/main" id="{056C81C2-7BA0-4F4B-95FB-6D965AB7602E}"/>
              </a:ext>
            </a:extLst>
          </p:cNvPr>
          <p:cNvSpPr txBox="1">
            <a:spLocks/>
          </p:cNvSpPr>
          <p:nvPr userDrawn="1">
            <p:custDataLst>
              <p:tags r:id="rId31"/>
            </p:custDataLst>
          </p:nvPr>
        </p:nvSpPr>
        <p:spPr>
          <a:xfrm>
            <a:off x="2636393" y="6621278"/>
            <a:ext cx="7612107" cy="1223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08274" rtl="0" eaLnBrk="1" fontAlgn="auto" latinLnBrk="0" hangingPunct="1">
              <a:lnSpc>
                <a:spcPct val="100000"/>
              </a:lnSpc>
              <a:spcBef>
                <a:spcPts val="298"/>
              </a:spcBef>
              <a:spcAft>
                <a:spcPts val="298"/>
              </a:spcAft>
              <a:buClrTx/>
              <a:buSzTx/>
              <a:buFont typeface="Segoe UI" panose="020B0502040204020203" pitchFamily="34" charset="0"/>
              <a:buNone/>
              <a:tabLst/>
              <a:defRPr/>
            </a:pPr>
            <a:r>
              <a:rPr kumimoji="0" lang="en-GB" sz="795" b="1" i="0" u="none" strike="noStrike" kern="1200" cap="none" spc="0" normalizeH="0" baseline="0" noProof="0" dirty="0">
                <a:ln>
                  <a:noFill/>
                </a:ln>
                <a:solidFill>
                  <a:srgbClr val="FF0000"/>
                </a:solidFill>
                <a:effectLst/>
                <a:uLnTx/>
                <a:uFillTx/>
                <a:latin typeface="Arial"/>
                <a:ea typeface="+mn-ea"/>
                <a:cs typeface="Arial" panose="020B0604020202020204" pitchFamily="34" charset="0"/>
              </a:rPr>
              <a:t>DOCUMENT INTENDED TO PROVIDE INSIGHT BASED ON CURRENTLY AVAILABLE INFORMATION FOR CONSIDERATION AND NOT SPECIFIC ADVICE</a:t>
            </a:r>
          </a:p>
        </p:txBody>
      </p:sp>
    </p:spTree>
    <p:extLst>
      <p:ext uri="{BB962C8B-B14F-4D97-AF65-F5344CB8AC3E}">
        <p14:creationId xmlns:p14="http://schemas.microsoft.com/office/powerpoint/2010/main" val="460538835"/>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49.xml"/><Relationship Id="rId4" Type="http://schemas.openxmlformats.org/officeDocument/2006/relationships/image" Target="../media/image30.png"/></Relationships>
</file>

<file path=ppt/slides/_rels/slide10.xml.rels><?xml version="1.0" encoding="UTF-8" standalone="yes"?>
<Relationships xmlns="http://schemas.openxmlformats.org/package/2006/relationships"><Relationship Id="rId8" Type="http://schemas.openxmlformats.org/officeDocument/2006/relationships/tags" Target="../tags/tag1752.xml"/><Relationship Id="rId13" Type="http://schemas.openxmlformats.org/officeDocument/2006/relationships/image" Target="../media/image20.emf"/><Relationship Id="rId18" Type="http://schemas.openxmlformats.org/officeDocument/2006/relationships/image" Target="../media/image101.png"/><Relationship Id="rId26" Type="http://schemas.openxmlformats.org/officeDocument/2006/relationships/image" Target="../media/image109.png"/><Relationship Id="rId3" Type="http://schemas.openxmlformats.org/officeDocument/2006/relationships/tags" Target="../tags/tag1747.xml"/><Relationship Id="rId21" Type="http://schemas.openxmlformats.org/officeDocument/2006/relationships/image" Target="../media/image104.svg"/><Relationship Id="rId7" Type="http://schemas.openxmlformats.org/officeDocument/2006/relationships/tags" Target="../tags/tag1751.xml"/><Relationship Id="rId12" Type="http://schemas.openxmlformats.org/officeDocument/2006/relationships/oleObject" Target="../embeddings/oleObject222.bin"/><Relationship Id="rId17" Type="http://schemas.openxmlformats.org/officeDocument/2006/relationships/image" Target="../media/image100.svg"/><Relationship Id="rId25" Type="http://schemas.openxmlformats.org/officeDocument/2006/relationships/image" Target="../media/image108.svg"/><Relationship Id="rId2" Type="http://schemas.openxmlformats.org/officeDocument/2006/relationships/tags" Target="../tags/tag1746.xml"/><Relationship Id="rId16" Type="http://schemas.openxmlformats.org/officeDocument/2006/relationships/image" Target="../media/image99.png"/><Relationship Id="rId20" Type="http://schemas.openxmlformats.org/officeDocument/2006/relationships/image" Target="../media/image103.png"/><Relationship Id="rId1" Type="http://schemas.openxmlformats.org/officeDocument/2006/relationships/tags" Target="../tags/tag1745.xml"/><Relationship Id="rId6" Type="http://schemas.openxmlformats.org/officeDocument/2006/relationships/tags" Target="../tags/tag1750.xml"/><Relationship Id="rId11" Type="http://schemas.openxmlformats.org/officeDocument/2006/relationships/slideLayout" Target="../slideLayouts/slideLayout33.xml"/><Relationship Id="rId24" Type="http://schemas.openxmlformats.org/officeDocument/2006/relationships/image" Target="../media/image107.png"/><Relationship Id="rId5" Type="http://schemas.openxmlformats.org/officeDocument/2006/relationships/tags" Target="../tags/tag1749.xml"/><Relationship Id="rId15" Type="http://schemas.openxmlformats.org/officeDocument/2006/relationships/image" Target="../media/image98.svg"/><Relationship Id="rId23" Type="http://schemas.openxmlformats.org/officeDocument/2006/relationships/image" Target="../media/image106.svg"/><Relationship Id="rId10" Type="http://schemas.openxmlformats.org/officeDocument/2006/relationships/tags" Target="../tags/tag1754.xml"/><Relationship Id="rId19" Type="http://schemas.openxmlformats.org/officeDocument/2006/relationships/image" Target="../media/image102.svg"/><Relationship Id="rId4" Type="http://schemas.openxmlformats.org/officeDocument/2006/relationships/tags" Target="../tags/tag1748.xml"/><Relationship Id="rId9" Type="http://schemas.openxmlformats.org/officeDocument/2006/relationships/tags" Target="../tags/tag1753.xml"/><Relationship Id="rId14" Type="http://schemas.openxmlformats.org/officeDocument/2006/relationships/image" Target="../media/image97.png"/><Relationship Id="rId22" Type="http://schemas.openxmlformats.org/officeDocument/2006/relationships/image" Target="../media/image105.png"/><Relationship Id="rId27" Type="http://schemas.openxmlformats.org/officeDocument/2006/relationships/image" Target="../media/image110.svg"/></Relationships>
</file>

<file path=ppt/slides/_rels/slide11.xml.rels><?xml version="1.0" encoding="UTF-8" standalone="yes"?>
<Relationships xmlns="http://schemas.openxmlformats.org/package/2006/relationships"><Relationship Id="rId13" Type="http://schemas.openxmlformats.org/officeDocument/2006/relationships/tags" Target="../tags/tag1767.xml"/><Relationship Id="rId18" Type="http://schemas.openxmlformats.org/officeDocument/2006/relationships/tags" Target="../tags/tag1772.xml"/><Relationship Id="rId26" Type="http://schemas.openxmlformats.org/officeDocument/2006/relationships/tags" Target="../tags/tag1780.xml"/><Relationship Id="rId21" Type="http://schemas.openxmlformats.org/officeDocument/2006/relationships/tags" Target="../tags/tag1775.xml"/><Relationship Id="rId34" Type="http://schemas.openxmlformats.org/officeDocument/2006/relationships/slideLayout" Target="../slideLayouts/slideLayout33.xml"/><Relationship Id="rId7" Type="http://schemas.openxmlformats.org/officeDocument/2006/relationships/tags" Target="../tags/tag1761.xml"/><Relationship Id="rId12" Type="http://schemas.openxmlformats.org/officeDocument/2006/relationships/tags" Target="../tags/tag1766.xml"/><Relationship Id="rId17" Type="http://schemas.openxmlformats.org/officeDocument/2006/relationships/tags" Target="../tags/tag1771.xml"/><Relationship Id="rId25" Type="http://schemas.openxmlformats.org/officeDocument/2006/relationships/tags" Target="../tags/tag1779.xml"/><Relationship Id="rId33" Type="http://schemas.openxmlformats.org/officeDocument/2006/relationships/tags" Target="../tags/tag1787.xml"/><Relationship Id="rId2" Type="http://schemas.openxmlformats.org/officeDocument/2006/relationships/tags" Target="../tags/tag1756.xml"/><Relationship Id="rId16" Type="http://schemas.openxmlformats.org/officeDocument/2006/relationships/tags" Target="../tags/tag1770.xml"/><Relationship Id="rId20" Type="http://schemas.openxmlformats.org/officeDocument/2006/relationships/tags" Target="../tags/tag1774.xml"/><Relationship Id="rId29" Type="http://schemas.openxmlformats.org/officeDocument/2006/relationships/tags" Target="../tags/tag1783.xml"/><Relationship Id="rId1" Type="http://schemas.openxmlformats.org/officeDocument/2006/relationships/tags" Target="../tags/tag1755.xml"/><Relationship Id="rId6" Type="http://schemas.openxmlformats.org/officeDocument/2006/relationships/tags" Target="../tags/tag1760.xml"/><Relationship Id="rId11" Type="http://schemas.openxmlformats.org/officeDocument/2006/relationships/tags" Target="../tags/tag1765.xml"/><Relationship Id="rId24" Type="http://schemas.openxmlformats.org/officeDocument/2006/relationships/tags" Target="../tags/tag1778.xml"/><Relationship Id="rId32" Type="http://schemas.openxmlformats.org/officeDocument/2006/relationships/tags" Target="../tags/tag1786.xml"/><Relationship Id="rId37" Type="http://schemas.openxmlformats.org/officeDocument/2006/relationships/image" Target="../media/image20.emf"/><Relationship Id="rId5" Type="http://schemas.openxmlformats.org/officeDocument/2006/relationships/tags" Target="../tags/tag1759.xml"/><Relationship Id="rId15" Type="http://schemas.openxmlformats.org/officeDocument/2006/relationships/tags" Target="../tags/tag1769.xml"/><Relationship Id="rId23" Type="http://schemas.openxmlformats.org/officeDocument/2006/relationships/tags" Target="../tags/tag1777.xml"/><Relationship Id="rId28" Type="http://schemas.openxmlformats.org/officeDocument/2006/relationships/tags" Target="../tags/tag1782.xml"/><Relationship Id="rId36" Type="http://schemas.openxmlformats.org/officeDocument/2006/relationships/oleObject" Target="../embeddings/oleObject223.bin"/><Relationship Id="rId10" Type="http://schemas.openxmlformats.org/officeDocument/2006/relationships/tags" Target="../tags/tag1764.xml"/><Relationship Id="rId19" Type="http://schemas.openxmlformats.org/officeDocument/2006/relationships/tags" Target="../tags/tag1773.xml"/><Relationship Id="rId31" Type="http://schemas.openxmlformats.org/officeDocument/2006/relationships/tags" Target="../tags/tag1785.xml"/><Relationship Id="rId4" Type="http://schemas.openxmlformats.org/officeDocument/2006/relationships/tags" Target="../tags/tag1758.xml"/><Relationship Id="rId9" Type="http://schemas.openxmlformats.org/officeDocument/2006/relationships/tags" Target="../tags/tag1763.xml"/><Relationship Id="rId14" Type="http://schemas.openxmlformats.org/officeDocument/2006/relationships/tags" Target="../tags/tag1768.xml"/><Relationship Id="rId22" Type="http://schemas.openxmlformats.org/officeDocument/2006/relationships/tags" Target="../tags/tag1776.xml"/><Relationship Id="rId27" Type="http://schemas.openxmlformats.org/officeDocument/2006/relationships/tags" Target="../tags/tag1781.xml"/><Relationship Id="rId30" Type="http://schemas.openxmlformats.org/officeDocument/2006/relationships/tags" Target="../tags/tag1784.xml"/><Relationship Id="rId35" Type="http://schemas.openxmlformats.org/officeDocument/2006/relationships/notesSlide" Target="../notesSlides/notesSlide4.xml"/><Relationship Id="rId8" Type="http://schemas.openxmlformats.org/officeDocument/2006/relationships/tags" Target="../tags/tag1762.xml"/><Relationship Id="rId3" Type="http://schemas.openxmlformats.org/officeDocument/2006/relationships/tags" Target="../tags/tag1757.xml"/></Relationships>
</file>

<file path=ppt/slides/_rels/slide12.xml.rels><?xml version="1.0" encoding="UTF-8" standalone="yes"?>
<Relationships xmlns="http://schemas.openxmlformats.org/package/2006/relationships"><Relationship Id="rId8" Type="http://schemas.openxmlformats.org/officeDocument/2006/relationships/tags" Target="../tags/tag1795.xml"/><Relationship Id="rId13" Type="http://schemas.openxmlformats.org/officeDocument/2006/relationships/oleObject" Target="../embeddings/oleObject224.bin"/><Relationship Id="rId18" Type="http://schemas.openxmlformats.org/officeDocument/2006/relationships/image" Target="../media/image114.svg"/><Relationship Id="rId26" Type="http://schemas.openxmlformats.org/officeDocument/2006/relationships/image" Target="../media/image122.svg"/><Relationship Id="rId3" Type="http://schemas.openxmlformats.org/officeDocument/2006/relationships/tags" Target="../tags/tag1790.xml"/><Relationship Id="rId21" Type="http://schemas.openxmlformats.org/officeDocument/2006/relationships/image" Target="../media/image117.png"/><Relationship Id="rId7" Type="http://schemas.openxmlformats.org/officeDocument/2006/relationships/tags" Target="../tags/tag1794.xml"/><Relationship Id="rId12" Type="http://schemas.openxmlformats.org/officeDocument/2006/relationships/slideLayout" Target="../slideLayouts/slideLayout33.xml"/><Relationship Id="rId17" Type="http://schemas.openxmlformats.org/officeDocument/2006/relationships/image" Target="../media/image113.png"/><Relationship Id="rId25" Type="http://schemas.openxmlformats.org/officeDocument/2006/relationships/image" Target="../media/image121.png"/><Relationship Id="rId2" Type="http://schemas.openxmlformats.org/officeDocument/2006/relationships/tags" Target="../tags/tag1789.xml"/><Relationship Id="rId16" Type="http://schemas.openxmlformats.org/officeDocument/2006/relationships/image" Target="../media/image112.svg"/><Relationship Id="rId20" Type="http://schemas.openxmlformats.org/officeDocument/2006/relationships/image" Target="../media/image116.svg"/><Relationship Id="rId1" Type="http://schemas.openxmlformats.org/officeDocument/2006/relationships/tags" Target="../tags/tag1788.xml"/><Relationship Id="rId6" Type="http://schemas.openxmlformats.org/officeDocument/2006/relationships/tags" Target="../tags/tag1793.xml"/><Relationship Id="rId11" Type="http://schemas.openxmlformats.org/officeDocument/2006/relationships/tags" Target="../tags/tag1798.xml"/><Relationship Id="rId24" Type="http://schemas.openxmlformats.org/officeDocument/2006/relationships/image" Target="../media/image120.svg"/><Relationship Id="rId5" Type="http://schemas.openxmlformats.org/officeDocument/2006/relationships/tags" Target="../tags/tag1792.xml"/><Relationship Id="rId15" Type="http://schemas.openxmlformats.org/officeDocument/2006/relationships/image" Target="../media/image111.png"/><Relationship Id="rId23" Type="http://schemas.openxmlformats.org/officeDocument/2006/relationships/image" Target="../media/image119.png"/><Relationship Id="rId28" Type="http://schemas.openxmlformats.org/officeDocument/2006/relationships/image" Target="../media/image124.svg"/><Relationship Id="rId10" Type="http://schemas.openxmlformats.org/officeDocument/2006/relationships/tags" Target="../tags/tag1797.xml"/><Relationship Id="rId19" Type="http://schemas.openxmlformats.org/officeDocument/2006/relationships/image" Target="../media/image115.png"/><Relationship Id="rId4" Type="http://schemas.openxmlformats.org/officeDocument/2006/relationships/tags" Target="../tags/tag1791.xml"/><Relationship Id="rId9" Type="http://schemas.openxmlformats.org/officeDocument/2006/relationships/tags" Target="../tags/tag1796.xml"/><Relationship Id="rId14" Type="http://schemas.openxmlformats.org/officeDocument/2006/relationships/image" Target="../media/image20.emf"/><Relationship Id="rId22" Type="http://schemas.openxmlformats.org/officeDocument/2006/relationships/image" Target="../media/image118.svg"/><Relationship Id="rId27" Type="http://schemas.openxmlformats.org/officeDocument/2006/relationships/image" Target="../media/image123.png"/></Relationships>
</file>

<file path=ppt/slides/_rels/slide13.xml.rels><?xml version="1.0" encoding="UTF-8" standalone="yes"?>
<Relationships xmlns="http://schemas.openxmlformats.org/package/2006/relationships"><Relationship Id="rId3" Type="http://schemas.openxmlformats.org/officeDocument/2006/relationships/tags" Target="../tags/tag1801.xml"/><Relationship Id="rId2" Type="http://schemas.openxmlformats.org/officeDocument/2006/relationships/tags" Target="../tags/tag1800.xml"/><Relationship Id="rId1" Type="http://schemas.openxmlformats.org/officeDocument/2006/relationships/tags" Target="../tags/tag1799.xml"/><Relationship Id="rId6" Type="http://schemas.openxmlformats.org/officeDocument/2006/relationships/image" Target="../media/image20.emf"/><Relationship Id="rId5" Type="http://schemas.openxmlformats.org/officeDocument/2006/relationships/oleObject" Target="../embeddings/oleObject225.bin"/><Relationship Id="rId4"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117" Type="http://schemas.openxmlformats.org/officeDocument/2006/relationships/image" Target="../media/image180.png"/><Relationship Id="rId21" Type="http://schemas.openxmlformats.org/officeDocument/2006/relationships/tags" Target="../tags/tag1822.xml"/><Relationship Id="rId42" Type="http://schemas.openxmlformats.org/officeDocument/2006/relationships/tags" Target="../tags/tag1843.xml"/><Relationship Id="rId63" Type="http://schemas.openxmlformats.org/officeDocument/2006/relationships/image" Target="../media/image126.svg"/><Relationship Id="rId84" Type="http://schemas.openxmlformats.org/officeDocument/2006/relationships/image" Target="../media/image147.png"/><Relationship Id="rId16" Type="http://schemas.openxmlformats.org/officeDocument/2006/relationships/tags" Target="../tags/tag1817.xml"/><Relationship Id="rId107" Type="http://schemas.openxmlformats.org/officeDocument/2006/relationships/image" Target="../media/image170.png"/><Relationship Id="rId11" Type="http://schemas.openxmlformats.org/officeDocument/2006/relationships/tags" Target="../tags/tag1812.xml"/><Relationship Id="rId32" Type="http://schemas.openxmlformats.org/officeDocument/2006/relationships/tags" Target="../tags/tag1833.xml"/><Relationship Id="rId37" Type="http://schemas.openxmlformats.org/officeDocument/2006/relationships/tags" Target="../tags/tag1838.xml"/><Relationship Id="rId53" Type="http://schemas.openxmlformats.org/officeDocument/2006/relationships/tags" Target="../tags/tag1854.xml"/><Relationship Id="rId58" Type="http://schemas.openxmlformats.org/officeDocument/2006/relationships/tags" Target="../tags/tag1859.xml"/><Relationship Id="rId74" Type="http://schemas.openxmlformats.org/officeDocument/2006/relationships/image" Target="../media/image137.png"/><Relationship Id="rId79" Type="http://schemas.openxmlformats.org/officeDocument/2006/relationships/image" Target="../media/image142.png"/><Relationship Id="rId102" Type="http://schemas.openxmlformats.org/officeDocument/2006/relationships/image" Target="../media/image165.png"/><Relationship Id="rId123" Type="http://schemas.openxmlformats.org/officeDocument/2006/relationships/image" Target="../media/image186.png"/><Relationship Id="rId128" Type="http://schemas.openxmlformats.org/officeDocument/2006/relationships/image" Target="../media/image191.png"/><Relationship Id="rId5" Type="http://schemas.openxmlformats.org/officeDocument/2006/relationships/tags" Target="../tags/tag1806.xml"/><Relationship Id="rId90" Type="http://schemas.openxmlformats.org/officeDocument/2006/relationships/image" Target="../media/image153.png"/><Relationship Id="rId95" Type="http://schemas.openxmlformats.org/officeDocument/2006/relationships/image" Target="../media/image158.png"/><Relationship Id="rId22" Type="http://schemas.openxmlformats.org/officeDocument/2006/relationships/tags" Target="../tags/tag1823.xml"/><Relationship Id="rId27" Type="http://schemas.openxmlformats.org/officeDocument/2006/relationships/tags" Target="../tags/tag1828.xml"/><Relationship Id="rId43" Type="http://schemas.openxmlformats.org/officeDocument/2006/relationships/tags" Target="../tags/tag1844.xml"/><Relationship Id="rId48" Type="http://schemas.openxmlformats.org/officeDocument/2006/relationships/tags" Target="../tags/tag1849.xml"/><Relationship Id="rId64" Type="http://schemas.openxmlformats.org/officeDocument/2006/relationships/image" Target="../media/image127.png"/><Relationship Id="rId69" Type="http://schemas.openxmlformats.org/officeDocument/2006/relationships/image" Target="../media/image132.svg"/><Relationship Id="rId113" Type="http://schemas.openxmlformats.org/officeDocument/2006/relationships/image" Target="../media/image176.png"/><Relationship Id="rId118" Type="http://schemas.openxmlformats.org/officeDocument/2006/relationships/image" Target="../media/image181.png"/><Relationship Id="rId134" Type="http://schemas.openxmlformats.org/officeDocument/2006/relationships/image" Target="../media/image197.png"/><Relationship Id="rId80" Type="http://schemas.openxmlformats.org/officeDocument/2006/relationships/image" Target="../media/image143.png"/><Relationship Id="rId85" Type="http://schemas.openxmlformats.org/officeDocument/2006/relationships/image" Target="../media/image148.svg"/><Relationship Id="rId12" Type="http://schemas.openxmlformats.org/officeDocument/2006/relationships/tags" Target="../tags/tag1813.xml"/><Relationship Id="rId17" Type="http://schemas.openxmlformats.org/officeDocument/2006/relationships/tags" Target="../tags/tag1818.xml"/><Relationship Id="rId33" Type="http://schemas.openxmlformats.org/officeDocument/2006/relationships/tags" Target="../tags/tag1834.xml"/><Relationship Id="rId38" Type="http://schemas.openxmlformats.org/officeDocument/2006/relationships/tags" Target="../tags/tag1839.xml"/><Relationship Id="rId59" Type="http://schemas.openxmlformats.org/officeDocument/2006/relationships/slideLayout" Target="../slideLayouts/slideLayout33.xml"/><Relationship Id="rId103" Type="http://schemas.openxmlformats.org/officeDocument/2006/relationships/image" Target="../media/image166.png"/><Relationship Id="rId108" Type="http://schemas.openxmlformats.org/officeDocument/2006/relationships/image" Target="../media/image171.png"/><Relationship Id="rId124" Type="http://schemas.openxmlformats.org/officeDocument/2006/relationships/image" Target="../media/image187.png"/><Relationship Id="rId129" Type="http://schemas.openxmlformats.org/officeDocument/2006/relationships/image" Target="../media/image192.png"/><Relationship Id="rId54" Type="http://schemas.openxmlformats.org/officeDocument/2006/relationships/tags" Target="../tags/tag1855.xml"/><Relationship Id="rId70" Type="http://schemas.openxmlformats.org/officeDocument/2006/relationships/image" Target="../media/image133.png"/><Relationship Id="rId75" Type="http://schemas.openxmlformats.org/officeDocument/2006/relationships/image" Target="../media/image138.svg"/><Relationship Id="rId91" Type="http://schemas.openxmlformats.org/officeDocument/2006/relationships/image" Target="../media/image154.png"/><Relationship Id="rId96" Type="http://schemas.openxmlformats.org/officeDocument/2006/relationships/image" Target="../media/image159.png"/><Relationship Id="rId1" Type="http://schemas.openxmlformats.org/officeDocument/2006/relationships/tags" Target="../tags/tag1802.xml"/><Relationship Id="rId6" Type="http://schemas.openxmlformats.org/officeDocument/2006/relationships/tags" Target="../tags/tag1807.xml"/><Relationship Id="rId23" Type="http://schemas.openxmlformats.org/officeDocument/2006/relationships/tags" Target="../tags/tag1824.xml"/><Relationship Id="rId28" Type="http://schemas.openxmlformats.org/officeDocument/2006/relationships/tags" Target="../tags/tag1829.xml"/><Relationship Id="rId49" Type="http://schemas.openxmlformats.org/officeDocument/2006/relationships/tags" Target="../tags/tag1850.xml"/><Relationship Id="rId114" Type="http://schemas.openxmlformats.org/officeDocument/2006/relationships/image" Target="../media/image177.png"/><Relationship Id="rId119" Type="http://schemas.openxmlformats.org/officeDocument/2006/relationships/image" Target="../media/image182.png"/><Relationship Id="rId44" Type="http://schemas.openxmlformats.org/officeDocument/2006/relationships/tags" Target="../tags/tag1845.xml"/><Relationship Id="rId60" Type="http://schemas.openxmlformats.org/officeDocument/2006/relationships/notesSlide" Target="../notesSlides/notesSlide5.xml"/><Relationship Id="rId65" Type="http://schemas.openxmlformats.org/officeDocument/2006/relationships/image" Target="../media/image128.svg"/><Relationship Id="rId81" Type="http://schemas.openxmlformats.org/officeDocument/2006/relationships/image" Target="../media/image144.png"/><Relationship Id="rId86" Type="http://schemas.openxmlformats.org/officeDocument/2006/relationships/image" Target="../media/image149.png"/><Relationship Id="rId130" Type="http://schemas.openxmlformats.org/officeDocument/2006/relationships/image" Target="../media/image193.png"/><Relationship Id="rId13" Type="http://schemas.openxmlformats.org/officeDocument/2006/relationships/tags" Target="../tags/tag1814.xml"/><Relationship Id="rId18" Type="http://schemas.openxmlformats.org/officeDocument/2006/relationships/tags" Target="../tags/tag1819.xml"/><Relationship Id="rId39" Type="http://schemas.openxmlformats.org/officeDocument/2006/relationships/tags" Target="../tags/tag1840.xml"/><Relationship Id="rId109" Type="http://schemas.openxmlformats.org/officeDocument/2006/relationships/image" Target="../media/image172.png"/><Relationship Id="rId34" Type="http://schemas.openxmlformats.org/officeDocument/2006/relationships/tags" Target="../tags/tag1835.xml"/><Relationship Id="rId50" Type="http://schemas.openxmlformats.org/officeDocument/2006/relationships/tags" Target="../tags/tag1851.xml"/><Relationship Id="rId55" Type="http://schemas.openxmlformats.org/officeDocument/2006/relationships/tags" Target="../tags/tag1856.xml"/><Relationship Id="rId76" Type="http://schemas.openxmlformats.org/officeDocument/2006/relationships/image" Target="../media/image139.png"/><Relationship Id="rId97" Type="http://schemas.openxmlformats.org/officeDocument/2006/relationships/image" Target="../media/image160.png"/><Relationship Id="rId104" Type="http://schemas.openxmlformats.org/officeDocument/2006/relationships/image" Target="../media/image167.png"/><Relationship Id="rId120" Type="http://schemas.openxmlformats.org/officeDocument/2006/relationships/image" Target="../media/image183.png"/><Relationship Id="rId125" Type="http://schemas.openxmlformats.org/officeDocument/2006/relationships/image" Target="../media/image188.png"/><Relationship Id="rId7" Type="http://schemas.openxmlformats.org/officeDocument/2006/relationships/tags" Target="../tags/tag1808.xml"/><Relationship Id="rId71" Type="http://schemas.openxmlformats.org/officeDocument/2006/relationships/image" Target="../media/image134.svg"/><Relationship Id="rId92" Type="http://schemas.openxmlformats.org/officeDocument/2006/relationships/image" Target="../media/image155.png"/><Relationship Id="rId2" Type="http://schemas.openxmlformats.org/officeDocument/2006/relationships/tags" Target="../tags/tag1803.xml"/><Relationship Id="rId29" Type="http://schemas.openxmlformats.org/officeDocument/2006/relationships/tags" Target="../tags/tag1830.xml"/><Relationship Id="rId24" Type="http://schemas.openxmlformats.org/officeDocument/2006/relationships/tags" Target="../tags/tag1825.xml"/><Relationship Id="rId40" Type="http://schemas.openxmlformats.org/officeDocument/2006/relationships/tags" Target="../tags/tag1841.xml"/><Relationship Id="rId45" Type="http://schemas.openxmlformats.org/officeDocument/2006/relationships/tags" Target="../tags/tag1846.xml"/><Relationship Id="rId66" Type="http://schemas.openxmlformats.org/officeDocument/2006/relationships/image" Target="../media/image129.png"/><Relationship Id="rId87" Type="http://schemas.openxmlformats.org/officeDocument/2006/relationships/image" Target="../media/image150.svg"/><Relationship Id="rId110" Type="http://schemas.openxmlformats.org/officeDocument/2006/relationships/image" Target="../media/image173.png"/><Relationship Id="rId115" Type="http://schemas.openxmlformats.org/officeDocument/2006/relationships/image" Target="../media/image178.png"/><Relationship Id="rId131" Type="http://schemas.openxmlformats.org/officeDocument/2006/relationships/image" Target="../media/image194.png"/><Relationship Id="rId61" Type="http://schemas.openxmlformats.org/officeDocument/2006/relationships/oleObject" Target="../embeddings/oleObject226.bin"/><Relationship Id="rId82" Type="http://schemas.openxmlformats.org/officeDocument/2006/relationships/image" Target="../media/image145.png"/><Relationship Id="rId19" Type="http://schemas.openxmlformats.org/officeDocument/2006/relationships/tags" Target="../tags/tag1820.xml"/><Relationship Id="rId14" Type="http://schemas.openxmlformats.org/officeDocument/2006/relationships/tags" Target="../tags/tag1815.xml"/><Relationship Id="rId30" Type="http://schemas.openxmlformats.org/officeDocument/2006/relationships/tags" Target="../tags/tag1831.xml"/><Relationship Id="rId35" Type="http://schemas.openxmlformats.org/officeDocument/2006/relationships/tags" Target="../tags/tag1836.xml"/><Relationship Id="rId56" Type="http://schemas.openxmlformats.org/officeDocument/2006/relationships/tags" Target="../tags/tag1857.xml"/><Relationship Id="rId77" Type="http://schemas.openxmlformats.org/officeDocument/2006/relationships/image" Target="../media/image140.png"/><Relationship Id="rId100" Type="http://schemas.openxmlformats.org/officeDocument/2006/relationships/image" Target="../media/image163.png"/><Relationship Id="rId105" Type="http://schemas.openxmlformats.org/officeDocument/2006/relationships/image" Target="../media/image168.png"/><Relationship Id="rId126" Type="http://schemas.openxmlformats.org/officeDocument/2006/relationships/image" Target="../media/image189.png"/><Relationship Id="rId8" Type="http://schemas.openxmlformats.org/officeDocument/2006/relationships/tags" Target="../tags/tag1809.xml"/><Relationship Id="rId51" Type="http://schemas.openxmlformats.org/officeDocument/2006/relationships/tags" Target="../tags/tag1852.xml"/><Relationship Id="rId72" Type="http://schemas.openxmlformats.org/officeDocument/2006/relationships/image" Target="../media/image135.png"/><Relationship Id="rId93" Type="http://schemas.openxmlformats.org/officeDocument/2006/relationships/image" Target="../media/image156.png"/><Relationship Id="rId98" Type="http://schemas.openxmlformats.org/officeDocument/2006/relationships/image" Target="../media/image161.png"/><Relationship Id="rId121" Type="http://schemas.openxmlformats.org/officeDocument/2006/relationships/image" Target="../media/image184.png"/><Relationship Id="rId3" Type="http://schemas.openxmlformats.org/officeDocument/2006/relationships/tags" Target="../tags/tag1804.xml"/><Relationship Id="rId25" Type="http://schemas.openxmlformats.org/officeDocument/2006/relationships/tags" Target="../tags/tag1826.xml"/><Relationship Id="rId46" Type="http://schemas.openxmlformats.org/officeDocument/2006/relationships/tags" Target="../tags/tag1847.xml"/><Relationship Id="rId67" Type="http://schemas.openxmlformats.org/officeDocument/2006/relationships/image" Target="../media/image130.svg"/><Relationship Id="rId116" Type="http://schemas.openxmlformats.org/officeDocument/2006/relationships/image" Target="../media/image179.png"/><Relationship Id="rId20" Type="http://schemas.openxmlformats.org/officeDocument/2006/relationships/tags" Target="../tags/tag1821.xml"/><Relationship Id="rId41" Type="http://schemas.openxmlformats.org/officeDocument/2006/relationships/tags" Target="../tags/tag1842.xml"/><Relationship Id="rId62" Type="http://schemas.openxmlformats.org/officeDocument/2006/relationships/image" Target="../media/image125.png"/><Relationship Id="rId83" Type="http://schemas.openxmlformats.org/officeDocument/2006/relationships/image" Target="../media/image146.png"/><Relationship Id="rId88" Type="http://schemas.openxmlformats.org/officeDocument/2006/relationships/image" Target="../media/image151.png"/><Relationship Id="rId111" Type="http://schemas.openxmlformats.org/officeDocument/2006/relationships/image" Target="../media/image174.png"/><Relationship Id="rId132" Type="http://schemas.openxmlformats.org/officeDocument/2006/relationships/image" Target="../media/image195.png"/><Relationship Id="rId15" Type="http://schemas.openxmlformats.org/officeDocument/2006/relationships/tags" Target="../tags/tag1816.xml"/><Relationship Id="rId36" Type="http://schemas.openxmlformats.org/officeDocument/2006/relationships/tags" Target="../tags/tag1837.xml"/><Relationship Id="rId57" Type="http://schemas.openxmlformats.org/officeDocument/2006/relationships/tags" Target="../tags/tag1858.xml"/><Relationship Id="rId106" Type="http://schemas.openxmlformats.org/officeDocument/2006/relationships/image" Target="../media/image169.png"/><Relationship Id="rId127" Type="http://schemas.openxmlformats.org/officeDocument/2006/relationships/image" Target="../media/image190.png"/><Relationship Id="rId10" Type="http://schemas.openxmlformats.org/officeDocument/2006/relationships/tags" Target="../tags/tag1811.xml"/><Relationship Id="rId31" Type="http://schemas.openxmlformats.org/officeDocument/2006/relationships/tags" Target="../tags/tag1832.xml"/><Relationship Id="rId52" Type="http://schemas.openxmlformats.org/officeDocument/2006/relationships/tags" Target="../tags/tag1853.xml"/><Relationship Id="rId73" Type="http://schemas.openxmlformats.org/officeDocument/2006/relationships/image" Target="../media/image136.svg"/><Relationship Id="rId78" Type="http://schemas.openxmlformats.org/officeDocument/2006/relationships/image" Target="../media/image141.png"/><Relationship Id="rId94" Type="http://schemas.openxmlformats.org/officeDocument/2006/relationships/image" Target="../media/image157.png"/><Relationship Id="rId99" Type="http://schemas.openxmlformats.org/officeDocument/2006/relationships/image" Target="../media/image162.png"/><Relationship Id="rId101" Type="http://schemas.openxmlformats.org/officeDocument/2006/relationships/image" Target="../media/image164.png"/><Relationship Id="rId122" Type="http://schemas.openxmlformats.org/officeDocument/2006/relationships/image" Target="../media/image185.png"/><Relationship Id="rId4" Type="http://schemas.openxmlformats.org/officeDocument/2006/relationships/tags" Target="../tags/tag1805.xml"/><Relationship Id="rId9" Type="http://schemas.openxmlformats.org/officeDocument/2006/relationships/tags" Target="../tags/tag1810.xml"/><Relationship Id="rId26" Type="http://schemas.openxmlformats.org/officeDocument/2006/relationships/tags" Target="../tags/tag1827.xml"/><Relationship Id="rId47" Type="http://schemas.openxmlformats.org/officeDocument/2006/relationships/tags" Target="../tags/tag1848.xml"/><Relationship Id="rId68" Type="http://schemas.openxmlformats.org/officeDocument/2006/relationships/image" Target="../media/image131.png"/><Relationship Id="rId89" Type="http://schemas.openxmlformats.org/officeDocument/2006/relationships/image" Target="../media/image152.png"/><Relationship Id="rId112" Type="http://schemas.openxmlformats.org/officeDocument/2006/relationships/image" Target="../media/image175.png"/><Relationship Id="rId133" Type="http://schemas.openxmlformats.org/officeDocument/2006/relationships/image" Target="../media/image196.png"/></Relationships>
</file>

<file path=ppt/slides/_rels/slide15.xml.rels><?xml version="1.0" encoding="UTF-8" standalone="yes"?>
<Relationships xmlns="http://schemas.openxmlformats.org/package/2006/relationships"><Relationship Id="rId3" Type="http://schemas.openxmlformats.org/officeDocument/2006/relationships/tags" Target="../tags/tag1862.xml"/><Relationship Id="rId2" Type="http://schemas.openxmlformats.org/officeDocument/2006/relationships/tags" Target="../tags/tag1861.xml"/><Relationship Id="rId1" Type="http://schemas.openxmlformats.org/officeDocument/2006/relationships/tags" Target="../tags/tag1860.xml"/><Relationship Id="rId5" Type="http://schemas.openxmlformats.org/officeDocument/2006/relationships/slideLayout" Target="../slideLayouts/slideLayout36.xml"/><Relationship Id="rId4" Type="http://schemas.openxmlformats.org/officeDocument/2006/relationships/tags" Target="../tags/tag186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14.bin"/><Relationship Id="rId13" Type="http://schemas.openxmlformats.org/officeDocument/2006/relationships/image" Target="../media/image34.png"/><Relationship Id="rId3" Type="http://schemas.openxmlformats.org/officeDocument/2006/relationships/tags" Target="../tags/tag1591.xml"/><Relationship Id="rId7" Type="http://schemas.openxmlformats.org/officeDocument/2006/relationships/slideLayout" Target="../slideLayouts/slideLayout38.xml"/><Relationship Id="rId12" Type="http://schemas.openxmlformats.org/officeDocument/2006/relationships/image" Target="../media/image33.svg"/><Relationship Id="rId2" Type="http://schemas.openxmlformats.org/officeDocument/2006/relationships/tags" Target="../tags/tag1590.xml"/><Relationship Id="rId16" Type="http://schemas.openxmlformats.org/officeDocument/2006/relationships/image" Target="../media/image37.svg"/><Relationship Id="rId1" Type="http://schemas.openxmlformats.org/officeDocument/2006/relationships/tags" Target="../tags/tag1589.xml"/><Relationship Id="rId6" Type="http://schemas.openxmlformats.org/officeDocument/2006/relationships/tags" Target="../tags/tag1594.xml"/><Relationship Id="rId11" Type="http://schemas.openxmlformats.org/officeDocument/2006/relationships/image" Target="../media/image32.png"/><Relationship Id="rId5" Type="http://schemas.openxmlformats.org/officeDocument/2006/relationships/tags" Target="../tags/tag1593.xml"/><Relationship Id="rId15" Type="http://schemas.openxmlformats.org/officeDocument/2006/relationships/image" Target="../media/image36.png"/><Relationship Id="rId10" Type="http://schemas.openxmlformats.org/officeDocument/2006/relationships/image" Target="../media/image15.tiff"/><Relationship Id="rId4" Type="http://schemas.openxmlformats.org/officeDocument/2006/relationships/tags" Target="../tags/tag1592.xml"/><Relationship Id="rId9" Type="http://schemas.openxmlformats.org/officeDocument/2006/relationships/image" Target="../media/image31.emf"/><Relationship Id="rId14" Type="http://schemas.openxmlformats.org/officeDocument/2006/relationships/image" Target="../media/image35.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Layout" Target="../slideLayouts/slideLayout48.xml"/><Relationship Id="rId1" Type="http://schemas.openxmlformats.org/officeDocument/2006/relationships/tags" Target="../tags/tag1864.xml"/><Relationship Id="rId4" Type="http://schemas.openxmlformats.org/officeDocument/2006/relationships/image" Target="../media/image20.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tags" Target="../tags/tag1866.xml"/><Relationship Id="rId1" Type="http://schemas.openxmlformats.org/officeDocument/2006/relationships/tags" Target="../tags/tag1865.xml"/><Relationship Id="rId5" Type="http://schemas.openxmlformats.org/officeDocument/2006/relationships/image" Target="../media/image20.emf"/><Relationship Id="rId4" Type="http://schemas.openxmlformats.org/officeDocument/2006/relationships/oleObject" Target="../embeddings/oleObject228.bin"/></Relationships>
</file>

<file path=ppt/slides/_rels/slide3.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1597.xml"/><Relationship Id="rId7" Type="http://schemas.openxmlformats.org/officeDocument/2006/relationships/image" Target="../media/image15.tiff"/><Relationship Id="rId12" Type="http://schemas.openxmlformats.org/officeDocument/2006/relationships/image" Target="../media/image41.svg"/><Relationship Id="rId2" Type="http://schemas.openxmlformats.org/officeDocument/2006/relationships/tags" Target="../tags/tag1596.xml"/><Relationship Id="rId1" Type="http://schemas.openxmlformats.org/officeDocument/2006/relationships/tags" Target="../tags/tag1595.xml"/><Relationship Id="rId6" Type="http://schemas.openxmlformats.org/officeDocument/2006/relationships/image" Target="../media/image20.emf"/><Relationship Id="rId11" Type="http://schemas.openxmlformats.org/officeDocument/2006/relationships/image" Target="../media/image32.png"/><Relationship Id="rId5" Type="http://schemas.openxmlformats.org/officeDocument/2006/relationships/oleObject" Target="../embeddings/oleObject215.bin"/><Relationship Id="rId10" Type="http://schemas.openxmlformats.org/officeDocument/2006/relationships/image" Target="../media/image40.svg"/><Relationship Id="rId4" Type="http://schemas.openxmlformats.org/officeDocument/2006/relationships/slideLayout" Target="../slideLayouts/slideLayout40.xml"/><Relationship Id="rId9" Type="http://schemas.openxmlformats.org/officeDocument/2006/relationships/image" Target="../media/image39.png"/></Relationships>
</file>

<file path=ppt/slides/_rels/slide4.xml.rels><?xml version="1.0" encoding="UTF-8" standalone="yes"?>
<Relationships xmlns="http://schemas.openxmlformats.org/package/2006/relationships"><Relationship Id="rId8" Type="http://schemas.openxmlformats.org/officeDocument/2006/relationships/tags" Target="../tags/tag1605.xml"/><Relationship Id="rId13" Type="http://schemas.openxmlformats.org/officeDocument/2006/relationships/image" Target="../media/image20.emf"/><Relationship Id="rId3" Type="http://schemas.openxmlformats.org/officeDocument/2006/relationships/tags" Target="../tags/tag1600.xml"/><Relationship Id="rId7" Type="http://schemas.openxmlformats.org/officeDocument/2006/relationships/tags" Target="../tags/tag1604.xml"/><Relationship Id="rId12" Type="http://schemas.openxmlformats.org/officeDocument/2006/relationships/oleObject" Target="../embeddings/oleObject216.bin"/><Relationship Id="rId2" Type="http://schemas.openxmlformats.org/officeDocument/2006/relationships/tags" Target="../tags/tag1599.xml"/><Relationship Id="rId1" Type="http://schemas.openxmlformats.org/officeDocument/2006/relationships/tags" Target="../tags/tag1598.xml"/><Relationship Id="rId6" Type="http://schemas.openxmlformats.org/officeDocument/2006/relationships/tags" Target="../tags/tag1603.xml"/><Relationship Id="rId11" Type="http://schemas.openxmlformats.org/officeDocument/2006/relationships/slideLayout" Target="../slideLayouts/slideLayout33.xml"/><Relationship Id="rId5" Type="http://schemas.openxmlformats.org/officeDocument/2006/relationships/tags" Target="../tags/tag1602.xml"/><Relationship Id="rId10" Type="http://schemas.openxmlformats.org/officeDocument/2006/relationships/tags" Target="../tags/tag1607.xml"/><Relationship Id="rId4" Type="http://schemas.openxmlformats.org/officeDocument/2006/relationships/tags" Target="../tags/tag1601.xml"/><Relationship Id="rId9" Type="http://schemas.openxmlformats.org/officeDocument/2006/relationships/tags" Target="../tags/tag1606.xml"/><Relationship Id="rId14" Type="http://schemas.openxmlformats.org/officeDocument/2006/relationships/image" Target="../media/image42.png"/></Relationships>
</file>

<file path=ppt/slides/_rels/slide5.xml.rels><?xml version="1.0" encoding="UTF-8" standalone="yes"?>
<Relationships xmlns="http://schemas.openxmlformats.org/package/2006/relationships"><Relationship Id="rId8" Type="http://schemas.openxmlformats.org/officeDocument/2006/relationships/tags" Target="../tags/tag1615.xml"/><Relationship Id="rId13" Type="http://schemas.openxmlformats.org/officeDocument/2006/relationships/oleObject" Target="../embeddings/oleObject217.bin"/><Relationship Id="rId18" Type="http://schemas.openxmlformats.org/officeDocument/2006/relationships/image" Target="../media/image47.svg"/><Relationship Id="rId26" Type="http://schemas.openxmlformats.org/officeDocument/2006/relationships/image" Target="../media/image55.svg"/><Relationship Id="rId3" Type="http://schemas.openxmlformats.org/officeDocument/2006/relationships/tags" Target="../tags/tag1610.xml"/><Relationship Id="rId21" Type="http://schemas.openxmlformats.org/officeDocument/2006/relationships/image" Target="../media/image50.png"/><Relationship Id="rId7" Type="http://schemas.openxmlformats.org/officeDocument/2006/relationships/tags" Target="../tags/tag1614.xml"/><Relationship Id="rId12" Type="http://schemas.openxmlformats.org/officeDocument/2006/relationships/notesSlide" Target="../notesSlides/notesSlide2.xml"/><Relationship Id="rId17" Type="http://schemas.openxmlformats.org/officeDocument/2006/relationships/image" Target="../media/image46.png"/><Relationship Id="rId25" Type="http://schemas.openxmlformats.org/officeDocument/2006/relationships/image" Target="../media/image54.png"/><Relationship Id="rId2" Type="http://schemas.openxmlformats.org/officeDocument/2006/relationships/tags" Target="../tags/tag1609.xml"/><Relationship Id="rId16" Type="http://schemas.openxmlformats.org/officeDocument/2006/relationships/image" Target="../media/image45.svg"/><Relationship Id="rId20" Type="http://schemas.openxmlformats.org/officeDocument/2006/relationships/image" Target="../media/image49.svg"/><Relationship Id="rId1" Type="http://schemas.openxmlformats.org/officeDocument/2006/relationships/tags" Target="../tags/tag1608.xml"/><Relationship Id="rId6" Type="http://schemas.openxmlformats.org/officeDocument/2006/relationships/tags" Target="../tags/tag1613.xml"/><Relationship Id="rId11" Type="http://schemas.openxmlformats.org/officeDocument/2006/relationships/slideLayout" Target="../slideLayouts/slideLayout33.xml"/><Relationship Id="rId24" Type="http://schemas.openxmlformats.org/officeDocument/2006/relationships/image" Target="../media/image53.svg"/><Relationship Id="rId5" Type="http://schemas.openxmlformats.org/officeDocument/2006/relationships/tags" Target="../tags/tag1612.xml"/><Relationship Id="rId15" Type="http://schemas.openxmlformats.org/officeDocument/2006/relationships/image" Target="../media/image44.png"/><Relationship Id="rId23" Type="http://schemas.openxmlformats.org/officeDocument/2006/relationships/image" Target="../media/image52.png"/><Relationship Id="rId10" Type="http://schemas.openxmlformats.org/officeDocument/2006/relationships/tags" Target="../tags/tag1617.xml"/><Relationship Id="rId19" Type="http://schemas.openxmlformats.org/officeDocument/2006/relationships/image" Target="../media/image48.png"/><Relationship Id="rId4" Type="http://schemas.openxmlformats.org/officeDocument/2006/relationships/tags" Target="../tags/tag1611.xml"/><Relationship Id="rId9" Type="http://schemas.openxmlformats.org/officeDocument/2006/relationships/tags" Target="../tags/tag1616.xml"/><Relationship Id="rId14" Type="http://schemas.openxmlformats.org/officeDocument/2006/relationships/image" Target="../media/image43.emf"/><Relationship Id="rId22" Type="http://schemas.openxmlformats.org/officeDocument/2006/relationships/image" Target="../media/image51.sv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57.png"/><Relationship Id="rId2" Type="http://schemas.openxmlformats.org/officeDocument/2006/relationships/tags" Target="../tags/tag1619.xml"/><Relationship Id="rId1" Type="http://schemas.openxmlformats.org/officeDocument/2006/relationships/tags" Target="../tags/tag1618.xml"/><Relationship Id="rId6" Type="http://schemas.openxmlformats.org/officeDocument/2006/relationships/image" Target="../media/image56.png"/><Relationship Id="rId5" Type="http://schemas.openxmlformats.org/officeDocument/2006/relationships/image" Target="../media/image20.emf"/><Relationship Id="rId4" Type="http://schemas.openxmlformats.org/officeDocument/2006/relationships/oleObject" Target="../embeddings/oleObject218.bin"/></Relationships>
</file>

<file path=ppt/slides/_rels/slide7.xml.rels><?xml version="1.0" encoding="UTF-8" standalone="yes"?>
<Relationships xmlns="http://schemas.openxmlformats.org/package/2006/relationships"><Relationship Id="rId8" Type="http://schemas.openxmlformats.org/officeDocument/2006/relationships/tags" Target="../tags/tag1627.xml"/><Relationship Id="rId13" Type="http://schemas.openxmlformats.org/officeDocument/2006/relationships/image" Target="../media/image20.emf"/><Relationship Id="rId18" Type="http://schemas.openxmlformats.org/officeDocument/2006/relationships/image" Target="../media/image60.png"/><Relationship Id="rId26" Type="http://schemas.openxmlformats.org/officeDocument/2006/relationships/image" Target="../media/image66.png"/><Relationship Id="rId3" Type="http://schemas.openxmlformats.org/officeDocument/2006/relationships/tags" Target="../tags/tag1622.xml"/><Relationship Id="rId21" Type="http://schemas.microsoft.com/office/2007/relationships/hdphoto" Target="../media/hdphoto11.wdp"/><Relationship Id="rId7" Type="http://schemas.openxmlformats.org/officeDocument/2006/relationships/tags" Target="../tags/tag1626.xml"/><Relationship Id="rId12" Type="http://schemas.openxmlformats.org/officeDocument/2006/relationships/oleObject" Target="../embeddings/oleObject219.bin"/><Relationship Id="rId17" Type="http://schemas.microsoft.com/office/2007/relationships/hdphoto" Target="../media/hdphoto9.wdp"/><Relationship Id="rId25" Type="http://schemas.openxmlformats.org/officeDocument/2006/relationships/image" Target="../media/image65.svg"/><Relationship Id="rId2" Type="http://schemas.openxmlformats.org/officeDocument/2006/relationships/tags" Target="../tags/tag1621.xml"/><Relationship Id="rId16" Type="http://schemas.openxmlformats.org/officeDocument/2006/relationships/image" Target="../media/image59.png"/><Relationship Id="rId20" Type="http://schemas.openxmlformats.org/officeDocument/2006/relationships/image" Target="../media/image61.png"/><Relationship Id="rId29" Type="http://schemas.openxmlformats.org/officeDocument/2006/relationships/image" Target="../media/image69.svg"/><Relationship Id="rId1" Type="http://schemas.openxmlformats.org/officeDocument/2006/relationships/tags" Target="../tags/tag1620.xml"/><Relationship Id="rId6" Type="http://schemas.openxmlformats.org/officeDocument/2006/relationships/tags" Target="../tags/tag1625.xml"/><Relationship Id="rId11" Type="http://schemas.openxmlformats.org/officeDocument/2006/relationships/slideLayout" Target="../slideLayouts/slideLayout33.xml"/><Relationship Id="rId24" Type="http://schemas.openxmlformats.org/officeDocument/2006/relationships/image" Target="../media/image64.png"/><Relationship Id="rId5" Type="http://schemas.openxmlformats.org/officeDocument/2006/relationships/tags" Target="../tags/tag1624.xml"/><Relationship Id="rId15" Type="http://schemas.microsoft.com/office/2007/relationships/hdphoto" Target="../media/hdphoto8.wdp"/><Relationship Id="rId23" Type="http://schemas.openxmlformats.org/officeDocument/2006/relationships/image" Target="../media/image63.svg"/><Relationship Id="rId28" Type="http://schemas.openxmlformats.org/officeDocument/2006/relationships/image" Target="../media/image68.png"/><Relationship Id="rId10" Type="http://schemas.openxmlformats.org/officeDocument/2006/relationships/tags" Target="../tags/tag1629.xml"/><Relationship Id="rId19" Type="http://schemas.microsoft.com/office/2007/relationships/hdphoto" Target="../media/hdphoto10.wdp"/><Relationship Id="rId4" Type="http://schemas.openxmlformats.org/officeDocument/2006/relationships/tags" Target="../tags/tag1623.xml"/><Relationship Id="rId9" Type="http://schemas.openxmlformats.org/officeDocument/2006/relationships/tags" Target="../tags/tag1628.xml"/><Relationship Id="rId14" Type="http://schemas.openxmlformats.org/officeDocument/2006/relationships/image" Target="../media/image58.png"/><Relationship Id="rId22" Type="http://schemas.openxmlformats.org/officeDocument/2006/relationships/image" Target="../media/image62.png"/><Relationship Id="rId27" Type="http://schemas.openxmlformats.org/officeDocument/2006/relationships/image" Target="../media/image67.svg"/></Relationships>
</file>

<file path=ppt/slides/_rels/slide8.xml.rels><?xml version="1.0" encoding="UTF-8" standalone="yes"?>
<Relationships xmlns="http://schemas.openxmlformats.org/package/2006/relationships"><Relationship Id="rId13" Type="http://schemas.openxmlformats.org/officeDocument/2006/relationships/tags" Target="../tags/tag1642.xml"/><Relationship Id="rId18" Type="http://schemas.openxmlformats.org/officeDocument/2006/relationships/tags" Target="../tags/tag1647.xml"/><Relationship Id="rId26" Type="http://schemas.openxmlformats.org/officeDocument/2006/relationships/tags" Target="../tags/tag1655.xml"/><Relationship Id="rId39" Type="http://schemas.openxmlformats.org/officeDocument/2006/relationships/image" Target="../media/image78.svg"/><Relationship Id="rId21" Type="http://schemas.openxmlformats.org/officeDocument/2006/relationships/tags" Target="../tags/tag1650.xml"/><Relationship Id="rId34" Type="http://schemas.openxmlformats.org/officeDocument/2006/relationships/image" Target="../media/image74.png"/><Relationship Id="rId42" Type="http://schemas.openxmlformats.org/officeDocument/2006/relationships/image" Target="../media/image81.png"/><Relationship Id="rId47" Type="http://schemas.openxmlformats.org/officeDocument/2006/relationships/image" Target="../media/image86.svg"/><Relationship Id="rId7" Type="http://schemas.openxmlformats.org/officeDocument/2006/relationships/tags" Target="../tags/tag1636.xml"/><Relationship Id="rId2" Type="http://schemas.openxmlformats.org/officeDocument/2006/relationships/tags" Target="../tags/tag1631.xml"/><Relationship Id="rId16" Type="http://schemas.openxmlformats.org/officeDocument/2006/relationships/tags" Target="../tags/tag1645.xml"/><Relationship Id="rId29" Type="http://schemas.openxmlformats.org/officeDocument/2006/relationships/image" Target="../media/image20.emf"/><Relationship Id="rId11" Type="http://schemas.openxmlformats.org/officeDocument/2006/relationships/tags" Target="../tags/tag1640.xml"/><Relationship Id="rId24" Type="http://schemas.openxmlformats.org/officeDocument/2006/relationships/tags" Target="../tags/tag1653.xml"/><Relationship Id="rId32" Type="http://schemas.openxmlformats.org/officeDocument/2006/relationships/image" Target="../media/image72.png"/><Relationship Id="rId37" Type="http://schemas.openxmlformats.org/officeDocument/2006/relationships/image" Target="../media/image76.svg"/><Relationship Id="rId40" Type="http://schemas.openxmlformats.org/officeDocument/2006/relationships/image" Target="../media/image79.png"/><Relationship Id="rId45" Type="http://schemas.openxmlformats.org/officeDocument/2006/relationships/image" Target="../media/image84.svg"/><Relationship Id="rId5" Type="http://schemas.openxmlformats.org/officeDocument/2006/relationships/tags" Target="../tags/tag1634.xml"/><Relationship Id="rId15" Type="http://schemas.openxmlformats.org/officeDocument/2006/relationships/tags" Target="../tags/tag1644.xml"/><Relationship Id="rId23" Type="http://schemas.openxmlformats.org/officeDocument/2006/relationships/tags" Target="../tags/tag1652.xml"/><Relationship Id="rId28" Type="http://schemas.openxmlformats.org/officeDocument/2006/relationships/oleObject" Target="../embeddings/oleObject220.bin"/><Relationship Id="rId36" Type="http://schemas.openxmlformats.org/officeDocument/2006/relationships/image" Target="../media/image62.png"/><Relationship Id="rId49" Type="http://schemas.openxmlformats.org/officeDocument/2006/relationships/image" Target="../media/image88.svg"/><Relationship Id="rId10" Type="http://schemas.openxmlformats.org/officeDocument/2006/relationships/tags" Target="../tags/tag1639.xml"/><Relationship Id="rId19" Type="http://schemas.openxmlformats.org/officeDocument/2006/relationships/tags" Target="../tags/tag1648.xml"/><Relationship Id="rId31" Type="http://schemas.openxmlformats.org/officeDocument/2006/relationships/image" Target="../media/image71.svg"/><Relationship Id="rId44" Type="http://schemas.openxmlformats.org/officeDocument/2006/relationships/image" Target="../media/image83.png"/><Relationship Id="rId4" Type="http://schemas.openxmlformats.org/officeDocument/2006/relationships/tags" Target="../tags/tag1633.xml"/><Relationship Id="rId9" Type="http://schemas.openxmlformats.org/officeDocument/2006/relationships/tags" Target="../tags/tag1638.xml"/><Relationship Id="rId14" Type="http://schemas.openxmlformats.org/officeDocument/2006/relationships/tags" Target="../tags/tag1643.xml"/><Relationship Id="rId22" Type="http://schemas.openxmlformats.org/officeDocument/2006/relationships/tags" Target="../tags/tag1651.xml"/><Relationship Id="rId27" Type="http://schemas.openxmlformats.org/officeDocument/2006/relationships/slideLayout" Target="../slideLayouts/slideLayout33.xml"/><Relationship Id="rId30" Type="http://schemas.openxmlformats.org/officeDocument/2006/relationships/image" Target="../media/image70.png"/><Relationship Id="rId35" Type="http://schemas.openxmlformats.org/officeDocument/2006/relationships/image" Target="../media/image75.svg"/><Relationship Id="rId43" Type="http://schemas.openxmlformats.org/officeDocument/2006/relationships/image" Target="../media/image82.svg"/><Relationship Id="rId48" Type="http://schemas.openxmlformats.org/officeDocument/2006/relationships/image" Target="../media/image87.png"/><Relationship Id="rId8" Type="http://schemas.openxmlformats.org/officeDocument/2006/relationships/tags" Target="../tags/tag1637.xml"/><Relationship Id="rId3" Type="http://schemas.openxmlformats.org/officeDocument/2006/relationships/tags" Target="../tags/tag1632.xml"/><Relationship Id="rId12" Type="http://schemas.openxmlformats.org/officeDocument/2006/relationships/tags" Target="../tags/tag1641.xml"/><Relationship Id="rId17" Type="http://schemas.openxmlformats.org/officeDocument/2006/relationships/tags" Target="../tags/tag1646.xml"/><Relationship Id="rId25" Type="http://schemas.openxmlformats.org/officeDocument/2006/relationships/tags" Target="../tags/tag1654.xml"/><Relationship Id="rId33" Type="http://schemas.openxmlformats.org/officeDocument/2006/relationships/image" Target="../media/image73.svg"/><Relationship Id="rId38" Type="http://schemas.openxmlformats.org/officeDocument/2006/relationships/image" Target="../media/image77.png"/><Relationship Id="rId46" Type="http://schemas.openxmlformats.org/officeDocument/2006/relationships/image" Target="../media/image85.png"/><Relationship Id="rId20" Type="http://schemas.openxmlformats.org/officeDocument/2006/relationships/tags" Target="../tags/tag1649.xml"/><Relationship Id="rId41" Type="http://schemas.openxmlformats.org/officeDocument/2006/relationships/image" Target="../media/image80.svg"/><Relationship Id="rId1" Type="http://schemas.openxmlformats.org/officeDocument/2006/relationships/tags" Target="../tags/tag1630.xml"/><Relationship Id="rId6" Type="http://schemas.openxmlformats.org/officeDocument/2006/relationships/tags" Target="../tags/tag1635.xml"/></Relationships>
</file>

<file path=ppt/slides/_rels/slide9.xml.rels><?xml version="1.0" encoding="UTF-8" standalone="yes"?>
<Relationships xmlns="http://schemas.openxmlformats.org/package/2006/relationships"><Relationship Id="rId26" Type="http://schemas.openxmlformats.org/officeDocument/2006/relationships/tags" Target="../tags/tag1681.xml"/><Relationship Id="rId21" Type="http://schemas.openxmlformats.org/officeDocument/2006/relationships/tags" Target="../tags/tag1676.xml"/><Relationship Id="rId42" Type="http://schemas.openxmlformats.org/officeDocument/2006/relationships/tags" Target="../tags/tag1697.xml"/><Relationship Id="rId47" Type="http://schemas.openxmlformats.org/officeDocument/2006/relationships/tags" Target="../tags/tag1702.xml"/><Relationship Id="rId63" Type="http://schemas.openxmlformats.org/officeDocument/2006/relationships/tags" Target="../tags/tag1718.xml"/><Relationship Id="rId68" Type="http://schemas.openxmlformats.org/officeDocument/2006/relationships/tags" Target="../tags/tag1723.xml"/><Relationship Id="rId84" Type="http://schemas.openxmlformats.org/officeDocument/2006/relationships/tags" Target="../tags/tag1739.xml"/><Relationship Id="rId89" Type="http://schemas.openxmlformats.org/officeDocument/2006/relationships/tags" Target="../tags/tag1744.xml"/><Relationship Id="rId16" Type="http://schemas.openxmlformats.org/officeDocument/2006/relationships/tags" Target="../tags/tag1671.xml"/><Relationship Id="rId11" Type="http://schemas.openxmlformats.org/officeDocument/2006/relationships/tags" Target="../tags/tag1666.xml"/><Relationship Id="rId32" Type="http://schemas.openxmlformats.org/officeDocument/2006/relationships/tags" Target="../tags/tag1687.xml"/><Relationship Id="rId37" Type="http://schemas.openxmlformats.org/officeDocument/2006/relationships/tags" Target="../tags/tag1692.xml"/><Relationship Id="rId53" Type="http://schemas.openxmlformats.org/officeDocument/2006/relationships/tags" Target="../tags/tag1708.xml"/><Relationship Id="rId58" Type="http://schemas.openxmlformats.org/officeDocument/2006/relationships/tags" Target="../tags/tag1713.xml"/><Relationship Id="rId74" Type="http://schemas.openxmlformats.org/officeDocument/2006/relationships/tags" Target="../tags/tag1729.xml"/><Relationship Id="rId79" Type="http://schemas.openxmlformats.org/officeDocument/2006/relationships/tags" Target="../tags/tag1734.xml"/><Relationship Id="rId5" Type="http://schemas.openxmlformats.org/officeDocument/2006/relationships/tags" Target="../tags/tag1660.xml"/><Relationship Id="rId90" Type="http://schemas.openxmlformats.org/officeDocument/2006/relationships/slideLayout" Target="../slideLayouts/slideLayout40.xml"/><Relationship Id="rId95" Type="http://schemas.openxmlformats.org/officeDocument/2006/relationships/image" Target="../media/image90.png"/><Relationship Id="rId22" Type="http://schemas.openxmlformats.org/officeDocument/2006/relationships/tags" Target="../tags/tag1677.xml"/><Relationship Id="rId27" Type="http://schemas.openxmlformats.org/officeDocument/2006/relationships/tags" Target="../tags/tag1682.xml"/><Relationship Id="rId43" Type="http://schemas.openxmlformats.org/officeDocument/2006/relationships/tags" Target="../tags/tag1698.xml"/><Relationship Id="rId48" Type="http://schemas.openxmlformats.org/officeDocument/2006/relationships/tags" Target="../tags/tag1703.xml"/><Relationship Id="rId64" Type="http://schemas.openxmlformats.org/officeDocument/2006/relationships/tags" Target="../tags/tag1719.xml"/><Relationship Id="rId69" Type="http://schemas.openxmlformats.org/officeDocument/2006/relationships/tags" Target="../tags/tag1724.xml"/><Relationship Id="rId80" Type="http://schemas.openxmlformats.org/officeDocument/2006/relationships/tags" Target="../tags/tag1735.xml"/><Relationship Id="rId85" Type="http://schemas.openxmlformats.org/officeDocument/2006/relationships/tags" Target="../tags/tag1740.xml"/><Relationship Id="rId12" Type="http://schemas.openxmlformats.org/officeDocument/2006/relationships/tags" Target="../tags/tag1667.xml"/><Relationship Id="rId17" Type="http://schemas.openxmlformats.org/officeDocument/2006/relationships/tags" Target="../tags/tag1672.xml"/><Relationship Id="rId25" Type="http://schemas.openxmlformats.org/officeDocument/2006/relationships/tags" Target="../tags/tag1680.xml"/><Relationship Id="rId33" Type="http://schemas.openxmlformats.org/officeDocument/2006/relationships/tags" Target="../tags/tag1688.xml"/><Relationship Id="rId38" Type="http://schemas.openxmlformats.org/officeDocument/2006/relationships/tags" Target="../tags/tag1693.xml"/><Relationship Id="rId46" Type="http://schemas.openxmlformats.org/officeDocument/2006/relationships/tags" Target="../tags/tag1701.xml"/><Relationship Id="rId59" Type="http://schemas.openxmlformats.org/officeDocument/2006/relationships/tags" Target="../tags/tag1714.xml"/><Relationship Id="rId67" Type="http://schemas.openxmlformats.org/officeDocument/2006/relationships/tags" Target="../tags/tag1722.xml"/><Relationship Id="rId20" Type="http://schemas.openxmlformats.org/officeDocument/2006/relationships/tags" Target="../tags/tag1675.xml"/><Relationship Id="rId41" Type="http://schemas.openxmlformats.org/officeDocument/2006/relationships/tags" Target="../tags/tag1696.xml"/><Relationship Id="rId54" Type="http://schemas.openxmlformats.org/officeDocument/2006/relationships/tags" Target="../tags/tag1709.xml"/><Relationship Id="rId62" Type="http://schemas.openxmlformats.org/officeDocument/2006/relationships/tags" Target="../tags/tag1717.xml"/><Relationship Id="rId70" Type="http://schemas.openxmlformats.org/officeDocument/2006/relationships/tags" Target="../tags/tag1725.xml"/><Relationship Id="rId75" Type="http://schemas.openxmlformats.org/officeDocument/2006/relationships/tags" Target="../tags/tag1730.xml"/><Relationship Id="rId83" Type="http://schemas.openxmlformats.org/officeDocument/2006/relationships/tags" Target="../tags/tag1738.xml"/><Relationship Id="rId88" Type="http://schemas.openxmlformats.org/officeDocument/2006/relationships/tags" Target="../tags/tag1743.xml"/><Relationship Id="rId91" Type="http://schemas.openxmlformats.org/officeDocument/2006/relationships/notesSlide" Target="../notesSlides/notesSlide3.xml"/><Relationship Id="rId96" Type="http://schemas.openxmlformats.org/officeDocument/2006/relationships/image" Target="../media/image91.png"/><Relationship Id="rId1" Type="http://schemas.openxmlformats.org/officeDocument/2006/relationships/tags" Target="../tags/tag1656.xml"/><Relationship Id="rId6" Type="http://schemas.openxmlformats.org/officeDocument/2006/relationships/tags" Target="../tags/tag1661.xml"/><Relationship Id="rId15" Type="http://schemas.openxmlformats.org/officeDocument/2006/relationships/tags" Target="../tags/tag1670.xml"/><Relationship Id="rId23" Type="http://schemas.openxmlformats.org/officeDocument/2006/relationships/tags" Target="../tags/tag1678.xml"/><Relationship Id="rId28" Type="http://schemas.openxmlformats.org/officeDocument/2006/relationships/tags" Target="../tags/tag1683.xml"/><Relationship Id="rId36" Type="http://schemas.openxmlformats.org/officeDocument/2006/relationships/tags" Target="../tags/tag1691.xml"/><Relationship Id="rId49" Type="http://schemas.openxmlformats.org/officeDocument/2006/relationships/tags" Target="../tags/tag1704.xml"/><Relationship Id="rId57" Type="http://schemas.openxmlformats.org/officeDocument/2006/relationships/tags" Target="../tags/tag1712.xml"/><Relationship Id="rId10" Type="http://schemas.openxmlformats.org/officeDocument/2006/relationships/tags" Target="../tags/tag1665.xml"/><Relationship Id="rId31" Type="http://schemas.openxmlformats.org/officeDocument/2006/relationships/tags" Target="../tags/tag1686.xml"/><Relationship Id="rId44" Type="http://schemas.openxmlformats.org/officeDocument/2006/relationships/tags" Target="../tags/tag1699.xml"/><Relationship Id="rId52" Type="http://schemas.openxmlformats.org/officeDocument/2006/relationships/tags" Target="../tags/tag1707.xml"/><Relationship Id="rId60" Type="http://schemas.openxmlformats.org/officeDocument/2006/relationships/tags" Target="../tags/tag1715.xml"/><Relationship Id="rId65" Type="http://schemas.openxmlformats.org/officeDocument/2006/relationships/tags" Target="../tags/tag1720.xml"/><Relationship Id="rId73" Type="http://schemas.openxmlformats.org/officeDocument/2006/relationships/tags" Target="../tags/tag1728.xml"/><Relationship Id="rId78" Type="http://schemas.openxmlformats.org/officeDocument/2006/relationships/tags" Target="../tags/tag1733.xml"/><Relationship Id="rId81" Type="http://schemas.openxmlformats.org/officeDocument/2006/relationships/tags" Target="../tags/tag1736.xml"/><Relationship Id="rId86" Type="http://schemas.openxmlformats.org/officeDocument/2006/relationships/tags" Target="../tags/tag1741.xml"/><Relationship Id="rId94" Type="http://schemas.openxmlformats.org/officeDocument/2006/relationships/image" Target="../media/image89.png"/><Relationship Id="rId99" Type="http://schemas.openxmlformats.org/officeDocument/2006/relationships/image" Target="../media/image94.svg"/><Relationship Id="rId101" Type="http://schemas.openxmlformats.org/officeDocument/2006/relationships/image" Target="../media/image96.svg"/><Relationship Id="rId4" Type="http://schemas.openxmlformats.org/officeDocument/2006/relationships/tags" Target="../tags/tag1659.xml"/><Relationship Id="rId9" Type="http://schemas.openxmlformats.org/officeDocument/2006/relationships/tags" Target="../tags/tag1664.xml"/><Relationship Id="rId13" Type="http://schemas.openxmlformats.org/officeDocument/2006/relationships/tags" Target="../tags/tag1668.xml"/><Relationship Id="rId18" Type="http://schemas.openxmlformats.org/officeDocument/2006/relationships/tags" Target="../tags/tag1673.xml"/><Relationship Id="rId39" Type="http://schemas.openxmlformats.org/officeDocument/2006/relationships/tags" Target="../tags/tag1694.xml"/><Relationship Id="rId34" Type="http://schemas.openxmlformats.org/officeDocument/2006/relationships/tags" Target="../tags/tag1689.xml"/><Relationship Id="rId50" Type="http://schemas.openxmlformats.org/officeDocument/2006/relationships/tags" Target="../tags/tag1705.xml"/><Relationship Id="rId55" Type="http://schemas.openxmlformats.org/officeDocument/2006/relationships/tags" Target="../tags/tag1710.xml"/><Relationship Id="rId76" Type="http://schemas.openxmlformats.org/officeDocument/2006/relationships/tags" Target="../tags/tag1731.xml"/><Relationship Id="rId97" Type="http://schemas.openxmlformats.org/officeDocument/2006/relationships/image" Target="../media/image92.svg"/><Relationship Id="rId7" Type="http://schemas.openxmlformats.org/officeDocument/2006/relationships/tags" Target="../tags/tag1662.xml"/><Relationship Id="rId71" Type="http://schemas.openxmlformats.org/officeDocument/2006/relationships/tags" Target="../tags/tag1726.xml"/><Relationship Id="rId92" Type="http://schemas.openxmlformats.org/officeDocument/2006/relationships/oleObject" Target="../embeddings/oleObject221.bin"/><Relationship Id="rId2" Type="http://schemas.openxmlformats.org/officeDocument/2006/relationships/tags" Target="../tags/tag1657.xml"/><Relationship Id="rId29" Type="http://schemas.openxmlformats.org/officeDocument/2006/relationships/tags" Target="../tags/tag1684.xml"/><Relationship Id="rId24" Type="http://schemas.openxmlformats.org/officeDocument/2006/relationships/tags" Target="../tags/tag1679.xml"/><Relationship Id="rId40" Type="http://schemas.openxmlformats.org/officeDocument/2006/relationships/tags" Target="../tags/tag1695.xml"/><Relationship Id="rId45" Type="http://schemas.openxmlformats.org/officeDocument/2006/relationships/tags" Target="../tags/tag1700.xml"/><Relationship Id="rId66" Type="http://schemas.openxmlformats.org/officeDocument/2006/relationships/tags" Target="../tags/tag1721.xml"/><Relationship Id="rId87" Type="http://schemas.openxmlformats.org/officeDocument/2006/relationships/tags" Target="../tags/tag1742.xml"/><Relationship Id="rId61" Type="http://schemas.openxmlformats.org/officeDocument/2006/relationships/tags" Target="../tags/tag1716.xml"/><Relationship Id="rId82" Type="http://schemas.openxmlformats.org/officeDocument/2006/relationships/tags" Target="../tags/tag1737.xml"/><Relationship Id="rId19" Type="http://schemas.openxmlformats.org/officeDocument/2006/relationships/tags" Target="../tags/tag1674.xml"/><Relationship Id="rId14" Type="http://schemas.openxmlformats.org/officeDocument/2006/relationships/tags" Target="../tags/tag1669.xml"/><Relationship Id="rId30" Type="http://schemas.openxmlformats.org/officeDocument/2006/relationships/tags" Target="../tags/tag1685.xml"/><Relationship Id="rId35" Type="http://schemas.openxmlformats.org/officeDocument/2006/relationships/tags" Target="../tags/tag1690.xml"/><Relationship Id="rId56" Type="http://schemas.openxmlformats.org/officeDocument/2006/relationships/tags" Target="../tags/tag1711.xml"/><Relationship Id="rId77" Type="http://schemas.openxmlformats.org/officeDocument/2006/relationships/tags" Target="../tags/tag1732.xml"/><Relationship Id="rId100" Type="http://schemas.openxmlformats.org/officeDocument/2006/relationships/image" Target="../media/image95.png"/><Relationship Id="rId8" Type="http://schemas.openxmlformats.org/officeDocument/2006/relationships/tags" Target="../tags/tag1663.xml"/><Relationship Id="rId51" Type="http://schemas.openxmlformats.org/officeDocument/2006/relationships/tags" Target="../tags/tag1706.xml"/><Relationship Id="rId72" Type="http://schemas.openxmlformats.org/officeDocument/2006/relationships/tags" Target="../tags/tag1727.xml"/><Relationship Id="rId93" Type="http://schemas.openxmlformats.org/officeDocument/2006/relationships/image" Target="../media/image20.emf"/><Relationship Id="rId98" Type="http://schemas.openxmlformats.org/officeDocument/2006/relationships/image" Target="../media/image93.png"/><Relationship Id="rId3" Type="http://schemas.openxmlformats.org/officeDocument/2006/relationships/tags" Target="../tags/tag16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78D7A-A7F1-4561-95FB-4D34721DCFA4}"/>
              </a:ext>
            </a:extLst>
          </p:cNvPr>
          <p:cNvSpPr>
            <a:spLocks noGrp="1"/>
          </p:cNvSpPr>
          <p:nvPr>
            <p:ph type="ctrTitle"/>
          </p:nvPr>
        </p:nvSpPr>
        <p:spPr>
          <a:xfrm>
            <a:off x="6233310" y="1308848"/>
            <a:ext cx="5523261" cy="968188"/>
          </a:xfrm>
        </p:spPr>
        <p:txBody>
          <a:bodyPr/>
          <a:lstStyle/>
          <a:p>
            <a:pPr lvl="0" algn="l" rtl="0">
              <a:lnSpc>
                <a:spcPct val="100000"/>
              </a:lnSpc>
              <a:spcBef>
                <a:spcPct val="0"/>
              </a:spcBef>
              <a:defRPr/>
            </a:pPr>
            <a:r>
              <a:rPr lang="en-US" sz="2800" kern="1200" dirty="0">
                <a:ln w="6350" cap="flat">
                  <a:noFill/>
                  <a:miter lim="800000"/>
                </a:ln>
                <a:solidFill>
                  <a:srgbClr val="15853A"/>
                </a:solidFill>
              </a:rPr>
              <a:t> </a:t>
            </a:r>
            <a:br>
              <a:rPr lang="en-US" sz="2800" kern="1200" dirty="0">
                <a:ln w="6350" cap="flat">
                  <a:noFill/>
                  <a:miter lim="800000"/>
                </a:ln>
                <a:solidFill>
                  <a:srgbClr val="15853A"/>
                </a:solidFill>
              </a:rPr>
            </a:br>
            <a:endParaRPr lang="en-US" sz="2800" kern="1200" dirty="0">
              <a:ln w="6350" cap="flat">
                <a:noFill/>
                <a:miter lim="800000"/>
              </a:ln>
              <a:solidFill>
                <a:srgbClr val="15853A"/>
              </a:solidFill>
            </a:endParaRPr>
          </a:p>
        </p:txBody>
      </p:sp>
      <p:sp>
        <p:nvSpPr>
          <p:cNvPr id="3" name="Subtitle 2">
            <a:extLst>
              <a:ext uri="{FF2B5EF4-FFF2-40B4-BE49-F238E27FC236}">
                <a16:creationId xmlns:a16="http://schemas.microsoft.com/office/drawing/2014/main" id="{AF6B29DE-EA8B-4748-AD9A-E811977489B3}"/>
              </a:ext>
            </a:extLst>
          </p:cNvPr>
          <p:cNvSpPr>
            <a:spLocks noGrp="1"/>
          </p:cNvSpPr>
          <p:nvPr>
            <p:ph type="subTitle" idx="1"/>
          </p:nvPr>
        </p:nvSpPr>
        <p:spPr>
          <a:xfrm>
            <a:off x="6096000" y="5514954"/>
            <a:ext cx="4100537" cy="692497"/>
          </a:xfrm>
        </p:spPr>
        <p:txBody>
          <a:bodyPr/>
          <a:lstStyle/>
          <a:p>
            <a:pPr algn="l" rtl="0"/>
            <a:r>
              <a:rPr lang="en-US" sz="2000" b="1" dirty="0" err="1">
                <a:solidFill>
                  <a:srgbClr val="15853A"/>
                </a:solidFill>
              </a:rPr>
              <a:t>Septembre</a:t>
            </a:r>
            <a:r>
              <a:rPr lang="en-US" sz="2000" b="1" dirty="0">
                <a:solidFill>
                  <a:srgbClr val="15853A"/>
                </a:solidFill>
              </a:rPr>
              <a:t>  2024</a:t>
            </a:r>
          </a:p>
          <a:p>
            <a:pPr algn="l" rtl="0"/>
            <a:endParaRPr lang="en-US" sz="2000" b="1" dirty="0">
              <a:solidFill>
                <a:srgbClr val="15853A"/>
              </a:solidFill>
            </a:endParaRPr>
          </a:p>
        </p:txBody>
      </p:sp>
      <p:pic>
        <p:nvPicPr>
          <p:cNvPr id="10" name="Picture 9">
            <a:extLst>
              <a:ext uri="{FF2B5EF4-FFF2-40B4-BE49-F238E27FC236}">
                <a16:creationId xmlns:a16="http://schemas.microsoft.com/office/drawing/2014/main" id="{3EC856BA-4681-6B43-9B3F-E62C538F60B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2786" y="-282835"/>
            <a:ext cx="5789349" cy="9485096"/>
          </a:xfrm>
          <a:prstGeom prst="rect">
            <a:avLst/>
          </a:prstGeom>
        </p:spPr>
      </p:pic>
      <p:pic>
        <p:nvPicPr>
          <p:cNvPr id="7" name="Picture 6">
            <a:extLst>
              <a:ext uri="{FF2B5EF4-FFF2-40B4-BE49-F238E27FC236}">
                <a16:creationId xmlns:a16="http://schemas.microsoft.com/office/drawing/2014/main" id="{5A223F93-E194-2B66-A414-495A900B711E}"/>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p:blipFill>
        <p:spPr>
          <a:xfrm>
            <a:off x="1169898" y="489550"/>
            <a:ext cx="2939765" cy="1365717"/>
          </a:xfrm>
          <a:prstGeom prst="rect">
            <a:avLst/>
          </a:prstGeom>
        </p:spPr>
      </p:pic>
      <p:sp>
        <p:nvSpPr>
          <p:cNvPr id="9" name="TextBox 8">
            <a:extLst>
              <a:ext uri="{FF2B5EF4-FFF2-40B4-BE49-F238E27FC236}">
                <a16:creationId xmlns:a16="http://schemas.microsoft.com/office/drawing/2014/main" id="{2056AFC2-5952-1E18-C1B5-AE9B790E279A}"/>
              </a:ext>
            </a:extLst>
          </p:cNvPr>
          <p:cNvSpPr txBox="1"/>
          <p:nvPr/>
        </p:nvSpPr>
        <p:spPr>
          <a:xfrm>
            <a:off x="6435439" y="841708"/>
            <a:ext cx="334846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G" sz="1800" b="1" i="0" u="none" strike="noStrike" kern="0" cap="none" spc="0" normalizeH="0" baseline="0" noProof="0">
                <a:ln>
                  <a:noFill/>
                </a:ln>
                <a:solidFill>
                  <a:srgbClr val="9F2525"/>
                </a:solidFill>
                <a:effectLst/>
                <a:uLnTx/>
                <a:uFillTx/>
                <a:latin typeface="Arial"/>
                <a:cs typeface="Arial"/>
                <a:sym typeface="Arial"/>
              </a:rPr>
              <a:t>Sauvegarder la santé de l’Afrique</a:t>
            </a:r>
          </a:p>
        </p:txBody>
      </p:sp>
      <p:sp>
        <p:nvSpPr>
          <p:cNvPr id="5" name="Subtitle 2">
            <a:extLst>
              <a:ext uri="{FF2B5EF4-FFF2-40B4-BE49-F238E27FC236}">
                <a16:creationId xmlns:a16="http://schemas.microsoft.com/office/drawing/2014/main" id="{2B7E61AC-1815-1D27-576C-C0FBBBB46AD8}"/>
              </a:ext>
            </a:extLst>
          </p:cNvPr>
          <p:cNvSpPr txBox="1">
            <a:spLocks/>
          </p:cNvSpPr>
          <p:nvPr/>
        </p:nvSpPr>
        <p:spPr>
          <a:xfrm>
            <a:off x="6233310" y="4299418"/>
            <a:ext cx="4853790" cy="1012372"/>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0" marR="0" lvl="0" indent="0" algn="ctr" rtl="0" eaLnBrk="1" hangingPunct="1">
              <a:lnSpc>
                <a:spcPct val="90000"/>
              </a:lnSpc>
              <a:spcBef>
                <a:spcPts val="1000"/>
              </a:spcBef>
              <a:spcAft>
                <a:spcPts val="0"/>
              </a:spcAft>
              <a:buClr>
                <a:srgbClr val="53575A"/>
              </a:buClr>
              <a:buSzPts val="2800"/>
              <a:buFont typeface="Arial"/>
              <a:buNone/>
              <a:defRPr sz="2400" b="0" i="0" u="none" strike="noStrike" cap="none">
                <a:solidFill>
                  <a:srgbClr val="53575A"/>
                </a:solidFill>
                <a:latin typeface="Arial"/>
                <a:ea typeface="Arial"/>
                <a:cs typeface="Arial"/>
                <a:sym typeface="Arial"/>
              </a:defRPr>
            </a:lvl1pPr>
            <a:lvl2pPr marL="457200" marR="0" lvl="1" indent="0" algn="ctr" rtl="0" eaLnBrk="1" hangingPunct="1">
              <a:lnSpc>
                <a:spcPct val="90000"/>
              </a:lnSpc>
              <a:spcBef>
                <a:spcPts val="500"/>
              </a:spcBef>
              <a:spcAft>
                <a:spcPts val="0"/>
              </a:spcAft>
              <a:buClr>
                <a:srgbClr val="53575A"/>
              </a:buClr>
              <a:buSzPts val="2400"/>
              <a:buFont typeface="Arial"/>
              <a:buNone/>
              <a:defRPr sz="2000" b="0" i="0" u="none" strike="noStrike" cap="none">
                <a:solidFill>
                  <a:srgbClr val="53575A"/>
                </a:solidFill>
                <a:latin typeface="Arial"/>
                <a:ea typeface="Arial"/>
                <a:cs typeface="Arial"/>
                <a:sym typeface="Arial"/>
              </a:defRPr>
            </a:lvl2pPr>
            <a:lvl3pPr marL="914400" marR="0" lvl="2" indent="0" algn="ctr" rtl="0" eaLnBrk="1" hangingPunct="1">
              <a:lnSpc>
                <a:spcPct val="90000"/>
              </a:lnSpc>
              <a:spcBef>
                <a:spcPts val="500"/>
              </a:spcBef>
              <a:spcAft>
                <a:spcPts val="0"/>
              </a:spcAft>
              <a:buClr>
                <a:srgbClr val="53575A"/>
              </a:buClr>
              <a:buSzPts val="2000"/>
              <a:buFont typeface="Arial"/>
              <a:buNone/>
              <a:defRPr sz="1800" b="0" i="0" u="none" strike="noStrike" cap="none">
                <a:solidFill>
                  <a:srgbClr val="53575A"/>
                </a:solidFill>
                <a:latin typeface="Arial"/>
                <a:ea typeface="Arial"/>
                <a:cs typeface="Arial"/>
                <a:sym typeface="Arial"/>
              </a:defRPr>
            </a:lvl3pPr>
            <a:lvl4pPr marL="1371600" marR="0" lvl="3" indent="0" algn="ctr" rtl="0" eaLnBrk="1" hangingPunct="1">
              <a:lnSpc>
                <a:spcPct val="90000"/>
              </a:lnSpc>
              <a:spcBef>
                <a:spcPts val="500"/>
              </a:spcBef>
              <a:spcAft>
                <a:spcPts val="0"/>
              </a:spcAft>
              <a:buClr>
                <a:srgbClr val="53575A"/>
              </a:buClr>
              <a:buSzPts val="1800"/>
              <a:buFont typeface="Arial"/>
              <a:buNone/>
              <a:defRPr sz="1600" b="0" i="0" u="none" strike="noStrike" cap="none">
                <a:solidFill>
                  <a:srgbClr val="53575A"/>
                </a:solidFill>
                <a:latin typeface="Arial"/>
                <a:ea typeface="Arial"/>
                <a:cs typeface="Arial"/>
                <a:sym typeface="Arial"/>
              </a:defRPr>
            </a:lvl4pPr>
            <a:lvl5pPr marL="1828800" marR="0" lvl="4" indent="0" algn="ctr" rtl="0" eaLnBrk="1" hangingPunct="1">
              <a:lnSpc>
                <a:spcPct val="90000"/>
              </a:lnSpc>
              <a:spcBef>
                <a:spcPts val="500"/>
              </a:spcBef>
              <a:spcAft>
                <a:spcPts val="0"/>
              </a:spcAft>
              <a:buClr>
                <a:srgbClr val="53575A"/>
              </a:buClr>
              <a:buSzPts val="1800"/>
              <a:buFont typeface="Arial"/>
              <a:buNone/>
              <a:defRPr sz="1600" b="0" i="0" u="none" strike="noStrike" cap="none">
                <a:solidFill>
                  <a:srgbClr val="53575A"/>
                </a:solidFill>
                <a:latin typeface="Arial"/>
                <a:ea typeface="Arial"/>
                <a:cs typeface="Arial"/>
                <a:sym typeface="Arial"/>
              </a:defRPr>
            </a:lvl5pPr>
            <a:lvl6pPr marL="2286000" marR="0" lvl="5" indent="0" algn="ctr" rtl="0" eaLnBrk="1" hangingPunct="1">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6pPr>
            <a:lvl7pPr marL="2743200" marR="0" lvl="6" indent="0" algn="ctr" rtl="0" eaLnBrk="1" hangingPunct="1">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7pPr>
            <a:lvl8pPr marL="3200400" marR="0" lvl="7" indent="0" algn="ctr" rtl="0" eaLnBrk="1" hangingPunct="1">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8pPr>
            <a:lvl9pPr marL="3657600" marR="0" lvl="8" indent="0" algn="ctr" rtl="0" eaLnBrk="1" hangingPunct="1">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1000"/>
              </a:spcBef>
              <a:spcAft>
                <a:spcPts val="0"/>
              </a:spcAft>
              <a:buClr>
                <a:srgbClr val="53575A"/>
              </a:buClr>
              <a:buSzPts val="2800"/>
              <a:buFont typeface="Arial"/>
              <a:buNone/>
              <a:tabLst/>
              <a:defRPr/>
            </a:pPr>
            <a:endParaRPr kumimoji="0" lang="en-US" sz="2000" b="1" i="0" u="none" strike="noStrike" kern="0" cap="none" spc="0" normalizeH="0" baseline="0" noProof="0" dirty="0">
              <a:ln>
                <a:noFill/>
              </a:ln>
              <a:solidFill>
                <a:srgbClr val="15853A"/>
              </a:solidFill>
              <a:effectLst/>
              <a:uLnTx/>
              <a:uFillTx/>
              <a:latin typeface="Arial"/>
              <a:cs typeface="Arial"/>
              <a:sym typeface="Arial"/>
            </a:endParaRPr>
          </a:p>
        </p:txBody>
      </p:sp>
      <p:sp>
        <p:nvSpPr>
          <p:cNvPr id="6" name="Title 1">
            <a:extLst>
              <a:ext uri="{FF2B5EF4-FFF2-40B4-BE49-F238E27FC236}">
                <a16:creationId xmlns:a16="http://schemas.microsoft.com/office/drawing/2014/main" id="{F25BB7E7-C869-C45C-A509-762CDEF7B4F8}"/>
              </a:ext>
            </a:extLst>
          </p:cNvPr>
          <p:cNvSpPr txBox="1">
            <a:spLocks/>
          </p:cNvSpPr>
          <p:nvPr/>
        </p:nvSpPr>
        <p:spPr>
          <a:xfrm>
            <a:off x="5969408" y="2191741"/>
            <a:ext cx="6051063" cy="1012373"/>
          </a:xfrm>
          <a:prstGeom prst="rect">
            <a:avLst/>
          </a:prstGeom>
        </p:spPr>
        <p:txBody>
          <a:bodyPr lIns="91440" tIns="45720" rIns="91440" bIns="45720" anchor="b"/>
          <a:lstStyle>
            <a:defPPr marR="0" lvl="0" algn="l" rtl="0">
              <a:lnSpc>
                <a:spcPct val="100000"/>
              </a:lnSpc>
              <a:spcBef>
                <a:spcPts val="0"/>
              </a:spcBef>
              <a:spcAft>
                <a:spcPts val="0"/>
              </a:spcAft>
            </a:defPPr>
            <a:lvl1pPr marR="0" lvl="0" algn="ctr" rtl="0" eaLnBrk="1" hangingPunct="1">
              <a:lnSpc>
                <a:spcPct val="100000"/>
              </a:lnSpc>
              <a:spcBef>
                <a:spcPts val="0"/>
              </a:spcBef>
              <a:spcAft>
                <a:spcPts val="0"/>
              </a:spcAft>
              <a:buClr>
                <a:srgbClr val="000000"/>
              </a:buClr>
              <a:buFont typeface="Arial"/>
              <a:defRPr sz="60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ts val="0"/>
              </a:spcAft>
              <a:buClr>
                <a:srgbClr val="000000"/>
              </a:buClr>
              <a:buSzTx/>
              <a:buFont typeface="Arial"/>
              <a:buNone/>
              <a:tabLst/>
              <a:defRPr/>
            </a:pPr>
            <a:r>
              <a:rPr kumimoji="0" lang="en-US" sz="3200" b="1" i="0" u="none" strike="noStrike" kern="1200" cap="none" spc="0" normalizeH="0" baseline="0" noProof="0" dirty="0" err="1">
                <a:ln w="6350" cap="flat">
                  <a:noFill/>
                  <a:miter lim="800000"/>
                </a:ln>
                <a:solidFill>
                  <a:srgbClr val="15853A"/>
                </a:solidFill>
                <a:effectLst/>
                <a:uLnTx/>
                <a:uFillTx/>
                <a:latin typeface="Arial"/>
                <a:cs typeface="Arial"/>
                <a:sym typeface="Arial"/>
              </a:rPr>
              <a:t>Programme</a:t>
            </a:r>
            <a:r>
              <a:rPr kumimoji="0" lang="en-US" sz="3200" b="1" i="0" u="none" strike="noStrike" kern="1200" cap="none" spc="0" normalizeH="0" baseline="0" noProof="0" dirty="0">
                <a:ln w="6350" cap="flat">
                  <a:noFill/>
                  <a:miter lim="800000"/>
                </a:ln>
                <a:solidFill>
                  <a:srgbClr val="15853A"/>
                </a:solidFill>
                <a:effectLst/>
                <a:uLnTx/>
                <a:uFillTx/>
                <a:latin typeface="Arial"/>
                <a:cs typeface="Arial"/>
                <a:sym typeface="Arial"/>
              </a:rPr>
              <a:t> </a:t>
            </a:r>
            <a:r>
              <a:rPr kumimoji="0" lang="en-US" sz="3200" b="1" i="0" u="none" strike="noStrike" kern="1200" cap="none" spc="0" normalizeH="0" baseline="0" noProof="0" dirty="0" err="1">
                <a:ln w="6350" cap="flat">
                  <a:noFill/>
                  <a:miter lim="800000"/>
                </a:ln>
                <a:solidFill>
                  <a:srgbClr val="15853A"/>
                </a:solidFill>
                <a:effectLst/>
                <a:uLnTx/>
                <a:uFillTx/>
                <a:latin typeface="Arial"/>
                <a:cs typeface="Arial"/>
                <a:sym typeface="Arial"/>
              </a:rPr>
              <a:t>Sauver</a:t>
            </a:r>
            <a:r>
              <a:rPr kumimoji="0" lang="en-US" sz="3200" b="1" i="0" u="none" strike="noStrike" kern="1200" cap="none" spc="0" normalizeH="0" baseline="0" noProof="0" dirty="0">
                <a:ln w="6350" cap="flat">
                  <a:noFill/>
                  <a:miter lim="800000"/>
                </a:ln>
                <a:solidFill>
                  <a:srgbClr val="15853A"/>
                </a:solidFill>
                <a:effectLst/>
                <a:uLnTx/>
                <a:uFillTx/>
                <a:latin typeface="Arial"/>
                <a:cs typeface="Arial"/>
                <a:sym typeface="Arial"/>
              </a:rPr>
              <a:t> des Vies et les </a:t>
            </a:r>
            <a:r>
              <a:rPr kumimoji="0" lang="en-US" sz="3200" b="1" i="0" u="none" strike="noStrike" kern="1200" cap="none" spc="0" normalizeH="0" baseline="0" noProof="0" dirty="0" err="1">
                <a:ln w="6350" cap="flat">
                  <a:noFill/>
                  <a:miter lim="800000"/>
                </a:ln>
                <a:solidFill>
                  <a:srgbClr val="15853A"/>
                </a:solidFill>
                <a:effectLst/>
                <a:uLnTx/>
                <a:uFillTx/>
                <a:latin typeface="Arial"/>
                <a:cs typeface="Arial"/>
                <a:sym typeface="Arial"/>
              </a:rPr>
              <a:t>Moyens</a:t>
            </a:r>
            <a:r>
              <a:rPr kumimoji="0" lang="en-US" sz="3200" b="1" i="0" u="none" strike="noStrike" kern="1200" cap="none" spc="0" normalizeH="0" baseline="0" noProof="0" dirty="0">
                <a:ln w="6350" cap="flat">
                  <a:noFill/>
                  <a:miter lim="800000"/>
                </a:ln>
                <a:solidFill>
                  <a:srgbClr val="15853A"/>
                </a:solidFill>
                <a:effectLst/>
                <a:uLnTx/>
                <a:uFillTx/>
                <a:latin typeface="Arial"/>
                <a:cs typeface="Arial"/>
                <a:sym typeface="Arial"/>
              </a:rPr>
              <a:t> de </a:t>
            </a:r>
            <a:r>
              <a:rPr kumimoji="0" lang="en-US" sz="3200" b="1" i="0" u="none" strike="noStrike" kern="1200" cap="none" spc="0" normalizeH="0" baseline="0" noProof="0" dirty="0" err="1">
                <a:ln w="6350" cap="flat">
                  <a:noFill/>
                  <a:miter lim="800000"/>
                </a:ln>
                <a:solidFill>
                  <a:srgbClr val="15853A"/>
                </a:solidFill>
                <a:effectLst/>
                <a:uLnTx/>
                <a:uFillTx/>
                <a:latin typeface="Arial"/>
                <a:cs typeface="Arial"/>
                <a:sym typeface="Arial"/>
              </a:rPr>
              <a:t>Subsistance</a:t>
            </a:r>
            <a:endParaRPr kumimoji="0" lang="en-US" sz="3200" b="0" i="0" u="none" strike="noStrike" kern="1200" cap="none" spc="0" normalizeH="0" baseline="0" noProof="0" dirty="0">
              <a:ln w="6350" cap="flat">
                <a:noFill/>
                <a:miter lim="800000"/>
              </a:ln>
              <a:solidFill>
                <a:srgbClr val="15853A"/>
              </a:solidFill>
              <a:effectLst/>
              <a:uLnTx/>
              <a:uFillTx/>
              <a:latin typeface="Arial"/>
              <a:cs typeface="Arial"/>
              <a:sym typeface="Arial"/>
            </a:endParaRPr>
          </a:p>
        </p:txBody>
      </p:sp>
    </p:spTree>
    <p:extLst>
      <p:ext uri="{BB962C8B-B14F-4D97-AF65-F5344CB8AC3E}">
        <p14:creationId xmlns:p14="http://schemas.microsoft.com/office/powerpoint/2010/main" val="32187643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E23A94D4-F7A6-40DD-AA98-DFC6A940DDF8}"/>
              </a:ext>
            </a:extLst>
          </p:cNvPr>
          <p:cNvGraphicFramePr>
            <a:graphicFrameLocks noChangeAspect="1"/>
          </p:cNvGraphicFramePr>
          <p:nvPr>
            <p:custDataLst>
              <p:tags r:id="rId1"/>
            </p:custDataLst>
            <p:extLst>
              <p:ext uri="{D42A27DB-BD31-4B8C-83A1-F6EECF244321}">
                <p14:modId xmlns:p14="http://schemas.microsoft.com/office/powerpoint/2010/main" val="119765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6" name="Object 6" hidden="1">
                        <a:extLst>
                          <a:ext uri="{FF2B5EF4-FFF2-40B4-BE49-F238E27FC236}">
                            <a16:creationId xmlns:a16="http://schemas.microsoft.com/office/drawing/2014/main" id="{E23A94D4-F7A6-40DD-AA98-DFC6A940DDF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F841F35-D604-4538-845D-994C36571206}"/>
              </a:ext>
            </a:extLst>
          </p:cNvPr>
          <p:cNvSpPr>
            <a:spLocks noGrp="1"/>
          </p:cNvSpPr>
          <p:nvPr>
            <p:ph type="title"/>
            <p:custDataLst>
              <p:tags r:id="rId2"/>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lgn="l" rtl="0"/>
            <a:r>
              <a:rPr lang="en-GB" dirty="0"/>
              <a:t>Un tel programme de transformation nous oblige à respecter en permanence les sept principes directeurs du Programme.</a:t>
            </a:r>
          </a:p>
        </p:txBody>
      </p:sp>
      <p:sp>
        <p:nvSpPr>
          <p:cNvPr id="80" name="Slide Number">
            <a:extLst>
              <a:ext uri="{FF2B5EF4-FFF2-40B4-BE49-F238E27FC236}">
                <a16:creationId xmlns:a16="http://schemas.microsoft.com/office/drawing/2014/main" id="{25320599-E866-4386-80BC-EC315E5FC3AD}"/>
              </a:ext>
            </a:extLst>
          </p:cNvPr>
          <p:cNvSpPr>
            <a:spLocks noChangeArrowheads="1"/>
          </p:cNvSpPr>
          <p:nvPr>
            <p:custDataLst>
              <p:tags r:id="rId3"/>
            </p:custDataLst>
          </p:nvPr>
        </p:nvSpPr>
        <p:spPr bwMode="black">
          <a:xfrm>
            <a:off x="11751882" y="6651286"/>
            <a:ext cx="325501" cy="92333"/>
          </a:xfrm>
          <a:prstGeom prst="rect">
            <a:avLst/>
          </a:prstGeom>
          <a:noFill/>
          <a:ln w="9525" algn="ctr">
            <a:noFill/>
            <a:miter lim="800000"/>
            <a:headEnd/>
            <a:tailEnd/>
          </a:ln>
          <a:effectLst/>
        </p:spPr>
        <p:txBody>
          <a:bodyPr wrap="square" lIns="0" tIns="0" rIns="0" bIns="0" anchor="b">
            <a:spAutoFit/>
          </a:bodyPr>
          <a:lstStyle/>
          <a:p>
            <a:pPr marL="0" marR="0" lvl="0" indent="0" algn="ct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610744"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pSp>
        <p:nvGrpSpPr>
          <p:cNvPr id="81" name="Group 4">
            <a:extLst>
              <a:ext uri="{FF2B5EF4-FFF2-40B4-BE49-F238E27FC236}">
                <a16:creationId xmlns:a16="http://schemas.microsoft.com/office/drawing/2014/main" id="{AF6B8AB4-AB54-4A42-A903-B26F03BD4380}"/>
              </a:ext>
            </a:extLst>
          </p:cNvPr>
          <p:cNvGrpSpPr>
            <a:grpSpLocks noChangeAspect="1"/>
          </p:cNvGrpSpPr>
          <p:nvPr/>
        </p:nvGrpSpPr>
        <p:grpSpPr bwMode="ltGray">
          <a:xfrm>
            <a:off x="11320824" y="6417372"/>
            <a:ext cx="394856" cy="373880"/>
            <a:chOff x="-240" y="2757"/>
            <a:chExt cx="960" cy="909"/>
          </a:xfrm>
        </p:grpSpPr>
        <p:sp>
          <p:nvSpPr>
            <p:cNvPr id="82" name="Freeform 5">
              <a:extLst>
                <a:ext uri="{FF2B5EF4-FFF2-40B4-BE49-F238E27FC236}">
                  <a16:creationId xmlns:a16="http://schemas.microsoft.com/office/drawing/2014/main" id="{0B6791D0-2469-4E34-A263-B47BDF4F2163}"/>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Rectangle 6">
              <a:extLst>
                <a:ext uri="{FF2B5EF4-FFF2-40B4-BE49-F238E27FC236}">
                  <a16:creationId xmlns:a16="http://schemas.microsoft.com/office/drawing/2014/main" id="{0A5F9CCA-0008-42B1-864B-0E3FD9A186A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7">
              <a:extLst>
                <a:ext uri="{FF2B5EF4-FFF2-40B4-BE49-F238E27FC236}">
                  <a16:creationId xmlns:a16="http://schemas.microsoft.com/office/drawing/2014/main" id="{3BE4C2AD-CBF4-4411-913A-A4A2DB9670B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8">
              <a:extLst>
                <a:ext uri="{FF2B5EF4-FFF2-40B4-BE49-F238E27FC236}">
                  <a16:creationId xmlns:a16="http://schemas.microsoft.com/office/drawing/2014/main" id="{34643AFF-7AA2-4B40-B81F-F6415760CF49}"/>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Freeform 9">
              <a:extLst>
                <a:ext uri="{FF2B5EF4-FFF2-40B4-BE49-F238E27FC236}">
                  <a16:creationId xmlns:a16="http://schemas.microsoft.com/office/drawing/2014/main" id="{85F70535-27FC-4BFF-B63E-2B47D74AF634}"/>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5CC0F468-C3C3-462F-942F-97061B0CF3BB}"/>
              </a:ext>
            </a:extLst>
          </p:cNvPr>
          <p:cNvGrpSpPr/>
          <p:nvPr/>
        </p:nvGrpSpPr>
        <p:grpSpPr>
          <a:xfrm>
            <a:off x="542039" y="1245134"/>
            <a:ext cx="2317638" cy="2375521"/>
            <a:chOff x="542039" y="1245134"/>
            <a:chExt cx="2317638" cy="2375521"/>
          </a:xfrm>
        </p:grpSpPr>
        <p:sp>
          <p:nvSpPr>
            <p:cNvPr id="39" name="Rounded Rectangle 325">
              <a:extLst>
                <a:ext uri="{FF2B5EF4-FFF2-40B4-BE49-F238E27FC236}">
                  <a16:creationId xmlns:a16="http://schemas.microsoft.com/office/drawing/2014/main" id="{9DADC477-8516-4FB2-B2A9-47818157943C}"/>
                </a:ext>
              </a:extLst>
            </p:cNvPr>
            <p:cNvSpPr/>
            <p:nvPr/>
          </p:nvSpPr>
          <p:spPr>
            <a:xfrm>
              <a:off x="542039" y="1634045"/>
              <a:ext cx="2131553" cy="1986610"/>
            </a:xfrm>
            <a:prstGeom prst="roundRect">
              <a:avLst>
                <a:gd name="adj" fmla="val 15323"/>
              </a:avLst>
            </a:prstGeom>
            <a:solidFill>
              <a:schemeClr val="accent1"/>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40" name="Freeform 326">
              <a:extLst>
                <a:ext uri="{FF2B5EF4-FFF2-40B4-BE49-F238E27FC236}">
                  <a16:creationId xmlns:a16="http://schemas.microsoft.com/office/drawing/2014/main" id="{3F97D0DF-4550-4403-B9EB-D66BE0BFF2FA}"/>
                </a:ext>
              </a:extLst>
            </p:cNvPr>
            <p:cNvSpPr/>
            <p:nvPr/>
          </p:nvSpPr>
          <p:spPr>
            <a:xfrm>
              <a:off x="1890815" y="1245134"/>
              <a:ext cx="968862" cy="973598"/>
            </a:xfrm>
            <a:custGeom>
              <a:avLst/>
              <a:gdLst/>
              <a:ahLst/>
              <a:cxnLst>
                <a:cxn ang="3cd4">
                  <a:pos x="hc" y="t"/>
                </a:cxn>
                <a:cxn ang="cd2">
                  <a:pos x="l" y="vc"/>
                </a:cxn>
                <a:cxn ang="cd4">
                  <a:pos x="hc" y="b"/>
                </a:cxn>
                <a:cxn ang="0">
                  <a:pos x="r" y="vc"/>
                </a:cxn>
              </a:cxnLst>
              <a:rect l="l" t="t" r="r" b="b"/>
              <a:pathLst>
                <a:path w="1544" h="1551">
                  <a:moveTo>
                    <a:pt x="772" y="1551"/>
                  </a:moveTo>
                  <a:cubicBezTo>
                    <a:pt x="347" y="1551"/>
                    <a:pt x="0" y="1203"/>
                    <a:pt x="0" y="779"/>
                  </a:cubicBezTo>
                  <a:lnTo>
                    <a:pt x="0" y="772"/>
                  </a:lnTo>
                  <a:cubicBezTo>
                    <a:pt x="0" y="348"/>
                    <a:pt x="347" y="0"/>
                    <a:pt x="772" y="0"/>
                  </a:cubicBezTo>
                  <a:cubicBezTo>
                    <a:pt x="1196" y="0"/>
                    <a:pt x="1544" y="348"/>
                    <a:pt x="1544" y="772"/>
                  </a:cubicBezTo>
                  <a:lnTo>
                    <a:pt x="1544" y="779"/>
                  </a:lnTo>
                  <a:cubicBezTo>
                    <a:pt x="1544" y="1203"/>
                    <a:pt x="1196" y="1551"/>
                    <a:pt x="772" y="1551"/>
                  </a:cubicBezTo>
                  <a:close/>
                </a:path>
              </a:pathLst>
            </a:custGeom>
            <a:solidFill>
              <a:schemeClr val="bg2"/>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42" name="Freeform 334">
              <a:extLst>
                <a:ext uri="{FF2B5EF4-FFF2-40B4-BE49-F238E27FC236}">
                  <a16:creationId xmlns:a16="http://schemas.microsoft.com/office/drawing/2014/main" id="{9DAE9425-1CF7-4AD6-A83E-D91A8F7C3839}"/>
                </a:ext>
              </a:extLst>
            </p:cNvPr>
            <p:cNvSpPr/>
            <p:nvPr/>
          </p:nvSpPr>
          <p:spPr>
            <a:xfrm>
              <a:off x="1993164" y="1350031"/>
              <a:ext cx="764162" cy="763804"/>
            </a:xfrm>
            <a:custGeom>
              <a:avLst/>
              <a:gdLst/>
              <a:ahLst/>
              <a:cxnLst>
                <a:cxn ang="3cd4">
                  <a:pos x="hc" y="t"/>
                </a:cxn>
                <a:cxn ang="cd2">
                  <a:pos x="l" y="vc"/>
                </a:cxn>
                <a:cxn ang="cd4">
                  <a:pos x="hc" y="b"/>
                </a:cxn>
                <a:cxn ang="0">
                  <a:pos x="r" y="vc"/>
                </a:cxn>
              </a:cxnLst>
              <a:rect l="l" t="t" r="r" b="b"/>
              <a:pathLst>
                <a:path w="1218" h="1217">
                  <a:moveTo>
                    <a:pt x="1218" y="608"/>
                  </a:moveTo>
                  <a:cubicBezTo>
                    <a:pt x="1218" y="945"/>
                    <a:pt x="945" y="1217"/>
                    <a:pt x="609" y="1217"/>
                  </a:cubicBezTo>
                  <a:cubicBezTo>
                    <a:pt x="273" y="1217"/>
                    <a:pt x="0" y="945"/>
                    <a:pt x="0" y="608"/>
                  </a:cubicBezTo>
                  <a:cubicBezTo>
                    <a:pt x="0" y="273"/>
                    <a:pt x="273" y="0"/>
                    <a:pt x="609" y="0"/>
                  </a:cubicBezTo>
                  <a:cubicBezTo>
                    <a:pt x="945" y="0"/>
                    <a:pt x="1218" y="273"/>
                    <a:pt x="1218" y="608"/>
                  </a:cubicBezTo>
                  <a:close/>
                </a:path>
              </a:pathLst>
            </a:custGeom>
            <a:noFill/>
            <a:ln w="139700" cap="flat">
              <a:solidFill>
                <a:schemeClr val="accent1"/>
              </a:solidFill>
              <a:prstDash val="solid"/>
              <a:round/>
            </a:ln>
          </p:spPr>
          <p:txBody>
            <a:bodyPr vert="horz" wrap="none" lIns="20160" tIns="20160" rIns="20160" bIns="2016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pic>
          <p:nvPicPr>
            <p:cNvPr id="107" name="Graphic 106">
              <a:extLst>
                <a:ext uri="{FF2B5EF4-FFF2-40B4-BE49-F238E27FC236}">
                  <a16:creationId xmlns:a16="http://schemas.microsoft.com/office/drawing/2014/main" id="{7B429CF7-CC06-4B69-B941-84C166738A0F}"/>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184380" y="1540627"/>
              <a:ext cx="382613" cy="382613"/>
            </a:xfrm>
            <a:prstGeom prst="rect">
              <a:avLst/>
            </a:prstGeom>
          </p:spPr>
        </p:pic>
        <p:sp>
          <p:nvSpPr>
            <p:cNvPr id="132" name="Rectangle 131">
              <a:extLst>
                <a:ext uri="{FF2B5EF4-FFF2-40B4-BE49-F238E27FC236}">
                  <a16:creationId xmlns:a16="http://schemas.microsoft.com/office/drawing/2014/main" id="{44649809-7DA7-4374-89B5-6CD85DD26A64}"/>
                </a:ext>
              </a:extLst>
            </p:cNvPr>
            <p:cNvSpPr>
              <a:spLocks/>
            </p:cNvSpPr>
            <p:nvPr>
              <p:custDataLst>
                <p:tags r:id="rId10"/>
              </p:custDataLst>
            </p:nvPr>
          </p:nvSpPr>
          <p:spPr>
            <a:xfrm>
              <a:off x="665017" y="2027050"/>
              <a:ext cx="2008573" cy="1112980"/>
            </a:xfrm>
            <a:prstGeom prst="rect">
              <a:avLst/>
            </a:prstGeom>
            <a:no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b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clusivité</a:t>
              </a:r>
            </a:p>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clure tous les pays et communautés africains</a:t>
              </a:r>
              <a:endParaRPr kumimoji="0" lang="en-GB"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pSp>
      <p:grpSp>
        <p:nvGrpSpPr>
          <p:cNvPr id="8" name="Group 7">
            <a:extLst>
              <a:ext uri="{FF2B5EF4-FFF2-40B4-BE49-F238E27FC236}">
                <a16:creationId xmlns:a16="http://schemas.microsoft.com/office/drawing/2014/main" id="{A93EA1BF-5C11-4FAB-9ADC-75C5CD99F3FB}"/>
              </a:ext>
            </a:extLst>
          </p:cNvPr>
          <p:cNvGrpSpPr/>
          <p:nvPr/>
        </p:nvGrpSpPr>
        <p:grpSpPr>
          <a:xfrm>
            <a:off x="3474453" y="1245134"/>
            <a:ext cx="2317638" cy="2375521"/>
            <a:chOff x="3614607" y="1245134"/>
            <a:chExt cx="2317638" cy="2375521"/>
          </a:xfrm>
        </p:grpSpPr>
        <p:sp>
          <p:nvSpPr>
            <p:cNvPr id="53" name="Rounded Rectangle 325">
              <a:extLst>
                <a:ext uri="{FF2B5EF4-FFF2-40B4-BE49-F238E27FC236}">
                  <a16:creationId xmlns:a16="http://schemas.microsoft.com/office/drawing/2014/main" id="{FC3E551B-32E8-47B7-A8E6-98F8B57C217B}"/>
                </a:ext>
              </a:extLst>
            </p:cNvPr>
            <p:cNvSpPr/>
            <p:nvPr/>
          </p:nvSpPr>
          <p:spPr>
            <a:xfrm>
              <a:off x="3614607" y="1634045"/>
              <a:ext cx="2131553" cy="1986610"/>
            </a:xfrm>
            <a:prstGeom prst="roundRect">
              <a:avLst>
                <a:gd name="adj" fmla="val 15323"/>
              </a:avLst>
            </a:prstGeom>
            <a:solidFill>
              <a:schemeClr val="accent3"/>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56" name="Freeform 326">
              <a:extLst>
                <a:ext uri="{FF2B5EF4-FFF2-40B4-BE49-F238E27FC236}">
                  <a16:creationId xmlns:a16="http://schemas.microsoft.com/office/drawing/2014/main" id="{AB1F10AB-7CB1-4868-B80A-C27F11A48B46}"/>
                </a:ext>
              </a:extLst>
            </p:cNvPr>
            <p:cNvSpPr/>
            <p:nvPr/>
          </p:nvSpPr>
          <p:spPr>
            <a:xfrm>
              <a:off x="4963383" y="1245134"/>
              <a:ext cx="968862" cy="973598"/>
            </a:xfrm>
            <a:custGeom>
              <a:avLst/>
              <a:gdLst/>
              <a:ahLst/>
              <a:cxnLst>
                <a:cxn ang="3cd4">
                  <a:pos x="hc" y="t"/>
                </a:cxn>
                <a:cxn ang="cd2">
                  <a:pos x="l" y="vc"/>
                </a:cxn>
                <a:cxn ang="cd4">
                  <a:pos x="hc" y="b"/>
                </a:cxn>
                <a:cxn ang="0">
                  <a:pos x="r" y="vc"/>
                </a:cxn>
              </a:cxnLst>
              <a:rect l="l" t="t" r="r" b="b"/>
              <a:pathLst>
                <a:path w="1544" h="1551">
                  <a:moveTo>
                    <a:pt x="772" y="1551"/>
                  </a:moveTo>
                  <a:cubicBezTo>
                    <a:pt x="347" y="1551"/>
                    <a:pt x="0" y="1203"/>
                    <a:pt x="0" y="779"/>
                  </a:cubicBezTo>
                  <a:lnTo>
                    <a:pt x="0" y="772"/>
                  </a:lnTo>
                  <a:cubicBezTo>
                    <a:pt x="0" y="348"/>
                    <a:pt x="347" y="0"/>
                    <a:pt x="772" y="0"/>
                  </a:cubicBezTo>
                  <a:cubicBezTo>
                    <a:pt x="1196" y="0"/>
                    <a:pt x="1544" y="348"/>
                    <a:pt x="1544" y="772"/>
                  </a:cubicBezTo>
                  <a:lnTo>
                    <a:pt x="1544" y="779"/>
                  </a:lnTo>
                  <a:cubicBezTo>
                    <a:pt x="1544" y="1203"/>
                    <a:pt x="1196" y="1551"/>
                    <a:pt x="772" y="1551"/>
                  </a:cubicBezTo>
                  <a:close/>
                </a:path>
              </a:pathLst>
            </a:custGeom>
            <a:solidFill>
              <a:schemeClr val="bg2"/>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62" name="Freeform 334">
              <a:extLst>
                <a:ext uri="{FF2B5EF4-FFF2-40B4-BE49-F238E27FC236}">
                  <a16:creationId xmlns:a16="http://schemas.microsoft.com/office/drawing/2014/main" id="{F08966AC-B7F2-40E6-A0C4-868490B2FDFC}"/>
                </a:ext>
              </a:extLst>
            </p:cNvPr>
            <p:cNvSpPr/>
            <p:nvPr/>
          </p:nvSpPr>
          <p:spPr>
            <a:xfrm>
              <a:off x="5065732" y="1350031"/>
              <a:ext cx="764162" cy="763804"/>
            </a:xfrm>
            <a:custGeom>
              <a:avLst/>
              <a:gdLst/>
              <a:ahLst/>
              <a:cxnLst>
                <a:cxn ang="3cd4">
                  <a:pos x="hc" y="t"/>
                </a:cxn>
                <a:cxn ang="cd2">
                  <a:pos x="l" y="vc"/>
                </a:cxn>
                <a:cxn ang="cd4">
                  <a:pos x="hc" y="b"/>
                </a:cxn>
                <a:cxn ang="0">
                  <a:pos x="r" y="vc"/>
                </a:cxn>
              </a:cxnLst>
              <a:rect l="l" t="t" r="r" b="b"/>
              <a:pathLst>
                <a:path w="1218" h="1217">
                  <a:moveTo>
                    <a:pt x="1218" y="608"/>
                  </a:moveTo>
                  <a:cubicBezTo>
                    <a:pt x="1218" y="945"/>
                    <a:pt x="945" y="1217"/>
                    <a:pt x="609" y="1217"/>
                  </a:cubicBezTo>
                  <a:cubicBezTo>
                    <a:pt x="273" y="1217"/>
                    <a:pt x="0" y="945"/>
                    <a:pt x="0" y="608"/>
                  </a:cubicBezTo>
                  <a:cubicBezTo>
                    <a:pt x="0" y="273"/>
                    <a:pt x="273" y="0"/>
                    <a:pt x="609" y="0"/>
                  </a:cubicBezTo>
                  <a:cubicBezTo>
                    <a:pt x="945" y="0"/>
                    <a:pt x="1218" y="273"/>
                    <a:pt x="1218" y="608"/>
                  </a:cubicBezTo>
                  <a:close/>
                </a:path>
              </a:pathLst>
            </a:custGeom>
            <a:noFill/>
            <a:ln w="139700" cap="flat">
              <a:solidFill>
                <a:schemeClr val="accent3"/>
              </a:solidFill>
              <a:prstDash val="solid"/>
              <a:round/>
            </a:ln>
          </p:spPr>
          <p:txBody>
            <a:bodyPr vert="horz" wrap="none" lIns="20160" tIns="20160" rIns="20160" bIns="2016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pic>
          <p:nvPicPr>
            <p:cNvPr id="111" name="Graphic 110">
              <a:extLst>
                <a:ext uri="{FF2B5EF4-FFF2-40B4-BE49-F238E27FC236}">
                  <a16:creationId xmlns:a16="http://schemas.microsoft.com/office/drawing/2014/main" id="{B2857744-17F7-4A5B-8D53-4F1BF75DEF5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256506" y="1540627"/>
              <a:ext cx="382613" cy="382613"/>
            </a:xfrm>
            <a:prstGeom prst="rect">
              <a:avLst/>
            </a:prstGeom>
          </p:spPr>
        </p:pic>
        <p:sp>
          <p:nvSpPr>
            <p:cNvPr id="133" name="Rectangle 132">
              <a:extLst>
                <a:ext uri="{FF2B5EF4-FFF2-40B4-BE49-F238E27FC236}">
                  <a16:creationId xmlns:a16="http://schemas.microsoft.com/office/drawing/2014/main" id="{A96EB0C8-5B39-4FC6-95B3-65A14BDB7BA2}"/>
                </a:ext>
              </a:extLst>
            </p:cNvPr>
            <p:cNvSpPr>
              <a:spLocks/>
            </p:cNvSpPr>
            <p:nvPr>
              <p:custDataLst>
                <p:tags r:id="rId9"/>
              </p:custDataLst>
            </p:nvPr>
          </p:nvSpPr>
          <p:spPr>
            <a:xfrm>
              <a:off x="3705453" y="2027050"/>
              <a:ext cx="1933665" cy="1112980"/>
            </a:xfrm>
            <a:prstGeom prst="rect">
              <a:avLst/>
            </a:prstGeom>
            <a:no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b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Équité</a:t>
              </a:r>
            </a:p>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fléter les circonstances et les besoins des pays</a:t>
              </a:r>
            </a:p>
          </p:txBody>
        </p:sp>
      </p:grpSp>
      <p:grpSp>
        <p:nvGrpSpPr>
          <p:cNvPr id="7" name="Group 6">
            <a:extLst>
              <a:ext uri="{FF2B5EF4-FFF2-40B4-BE49-F238E27FC236}">
                <a16:creationId xmlns:a16="http://schemas.microsoft.com/office/drawing/2014/main" id="{AB8604C3-2345-4E3D-A69C-782DC89EA3F9}"/>
              </a:ext>
            </a:extLst>
          </p:cNvPr>
          <p:cNvGrpSpPr/>
          <p:nvPr/>
        </p:nvGrpSpPr>
        <p:grpSpPr>
          <a:xfrm>
            <a:off x="6406867" y="1245134"/>
            <a:ext cx="2317638" cy="2375522"/>
            <a:chOff x="6687175" y="1245134"/>
            <a:chExt cx="2317638" cy="2375522"/>
          </a:xfrm>
        </p:grpSpPr>
        <p:sp>
          <p:nvSpPr>
            <p:cNvPr id="69" name="Rounded Rectangle 325">
              <a:extLst>
                <a:ext uri="{FF2B5EF4-FFF2-40B4-BE49-F238E27FC236}">
                  <a16:creationId xmlns:a16="http://schemas.microsoft.com/office/drawing/2014/main" id="{F857452B-6AE3-4E09-AC78-F39DA3609AB9}"/>
                </a:ext>
              </a:extLst>
            </p:cNvPr>
            <p:cNvSpPr/>
            <p:nvPr/>
          </p:nvSpPr>
          <p:spPr>
            <a:xfrm>
              <a:off x="6687175" y="1634046"/>
              <a:ext cx="2131553" cy="1986610"/>
            </a:xfrm>
            <a:prstGeom prst="roundRect">
              <a:avLst>
                <a:gd name="adj" fmla="val 15323"/>
              </a:avLst>
            </a:prstGeom>
            <a:solidFill>
              <a:schemeClr val="accent5"/>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70" name="Freeform 326">
              <a:extLst>
                <a:ext uri="{FF2B5EF4-FFF2-40B4-BE49-F238E27FC236}">
                  <a16:creationId xmlns:a16="http://schemas.microsoft.com/office/drawing/2014/main" id="{51F807BD-049A-405F-BF00-8710BA8259C1}"/>
                </a:ext>
              </a:extLst>
            </p:cNvPr>
            <p:cNvSpPr/>
            <p:nvPr/>
          </p:nvSpPr>
          <p:spPr>
            <a:xfrm>
              <a:off x="8035951" y="1245134"/>
              <a:ext cx="968862" cy="973598"/>
            </a:xfrm>
            <a:custGeom>
              <a:avLst/>
              <a:gdLst/>
              <a:ahLst/>
              <a:cxnLst>
                <a:cxn ang="3cd4">
                  <a:pos x="hc" y="t"/>
                </a:cxn>
                <a:cxn ang="cd2">
                  <a:pos x="l" y="vc"/>
                </a:cxn>
                <a:cxn ang="cd4">
                  <a:pos x="hc" y="b"/>
                </a:cxn>
                <a:cxn ang="0">
                  <a:pos x="r" y="vc"/>
                </a:cxn>
              </a:cxnLst>
              <a:rect l="l" t="t" r="r" b="b"/>
              <a:pathLst>
                <a:path w="1544" h="1551">
                  <a:moveTo>
                    <a:pt x="772" y="1551"/>
                  </a:moveTo>
                  <a:cubicBezTo>
                    <a:pt x="347" y="1551"/>
                    <a:pt x="0" y="1203"/>
                    <a:pt x="0" y="779"/>
                  </a:cubicBezTo>
                  <a:lnTo>
                    <a:pt x="0" y="772"/>
                  </a:lnTo>
                  <a:cubicBezTo>
                    <a:pt x="0" y="348"/>
                    <a:pt x="347" y="0"/>
                    <a:pt x="772" y="0"/>
                  </a:cubicBezTo>
                  <a:cubicBezTo>
                    <a:pt x="1196" y="0"/>
                    <a:pt x="1544" y="348"/>
                    <a:pt x="1544" y="772"/>
                  </a:cubicBezTo>
                  <a:lnTo>
                    <a:pt x="1544" y="779"/>
                  </a:lnTo>
                  <a:cubicBezTo>
                    <a:pt x="1544" y="1203"/>
                    <a:pt x="1196" y="1551"/>
                    <a:pt x="772" y="1551"/>
                  </a:cubicBezTo>
                  <a:close/>
                </a:path>
              </a:pathLst>
            </a:custGeom>
            <a:solidFill>
              <a:schemeClr val="bg2"/>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72" name="Freeform 334">
              <a:extLst>
                <a:ext uri="{FF2B5EF4-FFF2-40B4-BE49-F238E27FC236}">
                  <a16:creationId xmlns:a16="http://schemas.microsoft.com/office/drawing/2014/main" id="{AB72E28D-B206-4F37-8177-9B6A62F6B5DF}"/>
                </a:ext>
              </a:extLst>
            </p:cNvPr>
            <p:cNvSpPr/>
            <p:nvPr/>
          </p:nvSpPr>
          <p:spPr>
            <a:xfrm>
              <a:off x="8138300" y="1350031"/>
              <a:ext cx="764162" cy="763804"/>
            </a:xfrm>
            <a:custGeom>
              <a:avLst/>
              <a:gdLst/>
              <a:ahLst/>
              <a:cxnLst>
                <a:cxn ang="3cd4">
                  <a:pos x="hc" y="t"/>
                </a:cxn>
                <a:cxn ang="cd2">
                  <a:pos x="l" y="vc"/>
                </a:cxn>
                <a:cxn ang="cd4">
                  <a:pos x="hc" y="b"/>
                </a:cxn>
                <a:cxn ang="0">
                  <a:pos x="r" y="vc"/>
                </a:cxn>
              </a:cxnLst>
              <a:rect l="l" t="t" r="r" b="b"/>
              <a:pathLst>
                <a:path w="1218" h="1217">
                  <a:moveTo>
                    <a:pt x="1218" y="608"/>
                  </a:moveTo>
                  <a:cubicBezTo>
                    <a:pt x="1218" y="945"/>
                    <a:pt x="945" y="1217"/>
                    <a:pt x="609" y="1217"/>
                  </a:cubicBezTo>
                  <a:cubicBezTo>
                    <a:pt x="273" y="1217"/>
                    <a:pt x="0" y="945"/>
                    <a:pt x="0" y="608"/>
                  </a:cubicBezTo>
                  <a:cubicBezTo>
                    <a:pt x="0" y="273"/>
                    <a:pt x="273" y="0"/>
                    <a:pt x="609" y="0"/>
                  </a:cubicBezTo>
                  <a:cubicBezTo>
                    <a:pt x="945" y="0"/>
                    <a:pt x="1218" y="273"/>
                    <a:pt x="1218" y="608"/>
                  </a:cubicBezTo>
                  <a:close/>
                </a:path>
              </a:pathLst>
            </a:custGeom>
            <a:noFill/>
            <a:ln w="139700" cap="flat">
              <a:solidFill>
                <a:schemeClr val="accent5"/>
              </a:solidFill>
              <a:prstDash val="solid"/>
              <a:round/>
            </a:ln>
          </p:spPr>
          <p:txBody>
            <a:bodyPr vert="horz" wrap="none" lIns="20160" tIns="20160" rIns="20160" bIns="2016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pic>
          <p:nvPicPr>
            <p:cNvPr id="114" name="Graphic 113">
              <a:extLst>
                <a:ext uri="{FF2B5EF4-FFF2-40B4-BE49-F238E27FC236}">
                  <a16:creationId xmlns:a16="http://schemas.microsoft.com/office/drawing/2014/main" id="{4FA7A977-CE27-4613-904E-974E25790644}"/>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329074" y="1540627"/>
              <a:ext cx="382613" cy="382613"/>
            </a:xfrm>
            <a:prstGeom prst="rect">
              <a:avLst/>
            </a:prstGeom>
          </p:spPr>
        </p:pic>
        <p:sp>
          <p:nvSpPr>
            <p:cNvPr id="134" name="Rectangle 133">
              <a:extLst>
                <a:ext uri="{FF2B5EF4-FFF2-40B4-BE49-F238E27FC236}">
                  <a16:creationId xmlns:a16="http://schemas.microsoft.com/office/drawing/2014/main" id="{5E737FEA-3168-4F31-A38A-1CE4CFBCF59A}"/>
                </a:ext>
              </a:extLst>
            </p:cNvPr>
            <p:cNvSpPr>
              <a:spLocks/>
            </p:cNvSpPr>
            <p:nvPr>
              <p:custDataLst>
                <p:tags r:id="rId8"/>
              </p:custDataLst>
            </p:nvPr>
          </p:nvSpPr>
          <p:spPr>
            <a:xfrm>
              <a:off x="6778021" y="2027050"/>
              <a:ext cx="1933665" cy="1112980"/>
            </a:xfrm>
            <a:prstGeom prst="rect">
              <a:avLst/>
            </a:prstGeom>
            <a:no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b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sponsabilité</a:t>
              </a:r>
            </a:p>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Utiliser les ressources de manière appropriée, efficace et transparente</a:t>
              </a:r>
            </a:p>
          </p:txBody>
        </p:sp>
      </p:grpSp>
      <p:grpSp>
        <p:nvGrpSpPr>
          <p:cNvPr id="3" name="Group 2">
            <a:extLst>
              <a:ext uri="{FF2B5EF4-FFF2-40B4-BE49-F238E27FC236}">
                <a16:creationId xmlns:a16="http://schemas.microsoft.com/office/drawing/2014/main" id="{5806DBFE-9C03-41BA-8CDB-40308F58AB8A}"/>
              </a:ext>
            </a:extLst>
          </p:cNvPr>
          <p:cNvGrpSpPr/>
          <p:nvPr/>
        </p:nvGrpSpPr>
        <p:grpSpPr>
          <a:xfrm>
            <a:off x="9339280" y="1245134"/>
            <a:ext cx="2317638" cy="2375521"/>
            <a:chOff x="9759745" y="1245134"/>
            <a:chExt cx="2317638" cy="2375521"/>
          </a:xfrm>
        </p:grpSpPr>
        <p:sp>
          <p:nvSpPr>
            <p:cNvPr id="75" name="Rounded Rectangle 325">
              <a:extLst>
                <a:ext uri="{FF2B5EF4-FFF2-40B4-BE49-F238E27FC236}">
                  <a16:creationId xmlns:a16="http://schemas.microsoft.com/office/drawing/2014/main" id="{F901BEEE-5887-4E40-9661-E8DB2C4AA997}"/>
                </a:ext>
              </a:extLst>
            </p:cNvPr>
            <p:cNvSpPr/>
            <p:nvPr/>
          </p:nvSpPr>
          <p:spPr>
            <a:xfrm>
              <a:off x="9759745" y="1634045"/>
              <a:ext cx="2131553" cy="1986610"/>
            </a:xfrm>
            <a:prstGeom prst="roundRect">
              <a:avLst>
                <a:gd name="adj" fmla="val 15323"/>
              </a:avLst>
            </a:prstGeom>
            <a:solidFill>
              <a:schemeClr val="accent2"/>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76" name="Freeform 326">
              <a:extLst>
                <a:ext uri="{FF2B5EF4-FFF2-40B4-BE49-F238E27FC236}">
                  <a16:creationId xmlns:a16="http://schemas.microsoft.com/office/drawing/2014/main" id="{3D1F6A4C-4286-4705-8232-C7B1CAFF2BDF}"/>
                </a:ext>
              </a:extLst>
            </p:cNvPr>
            <p:cNvSpPr/>
            <p:nvPr/>
          </p:nvSpPr>
          <p:spPr>
            <a:xfrm>
              <a:off x="11108521" y="1245134"/>
              <a:ext cx="968862" cy="973598"/>
            </a:xfrm>
            <a:custGeom>
              <a:avLst/>
              <a:gdLst/>
              <a:ahLst/>
              <a:cxnLst>
                <a:cxn ang="3cd4">
                  <a:pos x="hc" y="t"/>
                </a:cxn>
                <a:cxn ang="cd2">
                  <a:pos x="l" y="vc"/>
                </a:cxn>
                <a:cxn ang="cd4">
                  <a:pos x="hc" y="b"/>
                </a:cxn>
                <a:cxn ang="0">
                  <a:pos x="r" y="vc"/>
                </a:cxn>
              </a:cxnLst>
              <a:rect l="l" t="t" r="r" b="b"/>
              <a:pathLst>
                <a:path w="1544" h="1551">
                  <a:moveTo>
                    <a:pt x="772" y="1551"/>
                  </a:moveTo>
                  <a:cubicBezTo>
                    <a:pt x="347" y="1551"/>
                    <a:pt x="0" y="1203"/>
                    <a:pt x="0" y="779"/>
                  </a:cubicBezTo>
                  <a:lnTo>
                    <a:pt x="0" y="772"/>
                  </a:lnTo>
                  <a:cubicBezTo>
                    <a:pt x="0" y="348"/>
                    <a:pt x="347" y="0"/>
                    <a:pt x="772" y="0"/>
                  </a:cubicBezTo>
                  <a:cubicBezTo>
                    <a:pt x="1196" y="0"/>
                    <a:pt x="1544" y="348"/>
                    <a:pt x="1544" y="772"/>
                  </a:cubicBezTo>
                  <a:lnTo>
                    <a:pt x="1544" y="779"/>
                  </a:lnTo>
                  <a:cubicBezTo>
                    <a:pt x="1544" y="1203"/>
                    <a:pt x="1196" y="1551"/>
                    <a:pt x="772" y="1551"/>
                  </a:cubicBezTo>
                  <a:close/>
                </a:path>
              </a:pathLst>
            </a:custGeom>
            <a:solidFill>
              <a:schemeClr val="bg2"/>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78" name="Freeform 334">
              <a:extLst>
                <a:ext uri="{FF2B5EF4-FFF2-40B4-BE49-F238E27FC236}">
                  <a16:creationId xmlns:a16="http://schemas.microsoft.com/office/drawing/2014/main" id="{122F8977-1E18-4610-98F5-E19C19E19799}"/>
                </a:ext>
              </a:extLst>
            </p:cNvPr>
            <p:cNvSpPr/>
            <p:nvPr/>
          </p:nvSpPr>
          <p:spPr>
            <a:xfrm>
              <a:off x="11210870" y="1350031"/>
              <a:ext cx="764162" cy="763804"/>
            </a:xfrm>
            <a:custGeom>
              <a:avLst/>
              <a:gdLst/>
              <a:ahLst/>
              <a:cxnLst>
                <a:cxn ang="3cd4">
                  <a:pos x="hc" y="t"/>
                </a:cxn>
                <a:cxn ang="cd2">
                  <a:pos x="l" y="vc"/>
                </a:cxn>
                <a:cxn ang="cd4">
                  <a:pos x="hc" y="b"/>
                </a:cxn>
                <a:cxn ang="0">
                  <a:pos x="r" y="vc"/>
                </a:cxn>
              </a:cxnLst>
              <a:rect l="l" t="t" r="r" b="b"/>
              <a:pathLst>
                <a:path w="1218" h="1217">
                  <a:moveTo>
                    <a:pt x="1218" y="608"/>
                  </a:moveTo>
                  <a:cubicBezTo>
                    <a:pt x="1218" y="945"/>
                    <a:pt x="945" y="1217"/>
                    <a:pt x="609" y="1217"/>
                  </a:cubicBezTo>
                  <a:cubicBezTo>
                    <a:pt x="273" y="1217"/>
                    <a:pt x="0" y="945"/>
                    <a:pt x="0" y="608"/>
                  </a:cubicBezTo>
                  <a:cubicBezTo>
                    <a:pt x="0" y="273"/>
                    <a:pt x="273" y="0"/>
                    <a:pt x="609" y="0"/>
                  </a:cubicBezTo>
                  <a:cubicBezTo>
                    <a:pt x="945" y="0"/>
                    <a:pt x="1218" y="273"/>
                    <a:pt x="1218" y="608"/>
                  </a:cubicBezTo>
                  <a:close/>
                </a:path>
              </a:pathLst>
            </a:custGeom>
            <a:noFill/>
            <a:ln w="139700" cap="flat">
              <a:solidFill>
                <a:schemeClr val="accent2"/>
              </a:solidFill>
              <a:prstDash val="solid"/>
              <a:round/>
            </a:ln>
          </p:spPr>
          <p:txBody>
            <a:bodyPr vert="horz" wrap="none" lIns="20160" tIns="20160" rIns="20160" bIns="2016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pic>
          <p:nvPicPr>
            <p:cNvPr id="118" name="Graphic 117">
              <a:extLst>
                <a:ext uri="{FF2B5EF4-FFF2-40B4-BE49-F238E27FC236}">
                  <a16:creationId xmlns:a16="http://schemas.microsoft.com/office/drawing/2014/main" id="{2EBCE0E1-A78C-40EA-A572-D7B796F688A3}"/>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1421818" y="1540627"/>
              <a:ext cx="382613" cy="382613"/>
            </a:xfrm>
            <a:prstGeom prst="rect">
              <a:avLst/>
            </a:prstGeom>
          </p:spPr>
        </p:pic>
        <p:sp>
          <p:nvSpPr>
            <p:cNvPr id="135" name="Rectangle 134">
              <a:extLst>
                <a:ext uri="{FF2B5EF4-FFF2-40B4-BE49-F238E27FC236}">
                  <a16:creationId xmlns:a16="http://schemas.microsoft.com/office/drawing/2014/main" id="{CCA61F92-A4B5-4249-9C17-C3578352F4FE}"/>
                </a:ext>
              </a:extLst>
            </p:cNvPr>
            <p:cNvSpPr>
              <a:spLocks/>
            </p:cNvSpPr>
            <p:nvPr>
              <p:custDataLst>
                <p:tags r:id="rId7"/>
              </p:custDataLst>
            </p:nvPr>
          </p:nvSpPr>
          <p:spPr>
            <a:xfrm>
              <a:off x="9843479" y="2027050"/>
              <a:ext cx="2007110" cy="1112980"/>
            </a:xfrm>
            <a:prstGeom prst="rect">
              <a:avLst/>
            </a:prstGeom>
            <a:no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b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Mené par l'Afrique</a:t>
              </a:r>
            </a:p>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Donner plus de pouvoir aux gouvernements africains, aux instituts de santé publique et aux organismes de mise en œuvre</a:t>
              </a:r>
            </a:p>
          </p:txBody>
        </p:sp>
      </p:grpSp>
      <p:grpSp>
        <p:nvGrpSpPr>
          <p:cNvPr id="10" name="Group 9">
            <a:extLst>
              <a:ext uri="{FF2B5EF4-FFF2-40B4-BE49-F238E27FC236}">
                <a16:creationId xmlns:a16="http://schemas.microsoft.com/office/drawing/2014/main" id="{8AC7C287-78A0-4AC5-9933-0979F0A0ED9E}"/>
              </a:ext>
            </a:extLst>
          </p:cNvPr>
          <p:cNvGrpSpPr/>
          <p:nvPr/>
        </p:nvGrpSpPr>
        <p:grpSpPr>
          <a:xfrm>
            <a:off x="1890815" y="3694436"/>
            <a:ext cx="2372390" cy="2601981"/>
            <a:chOff x="1690527" y="3743401"/>
            <a:chExt cx="2372390" cy="2601981"/>
          </a:xfrm>
        </p:grpSpPr>
        <p:sp>
          <p:nvSpPr>
            <p:cNvPr id="88" name="Rounded Rectangle 325">
              <a:extLst>
                <a:ext uri="{FF2B5EF4-FFF2-40B4-BE49-F238E27FC236}">
                  <a16:creationId xmlns:a16="http://schemas.microsoft.com/office/drawing/2014/main" id="{67A5E168-D4CF-476E-BC88-3A3976EB9171}"/>
                </a:ext>
              </a:extLst>
            </p:cNvPr>
            <p:cNvSpPr/>
            <p:nvPr/>
          </p:nvSpPr>
          <p:spPr>
            <a:xfrm>
              <a:off x="1690527" y="4132312"/>
              <a:ext cx="2186305" cy="2213070"/>
            </a:xfrm>
            <a:prstGeom prst="roundRect">
              <a:avLst>
                <a:gd name="adj" fmla="val 15323"/>
              </a:avLst>
            </a:prstGeom>
            <a:solidFill>
              <a:schemeClr val="accent4"/>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89" name="Freeform 326">
              <a:extLst>
                <a:ext uri="{FF2B5EF4-FFF2-40B4-BE49-F238E27FC236}">
                  <a16:creationId xmlns:a16="http://schemas.microsoft.com/office/drawing/2014/main" id="{F2FFE8DC-DB3C-456F-8752-8A75B3BF3056}"/>
                </a:ext>
              </a:extLst>
            </p:cNvPr>
            <p:cNvSpPr/>
            <p:nvPr/>
          </p:nvSpPr>
          <p:spPr>
            <a:xfrm>
              <a:off x="3094055" y="3743401"/>
              <a:ext cx="968862" cy="973598"/>
            </a:xfrm>
            <a:custGeom>
              <a:avLst/>
              <a:gdLst/>
              <a:ahLst/>
              <a:cxnLst>
                <a:cxn ang="3cd4">
                  <a:pos x="hc" y="t"/>
                </a:cxn>
                <a:cxn ang="cd2">
                  <a:pos x="l" y="vc"/>
                </a:cxn>
                <a:cxn ang="cd4">
                  <a:pos x="hc" y="b"/>
                </a:cxn>
                <a:cxn ang="0">
                  <a:pos x="r" y="vc"/>
                </a:cxn>
              </a:cxnLst>
              <a:rect l="l" t="t" r="r" b="b"/>
              <a:pathLst>
                <a:path w="1544" h="1551">
                  <a:moveTo>
                    <a:pt x="772" y="1551"/>
                  </a:moveTo>
                  <a:cubicBezTo>
                    <a:pt x="347" y="1551"/>
                    <a:pt x="0" y="1203"/>
                    <a:pt x="0" y="779"/>
                  </a:cubicBezTo>
                  <a:lnTo>
                    <a:pt x="0" y="772"/>
                  </a:lnTo>
                  <a:cubicBezTo>
                    <a:pt x="0" y="348"/>
                    <a:pt x="347" y="0"/>
                    <a:pt x="772" y="0"/>
                  </a:cubicBezTo>
                  <a:cubicBezTo>
                    <a:pt x="1196" y="0"/>
                    <a:pt x="1544" y="348"/>
                    <a:pt x="1544" y="772"/>
                  </a:cubicBezTo>
                  <a:lnTo>
                    <a:pt x="1544" y="779"/>
                  </a:lnTo>
                  <a:cubicBezTo>
                    <a:pt x="1544" y="1203"/>
                    <a:pt x="1196" y="1551"/>
                    <a:pt x="772" y="1551"/>
                  </a:cubicBezTo>
                  <a:close/>
                </a:path>
              </a:pathLst>
            </a:custGeom>
            <a:solidFill>
              <a:schemeClr val="bg2"/>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91" name="Freeform 334">
              <a:extLst>
                <a:ext uri="{FF2B5EF4-FFF2-40B4-BE49-F238E27FC236}">
                  <a16:creationId xmlns:a16="http://schemas.microsoft.com/office/drawing/2014/main" id="{4CB8F13F-21D2-4915-866C-BDC96EF6D137}"/>
                </a:ext>
              </a:extLst>
            </p:cNvPr>
            <p:cNvSpPr/>
            <p:nvPr/>
          </p:nvSpPr>
          <p:spPr>
            <a:xfrm>
              <a:off x="3196404" y="3848298"/>
              <a:ext cx="764162" cy="763804"/>
            </a:xfrm>
            <a:custGeom>
              <a:avLst/>
              <a:gdLst/>
              <a:ahLst/>
              <a:cxnLst>
                <a:cxn ang="3cd4">
                  <a:pos x="hc" y="t"/>
                </a:cxn>
                <a:cxn ang="cd2">
                  <a:pos x="l" y="vc"/>
                </a:cxn>
                <a:cxn ang="cd4">
                  <a:pos x="hc" y="b"/>
                </a:cxn>
                <a:cxn ang="0">
                  <a:pos x="r" y="vc"/>
                </a:cxn>
              </a:cxnLst>
              <a:rect l="l" t="t" r="r" b="b"/>
              <a:pathLst>
                <a:path w="1218" h="1217">
                  <a:moveTo>
                    <a:pt x="1218" y="608"/>
                  </a:moveTo>
                  <a:cubicBezTo>
                    <a:pt x="1218" y="945"/>
                    <a:pt x="945" y="1217"/>
                    <a:pt x="609" y="1217"/>
                  </a:cubicBezTo>
                  <a:cubicBezTo>
                    <a:pt x="273" y="1217"/>
                    <a:pt x="0" y="945"/>
                    <a:pt x="0" y="608"/>
                  </a:cubicBezTo>
                  <a:cubicBezTo>
                    <a:pt x="0" y="273"/>
                    <a:pt x="273" y="0"/>
                    <a:pt x="609" y="0"/>
                  </a:cubicBezTo>
                  <a:cubicBezTo>
                    <a:pt x="945" y="0"/>
                    <a:pt x="1218" y="273"/>
                    <a:pt x="1218" y="608"/>
                  </a:cubicBezTo>
                  <a:close/>
                </a:path>
              </a:pathLst>
            </a:custGeom>
            <a:noFill/>
            <a:ln w="139700" cap="flat">
              <a:solidFill>
                <a:schemeClr val="accent4"/>
              </a:solidFill>
              <a:prstDash val="solid"/>
              <a:round/>
            </a:ln>
          </p:spPr>
          <p:txBody>
            <a:bodyPr vert="horz" wrap="none" lIns="20160" tIns="20160" rIns="20160" bIns="2016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pic>
          <p:nvPicPr>
            <p:cNvPr id="122" name="Graphic 121">
              <a:extLst>
                <a:ext uri="{FF2B5EF4-FFF2-40B4-BE49-F238E27FC236}">
                  <a16:creationId xmlns:a16="http://schemas.microsoft.com/office/drawing/2014/main" id="{884795E3-FCD2-4460-921B-7B1A961D0095}"/>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387178" y="4038894"/>
              <a:ext cx="382613" cy="382613"/>
            </a:xfrm>
            <a:prstGeom prst="rect">
              <a:avLst/>
            </a:prstGeom>
          </p:spPr>
        </p:pic>
        <p:sp>
          <p:nvSpPr>
            <p:cNvPr id="136" name="Rectangle 135">
              <a:extLst>
                <a:ext uri="{FF2B5EF4-FFF2-40B4-BE49-F238E27FC236}">
                  <a16:creationId xmlns:a16="http://schemas.microsoft.com/office/drawing/2014/main" id="{1E3C11B3-4BBD-40B5-8758-E6459CDC0525}"/>
                </a:ext>
              </a:extLst>
            </p:cNvPr>
            <p:cNvSpPr>
              <a:spLocks/>
            </p:cNvSpPr>
            <p:nvPr>
              <p:custDataLst>
                <p:tags r:id="rId6"/>
              </p:custDataLst>
            </p:nvPr>
          </p:nvSpPr>
          <p:spPr>
            <a:xfrm>
              <a:off x="1785784" y="4510720"/>
              <a:ext cx="1995790" cy="1112978"/>
            </a:xfrm>
            <a:prstGeom prst="rect">
              <a:avLst/>
            </a:prstGeom>
            <a:no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b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Collaboration</a:t>
              </a:r>
            </a:p>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Travailler en collaboration avec les États membres et les partenaires concernés dans le domaine et veiller à ce qu'il y ait une collaboration et aucun effort en double</a:t>
              </a:r>
            </a:p>
          </p:txBody>
        </p:sp>
      </p:grpSp>
      <p:grpSp>
        <p:nvGrpSpPr>
          <p:cNvPr id="13" name="Group 12">
            <a:extLst>
              <a:ext uri="{FF2B5EF4-FFF2-40B4-BE49-F238E27FC236}">
                <a16:creationId xmlns:a16="http://schemas.microsoft.com/office/drawing/2014/main" id="{5B594BFF-685E-4777-A1C0-22611FDBA572}"/>
              </a:ext>
            </a:extLst>
          </p:cNvPr>
          <p:cNvGrpSpPr/>
          <p:nvPr/>
        </p:nvGrpSpPr>
        <p:grpSpPr>
          <a:xfrm>
            <a:off x="4752623" y="3694436"/>
            <a:ext cx="2693712" cy="2601981"/>
            <a:chOff x="4441773" y="3743401"/>
            <a:chExt cx="2693712" cy="2601981"/>
          </a:xfrm>
        </p:grpSpPr>
        <p:sp>
          <p:nvSpPr>
            <p:cNvPr id="94" name="Rounded Rectangle 325">
              <a:extLst>
                <a:ext uri="{FF2B5EF4-FFF2-40B4-BE49-F238E27FC236}">
                  <a16:creationId xmlns:a16="http://schemas.microsoft.com/office/drawing/2014/main" id="{42C86859-5F4E-4FBC-8A35-BF26F07C2280}"/>
                </a:ext>
              </a:extLst>
            </p:cNvPr>
            <p:cNvSpPr/>
            <p:nvPr/>
          </p:nvSpPr>
          <p:spPr>
            <a:xfrm>
              <a:off x="4441773" y="4132312"/>
              <a:ext cx="2507628" cy="2213070"/>
            </a:xfrm>
            <a:prstGeom prst="roundRect">
              <a:avLst>
                <a:gd name="adj" fmla="val 15323"/>
              </a:avLst>
            </a:prstGeom>
            <a:solidFill>
              <a:srgbClr val="E08F2A"/>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95" name="Freeform 326">
              <a:extLst>
                <a:ext uri="{FF2B5EF4-FFF2-40B4-BE49-F238E27FC236}">
                  <a16:creationId xmlns:a16="http://schemas.microsoft.com/office/drawing/2014/main" id="{A0155167-D222-437D-864E-370A4DF9F0AF}"/>
                </a:ext>
              </a:extLst>
            </p:cNvPr>
            <p:cNvSpPr/>
            <p:nvPr/>
          </p:nvSpPr>
          <p:spPr>
            <a:xfrm>
              <a:off x="6166623" y="3743401"/>
              <a:ext cx="968862" cy="973598"/>
            </a:xfrm>
            <a:custGeom>
              <a:avLst/>
              <a:gdLst/>
              <a:ahLst/>
              <a:cxnLst>
                <a:cxn ang="3cd4">
                  <a:pos x="hc" y="t"/>
                </a:cxn>
                <a:cxn ang="cd2">
                  <a:pos x="l" y="vc"/>
                </a:cxn>
                <a:cxn ang="cd4">
                  <a:pos x="hc" y="b"/>
                </a:cxn>
                <a:cxn ang="0">
                  <a:pos x="r" y="vc"/>
                </a:cxn>
              </a:cxnLst>
              <a:rect l="l" t="t" r="r" b="b"/>
              <a:pathLst>
                <a:path w="1544" h="1551">
                  <a:moveTo>
                    <a:pt x="772" y="1551"/>
                  </a:moveTo>
                  <a:cubicBezTo>
                    <a:pt x="347" y="1551"/>
                    <a:pt x="0" y="1203"/>
                    <a:pt x="0" y="779"/>
                  </a:cubicBezTo>
                  <a:lnTo>
                    <a:pt x="0" y="772"/>
                  </a:lnTo>
                  <a:cubicBezTo>
                    <a:pt x="0" y="348"/>
                    <a:pt x="347" y="0"/>
                    <a:pt x="772" y="0"/>
                  </a:cubicBezTo>
                  <a:cubicBezTo>
                    <a:pt x="1196" y="0"/>
                    <a:pt x="1544" y="348"/>
                    <a:pt x="1544" y="772"/>
                  </a:cubicBezTo>
                  <a:lnTo>
                    <a:pt x="1544" y="779"/>
                  </a:lnTo>
                  <a:cubicBezTo>
                    <a:pt x="1544" y="1203"/>
                    <a:pt x="1196" y="1551"/>
                    <a:pt x="772" y="1551"/>
                  </a:cubicBezTo>
                  <a:close/>
                </a:path>
              </a:pathLst>
            </a:custGeom>
            <a:solidFill>
              <a:schemeClr val="bg2"/>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97" name="Freeform 334">
              <a:extLst>
                <a:ext uri="{FF2B5EF4-FFF2-40B4-BE49-F238E27FC236}">
                  <a16:creationId xmlns:a16="http://schemas.microsoft.com/office/drawing/2014/main" id="{12781E60-36BF-4D35-A033-F0B0E46C1875}"/>
                </a:ext>
              </a:extLst>
            </p:cNvPr>
            <p:cNvSpPr/>
            <p:nvPr/>
          </p:nvSpPr>
          <p:spPr>
            <a:xfrm>
              <a:off x="6268972" y="3848298"/>
              <a:ext cx="764162" cy="763804"/>
            </a:xfrm>
            <a:custGeom>
              <a:avLst/>
              <a:gdLst/>
              <a:ahLst/>
              <a:cxnLst>
                <a:cxn ang="3cd4">
                  <a:pos x="hc" y="t"/>
                </a:cxn>
                <a:cxn ang="cd2">
                  <a:pos x="l" y="vc"/>
                </a:cxn>
                <a:cxn ang="cd4">
                  <a:pos x="hc" y="b"/>
                </a:cxn>
                <a:cxn ang="0">
                  <a:pos x="r" y="vc"/>
                </a:cxn>
              </a:cxnLst>
              <a:rect l="l" t="t" r="r" b="b"/>
              <a:pathLst>
                <a:path w="1218" h="1217">
                  <a:moveTo>
                    <a:pt x="1218" y="608"/>
                  </a:moveTo>
                  <a:cubicBezTo>
                    <a:pt x="1218" y="945"/>
                    <a:pt x="945" y="1217"/>
                    <a:pt x="609" y="1217"/>
                  </a:cubicBezTo>
                  <a:cubicBezTo>
                    <a:pt x="273" y="1217"/>
                    <a:pt x="0" y="945"/>
                    <a:pt x="0" y="608"/>
                  </a:cubicBezTo>
                  <a:cubicBezTo>
                    <a:pt x="0" y="273"/>
                    <a:pt x="273" y="0"/>
                    <a:pt x="609" y="0"/>
                  </a:cubicBezTo>
                  <a:cubicBezTo>
                    <a:pt x="945" y="0"/>
                    <a:pt x="1218" y="273"/>
                    <a:pt x="1218" y="608"/>
                  </a:cubicBezTo>
                  <a:close/>
                </a:path>
              </a:pathLst>
            </a:custGeom>
            <a:noFill/>
            <a:ln w="139700" cap="flat">
              <a:solidFill>
                <a:srgbClr val="E08F2A"/>
              </a:solidFill>
              <a:prstDash val="solid"/>
              <a:round/>
            </a:ln>
          </p:spPr>
          <p:txBody>
            <a:bodyPr vert="horz" wrap="none" lIns="20160" tIns="20160" rIns="20160" bIns="2016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pic>
          <p:nvPicPr>
            <p:cNvPr id="128" name="Graphic 127">
              <a:extLst>
                <a:ext uri="{FF2B5EF4-FFF2-40B4-BE49-F238E27FC236}">
                  <a16:creationId xmlns:a16="http://schemas.microsoft.com/office/drawing/2014/main" id="{CABD4ADA-BFE9-44D4-8973-587114C0CFBC}"/>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6430610" y="4038894"/>
              <a:ext cx="382613" cy="382613"/>
            </a:xfrm>
            <a:prstGeom prst="rect">
              <a:avLst/>
            </a:prstGeom>
          </p:spPr>
        </p:pic>
        <p:sp>
          <p:nvSpPr>
            <p:cNvPr id="137" name="Rectangle 136">
              <a:extLst>
                <a:ext uri="{FF2B5EF4-FFF2-40B4-BE49-F238E27FC236}">
                  <a16:creationId xmlns:a16="http://schemas.microsoft.com/office/drawing/2014/main" id="{D9BE8B1A-AA51-48B0-856F-D7D72F938433}"/>
                </a:ext>
              </a:extLst>
            </p:cNvPr>
            <p:cNvSpPr>
              <a:spLocks/>
            </p:cNvSpPr>
            <p:nvPr>
              <p:custDataLst>
                <p:tags r:id="rId5"/>
              </p:custDataLst>
            </p:nvPr>
          </p:nvSpPr>
          <p:spPr>
            <a:xfrm>
              <a:off x="4561011" y="4510720"/>
              <a:ext cx="2216534" cy="1112978"/>
            </a:xfrm>
            <a:prstGeom prst="rect">
              <a:avLst/>
            </a:prstGeom>
            <a:no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b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US"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méliorations des systèmes de santé nationaux</a:t>
              </a:r>
            </a:p>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nforcer les systèmes de santé nationaux grâce à des investissements intelligents dans le déploiement des vaccins sans nuire à la vaccination systématique</a:t>
              </a:r>
            </a:p>
          </p:txBody>
        </p:sp>
      </p:grpSp>
      <p:grpSp>
        <p:nvGrpSpPr>
          <p:cNvPr id="14" name="Group 13">
            <a:extLst>
              <a:ext uri="{FF2B5EF4-FFF2-40B4-BE49-F238E27FC236}">
                <a16:creationId xmlns:a16="http://schemas.microsoft.com/office/drawing/2014/main" id="{6C6B7DF8-166B-46A7-AF38-BBA8AA277EAB}"/>
              </a:ext>
            </a:extLst>
          </p:cNvPr>
          <p:cNvGrpSpPr/>
          <p:nvPr/>
        </p:nvGrpSpPr>
        <p:grpSpPr>
          <a:xfrm>
            <a:off x="7935753" y="3694436"/>
            <a:ext cx="2317638" cy="2601981"/>
            <a:chOff x="7890415" y="3743401"/>
            <a:chExt cx="2317638" cy="2601981"/>
          </a:xfrm>
        </p:grpSpPr>
        <p:sp>
          <p:nvSpPr>
            <p:cNvPr id="100" name="Rounded Rectangle 325">
              <a:extLst>
                <a:ext uri="{FF2B5EF4-FFF2-40B4-BE49-F238E27FC236}">
                  <a16:creationId xmlns:a16="http://schemas.microsoft.com/office/drawing/2014/main" id="{89DD7D95-8675-4E23-B194-24BB99F0CF6B}"/>
                </a:ext>
              </a:extLst>
            </p:cNvPr>
            <p:cNvSpPr/>
            <p:nvPr/>
          </p:nvSpPr>
          <p:spPr>
            <a:xfrm>
              <a:off x="7890415" y="4132312"/>
              <a:ext cx="2131553" cy="2213070"/>
            </a:xfrm>
            <a:prstGeom prst="roundRect">
              <a:avLst>
                <a:gd name="adj" fmla="val 15323"/>
              </a:avLst>
            </a:prstGeom>
            <a:solidFill>
              <a:schemeClr val="accent1">
                <a:lumMod val="75000"/>
              </a:schemeClr>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101" name="Freeform 326">
              <a:extLst>
                <a:ext uri="{FF2B5EF4-FFF2-40B4-BE49-F238E27FC236}">
                  <a16:creationId xmlns:a16="http://schemas.microsoft.com/office/drawing/2014/main" id="{A157A392-A98B-4A84-A18F-1549AEA6B4ED}"/>
                </a:ext>
              </a:extLst>
            </p:cNvPr>
            <p:cNvSpPr/>
            <p:nvPr/>
          </p:nvSpPr>
          <p:spPr>
            <a:xfrm>
              <a:off x="9239191" y="3743401"/>
              <a:ext cx="968862" cy="973598"/>
            </a:xfrm>
            <a:custGeom>
              <a:avLst/>
              <a:gdLst/>
              <a:ahLst/>
              <a:cxnLst>
                <a:cxn ang="3cd4">
                  <a:pos x="hc" y="t"/>
                </a:cxn>
                <a:cxn ang="cd2">
                  <a:pos x="l" y="vc"/>
                </a:cxn>
                <a:cxn ang="cd4">
                  <a:pos x="hc" y="b"/>
                </a:cxn>
                <a:cxn ang="0">
                  <a:pos x="r" y="vc"/>
                </a:cxn>
              </a:cxnLst>
              <a:rect l="l" t="t" r="r" b="b"/>
              <a:pathLst>
                <a:path w="1544" h="1551">
                  <a:moveTo>
                    <a:pt x="772" y="1551"/>
                  </a:moveTo>
                  <a:cubicBezTo>
                    <a:pt x="347" y="1551"/>
                    <a:pt x="0" y="1203"/>
                    <a:pt x="0" y="779"/>
                  </a:cubicBezTo>
                  <a:lnTo>
                    <a:pt x="0" y="772"/>
                  </a:lnTo>
                  <a:cubicBezTo>
                    <a:pt x="0" y="348"/>
                    <a:pt x="347" y="0"/>
                    <a:pt x="772" y="0"/>
                  </a:cubicBezTo>
                  <a:cubicBezTo>
                    <a:pt x="1196" y="0"/>
                    <a:pt x="1544" y="348"/>
                    <a:pt x="1544" y="772"/>
                  </a:cubicBezTo>
                  <a:lnTo>
                    <a:pt x="1544" y="779"/>
                  </a:lnTo>
                  <a:cubicBezTo>
                    <a:pt x="1544" y="1203"/>
                    <a:pt x="1196" y="1551"/>
                    <a:pt x="772" y="1551"/>
                  </a:cubicBezTo>
                  <a:close/>
                </a:path>
              </a:pathLst>
            </a:custGeom>
            <a:solidFill>
              <a:schemeClr val="bg2"/>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sp>
          <p:nvSpPr>
            <p:cNvPr id="103" name="Freeform 334">
              <a:extLst>
                <a:ext uri="{FF2B5EF4-FFF2-40B4-BE49-F238E27FC236}">
                  <a16:creationId xmlns:a16="http://schemas.microsoft.com/office/drawing/2014/main" id="{6326AC9F-3880-45DA-BAC0-A149D93A1A02}"/>
                </a:ext>
              </a:extLst>
            </p:cNvPr>
            <p:cNvSpPr/>
            <p:nvPr/>
          </p:nvSpPr>
          <p:spPr>
            <a:xfrm>
              <a:off x="9329244" y="3848298"/>
              <a:ext cx="764162" cy="763804"/>
            </a:xfrm>
            <a:custGeom>
              <a:avLst/>
              <a:gdLst/>
              <a:ahLst/>
              <a:cxnLst>
                <a:cxn ang="3cd4">
                  <a:pos x="hc" y="t"/>
                </a:cxn>
                <a:cxn ang="cd2">
                  <a:pos x="l" y="vc"/>
                </a:cxn>
                <a:cxn ang="cd4">
                  <a:pos x="hc" y="b"/>
                </a:cxn>
                <a:cxn ang="0">
                  <a:pos x="r" y="vc"/>
                </a:cxn>
              </a:cxnLst>
              <a:rect l="l" t="t" r="r" b="b"/>
              <a:pathLst>
                <a:path w="1218" h="1217">
                  <a:moveTo>
                    <a:pt x="1218" y="608"/>
                  </a:moveTo>
                  <a:cubicBezTo>
                    <a:pt x="1218" y="945"/>
                    <a:pt x="945" y="1217"/>
                    <a:pt x="609" y="1217"/>
                  </a:cubicBezTo>
                  <a:cubicBezTo>
                    <a:pt x="273" y="1217"/>
                    <a:pt x="0" y="945"/>
                    <a:pt x="0" y="608"/>
                  </a:cubicBezTo>
                  <a:cubicBezTo>
                    <a:pt x="0" y="273"/>
                    <a:pt x="273" y="0"/>
                    <a:pt x="609" y="0"/>
                  </a:cubicBezTo>
                  <a:cubicBezTo>
                    <a:pt x="945" y="0"/>
                    <a:pt x="1218" y="273"/>
                    <a:pt x="1218" y="608"/>
                  </a:cubicBezTo>
                  <a:close/>
                </a:path>
              </a:pathLst>
            </a:custGeom>
            <a:solidFill>
              <a:schemeClr val="bg1"/>
            </a:solidFill>
            <a:ln w="139700" cap="flat">
              <a:solidFill>
                <a:schemeClr val="accent1">
                  <a:lumMod val="75000"/>
                </a:schemeClr>
              </a:solidFill>
              <a:prstDash val="solid"/>
              <a:round/>
            </a:ln>
          </p:spPr>
          <p:txBody>
            <a:bodyPr vert="horz" wrap="none" lIns="20160" tIns="20160" rIns="20160" bIns="2016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none" sz="700" b="0" i="0" u="none" strike="noStrike" kern="1200" cap="none" spc="0" normalizeH="0" baseline="0" noProof="0">
                <a:ln>
                  <a:noFill/>
                </a:ln>
                <a:solidFill>
                  <a:srgbClr val="FFFFFF"/>
                </a:solidFill>
                <a:effectLst/>
                <a:uLnTx/>
                <a:uFillTx/>
                <a:latin typeface="Arial"/>
                <a:ea typeface="Arial Unicode MS" pitchFamily="2"/>
                <a:cs typeface="Arial Unicode MS" pitchFamily="2"/>
              </a:endParaRPr>
            </a:p>
          </p:txBody>
        </p:sp>
        <p:pic>
          <p:nvPicPr>
            <p:cNvPr id="131" name="Graphic 130">
              <a:extLst>
                <a:ext uri="{FF2B5EF4-FFF2-40B4-BE49-F238E27FC236}">
                  <a16:creationId xmlns:a16="http://schemas.microsoft.com/office/drawing/2014/main" id="{5996C2B2-D69B-4F41-B269-293E871DF38B}"/>
                </a:ext>
              </a:extLst>
            </p:cNvPr>
            <p:cNvPicPr>
              <a:picLocks noChangeAspect="1"/>
            </p:cNvPicPr>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567945" y="4038894"/>
              <a:ext cx="382613" cy="382613"/>
            </a:xfrm>
            <a:prstGeom prst="rect">
              <a:avLst/>
            </a:prstGeom>
          </p:spPr>
        </p:pic>
        <p:sp>
          <p:nvSpPr>
            <p:cNvPr id="138" name="Rectangle 137">
              <a:extLst>
                <a:ext uri="{FF2B5EF4-FFF2-40B4-BE49-F238E27FC236}">
                  <a16:creationId xmlns:a16="http://schemas.microsoft.com/office/drawing/2014/main" id="{8FE2536D-E7B1-4C9B-AD85-FFC83B670A96}"/>
                </a:ext>
              </a:extLst>
            </p:cNvPr>
            <p:cNvSpPr>
              <a:spLocks/>
            </p:cNvSpPr>
            <p:nvPr>
              <p:custDataLst>
                <p:tags r:id="rId4"/>
              </p:custDataLst>
            </p:nvPr>
          </p:nvSpPr>
          <p:spPr>
            <a:xfrm>
              <a:off x="7965976" y="4510720"/>
              <a:ext cx="1995790" cy="1112978"/>
            </a:xfrm>
            <a:prstGeom prst="rect">
              <a:avLst/>
            </a:prstGeom>
            <a:no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b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tération et apprentissage</a:t>
              </a:r>
            </a:p>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ppliquer une approche de test et d’apprentissage tout en développant le programme, en mettant l’accent sur le renforcement des connaissances et des institutions</a:t>
              </a:r>
            </a:p>
          </p:txBody>
        </p:sp>
      </p:grpSp>
    </p:spTree>
    <p:extLst>
      <p:ext uri="{BB962C8B-B14F-4D97-AF65-F5344CB8AC3E}">
        <p14:creationId xmlns:p14="http://schemas.microsoft.com/office/powerpoint/2010/main" val="32912169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5FDBB58B-F4BD-4586-B57E-0AEB4EEA8F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92" imgH="595" progId="TCLayout.ActiveDocument.1">
                  <p:embed/>
                </p:oleObj>
              </mc:Choice>
              <mc:Fallback>
                <p:oleObj name="think-cell Slide" r:id="rId36" imgW="592" imgH="595" progId="TCLayout.ActiveDocument.1">
                  <p:embed/>
                  <p:pic>
                    <p:nvPicPr>
                      <p:cNvPr id="3" name="Object 6" hidden="1">
                        <a:extLst>
                          <a:ext uri="{FF2B5EF4-FFF2-40B4-BE49-F238E27FC236}">
                            <a16:creationId xmlns:a16="http://schemas.microsoft.com/office/drawing/2014/main" id="{5FDBB58B-F4BD-4586-B57E-0AEB4EEA8FAC}"/>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22EDC962-56CD-44E9-9BCC-8D9A545494A5}"/>
              </a:ext>
            </a:extLst>
          </p:cNvPr>
          <p:cNvSpPr>
            <a:spLocks noGrp="1"/>
          </p:cNvSpPr>
          <p:nvPr>
            <p:ph type="title"/>
            <p:custDataLst>
              <p:tags r:id="rId2"/>
            </p:custDataLst>
          </p:nvPr>
        </p:nvSpPr>
        <p:spPr>
          <a:xfrm>
            <a:off x="554736" y="134291"/>
            <a:ext cx="11082528" cy="769441"/>
          </a:xfrm>
        </p:spPr>
        <p:txBody>
          <a:bodyPr vert="horz"/>
          <a:lstStyle/>
          <a:p>
            <a:pPr algn="l" rtl="0"/>
            <a:r>
              <a:rPr lang="en-US" dirty="0"/>
              <a:t>Il existe plusieurs partenaires qui peuvent être classés par zone de support, couverture géographique et type</a:t>
            </a:r>
          </a:p>
        </p:txBody>
      </p:sp>
      <p:cxnSp>
        <p:nvCxnSpPr>
          <p:cNvPr id="11" name="LineBasicDefault 19">
            <a:extLst>
              <a:ext uri="{FF2B5EF4-FFF2-40B4-BE49-F238E27FC236}">
                <a16:creationId xmlns:a16="http://schemas.microsoft.com/office/drawing/2014/main" id="{18341094-FB41-482D-87E0-A026743DAC77}"/>
              </a:ext>
            </a:extLst>
          </p:cNvPr>
          <p:cNvCxnSpPr>
            <a:cxnSpLocks/>
          </p:cNvCxnSpPr>
          <p:nvPr>
            <p:custDataLst>
              <p:tags r:id="rId3"/>
            </p:custDataLst>
          </p:nvPr>
        </p:nvCxnSpPr>
        <p:spPr>
          <a:xfrm>
            <a:off x="554736" y="1954363"/>
            <a:ext cx="11082528" cy="0"/>
          </a:xfrm>
          <a:prstGeom prst="straightConnector1">
            <a:avLst/>
          </a:prstGeom>
          <a:ln w="12700" cap="flat">
            <a:solidFill>
              <a:schemeClr val="bg1">
                <a:lumMod val="6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748DB4A0-DB31-4B27-A5B7-D1DA82E640F5}"/>
              </a:ext>
            </a:extLst>
          </p:cNvPr>
          <p:cNvGrpSpPr/>
          <p:nvPr/>
        </p:nvGrpSpPr>
        <p:grpSpPr>
          <a:xfrm>
            <a:off x="4806962" y="1243142"/>
            <a:ext cx="467523" cy="467523"/>
            <a:chOff x="4170702" y="1144592"/>
            <a:chExt cx="914400" cy="914400"/>
          </a:xfrm>
          <a:solidFill>
            <a:schemeClr val="accent1"/>
          </a:solidFill>
        </p:grpSpPr>
        <p:sp>
          <p:nvSpPr>
            <p:cNvPr id="15" name="Oval 14">
              <a:extLst>
                <a:ext uri="{FF2B5EF4-FFF2-40B4-BE49-F238E27FC236}">
                  <a16:creationId xmlns:a16="http://schemas.microsoft.com/office/drawing/2014/main" id="{3EF1C8CE-4D18-416D-BCCB-8AA88DAFA883}"/>
                </a:ext>
              </a:extLst>
            </p:cNvPr>
            <p:cNvSpPr/>
            <p:nvPr/>
          </p:nvSpPr>
          <p:spPr>
            <a:xfrm>
              <a:off x="4170702" y="1144592"/>
              <a:ext cx="914400" cy="914400"/>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04C56D1E-6C5C-489C-8002-7B40BC32E7D5}"/>
                </a:ext>
              </a:extLst>
            </p:cNvPr>
            <p:cNvGrpSpPr/>
            <p:nvPr/>
          </p:nvGrpSpPr>
          <p:grpSpPr>
            <a:xfrm>
              <a:off x="4353183" y="1249511"/>
              <a:ext cx="576294" cy="711355"/>
              <a:chOff x="2116353" y="7105766"/>
              <a:chExt cx="1017458" cy="1255911"/>
            </a:xfrm>
            <a:grpFill/>
          </p:grpSpPr>
          <p:sp>
            <p:nvSpPr>
              <p:cNvPr id="17" name="Freeform 23">
                <a:extLst>
                  <a:ext uri="{FF2B5EF4-FFF2-40B4-BE49-F238E27FC236}">
                    <a16:creationId xmlns:a16="http://schemas.microsoft.com/office/drawing/2014/main" id="{35F7238E-204E-42C3-868A-00291A517526}"/>
                  </a:ext>
                </a:extLst>
              </p:cNvPr>
              <p:cNvSpPr>
                <a:spLocks noEditPoints="1"/>
              </p:cNvSpPr>
              <p:nvPr/>
            </p:nvSpPr>
            <p:spPr bwMode="gray">
              <a:xfrm>
                <a:off x="2803256" y="7425461"/>
                <a:ext cx="56337" cy="62446"/>
              </a:xfrm>
              <a:custGeom>
                <a:avLst/>
                <a:gdLst>
                  <a:gd name="T0" fmla="*/ 62 w 83"/>
                  <a:gd name="T1" fmla="*/ 83 h 92"/>
                  <a:gd name="T2" fmla="*/ 56 w 83"/>
                  <a:gd name="T3" fmla="*/ 88 h 92"/>
                  <a:gd name="T4" fmla="*/ 51 w 83"/>
                  <a:gd name="T5" fmla="*/ 88 h 92"/>
                  <a:gd name="T6" fmla="*/ 45 w 83"/>
                  <a:gd name="T7" fmla="*/ 85 h 92"/>
                  <a:gd name="T8" fmla="*/ 40 w 83"/>
                  <a:gd name="T9" fmla="*/ 83 h 92"/>
                  <a:gd name="T10" fmla="*/ 32 w 83"/>
                  <a:gd name="T11" fmla="*/ 88 h 92"/>
                  <a:gd name="T12" fmla="*/ 22 w 83"/>
                  <a:gd name="T13" fmla="*/ 88 h 92"/>
                  <a:gd name="T14" fmla="*/ 15 w 83"/>
                  <a:gd name="T15" fmla="*/ 90 h 92"/>
                  <a:gd name="T16" fmla="*/ 10 w 83"/>
                  <a:gd name="T17" fmla="*/ 90 h 92"/>
                  <a:gd name="T18" fmla="*/ 8 w 83"/>
                  <a:gd name="T19" fmla="*/ 90 h 92"/>
                  <a:gd name="T20" fmla="*/ 1 w 83"/>
                  <a:gd name="T21" fmla="*/ 75 h 92"/>
                  <a:gd name="T22" fmla="*/ 3 w 83"/>
                  <a:gd name="T23" fmla="*/ 49 h 92"/>
                  <a:gd name="T24" fmla="*/ 6 w 83"/>
                  <a:gd name="T25" fmla="*/ 48 h 92"/>
                  <a:gd name="T26" fmla="*/ 18 w 83"/>
                  <a:gd name="T27" fmla="*/ 32 h 92"/>
                  <a:gd name="T28" fmla="*/ 27 w 83"/>
                  <a:gd name="T29" fmla="*/ 20 h 92"/>
                  <a:gd name="T30" fmla="*/ 32 w 83"/>
                  <a:gd name="T31" fmla="*/ 12 h 92"/>
                  <a:gd name="T32" fmla="*/ 35 w 83"/>
                  <a:gd name="T33" fmla="*/ 10 h 92"/>
                  <a:gd name="T34" fmla="*/ 45 w 83"/>
                  <a:gd name="T35" fmla="*/ 19 h 92"/>
                  <a:gd name="T36" fmla="*/ 49 w 83"/>
                  <a:gd name="T37" fmla="*/ 17 h 92"/>
                  <a:gd name="T38" fmla="*/ 51 w 83"/>
                  <a:gd name="T39" fmla="*/ 15 h 92"/>
                  <a:gd name="T40" fmla="*/ 52 w 83"/>
                  <a:gd name="T41" fmla="*/ 14 h 92"/>
                  <a:gd name="T42" fmla="*/ 51 w 83"/>
                  <a:gd name="T43" fmla="*/ 10 h 92"/>
                  <a:gd name="T44" fmla="*/ 54 w 83"/>
                  <a:gd name="T45" fmla="*/ 9 h 92"/>
                  <a:gd name="T46" fmla="*/ 57 w 83"/>
                  <a:gd name="T47" fmla="*/ 5 h 92"/>
                  <a:gd name="T48" fmla="*/ 68 w 83"/>
                  <a:gd name="T49" fmla="*/ 0 h 92"/>
                  <a:gd name="T50" fmla="*/ 76 w 83"/>
                  <a:gd name="T51" fmla="*/ 14 h 92"/>
                  <a:gd name="T52" fmla="*/ 78 w 83"/>
                  <a:gd name="T53" fmla="*/ 14 h 92"/>
                  <a:gd name="T54" fmla="*/ 79 w 83"/>
                  <a:gd name="T55" fmla="*/ 22 h 92"/>
                  <a:gd name="T56" fmla="*/ 83 w 83"/>
                  <a:gd name="T57" fmla="*/ 29 h 92"/>
                  <a:gd name="T58" fmla="*/ 79 w 83"/>
                  <a:gd name="T59" fmla="*/ 37 h 92"/>
                  <a:gd name="T60" fmla="*/ 76 w 83"/>
                  <a:gd name="T61" fmla="*/ 39 h 92"/>
                  <a:gd name="T62" fmla="*/ 64 w 83"/>
                  <a:gd name="T63" fmla="*/ 46 h 92"/>
                  <a:gd name="T64" fmla="*/ 59 w 83"/>
                  <a:gd name="T65" fmla="*/ 48 h 92"/>
                  <a:gd name="T66" fmla="*/ 56 w 83"/>
                  <a:gd name="T67" fmla="*/ 48 h 92"/>
                  <a:gd name="T68" fmla="*/ 51 w 83"/>
                  <a:gd name="T69" fmla="*/ 49 h 92"/>
                  <a:gd name="T70" fmla="*/ 45 w 83"/>
                  <a:gd name="T71" fmla="*/ 54 h 92"/>
                  <a:gd name="T72" fmla="*/ 42 w 83"/>
                  <a:gd name="T73" fmla="*/ 58 h 92"/>
                  <a:gd name="T74" fmla="*/ 42 w 83"/>
                  <a:gd name="T75" fmla="*/ 58 h 92"/>
                  <a:gd name="T76" fmla="*/ 39 w 83"/>
                  <a:gd name="T77" fmla="*/ 58 h 92"/>
                  <a:gd name="T78" fmla="*/ 39 w 83"/>
                  <a:gd name="T79" fmla="*/ 60 h 92"/>
                  <a:gd name="T80" fmla="*/ 37 w 83"/>
                  <a:gd name="T81" fmla="*/ 61 h 92"/>
                  <a:gd name="T82" fmla="*/ 42 w 83"/>
                  <a:gd name="T83" fmla="*/ 63 h 92"/>
                  <a:gd name="T84" fmla="*/ 45 w 83"/>
                  <a:gd name="T85" fmla="*/ 63 h 92"/>
                  <a:gd name="T86" fmla="*/ 44 w 83"/>
                  <a:gd name="T87" fmla="*/ 61 h 92"/>
                  <a:gd name="T88" fmla="*/ 51 w 83"/>
                  <a:gd name="T89" fmla="*/ 58 h 92"/>
                  <a:gd name="T90" fmla="*/ 54 w 83"/>
                  <a:gd name="T91" fmla="*/ 56 h 92"/>
                  <a:gd name="T92" fmla="*/ 59 w 83"/>
                  <a:gd name="T93" fmla="*/ 58 h 92"/>
                  <a:gd name="T94" fmla="*/ 66 w 83"/>
                  <a:gd name="T95" fmla="*/ 56 h 92"/>
                  <a:gd name="T96" fmla="*/ 66 w 83"/>
                  <a:gd name="T97" fmla="*/ 56 h 92"/>
                  <a:gd name="T98" fmla="*/ 68 w 83"/>
                  <a:gd name="T99" fmla="*/ 58 h 92"/>
                  <a:gd name="T100" fmla="*/ 68 w 83"/>
                  <a:gd name="T101" fmla="*/ 56 h 92"/>
                  <a:gd name="T102" fmla="*/ 71 w 83"/>
                  <a:gd name="T103" fmla="*/ 61 h 92"/>
                  <a:gd name="T104" fmla="*/ 74 w 83"/>
                  <a:gd name="T105" fmla="*/ 65 h 92"/>
                  <a:gd name="T106" fmla="*/ 73 w 83"/>
                  <a:gd name="T107" fmla="*/ 49 h 92"/>
                  <a:gd name="T108" fmla="*/ 71 w 83"/>
                  <a:gd name="T109" fmla="*/ 5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2">
                    <a:moveTo>
                      <a:pt x="74" y="65"/>
                    </a:moveTo>
                    <a:lnTo>
                      <a:pt x="62" y="83"/>
                    </a:lnTo>
                    <a:lnTo>
                      <a:pt x="59" y="88"/>
                    </a:lnTo>
                    <a:lnTo>
                      <a:pt x="56" y="88"/>
                    </a:lnTo>
                    <a:lnTo>
                      <a:pt x="54" y="88"/>
                    </a:lnTo>
                    <a:lnTo>
                      <a:pt x="51" y="88"/>
                    </a:lnTo>
                    <a:lnTo>
                      <a:pt x="49" y="83"/>
                    </a:lnTo>
                    <a:lnTo>
                      <a:pt x="45" y="85"/>
                    </a:lnTo>
                    <a:lnTo>
                      <a:pt x="42" y="82"/>
                    </a:lnTo>
                    <a:lnTo>
                      <a:pt x="40" y="83"/>
                    </a:lnTo>
                    <a:lnTo>
                      <a:pt x="35" y="85"/>
                    </a:lnTo>
                    <a:lnTo>
                      <a:pt x="32" y="88"/>
                    </a:lnTo>
                    <a:lnTo>
                      <a:pt x="30" y="87"/>
                    </a:lnTo>
                    <a:lnTo>
                      <a:pt x="22" y="88"/>
                    </a:lnTo>
                    <a:lnTo>
                      <a:pt x="18" y="88"/>
                    </a:lnTo>
                    <a:lnTo>
                      <a:pt x="15" y="90"/>
                    </a:lnTo>
                    <a:lnTo>
                      <a:pt x="13" y="90"/>
                    </a:lnTo>
                    <a:lnTo>
                      <a:pt x="10" y="90"/>
                    </a:lnTo>
                    <a:lnTo>
                      <a:pt x="10" y="92"/>
                    </a:lnTo>
                    <a:lnTo>
                      <a:pt x="8" y="90"/>
                    </a:lnTo>
                    <a:lnTo>
                      <a:pt x="0" y="88"/>
                    </a:lnTo>
                    <a:lnTo>
                      <a:pt x="1" y="75"/>
                    </a:lnTo>
                    <a:lnTo>
                      <a:pt x="0" y="63"/>
                    </a:lnTo>
                    <a:lnTo>
                      <a:pt x="3" y="49"/>
                    </a:lnTo>
                    <a:lnTo>
                      <a:pt x="5" y="49"/>
                    </a:lnTo>
                    <a:lnTo>
                      <a:pt x="6" y="48"/>
                    </a:lnTo>
                    <a:lnTo>
                      <a:pt x="10" y="44"/>
                    </a:lnTo>
                    <a:lnTo>
                      <a:pt x="18" y="32"/>
                    </a:lnTo>
                    <a:lnTo>
                      <a:pt x="22" y="26"/>
                    </a:lnTo>
                    <a:lnTo>
                      <a:pt x="27" y="20"/>
                    </a:lnTo>
                    <a:lnTo>
                      <a:pt x="28" y="17"/>
                    </a:lnTo>
                    <a:lnTo>
                      <a:pt x="32" y="12"/>
                    </a:lnTo>
                    <a:lnTo>
                      <a:pt x="34" y="10"/>
                    </a:lnTo>
                    <a:lnTo>
                      <a:pt x="35" y="10"/>
                    </a:lnTo>
                    <a:lnTo>
                      <a:pt x="37" y="12"/>
                    </a:lnTo>
                    <a:lnTo>
                      <a:pt x="45" y="19"/>
                    </a:lnTo>
                    <a:lnTo>
                      <a:pt x="47" y="17"/>
                    </a:lnTo>
                    <a:lnTo>
                      <a:pt x="49" y="17"/>
                    </a:lnTo>
                    <a:lnTo>
                      <a:pt x="49" y="15"/>
                    </a:lnTo>
                    <a:lnTo>
                      <a:pt x="51" y="15"/>
                    </a:lnTo>
                    <a:lnTo>
                      <a:pt x="52" y="15"/>
                    </a:lnTo>
                    <a:lnTo>
                      <a:pt x="52" y="14"/>
                    </a:lnTo>
                    <a:lnTo>
                      <a:pt x="51" y="12"/>
                    </a:lnTo>
                    <a:lnTo>
                      <a:pt x="51" y="10"/>
                    </a:lnTo>
                    <a:lnTo>
                      <a:pt x="52" y="9"/>
                    </a:lnTo>
                    <a:lnTo>
                      <a:pt x="54" y="9"/>
                    </a:lnTo>
                    <a:lnTo>
                      <a:pt x="56" y="5"/>
                    </a:lnTo>
                    <a:lnTo>
                      <a:pt x="57" y="5"/>
                    </a:lnTo>
                    <a:lnTo>
                      <a:pt x="59" y="3"/>
                    </a:lnTo>
                    <a:lnTo>
                      <a:pt x="68" y="0"/>
                    </a:lnTo>
                    <a:lnTo>
                      <a:pt x="69" y="3"/>
                    </a:lnTo>
                    <a:lnTo>
                      <a:pt x="76" y="14"/>
                    </a:lnTo>
                    <a:lnTo>
                      <a:pt x="78" y="12"/>
                    </a:lnTo>
                    <a:lnTo>
                      <a:pt x="78" y="14"/>
                    </a:lnTo>
                    <a:lnTo>
                      <a:pt x="79" y="17"/>
                    </a:lnTo>
                    <a:lnTo>
                      <a:pt x="79" y="22"/>
                    </a:lnTo>
                    <a:lnTo>
                      <a:pt x="83" y="26"/>
                    </a:lnTo>
                    <a:lnTo>
                      <a:pt x="83" y="29"/>
                    </a:lnTo>
                    <a:lnTo>
                      <a:pt x="83" y="32"/>
                    </a:lnTo>
                    <a:lnTo>
                      <a:pt x="79" y="37"/>
                    </a:lnTo>
                    <a:lnTo>
                      <a:pt x="76" y="37"/>
                    </a:lnTo>
                    <a:lnTo>
                      <a:pt x="76" y="39"/>
                    </a:lnTo>
                    <a:lnTo>
                      <a:pt x="71" y="39"/>
                    </a:lnTo>
                    <a:lnTo>
                      <a:pt x="64" y="46"/>
                    </a:lnTo>
                    <a:lnTo>
                      <a:pt x="61" y="46"/>
                    </a:lnTo>
                    <a:lnTo>
                      <a:pt x="59" y="48"/>
                    </a:lnTo>
                    <a:lnTo>
                      <a:pt x="57" y="48"/>
                    </a:lnTo>
                    <a:lnTo>
                      <a:pt x="56" y="48"/>
                    </a:lnTo>
                    <a:lnTo>
                      <a:pt x="52" y="49"/>
                    </a:lnTo>
                    <a:lnTo>
                      <a:pt x="51" y="49"/>
                    </a:lnTo>
                    <a:lnTo>
                      <a:pt x="49" y="53"/>
                    </a:lnTo>
                    <a:lnTo>
                      <a:pt x="45" y="54"/>
                    </a:lnTo>
                    <a:lnTo>
                      <a:pt x="45" y="60"/>
                    </a:lnTo>
                    <a:lnTo>
                      <a:pt x="42" y="58"/>
                    </a:lnTo>
                    <a:lnTo>
                      <a:pt x="44" y="60"/>
                    </a:lnTo>
                    <a:lnTo>
                      <a:pt x="42" y="58"/>
                    </a:lnTo>
                    <a:lnTo>
                      <a:pt x="40" y="58"/>
                    </a:lnTo>
                    <a:lnTo>
                      <a:pt x="39" y="58"/>
                    </a:lnTo>
                    <a:lnTo>
                      <a:pt x="37" y="58"/>
                    </a:lnTo>
                    <a:lnTo>
                      <a:pt x="39" y="60"/>
                    </a:lnTo>
                    <a:lnTo>
                      <a:pt x="37" y="60"/>
                    </a:lnTo>
                    <a:lnTo>
                      <a:pt x="37" y="61"/>
                    </a:lnTo>
                    <a:lnTo>
                      <a:pt x="40" y="63"/>
                    </a:lnTo>
                    <a:lnTo>
                      <a:pt x="42" y="63"/>
                    </a:lnTo>
                    <a:lnTo>
                      <a:pt x="44" y="63"/>
                    </a:lnTo>
                    <a:lnTo>
                      <a:pt x="45" y="63"/>
                    </a:lnTo>
                    <a:lnTo>
                      <a:pt x="45" y="61"/>
                    </a:lnTo>
                    <a:lnTo>
                      <a:pt x="44" y="61"/>
                    </a:lnTo>
                    <a:lnTo>
                      <a:pt x="45" y="60"/>
                    </a:lnTo>
                    <a:lnTo>
                      <a:pt x="51" y="58"/>
                    </a:lnTo>
                    <a:lnTo>
                      <a:pt x="54" y="58"/>
                    </a:lnTo>
                    <a:lnTo>
                      <a:pt x="54" y="56"/>
                    </a:lnTo>
                    <a:lnTo>
                      <a:pt x="56" y="58"/>
                    </a:lnTo>
                    <a:lnTo>
                      <a:pt x="59" y="58"/>
                    </a:lnTo>
                    <a:lnTo>
                      <a:pt x="64" y="58"/>
                    </a:lnTo>
                    <a:lnTo>
                      <a:pt x="66" y="56"/>
                    </a:lnTo>
                    <a:lnTo>
                      <a:pt x="66" y="58"/>
                    </a:lnTo>
                    <a:lnTo>
                      <a:pt x="66" y="56"/>
                    </a:lnTo>
                    <a:lnTo>
                      <a:pt x="66" y="58"/>
                    </a:lnTo>
                    <a:lnTo>
                      <a:pt x="68" y="58"/>
                    </a:lnTo>
                    <a:lnTo>
                      <a:pt x="69" y="56"/>
                    </a:lnTo>
                    <a:lnTo>
                      <a:pt x="68" y="56"/>
                    </a:lnTo>
                    <a:lnTo>
                      <a:pt x="69" y="56"/>
                    </a:lnTo>
                    <a:lnTo>
                      <a:pt x="71" y="61"/>
                    </a:lnTo>
                    <a:lnTo>
                      <a:pt x="73" y="61"/>
                    </a:lnTo>
                    <a:lnTo>
                      <a:pt x="74" y="65"/>
                    </a:lnTo>
                    <a:close/>
                    <a:moveTo>
                      <a:pt x="71" y="49"/>
                    </a:moveTo>
                    <a:lnTo>
                      <a:pt x="73" y="49"/>
                    </a:lnTo>
                    <a:lnTo>
                      <a:pt x="73" y="51"/>
                    </a:lnTo>
                    <a:lnTo>
                      <a:pt x="71" y="51"/>
                    </a:lnTo>
                    <a:lnTo>
                      <a:pt x="71" y="49"/>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Freeform 26">
                <a:extLst>
                  <a:ext uri="{FF2B5EF4-FFF2-40B4-BE49-F238E27FC236}">
                    <a16:creationId xmlns:a16="http://schemas.microsoft.com/office/drawing/2014/main" id="{76B33480-7756-4D3D-9F1B-460DF28D9963}"/>
                  </a:ext>
                </a:extLst>
              </p:cNvPr>
              <p:cNvSpPr>
                <a:spLocks noEditPoints="1"/>
              </p:cNvSpPr>
              <p:nvPr/>
            </p:nvSpPr>
            <p:spPr bwMode="gray">
              <a:xfrm>
                <a:off x="2619312" y="7244233"/>
                <a:ext cx="230099" cy="194125"/>
              </a:xfrm>
              <a:custGeom>
                <a:avLst/>
                <a:gdLst>
                  <a:gd name="T0" fmla="*/ 320 w 339"/>
                  <a:gd name="T1" fmla="*/ 284 h 286"/>
                  <a:gd name="T2" fmla="*/ 269 w 339"/>
                  <a:gd name="T3" fmla="*/ 240 h 286"/>
                  <a:gd name="T4" fmla="*/ 187 w 339"/>
                  <a:gd name="T5" fmla="*/ 175 h 286"/>
                  <a:gd name="T6" fmla="*/ 157 w 339"/>
                  <a:gd name="T7" fmla="*/ 173 h 286"/>
                  <a:gd name="T8" fmla="*/ 141 w 339"/>
                  <a:gd name="T9" fmla="*/ 173 h 286"/>
                  <a:gd name="T10" fmla="*/ 114 w 339"/>
                  <a:gd name="T11" fmla="*/ 179 h 286"/>
                  <a:gd name="T12" fmla="*/ 92 w 339"/>
                  <a:gd name="T13" fmla="*/ 168 h 286"/>
                  <a:gd name="T14" fmla="*/ 68 w 339"/>
                  <a:gd name="T15" fmla="*/ 168 h 286"/>
                  <a:gd name="T16" fmla="*/ 39 w 339"/>
                  <a:gd name="T17" fmla="*/ 180 h 286"/>
                  <a:gd name="T18" fmla="*/ 7 w 339"/>
                  <a:gd name="T19" fmla="*/ 187 h 286"/>
                  <a:gd name="T20" fmla="*/ 26 w 339"/>
                  <a:gd name="T21" fmla="*/ 87 h 286"/>
                  <a:gd name="T22" fmla="*/ 29 w 339"/>
                  <a:gd name="T23" fmla="*/ 56 h 286"/>
                  <a:gd name="T24" fmla="*/ 55 w 339"/>
                  <a:gd name="T25" fmla="*/ 41 h 286"/>
                  <a:gd name="T26" fmla="*/ 82 w 339"/>
                  <a:gd name="T27" fmla="*/ 22 h 286"/>
                  <a:gd name="T28" fmla="*/ 102 w 339"/>
                  <a:gd name="T29" fmla="*/ 5 h 286"/>
                  <a:gd name="T30" fmla="*/ 136 w 339"/>
                  <a:gd name="T31" fmla="*/ 70 h 286"/>
                  <a:gd name="T32" fmla="*/ 155 w 339"/>
                  <a:gd name="T33" fmla="*/ 121 h 286"/>
                  <a:gd name="T34" fmla="*/ 169 w 339"/>
                  <a:gd name="T35" fmla="*/ 148 h 286"/>
                  <a:gd name="T36" fmla="*/ 172 w 339"/>
                  <a:gd name="T37" fmla="*/ 129 h 286"/>
                  <a:gd name="T38" fmla="*/ 182 w 339"/>
                  <a:gd name="T39" fmla="*/ 141 h 286"/>
                  <a:gd name="T40" fmla="*/ 194 w 339"/>
                  <a:gd name="T41" fmla="*/ 155 h 286"/>
                  <a:gd name="T42" fmla="*/ 203 w 339"/>
                  <a:gd name="T43" fmla="*/ 153 h 286"/>
                  <a:gd name="T44" fmla="*/ 216 w 339"/>
                  <a:gd name="T45" fmla="*/ 156 h 286"/>
                  <a:gd name="T46" fmla="*/ 220 w 339"/>
                  <a:gd name="T47" fmla="*/ 167 h 286"/>
                  <a:gd name="T48" fmla="*/ 252 w 339"/>
                  <a:gd name="T49" fmla="*/ 184 h 286"/>
                  <a:gd name="T50" fmla="*/ 281 w 339"/>
                  <a:gd name="T51" fmla="*/ 211 h 286"/>
                  <a:gd name="T52" fmla="*/ 291 w 339"/>
                  <a:gd name="T53" fmla="*/ 221 h 286"/>
                  <a:gd name="T54" fmla="*/ 310 w 339"/>
                  <a:gd name="T55" fmla="*/ 241 h 286"/>
                  <a:gd name="T56" fmla="*/ 328 w 339"/>
                  <a:gd name="T57" fmla="*/ 262 h 286"/>
                  <a:gd name="T58" fmla="*/ 182 w 339"/>
                  <a:gd name="T59" fmla="*/ 107 h 286"/>
                  <a:gd name="T60" fmla="*/ 192 w 339"/>
                  <a:gd name="T61" fmla="*/ 117 h 286"/>
                  <a:gd name="T62" fmla="*/ 186 w 339"/>
                  <a:gd name="T63" fmla="*/ 122 h 286"/>
                  <a:gd name="T64" fmla="*/ 180 w 339"/>
                  <a:gd name="T65" fmla="*/ 114 h 286"/>
                  <a:gd name="T66" fmla="*/ 182 w 339"/>
                  <a:gd name="T67" fmla="*/ 107 h 286"/>
                  <a:gd name="T68" fmla="*/ 182 w 339"/>
                  <a:gd name="T69" fmla="*/ 95 h 286"/>
                  <a:gd name="T70" fmla="*/ 192 w 339"/>
                  <a:gd name="T71" fmla="*/ 143 h 286"/>
                  <a:gd name="T72" fmla="*/ 189 w 339"/>
                  <a:gd name="T73" fmla="*/ 117 h 286"/>
                  <a:gd name="T74" fmla="*/ 187 w 339"/>
                  <a:gd name="T75" fmla="*/ 75 h 286"/>
                  <a:gd name="T76" fmla="*/ 155 w 339"/>
                  <a:gd name="T77" fmla="*/ 99 h 286"/>
                  <a:gd name="T78" fmla="*/ 192 w 339"/>
                  <a:gd name="T79" fmla="*/ 141 h 286"/>
                  <a:gd name="T80" fmla="*/ 192 w 339"/>
                  <a:gd name="T81" fmla="*/ 87 h 286"/>
                  <a:gd name="T82" fmla="*/ 182 w 339"/>
                  <a:gd name="T83" fmla="*/ 102 h 286"/>
                  <a:gd name="T84" fmla="*/ 167 w 339"/>
                  <a:gd name="T85" fmla="*/ 126 h 286"/>
                  <a:gd name="T86" fmla="*/ 221 w 339"/>
                  <a:gd name="T87" fmla="*/ 122 h 286"/>
                  <a:gd name="T88" fmla="*/ 180 w 339"/>
                  <a:gd name="T89" fmla="*/ 124 h 286"/>
                  <a:gd name="T90" fmla="*/ 194 w 339"/>
                  <a:gd name="T91" fmla="*/ 100 h 286"/>
                  <a:gd name="T92" fmla="*/ 218 w 339"/>
                  <a:gd name="T93" fmla="*/ 114 h 286"/>
                  <a:gd name="T94" fmla="*/ 157 w 339"/>
                  <a:gd name="T95" fmla="*/ 83 h 286"/>
                  <a:gd name="T96" fmla="*/ 323 w 339"/>
                  <a:gd name="T97" fmla="*/ 260 h 286"/>
                  <a:gd name="T98" fmla="*/ 216 w 339"/>
                  <a:gd name="T99" fmla="*/ 110 h 286"/>
                  <a:gd name="T100" fmla="*/ 197 w 339"/>
                  <a:gd name="T101" fmla="*/ 105 h 286"/>
                  <a:gd name="T102" fmla="*/ 160 w 339"/>
                  <a:gd name="T103" fmla="*/ 102 h 286"/>
                  <a:gd name="T104" fmla="*/ 330 w 339"/>
                  <a:gd name="T105" fmla="*/ 257 h 286"/>
                  <a:gd name="T106" fmla="*/ 186 w 339"/>
                  <a:gd name="T107" fmla="*/ 139 h 286"/>
                  <a:gd name="T108" fmla="*/ 281 w 339"/>
                  <a:gd name="T109" fmla="*/ 207 h 286"/>
                  <a:gd name="T110" fmla="*/ 327 w 339"/>
                  <a:gd name="T111" fmla="*/ 260 h 286"/>
                  <a:gd name="T112" fmla="*/ 177 w 339"/>
                  <a:gd name="T113" fmla="*/ 116 h 286"/>
                  <a:gd name="T114" fmla="*/ 186 w 339"/>
                  <a:gd name="T115" fmla="*/ 107 h 286"/>
                  <a:gd name="T116" fmla="*/ 179 w 339"/>
                  <a:gd name="T117" fmla="*/ 9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9" h="286">
                    <a:moveTo>
                      <a:pt x="339" y="267"/>
                    </a:moveTo>
                    <a:lnTo>
                      <a:pt x="330" y="270"/>
                    </a:lnTo>
                    <a:lnTo>
                      <a:pt x="328" y="272"/>
                    </a:lnTo>
                    <a:lnTo>
                      <a:pt x="327" y="272"/>
                    </a:lnTo>
                    <a:lnTo>
                      <a:pt x="325" y="276"/>
                    </a:lnTo>
                    <a:lnTo>
                      <a:pt x="323" y="276"/>
                    </a:lnTo>
                    <a:lnTo>
                      <a:pt x="322" y="277"/>
                    </a:lnTo>
                    <a:lnTo>
                      <a:pt x="322" y="279"/>
                    </a:lnTo>
                    <a:lnTo>
                      <a:pt x="323" y="281"/>
                    </a:lnTo>
                    <a:lnTo>
                      <a:pt x="323" y="282"/>
                    </a:lnTo>
                    <a:lnTo>
                      <a:pt x="322" y="282"/>
                    </a:lnTo>
                    <a:lnTo>
                      <a:pt x="320" y="282"/>
                    </a:lnTo>
                    <a:lnTo>
                      <a:pt x="320" y="284"/>
                    </a:lnTo>
                    <a:lnTo>
                      <a:pt x="318" y="284"/>
                    </a:lnTo>
                    <a:lnTo>
                      <a:pt x="316" y="286"/>
                    </a:lnTo>
                    <a:lnTo>
                      <a:pt x="308" y="279"/>
                    </a:lnTo>
                    <a:lnTo>
                      <a:pt x="306" y="277"/>
                    </a:lnTo>
                    <a:lnTo>
                      <a:pt x="305" y="277"/>
                    </a:lnTo>
                    <a:lnTo>
                      <a:pt x="303" y="279"/>
                    </a:lnTo>
                    <a:lnTo>
                      <a:pt x="296" y="270"/>
                    </a:lnTo>
                    <a:lnTo>
                      <a:pt x="293" y="265"/>
                    </a:lnTo>
                    <a:lnTo>
                      <a:pt x="284" y="262"/>
                    </a:lnTo>
                    <a:lnTo>
                      <a:pt x="282" y="260"/>
                    </a:lnTo>
                    <a:lnTo>
                      <a:pt x="281" y="257"/>
                    </a:lnTo>
                    <a:lnTo>
                      <a:pt x="276" y="250"/>
                    </a:lnTo>
                    <a:lnTo>
                      <a:pt x="269" y="240"/>
                    </a:lnTo>
                    <a:lnTo>
                      <a:pt x="267" y="238"/>
                    </a:lnTo>
                    <a:lnTo>
                      <a:pt x="262" y="233"/>
                    </a:lnTo>
                    <a:lnTo>
                      <a:pt x="254" y="230"/>
                    </a:lnTo>
                    <a:lnTo>
                      <a:pt x="247" y="224"/>
                    </a:lnTo>
                    <a:lnTo>
                      <a:pt x="240" y="216"/>
                    </a:lnTo>
                    <a:lnTo>
                      <a:pt x="231" y="201"/>
                    </a:lnTo>
                    <a:lnTo>
                      <a:pt x="228" y="197"/>
                    </a:lnTo>
                    <a:lnTo>
                      <a:pt x="225" y="196"/>
                    </a:lnTo>
                    <a:lnTo>
                      <a:pt x="221" y="194"/>
                    </a:lnTo>
                    <a:lnTo>
                      <a:pt x="203" y="185"/>
                    </a:lnTo>
                    <a:lnTo>
                      <a:pt x="194" y="182"/>
                    </a:lnTo>
                    <a:lnTo>
                      <a:pt x="191" y="182"/>
                    </a:lnTo>
                    <a:lnTo>
                      <a:pt x="187" y="175"/>
                    </a:lnTo>
                    <a:lnTo>
                      <a:pt x="186" y="175"/>
                    </a:lnTo>
                    <a:lnTo>
                      <a:pt x="184" y="175"/>
                    </a:lnTo>
                    <a:lnTo>
                      <a:pt x="180" y="179"/>
                    </a:lnTo>
                    <a:lnTo>
                      <a:pt x="179" y="180"/>
                    </a:lnTo>
                    <a:lnTo>
                      <a:pt x="177" y="182"/>
                    </a:lnTo>
                    <a:lnTo>
                      <a:pt x="174" y="179"/>
                    </a:lnTo>
                    <a:lnTo>
                      <a:pt x="170" y="177"/>
                    </a:lnTo>
                    <a:lnTo>
                      <a:pt x="169" y="175"/>
                    </a:lnTo>
                    <a:lnTo>
                      <a:pt x="165" y="173"/>
                    </a:lnTo>
                    <a:lnTo>
                      <a:pt x="165" y="172"/>
                    </a:lnTo>
                    <a:lnTo>
                      <a:pt x="160" y="172"/>
                    </a:lnTo>
                    <a:lnTo>
                      <a:pt x="157" y="172"/>
                    </a:lnTo>
                    <a:lnTo>
                      <a:pt x="157" y="173"/>
                    </a:lnTo>
                    <a:lnTo>
                      <a:pt x="155" y="173"/>
                    </a:lnTo>
                    <a:lnTo>
                      <a:pt x="155" y="175"/>
                    </a:lnTo>
                    <a:lnTo>
                      <a:pt x="157" y="177"/>
                    </a:lnTo>
                    <a:lnTo>
                      <a:pt x="155" y="179"/>
                    </a:lnTo>
                    <a:lnTo>
                      <a:pt x="150" y="177"/>
                    </a:lnTo>
                    <a:lnTo>
                      <a:pt x="150" y="175"/>
                    </a:lnTo>
                    <a:lnTo>
                      <a:pt x="148" y="175"/>
                    </a:lnTo>
                    <a:lnTo>
                      <a:pt x="148" y="179"/>
                    </a:lnTo>
                    <a:lnTo>
                      <a:pt x="145" y="179"/>
                    </a:lnTo>
                    <a:lnTo>
                      <a:pt x="143" y="182"/>
                    </a:lnTo>
                    <a:lnTo>
                      <a:pt x="141" y="179"/>
                    </a:lnTo>
                    <a:lnTo>
                      <a:pt x="143" y="177"/>
                    </a:lnTo>
                    <a:lnTo>
                      <a:pt x="141" y="173"/>
                    </a:lnTo>
                    <a:lnTo>
                      <a:pt x="140" y="170"/>
                    </a:lnTo>
                    <a:lnTo>
                      <a:pt x="140" y="172"/>
                    </a:lnTo>
                    <a:lnTo>
                      <a:pt x="140" y="170"/>
                    </a:lnTo>
                    <a:lnTo>
                      <a:pt x="138" y="168"/>
                    </a:lnTo>
                    <a:lnTo>
                      <a:pt x="135" y="170"/>
                    </a:lnTo>
                    <a:lnTo>
                      <a:pt x="131" y="170"/>
                    </a:lnTo>
                    <a:lnTo>
                      <a:pt x="131" y="172"/>
                    </a:lnTo>
                    <a:lnTo>
                      <a:pt x="128" y="175"/>
                    </a:lnTo>
                    <a:lnTo>
                      <a:pt x="126" y="175"/>
                    </a:lnTo>
                    <a:lnTo>
                      <a:pt x="124" y="177"/>
                    </a:lnTo>
                    <a:lnTo>
                      <a:pt x="123" y="177"/>
                    </a:lnTo>
                    <a:lnTo>
                      <a:pt x="119" y="179"/>
                    </a:lnTo>
                    <a:lnTo>
                      <a:pt x="114" y="179"/>
                    </a:lnTo>
                    <a:lnTo>
                      <a:pt x="112" y="180"/>
                    </a:lnTo>
                    <a:lnTo>
                      <a:pt x="107" y="180"/>
                    </a:lnTo>
                    <a:lnTo>
                      <a:pt x="106" y="182"/>
                    </a:lnTo>
                    <a:lnTo>
                      <a:pt x="104" y="180"/>
                    </a:lnTo>
                    <a:lnTo>
                      <a:pt x="102" y="182"/>
                    </a:lnTo>
                    <a:lnTo>
                      <a:pt x="101" y="179"/>
                    </a:lnTo>
                    <a:lnTo>
                      <a:pt x="99" y="179"/>
                    </a:lnTo>
                    <a:lnTo>
                      <a:pt x="99" y="177"/>
                    </a:lnTo>
                    <a:lnTo>
                      <a:pt x="97" y="177"/>
                    </a:lnTo>
                    <a:lnTo>
                      <a:pt x="95" y="172"/>
                    </a:lnTo>
                    <a:lnTo>
                      <a:pt x="94" y="172"/>
                    </a:lnTo>
                    <a:lnTo>
                      <a:pt x="92" y="170"/>
                    </a:lnTo>
                    <a:lnTo>
                      <a:pt x="92" y="168"/>
                    </a:lnTo>
                    <a:lnTo>
                      <a:pt x="89" y="167"/>
                    </a:lnTo>
                    <a:lnTo>
                      <a:pt x="89" y="168"/>
                    </a:lnTo>
                    <a:lnTo>
                      <a:pt x="87" y="168"/>
                    </a:lnTo>
                    <a:lnTo>
                      <a:pt x="84" y="167"/>
                    </a:lnTo>
                    <a:lnTo>
                      <a:pt x="82" y="165"/>
                    </a:lnTo>
                    <a:lnTo>
                      <a:pt x="80" y="165"/>
                    </a:lnTo>
                    <a:lnTo>
                      <a:pt x="80" y="163"/>
                    </a:lnTo>
                    <a:lnTo>
                      <a:pt x="78" y="163"/>
                    </a:lnTo>
                    <a:lnTo>
                      <a:pt x="78" y="162"/>
                    </a:lnTo>
                    <a:lnTo>
                      <a:pt x="77" y="162"/>
                    </a:lnTo>
                    <a:lnTo>
                      <a:pt x="77" y="160"/>
                    </a:lnTo>
                    <a:lnTo>
                      <a:pt x="75" y="156"/>
                    </a:lnTo>
                    <a:lnTo>
                      <a:pt x="68" y="168"/>
                    </a:lnTo>
                    <a:lnTo>
                      <a:pt x="55" y="192"/>
                    </a:lnTo>
                    <a:lnTo>
                      <a:pt x="53" y="192"/>
                    </a:lnTo>
                    <a:lnTo>
                      <a:pt x="53" y="190"/>
                    </a:lnTo>
                    <a:lnTo>
                      <a:pt x="53" y="189"/>
                    </a:lnTo>
                    <a:lnTo>
                      <a:pt x="51" y="189"/>
                    </a:lnTo>
                    <a:lnTo>
                      <a:pt x="48" y="187"/>
                    </a:lnTo>
                    <a:lnTo>
                      <a:pt x="50" y="185"/>
                    </a:lnTo>
                    <a:lnTo>
                      <a:pt x="48" y="185"/>
                    </a:lnTo>
                    <a:lnTo>
                      <a:pt x="48" y="184"/>
                    </a:lnTo>
                    <a:lnTo>
                      <a:pt x="46" y="180"/>
                    </a:lnTo>
                    <a:lnTo>
                      <a:pt x="44" y="180"/>
                    </a:lnTo>
                    <a:lnTo>
                      <a:pt x="41" y="180"/>
                    </a:lnTo>
                    <a:lnTo>
                      <a:pt x="39" y="180"/>
                    </a:lnTo>
                    <a:lnTo>
                      <a:pt x="38" y="180"/>
                    </a:lnTo>
                    <a:lnTo>
                      <a:pt x="36" y="182"/>
                    </a:lnTo>
                    <a:lnTo>
                      <a:pt x="34" y="185"/>
                    </a:lnTo>
                    <a:lnTo>
                      <a:pt x="33" y="189"/>
                    </a:lnTo>
                    <a:lnTo>
                      <a:pt x="31" y="189"/>
                    </a:lnTo>
                    <a:lnTo>
                      <a:pt x="29" y="189"/>
                    </a:lnTo>
                    <a:lnTo>
                      <a:pt x="27" y="187"/>
                    </a:lnTo>
                    <a:lnTo>
                      <a:pt x="21" y="185"/>
                    </a:lnTo>
                    <a:lnTo>
                      <a:pt x="21" y="187"/>
                    </a:lnTo>
                    <a:lnTo>
                      <a:pt x="16" y="185"/>
                    </a:lnTo>
                    <a:lnTo>
                      <a:pt x="12" y="187"/>
                    </a:lnTo>
                    <a:lnTo>
                      <a:pt x="10" y="185"/>
                    </a:lnTo>
                    <a:lnTo>
                      <a:pt x="7" y="187"/>
                    </a:lnTo>
                    <a:lnTo>
                      <a:pt x="5" y="187"/>
                    </a:lnTo>
                    <a:lnTo>
                      <a:pt x="5" y="189"/>
                    </a:lnTo>
                    <a:lnTo>
                      <a:pt x="4" y="185"/>
                    </a:lnTo>
                    <a:lnTo>
                      <a:pt x="4" y="175"/>
                    </a:lnTo>
                    <a:lnTo>
                      <a:pt x="2" y="163"/>
                    </a:lnTo>
                    <a:lnTo>
                      <a:pt x="0" y="143"/>
                    </a:lnTo>
                    <a:lnTo>
                      <a:pt x="5" y="139"/>
                    </a:lnTo>
                    <a:lnTo>
                      <a:pt x="10" y="128"/>
                    </a:lnTo>
                    <a:lnTo>
                      <a:pt x="9" y="128"/>
                    </a:lnTo>
                    <a:lnTo>
                      <a:pt x="12" y="114"/>
                    </a:lnTo>
                    <a:lnTo>
                      <a:pt x="16" y="109"/>
                    </a:lnTo>
                    <a:lnTo>
                      <a:pt x="22" y="90"/>
                    </a:lnTo>
                    <a:lnTo>
                      <a:pt x="26" y="87"/>
                    </a:lnTo>
                    <a:lnTo>
                      <a:pt x="24" y="85"/>
                    </a:lnTo>
                    <a:lnTo>
                      <a:pt x="26" y="80"/>
                    </a:lnTo>
                    <a:lnTo>
                      <a:pt x="24" y="78"/>
                    </a:lnTo>
                    <a:lnTo>
                      <a:pt x="22" y="75"/>
                    </a:lnTo>
                    <a:lnTo>
                      <a:pt x="22" y="71"/>
                    </a:lnTo>
                    <a:lnTo>
                      <a:pt x="22" y="68"/>
                    </a:lnTo>
                    <a:lnTo>
                      <a:pt x="26" y="68"/>
                    </a:lnTo>
                    <a:lnTo>
                      <a:pt x="26" y="66"/>
                    </a:lnTo>
                    <a:lnTo>
                      <a:pt x="27" y="65"/>
                    </a:lnTo>
                    <a:lnTo>
                      <a:pt x="27" y="63"/>
                    </a:lnTo>
                    <a:lnTo>
                      <a:pt x="29" y="59"/>
                    </a:lnTo>
                    <a:lnTo>
                      <a:pt x="27" y="58"/>
                    </a:lnTo>
                    <a:lnTo>
                      <a:pt x="29" y="56"/>
                    </a:lnTo>
                    <a:lnTo>
                      <a:pt x="26" y="53"/>
                    </a:lnTo>
                    <a:lnTo>
                      <a:pt x="29" y="49"/>
                    </a:lnTo>
                    <a:lnTo>
                      <a:pt x="27" y="46"/>
                    </a:lnTo>
                    <a:lnTo>
                      <a:pt x="29" y="46"/>
                    </a:lnTo>
                    <a:lnTo>
                      <a:pt x="31" y="46"/>
                    </a:lnTo>
                    <a:lnTo>
                      <a:pt x="33" y="46"/>
                    </a:lnTo>
                    <a:lnTo>
                      <a:pt x="36" y="48"/>
                    </a:lnTo>
                    <a:lnTo>
                      <a:pt x="43" y="46"/>
                    </a:lnTo>
                    <a:lnTo>
                      <a:pt x="48" y="48"/>
                    </a:lnTo>
                    <a:lnTo>
                      <a:pt x="50" y="46"/>
                    </a:lnTo>
                    <a:lnTo>
                      <a:pt x="51" y="44"/>
                    </a:lnTo>
                    <a:lnTo>
                      <a:pt x="53" y="41"/>
                    </a:lnTo>
                    <a:lnTo>
                      <a:pt x="55" y="41"/>
                    </a:lnTo>
                    <a:lnTo>
                      <a:pt x="53" y="37"/>
                    </a:lnTo>
                    <a:lnTo>
                      <a:pt x="55" y="37"/>
                    </a:lnTo>
                    <a:lnTo>
                      <a:pt x="53" y="34"/>
                    </a:lnTo>
                    <a:lnTo>
                      <a:pt x="60" y="32"/>
                    </a:lnTo>
                    <a:lnTo>
                      <a:pt x="67" y="31"/>
                    </a:lnTo>
                    <a:lnTo>
                      <a:pt x="68" y="25"/>
                    </a:lnTo>
                    <a:lnTo>
                      <a:pt x="72" y="25"/>
                    </a:lnTo>
                    <a:lnTo>
                      <a:pt x="73" y="27"/>
                    </a:lnTo>
                    <a:lnTo>
                      <a:pt x="77" y="27"/>
                    </a:lnTo>
                    <a:lnTo>
                      <a:pt x="77" y="25"/>
                    </a:lnTo>
                    <a:lnTo>
                      <a:pt x="78" y="22"/>
                    </a:lnTo>
                    <a:lnTo>
                      <a:pt x="80" y="22"/>
                    </a:lnTo>
                    <a:lnTo>
                      <a:pt x="82" y="22"/>
                    </a:lnTo>
                    <a:lnTo>
                      <a:pt x="82" y="24"/>
                    </a:lnTo>
                    <a:lnTo>
                      <a:pt x="84" y="24"/>
                    </a:lnTo>
                    <a:lnTo>
                      <a:pt x="84" y="22"/>
                    </a:lnTo>
                    <a:lnTo>
                      <a:pt x="85" y="20"/>
                    </a:lnTo>
                    <a:lnTo>
                      <a:pt x="85" y="22"/>
                    </a:lnTo>
                    <a:lnTo>
                      <a:pt x="87" y="20"/>
                    </a:lnTo>
                    <a:lnTo>
                      <a:pt x="89" y="22"/>
                    </a:lnTo>
                    <a:lnTo>
                      <a:pt x="90" y="22"/>
                    </a:lnTo>
                    <a:lnTo>
                      <a:pt x="92" y="22"/>
                    </a:lnTo>
                    <a:lnTo>
                      <a:pt x="94" y="19"/>
                    </a:lnTo>
                    <a:lnTo>
                      <a:pt x="97" y="17"/>
                    </a:lnTo>
                    <a:lnTo>
                      <a:pt x="97" y="14"/>
                    </a:lnTo>
                    <a:lnTo>
                      <a:pt x="102" y="5"/>
                    </a:lnTo>
                    <a:lnTo>
                      <a:pt x="107" y="0"/>
                    </a:lnTo>
                    <a:lnTo>
                      <a:pt x="109" y="3"/>
                    </a:lnTo>
                    <a:lnTo>
                      <a:pt x="112" y="5"/>
                    </a:lnTo>
                    <a:lnTo>
                      <a:pt x="112" y="8"/>
                    </a:lnTo>
                    <a:lnTo>
                      <a:pt x="121" y="19"/>
                    </a:lnTo>
                    <a:lnTo>
                      <a:pt x="126" y="29"/>
                    </a:lnTo>
                    <a:lnTo>
                      <a:pt x="128" y="39"/>
                    </a:lnTo>
                    <a:lnTo>
                      <a:pt x="129" y="41"/>
                    </a:lnTo>
                    <a:lnTo>
                      <a:pt x="129" y="42"/>
                    </a:lnTo>
                    <a:lnTo>
                      <a:pt x="133" y="56"/>
                    </a:lnTo>
                    <a:lnTo>
                      <a:pt x="138" y="66"/>
                    </a:lnTo>
                    <a:lnTo>
                      <a:pt x="138" y="68"/>
                    </a:lnTo>
                    <a:lnTo>
                      <a:pt x="136" y="70"/>
                    </a:lnTo>
                    <a:lnTo>
                      <a:pt x="138" y="73"/>
                    </a:lnTo>
                    <a:lnTo>
                      <a:pt x="138" y="75"/>
                    </a:lnTo>
                    <a:lnTo>
                      <a:pt x="138" y="76"/>
                    </a:lnTo>
                    <a:lnTo>
                      <a:pt x="140" y="78"/>
                    </a:lnTo>
                    <a:lnTo>
                      <a:pt x="140" y="87"/>
                    </a:lnTo>
                    <a:lnTo>
                      <a:pt x="141" y="97"/>
                    </a:lnTo>
                    <a:lnTo>
                      <a:pt x="145" y="105"/>
                    </a:lnTo>
                    <a:lnTo>
                      <a:pt x="152" y="110"/>
                    </a:lnTo>
                    <a:lnTo>
                      <a:pt x="152" y="114"/>
                    </a:lnTo>
                    <a:lnTo>
                      <a:pt x="153" y="117"/>
                    </a:lnTo>
                    <a:lnTo>
                      <a:pt x="155" y="119"/>
                    </a:lnTo>
                    <a:lnTo>
                      <a:pt x="153" y="119"/>
                    </a:lnTo>
                    <a:lnTo>
                      <a:pt x="155" y="121"/>
                    </a:lnTo>
                    <a:lnTo>
                      <a:pt x="153" y="121"/>
                    </a:lnTo>
                    <a:lnTo>
                      <a:pt x="152" y="121"/>
                    </a:lnTo>
                    <a:lnTo>
                      <a:pt x="153" y="124"/>
                    </a:lnTo>
                    <a:lnTo>
                      <a:pt x="155" y="126"/>
                    </a:lnTo>
                    <a:lnTo>
                      <a:pt x="158" y="124"/>
                    </a:lnTo>
                    <a:lnTo>
                      <a:pt x="160" y="126"/>
                    </a:lnTo>
                    <a:lnTo>
                      <a:pt x="162" y="128"/>
                    </a:lnTo>
                    <a:lnTo>
                      <a:pt x="163" y="134"/>
                    </a:lnTo>
                    <a:lnTo>
                      <a:pt x="165" y="138"/>
                    </a:lnTo>
                    <a:lnTo>
                      <a:pt x="165" y="145"/>
                    </a:lnTo>
                    <a:lnTo>
                      <a:pt x="165" y="146"/>
                    </a:lnTo>
                    <a:lnTo>
                      <a:pt x="169" y="146"/>
                    </a:lnTo>
                    <a:lnTo>
                      <a:pt x="169" y="148"/>
                    </a:lnTo>
                    <a:lnTo>
                      <a:pt x="170" y="148"/>
                    </a:lnTo>
                    <a:lnTo>
                      <a:pt x="172" y="145"/>
                    </a:lnTo>
                    <a:lnTo>
                      <a:pt x="174" y="143"/>
                    </a:lnTo>
                    <a:lnTo>
                      <a:pt x="172" y="138"/>
                    </a:lnTo>
                    <a:lnTo>
                      <a:pt x="170" y="138"/>
                    </a:lnTo>
                    <a:lnTo>
                      <a:pt x="170" y="139"/>
                    </a:lnTo>
                    <a:lnTo>
                      <a:pt x="170" y="138"/>
                    </a:lnTo>
                    <a:lnTo>
                      <a:pt x="169" y="136"/>
                    </a:lnTo>
                    <a:lnTo>
                      <a:pt x="170" y="134"/>
                    </a:lnTo>
                    <a:lnTo>
                      <a:pt x="169" y="131"/>
                    </a:lnTo>
                    <a:lnTo>
                      <a:pt x="170" y="131"/>
                    </a:lnTo>
                    <a:lnTo>
                      <a:pt x="170" y="129"/>
                    </a:lnTo>
                    <a:lnTo>
                      <a:pt x="172" y="129"/>
                    </a:lnTo>
                    <a:lnTo>
                      <a:pt x="172" y="128"/>
                    </a:lnTo>
                    <a:lnTo>
                      <a:pt x="172" y="129"/>
                    </a:lnTo>
                    <a:lnTo>
                      <a:pt x="172" y="128"/>
                    </a:lnTo>
                    <a:lnTo>
                      <a:pt x="174" y="128"/>
                    </a:lnTo>
                    <a:lnTo>
                      <a:pt x="174" y="126"/>
                    </a:lnTo>
                    <a:lnTo>
                      <a:pt x="175" y="129"/>
                    </a:lnTo>
                    <a:lnTo>
                      <a:pt x="179" y="129"/>
                    </a:lnTo>
                    <a:lnTo>
                      <a:pt x="179" y="131"/>
                    </a:lnTo>
                    <a:lnTo>
                      <a:pt x="186" y="134"/>
                    </a:lnTo>
                    <a:lnTo>
                      <a:pt x="184" y="136"/>
                    </a:lnTo>
                    <a:lnTo>
                      <a:pt x="182" y="139"/>
                    </a:lnTo>
                    <a:lnTo>
                      <a:pt x="184" y="139"/>
                    </a:lnTo>
                    <a:lnTo>
                      <a:pt x="182" y="141"/>
                    </a:lnTo>
                    <a:lnTo>
                      <a:pt x="186" y="141"/>
                    </a:lnTo>
                    <a:lnTo>
                      <a:pt x="184" y="143"/>
                    </a:lnTo>
                    <a:lnTo>
                      <a:pt x="184" y="141"/>
                    </a:lnTo>
                    <a:lnTo>
                      <a:pt x="182" y="141"/>
                    </a:lnTo>
                    <a:lnTo>
                      <a:pt x="186" y="145"/>
                    </a:lnTo>
                    <a:lnTo>
                      <a:pt x="186" y="148"/>
                    </a:lnTo>
                    <a:lnTo>
                      <a:pt x="186" y="146"/>
                    </a:lnTo>
                    <a:lnTo>
                      <a:pt x="186" y="148"/>
                    </a:lnTo>
                    <a:lnTo>
                      <a:pt x="187" y="148"/>
                    </a:lnTo>
                    <a:lnTo>
                      <a:pt x="189" y="150"/>
                    </a:lnTo>
                    <a:lnTo>
                      <a:pt x="189" y="151"/>
                    </a:lnTo>
                    <a:lnTo>
                      <a:pt x="191" y="155"/>
                    </a:lnTo>
                    <a:lnTo>
                      <a:pt x="194" y="155"/>
                    </a:lnTo>
                    <a:lnTo>
                      <a:pt x="196" y="156"/>
                    </a:lnTo>
                    <a:lnTo>
                      <a:pt x="197" y="155"/>
                    </a:lnTo>
                    <a:lnTo>
                      <a:pt x="199" y="155"/>
                    </a:lnTo>
                    <a:lnTo>
                      <a:pt x="199" y="151"/>
                    </a:lnTo>
                    <a:lnTo>
                      <a:pt x="201" y="151"/>
                    </a:lnTo>
                    <a:lnTo>
                      <a:pt x="199" y="153"/>
                    </a:lnTo>
                    <a:lnTo>
                      <a:pt x="201" y="155"/>
                    </a:lnTo>
                    <a:lnTo>
                      <a:pt x="203" y="153"/>
                    </a:lnTo>
                    <a:lnTo>
                      <a:pt x="201" y="153"/>
                    </a:lnTo>
                    <a:lnTo>
                      <a:pt x="203" y="151"/>
                    </a:lnTo>
                    <a:lnTo>
                      <a:pt x="204" y="151"/>
                    </a:lnTo>
                    <a:lnTo>
                      <a:pt x="204" y="153"/>
                    </a:lnTo>
                    <a:lnTo>
                      <a:pt x="203" y="153"/>
                    </a:lnTo>
                    <a:lnTo>
                      <a:pt x="206" y="153"/>
                    </a:lnTo>
                    <a:lnTo>
                      <a:pt x="208" y="153"/>
                    </a:lnTo>
                    <a:lnTo>
                      <a:pt x="208" y="150"/>
                    </a:lnTo>
                    <a:lnTo>
                      <a:pt x="209" y="151"/>
                    </a:lnTo>
                    <a:lnTo>
                      <a:pt x="209" y="153"/>
                    </a:lnTo>
                    <a:lnTo>
                      <a:pt x="209" y="155"/>
                    </a:lnTo>
                    <a:lnTo>
                      <a:pt x="213" y="153"/>
                    </a:lnTo>
                    <a:lnTo>
                      <a:pt x="213" y="155"/>
                    </a:lnTo>
                    <a:lnTo>
                      <a:pt x="211" y="156"/>
                    </a:lnTo>
                    <a:lnTo>
                      <a:pt x="214" y="156"/>
                    </a:lnTo>
                    <a:lnTo>
                      <a:pt x="216" y="156"/>
                    </a:lnTo>
                    <a:lnTo>
                      <a:pt x="216" y="158"/>
                    </a:lnTo>
                    <a:lnTo>
                      <a:pt x="216" y="156"/>
                    </a:lnTo>
                    <a:lnTo>
                      <a:pt x="214" y="158"/>
                    </a:lnTo>
                    <a:lnTo>
                      <a:pt x="216" y="158"/>
                    </a:lnTo>
                    <a:lnTo>
                      <a:pt x="218" y="158"/>
                    </a:lnTo>
                    <a:lnTo>
                      <a:pt x="216" y="158"/>
                    </a:lnTo>
                    <a:lnTo>
                      <a:pt x="218" y="160"/>
                    </a:lnTo>
                    <a:lnTo>
                      <a:pt x="218" y="162"/>
                    </a:lnTo>
                    <a:lnTo>
                      <a:pt x="220" y="162"/>
                    </a:lnTo>
                    <a:lnTo>
                      <a:pt x="218" y="163"/>
                    </a:lnTo>
                    <a:lnTo>
                      <a:pt x="218" y="165"/>
                    </a:lnTo>
                    <a:lnTo>
                      <a:pt x="220" y="165"/>
                    </a:lnTo>
                    <a:lnTo>
                      <a:pt x="221" y="165"/>
                    </a:lnTo>
                    <a:lnTo>
                      <a:pt x="220" y="165"/>
                    </a:lnTo>
                    <a:lnTo>
                      <a:pt x="220" y="167"/>
                    </a:lnTo>
                    <a:lnTo>
                      <a:pt x="221" y="165"/>
                    </a:lnTo>
                    <a:lnTo>
                      <a:pt x="221" y="167"/>
                    </a:lnTo>
                    <a:lnTo>
                      <a:pt x="223" y="165"/>
                    </a:lnTo>
                    <a:lnTo>
                      <a:pt x="226" y="165"/>
                    </a:lnTo>
                    <a:lnTo>
                      <a:pt x="228" y="167"/>
                    </a:lnTo>
                    <a:lnTo>
                      <a:pt x="230" y="167"/>
                    </a:lnTo>
                    <a:lnTo>
                      <a:pt x="230" y="168"/>
                    </a:lnTo>
                    <a:lnTo>
                      <a:pt x="233" y="168"/>
                    </a:lnTo>
                    <a:lnTo>
                      <a:pt x="240" y="170"/>
                    </a:lnTo>
                    <a:lnTo>
                      <a:pt x="242" y="173"/>
                    </a:lnTo>
                    <a:lnTo>
                      <a:pt x="247" y="177"/>
                    </a:lnTo>
                    <a:lnTo>
                      <a:pt x="248" y="182"/>
                    </a:lnTo>
                    <a:lnTo>
                      <a:pt x="252" y="184"/>
                    </a:lnTo>
                    <a:lnTo>
                      <a:pt x="252" y="187"/>
                    </a:lnTo>
                    <a:lnTo>
                      <a:pt x="257" y="190"/>
                    </a:lnTo>
                    <a:lnTo>
                      <a:pt x="259" y="196"/>
                    </a:lnTo>
                    <a:lnTo>
                      <a:pt x="264" y="201"/>
                    </a:lnTo>
                    <a:lnTo>
                      <a:pt x="265" y="206"/>
                    </a:lnTo>
                    <a:lnTo>
                      <a:pt x="267" y="206"/>
                    </a:lnTo>
                    <a:lnTo>
                      <a:pt x="269" y="206"/>
                    </a:lnTo>
                    <a:lnTo>
                      <a:pt x="272" y="206"/>
                    </a:lnTo>
                    <a:lnTo>
                      <a:pt x="274" y="209"/>
                    </a:lnTo>
                    <a:lnTo>
                      <a:pt x="277" y="209"/>
                    </a:lnTo>
                    <a:lnTo>
                      <a:pt x="279" y="209"/>
                    </a:lnTo>
                    <a:lnTo>
                      <a:pt x="281" y="209"/>
                    </a:lnTo>
                    <a:lnTo>
                      <a:pt x="281" y="211"/>
                    </a:lnTo>
                    <a:lnTo>
                      <a:pt x="282" y="211"/>
                    </a:lnTo>
                    <a:lnTo>
                      <a:pt x="282" y="214"/>
                    </a:lnTo>
                    <a:lnTo>
                      <a:pt x="284" y="214"/>
                    </a:lnTo>
                    <a:lnTo>
                      <a:pt x="284" y="216"/>
                    </a:lnTo>
                    <a:lnTo>
                      <a:pt x="286" y="216"/>
                    </a:lnTo>
                    <a:lnTo>
                      <a:pt x="288" y="221"/>
                    </a:lnTo>
                    <a:lnTo>
                      <a:pt x="289" y="219"/>
                    </a:lnTo>
                    <a:lnTo>
                      <a:pt x="289" y="221"/>
                    </a:lnTo>
                    <a:lnTo>
                      <a:pt x="293" y="224"/>
                    </a:lnTo>
                    <a:lnTo>
                      <a:pt x="294" y="224"/>
                    </a:lnTo>
                    <a:lnTo>
                      <a:pt x="293" y="223"/>
                    </a:lnTo>
                    <a:lnTo>
                      <a:pt x="293" y="221"/>
                    </a:lnTo>
                    <a:lnTo>
                      <a:pt x="291" y="221"/>
                    </a:lnTo>
                    <a:lnTo>
                      <a:pt x="293" y="221"/>
                    </a:lnTo>
                    <a:lnTo>
                      <a:pt x="289" y="219"/>
                    </a:lnTo>
                    <a:lnTo>
                      <a:pt x="291" y="219"/>
                    </a:lnTo>
                    <a:lnTo>
                      <a:pt x="293" y="219"/>
                    </a:lnTo>
                    <a:lnTo>
                      <a:pt x="294" y="221"/>
                    </a:lnTo>
                    <a:lnTo>
                      <a:pt x="296" y="224"/>
                    </a:lnTo>
                    <a:lnTo>
                      <a:pt x="298" y="228"/>
                    </a:lnTo>
                    <a:lnTo>
                      <a:pt x="299" y="231"/>
                    </a:lnTo>
                    <a:lnTo>
                      <a:pt x="301" y="241"/>
                    </a:lnTo>
                    <a:lnTo>
                      <a:pt x="306" y="243"/>
                    </a:lnTo>
                    <a:lnTo>
                      <a:pt x="308" y="243"/>
                    </a:lnTo>
                    <a:lnTo>
                      <a:pt x="308" y="241"/>
                    </a:lnTo>
                    <a:lnTo>
                      <a:pt x="310" y="241"/>
                    </a:lnTo>
                    <a:lnTo>
                      <a:pt x="310" y="243"/>
                    </a:lnTo>
                    <a:lnTo>
                      <a:pt x="311" y="245"/>
                    </a:lnTo>
                    <a:lnTo>
                      <a:pt x="313" y="247"/>
                    </a:lnTo>
                    <a:lnTo>
                      <a:pt x="316" y="250"/>
                    </a:lnTo>
                    <a:lnTo>
                      <a:pt x="320" y="252"/>
                    </a:lnTo>
                    <a:lnTo>
                      <a:pt x="320" y="253"/>
                    </a:lnTo>
                    <a:lnTo>
                      <a:pt x="318" y="255"/>
                    </a:lnTo>
                    <a:lnTo>
                      <a:pt x="320" y="257"/>
                    </a:lnTo>
                    <a:lnTo>
                      <a:pt x="320" y="258"/>
                    </a:lnTo>
                    <a:lnTo>
                      <a:pt x="322" y="260"/>
                    </a:lnTo>
                    <a:lnTo>
                      <a:pt x="325" y="260"/>
                    </a:lnTo>
                    <a:lnTo>
                      <a:pt x="327" y="262"/>
                    </a:lnTo>
                    <a:lnTo>
                      <a:pt x="328" y="262"/>
                    </a:lnTo>
                    <a:lnTo>
                      <a:pt x="328" y="264"/>
                    </a:lnTo>
                    <a:lnTo>
                      <a:pt x="332" y="262"/>
                    </a:lnTo>
                    <a:lnTo>
                      <a:pt x="332" y="260"/>
                    </a:lnTo>
                    <a:lnTo>
                      <a:pt x="332" y="258"/>
                    </a:lnTo>
                    <a:lnTo>
                      <a:pt x="330" y="257"/>
                    </a:lnTo>
                    <a:lnTo>
                      <a:pt x="332" y="255"/>
                    </a:lnTo>
                    <a:lnTo>
                      <a:pt x="330" y="255"/>
                    </a:lnTo>
                    <a:lnTo>
                      <a:pt x="332" y="255"/>
                    </a:lnTo>
                    <a:lnTo>
                      <a:pt x="333" y="258"/>
                    </a:lnTo>
                    <a:lnTo>
                      <a:pt x="337" y="260"/>
                    </a:lnTo>
                    <a:lnTo>
                      <a:pt x="337" y="265"/>
                    </a:lnTo>
                    <a:lnTo>
                      <a:pt x="339" y="267"/>
                    </a:lnTo>
                    <a:close/>
                    <a:moveTo>
                      <a:pt x="182" y="107"/>
                    </a:moveTo>
                    <a:lnTo>
                      <a:pt x="184" y="109"/>
                    </a:lnTo>
                    <a:lnTo>
                      <a:pt x="186" y="110"/>
                    </a:lnTo>
                    <a:lnTo>
                      <a:pt x="186" y="112"/>
                    </a:lnTo>
                    <a:lnTo>
                      <a:pt x="187" y="112"/>
                    </a:lnTo>
                    <a:lnTo>
                      <a:pt x="186" y="110"/>
                    </a:lnTo>
                    <a:lnTo>
                      <a:pt x="187" y="110"/>
                    </a:lnTo>
                    <a:lnTo>
                      <a:pt x="187" y="116"/>
                    </a:lnTo>
                    <a:lnTo>
                      <a:pt x="189" y="119"/>
                    </a:lnTo>
                    <a:lnTo>
                      <a:pt x="192" y="121"/>
                    </a:lnTo>
                    <a:lnTo>
                      <a:pt x="194" y="119"/>
                    </a:lnTo>
                    <a:lnTo>
                      <a:pt x="196" y="119"/>
                    </a:lnTo>
                    <a:lnTo>
                      <a:pt x="191" y="117"/>
                    </a:lnTo>
                    <a:lnTo>
                      <a:pt x="192" y="117"/>
                    </a:lnTo>
                    <a:lnTo>
                      <a:pt x="194" y="116"/>
                    </a:lnTo>
                    <a:lnTo>
                      <a:pt x="196" y="116"/>
                    </a:lnTo>
                    <a:lnTo>
                      <a:pt x="197" y="119"/>
                    </a:lnTo>
                    <a:lnTo>
                      <a:pt x="199" y="119"/>
                    </a:lnTo>
                    <a:lnTo>
                      <a:pt x="199" y="121"/>
                    </a:lnTo>
                    <a:lnTo>
                      <a:pt x="201" y="119"/>
                    </a:lnTo>
                    <a:lnTo>
                      <a:pt x="203" y="122"/>
                    </a:lnTo>
                    <a:lnTo>
                      <a:pt x="199" y="122"/>
                    </a:lnTo>
                    <a:lnTo>
                      <a:pt x="196" y="122"/>
                    </a:lnTo>
                    <a:lnTo>
                      <a:pt x="192" y="122"/>
                    </a:lnTo>
                    <a:lnTo>
                      <a:pt x="189" y="122"/>
                    </a:lnTo>
                    <a:lnTo>
                      <a:pt x="187" y="121"/>
                    </a:lnTo>
                    <a:lnTo>
                      <a:pt x="186" y="122"/>
                    </a:lnTo>
                    <a:lnTo>
                      <a:pt x="184" y="122"/>
                    </a:lnTo>
                    <a:lnTo>
                      <a:pt x="182" y="121"/>
                    </a:lnTo>
                    <a:lnTo>
                      <a:pt x="179" y="121"/>
                    </a:lnTo>
                    <a:lnTo>
                      <a:pt x="179" y="119"/>
                    </a:lnTo>
                    <a:lnTo>
                      <a:pt x="177" y="116"/>
                    </a:lnTo>
                    <a:lnTo>
                      <a:pt x="179" y="117"/>
                    </a:lnTo>
                    <a:lnTo>
                      <a:pt x="180" y="119"/>
                    </a:lnTo>
                    <a:lnTo>
                      <a:pt x="180" y="117"/>
                    </a:lnTo>
                    <a:lnTo>
                      <a:pt x="180" y="119"/>
                    </a:lnTo>
                    <a:lnTo>
                      <a:pt x="182" y="119"/>
                    </a:lnTo>
                    <a:lnTo>
                      <a:pt x="184" y="119"/>
                    </a:lnTo>
                    <a:lnTo>
                      <a:pt x="184" y="117"/>
                    </a:lnTo>
                    <a:lnTo>
                      <a:pt x="180" y="114"/>
                    </a:lnTo>
                    <a:lnTo>
                      <a:pt x="179" y="114"/>
                    </a:lnTo>
                    <a:lnTo>
                      <a:pt x="179" y="116"/>
                    </a:lnTo>
                    <a:lnTo>
                      <a:pt x="177" y="114"/>
                    </a:lnTo>
                    <a:lnTo>
                      <a:pt x="177" y="112"/>
                    </a:lnTo>
                    <a:lnTo>
                      <a:pt x="180" y="112"/>
                    </a:lnTo>
                    <a:lnTo>
                      <a:pt x="180" y="110"/>
                    </a:lnTo>
                    <a:lnTo>
                      <a:pt x="180" y="109"/>
                    </a:lnTo>
                    <a:lnTo>
                      <a:pt x="182" y="110"/>
                    </a:lnTo>
                    <a:lnTo>
                      <a:pt x="182" y="109"/>
                    </a:lnTo>
                    <a:lnTo>
                      <a:pt x="180" y="109"/>
                    </a:lnTo>
                    <a:lnTo>
                      <a:pt x="180" y="107"/>
                    </a:lnTo>
                    <a:lnTo>
                      <a:pt x="179" y="107"/>
                    </a:lnTo>
                    <a:lnTo>
                      <a:pt x="182" y="107"/>
                    </a:lnTo>
                    <a:close/>
                    <a:moveTo>
                      <a:pt x="184" y="97"/>
                    </a:moveTo>
                    <a:lnTo>
                      <a:pt x="187" y="97"/>
                    </a:lnTo>
                    <a:lnTo>
                      <a:pt x="187" y="99"/>
                    </a:lnTo>
                    <a:lnTo>
                      <a:pt x="186" y="99"/>
                    </a:lnTo>
                    <a:lnTo>
                      <a:pt x="184" y="99"/>
                    </a:lnTo>
                    <a:lnTo>
                      <a:pt x="184" y="100"/>
                    </a:lnTo>
                    <a:lnTo>
                      <a:pt x="187" y="102"/>
                    </a:lnTo>
                    <a:lnTo>
                      <a:pt x="184" y="102"/>
                    </a:lnTo>
                    <a:lnTo>
                      <a:pt x="182" y="100"/>
                    </a:lnTo>
                    <a:lnTo>
                      <a:pt x="180" y="100"/>
                    </a:lnTo>
                    <a:lnTo>
                      <a:pt x="180" y="99"/>
                    </a:lnTo>
                    <a:lnTo>
                      <a:pt x="182" y="99"/>
                    </a:lnTo>
                    <a:lnTo>
                      <a:pt x="182" y="95"/>
                    </a:lnTo>
                    <a:lnTo>
                      <a:pt x="184" y="97"/>
                    </a:lnTo>
                    <a:close/>
                    <a:moveTo>
                      <a:pt x="197" y="148"/>
                    </a:moveTo>
                    <a:lnTo>
                      <a:pt x="197" y="151"/>
                    </a:lnTo>
                    <a:lnTo>
                      <a:pt x="196" y="153"/>
                    </a:lnTo>
                    <a:lnTo>
                      <a:pt x="194" y="153"/>
                    </a:lnTo>
                    <a:lnTo>
                      <a:pt x="194" y="151"/>
                    </a:lnTo>
                    <a:lnTo>
                      <a:pt x="196" y="148"/>
                    </a:lnTo>
                    <a:lnTo>
                      <a:pt x="197" y="148"/>
                    </a:lnTo>
                    <a:close/>
                    <a:moveTo>
                      <a:pt x="194" y="143"/>
                    </a:moveTo>
                    <a:lnTo>
                      <a:pt x="194" y="145"/>
                    </a:lnTo>
                    <a:lnTo>
                      <a:pt x="194" y="146"/>
                    </a:lnTo>
                    <a:lnTo>
                      <a:pt x="192" y="145"/>
                    </a:lnTo>
                    <a:lnTo>
                      <a:pt x="192" y="143"/>
                    </a:lnTo>
                    <a:lnTo>
                      <a:pt x="196" y="141"/>
                    </a:lnTo>
                    <a:lnTo>
                      <a:pt x="194" y="143"/>
                    </a:lnTo>
                    <a:close/>
                    <a:moveTo>
                      <a:pt x="189" y="93"/>
                    </a:moveTo>
                    <a:lnTo>
                      <a:pt x="189" y="95"/>
                    </a:lnTo>
                    <a:lnTo>
                      <a:pt x="187" y="97"/>
                    </a:lnTo>
                    <a:lnTo>
                      <a:pt x="187" y="95"/>
                    </a:lnTo>
                    <a:lnTo>
                      <a:pt x="189" y="93"/>
                    </a:lnTo>
                    <a:lnTo>
                      <a:pt x="189" y="92"/>
                    </a:lnTo>
                    <a:lnTo>
                      <a:pt x="191" y="93"/>
                    </a:lnTo>
                    <a:lnTo>
                      <a:pt x="189" y="93"/>
                    </a:lnTo>
                    <a:close/>
                    <a:moveTo>
                      <a:pt x="191" y="114"/>
                    </a:moveTo>
                    <a:lnTo>
                      <a:pt x="191" y="117"/>
                    </a:lnTo>
                    <a:lnTo>
                      <a:pt x="189" y="117"/>
                    </a:lnTo>
                    <a:lnTo>
                      <a:pt x="191" y="116"/>
                    </a:lnTo>
                    <a:lnTo>
                      <a:pt x="189" y="114"/>
                    </a:lnTo>
                    <a:lnTo>
                      <a:pt x="191" y="114"/>
                    </a:lnTo>
                    <a:close/>
                    <a:moveTo>
                      <a:pt x="330" y="257"/>
                    </a:moveTo>
                    <a:lnTo>
                      <a:pt x="330" y="260"/>
                    </a:lnTo>
                    <a:lnTo>
                      <a:pt x="328" y="258"/>
                    </a:lnTo>
                    <a:lnTo>
                      <a:pt x="328" y="257"/>
                    </a:lnTo>
                    <a:lnTo>
                      <a:pt x="327" y="255"/>
                    </a:lnTo>
                    <a:lnTo>
                      <a:pt x="328" y="255"/>
                    </a:lnTo>
                    <a:lnTo>
                      <a:pt x="330" y="257"/>
                    </a:lnTo>
                    <a:close/>
                    <a:moveTo>
                      <a:pt x="189" y="73"/>
                    </a:moveTo>
                    <a:lnTo>
                      <a:pt x="191" y="75"/>
                    </a:lnTo>
                    <a:lnTo>
                      <a:pt x="187" y="75"/>
                    </a:lnTo>
                    <a:lnTo>
                      <a:pt x="187" y="76"/>
                    </a:lnTo>
                    <a:lnTo>
                      <a:pt x="187" y="75"/>
                    </a:lnTo>
                    <a:lnTo>
                      <a:pt x="189" y="73"/>
                    </a:lnTo>
                    <a:close/>
                    <a:moveTo>
                      <a:pt x="175" y="83"/>
                    </a:moveTo>
                    <a:lnTo>
                      <a:pt x="177" y="85"/>
                    </a:lnTo>
                    <a:lnTo>
                      <a:pt x="175" y="85"/>
                    </a:lnTo>
                    <a:lnTo>
                      <a:pt x="175" y="87"/>
                    </a:lnTo>
                    <a:lnTo>
                      <a:pt x="175" y="85"/>
                    </a:lnTo>
                    <a:lnTo>
                      <a:pt x="174" y="83"/>
                    </a:lnTo>
                    <a:lnTo>
                      <a:pt x="175" y="83"/>
                    </a:lnTo>
                    <a:close/>
                    <a:moveTo>
                      <a:pt x="153" y="93"/>
                    </a:moveTo>
                    <a:lnTo>
                      <a:pt x="155" y="97"/>
                    </a:lnTo>
                    <a:lnTo>
                      <a:pt x="155" y="99"/>
                    </a:lnTo>
                    <a:lnTo>
                      <a:pt x="153" y="99"/>
                    </a:lnTo>
                    <a:lnTo>
                      <a:pt x="153" y="95"/>
                    </a:lnTo>
                    <a:lnTo>
                      <a:pt x="152" y="93"/>
                    </a:lnTo>
                    <a:lnTo>
                      <a:pt x="153" y="93"/>
                    </a:lnTo>
                    <a:close/>
                    <a:moveTo>
                      <a:pt x="187" y="97"/>
                    </a:moveTo>
                    <a:lnTo>
                      <a:pt x="191" y="97"/>
                    </a:lnTo>
                    <a:lnTo>
                      <a:pt x="191" y="100"/>
                    </a:lnTo>
                    <a:lnTo>
                      <a:pt x="187" y="100"/>
                    </a:lnTo>
                    <a:lnTo>
                      <a:pt x="187" y="97"/>
                    </a:lnTo>
                    <a:close/>
                    <a:moveTo>
                      <a:pt x="192" y="139"/>
                    </a:moveTo>
                    <a:lnTo>
                      <a:pt x="194" y="139"/>
                    </a:lnTo>
                    <a:lnTo>
                      <a:pt x="194" y="141"/>
                    </a:lnTo>
                    <a:lnTo>
                      <a:pt x="192" y="141"/>
                    </a:lnTo>
                    <a:lnTo>
                      <a:pt x="192" y="139"/>
                    </a:lnTo>
                    <a:close/>
                    <a:moveTo>
                      <a:pt x="220" y="124"/>
                    </a:moveTo>
                    <a:lnTo>
                      <a:pt x="223" y="124"/>
                    </a:lnTo>
                    <a:lnTo>
                      <a:pt x="223" y="128"/>
                    </a:lnTo>
                    <a:lnTo>
                      <a:pt x="220" y="128"/>
                    </a:lnTo>
                    <a:lnTo>
                      <a:pt x="220" y="124"/>
                    </a:lnTo>
                    <a:close/>
                    <a:moveTo>
                      <a:pt x="160" y="104"/>
                    </a:moveTo>
                    <a:lnTo>
                      <a:pt x="163" y="104"/>
                    </a:lnTo>
                    <a:lnTo>
                      <a:pt x="163" y="105"/>
                    </a:lnTo>
                    <a:lnTo>
                      <a:pt x="160" y="105"/>
                    </a:lnTo>
                    <a:lnTo>
                      <a:pt x="160" y="104"/>
                    </a:lnTo>
                    <a:close/>
                    <a:moveTo>
                      <a:pt x="191" y="87"/>
                    </a:moveTo>
                    <a:lnTo>
                      <a:pt x="192" y="87"/>
                    </a:lnTo>
                    <a:lnTo>
                      <a:pt x="192" y="88"/>
                    </a:lnTo>
                    <a:lnTo>
                      <a:pt x="191" y="88"/>
                    </a:lnTo>
                    <a:lnTo>
                      <a:pt x="191" y="87"/>
                    </a:lnTo>
                    <a:close/>
                    <a:moveTo>
                      <a:pt x="325" y="250"/>
                    </a:moveTo>
                    <a:lnTo>
                      <a:pt x="327" y="250"/>
                    </a:lnTo>
                    <a:lnTo>
                      <a:pt x="327" y="252"/>
                    </a:lnTo>
                    <a:lnTo>
                      <a:pt x="325" y="252"/>
                    </a:lnTo>
                    <a:lnTo>
                      <a:pt x="325" y="250"/>
                    </a:lnTo>
                    <a:close/>
                    <a:moveTo>
                      <a:pt x="182" y="102"/>
                    </a:moveTo>
                    <a:lnTo>
                      <a:pt x="184" y="102"/>
                    </a:lnTo>
                    <a:lnTo>
                      <a:pt x="184" y="104"/>
                    </a:lnTo>
                    <a:lnTo>
                      <a:pt x="182" y="104"/>
                    </a:lnTo>
                    <a:lnTo>
                      <a:pt x="182" y="102"/>
                    </a:lnTo>
                    <a:close/>
                    <a:moveTo>
                      <a:pt x="323" y="253"/>
                    </a:moveTo>
                    <a:lnTo>
                      <a:pt x="325" y="253"/>
                    </a:lnTo>
                    <a:lnTo>
                      <a:pt x="325" y="255"/>
                    </a:lnTo>
                    <a:lnTo>
                      <a:pt x="323" y="255"/>
                    </a:lnTo>
                    <a:lnTo>
                      <a:pt x="323" y="253"/>
                    </a:lnTo>
                    <a:close/>
                    <a:moveTo>
                      <a:pt x="186" y="107"/>
                    </a:moveTo>
                    <a:lnTo>
                      <a:pt x="187" y="107"/>
                    </a:lnTo>
                    <a:lnTo>
                      <a:pt x="187" y="109"/>
                    </a:lnTo>
                    <a:lnTo>
                      <a:pt x="186" y="109"/>
                    </a:lnTo>
                    <a:lnTo>
                      <a:pt x="186" y="107"/>
                    </a:lnTo>
                    <a:close/>
                    <a:moveTo>
                      <a:pt x="169" y="129"/>
                    </a:moveTo>
                    <a:lnTo>
                      <a:pt x="167" y="128"/>
                    </a:lnTo>
                    <a:lnTo>
                      <a:pt x="167" y="126"/>
                    </a:lnTo>
                    <a:lnTo>
                      <a:pt x="169" y="129"/>
                    </a:lnTo>
                    <a:close/>
                    <a:moveTo>
                      <a:pt x="196" y="145"/>
                    </a:moveTo>
                    <a:lnTo>
                      <a:pt x="197" y="145"/>
                    </a:lnTo>
                    <a:lnTo>
                      <a:pt x="197" y="146"/>
                    </a:lnTo>
                    <a:lnTo>
                      <a:pt x="196" y="146"/>
                    </a:lnTo>
                    <a:lnTo>
                      <a:pt x="196" y="145"/>
                    </a:lnTo>
                    <a:close/>
                    <a:moveTo>
                      <a:pt x="197" y="126"/>
                    </a:moveTo>
                    <a:lnTo>
                      <a:pt x="201" y="126"/>
                    </a:lnTo>
                    <a:lnTo>
                      <a:pt x="201" y="128"/>
                    </a:lnTo>
                    <a:lnTo>
                      <a:pt x="197" y="128"/>
                    </a:lnTo>
                    <a:lnTo>
                      <a:pt x="197" y="126"/>
                    </a:lnTo>
                    <a:close/>
                    <a:moveTo>
                      <a:pt x="220" y="122"/>
                    </a:moveTo>
                    <a:lnTo>
                      <a:pt x="221" y="122"/>
                    </a:lnTo>
                    <a:lnTo>
                      <a:pt x="220" y="122"/>
                    </a:lnTo>
                    <a:close/>
                    <a:moveTo>
                      <a:pt x="177" y="114"/>
                    </a:moveTo>
                    <a:lnTo>
                      <a:pt x="179" y="114"/>
                    </a:lnTo>
                    <a:lnTo>
                      <a:pt x="179" y="116"/>
                    </a:lnTo>
                    <a:lnTo>
                      <a:pt x="177" y="116"/>
                    </a:lnTo>
                    <a:lnTo>
                      <a:pt x="177" y="114"/>
                    </a:lnTo>
                    <a:close/>
                    <a:moveTo>
                      <a:pt x="209" y="105"/>
                    </a:moveTo>
                    <a:lnTo>
                      <a:pt x="211" y="105"/>
                    </a:lnTo>
                    <a:lnTo>
                      <a:pt x="211" y="107"/>
                    </a:lnTo>
                    <a:lnTo>
                      <a:pt x="209" y="107"/>
                    </a:lnTo>
                    <a:lnTo>
                      <a:pt x="209" y="105"/>
                    </a:lnTo>
                    <a:close/>
                    <a:moveTo>
                      <a:pt x="179" y="124"/>
                    </a:moveTo>
                    <a:lnTo>
                      <a:pt x="180" y="124"/>
                    </a:lnTo>
                    <a:lnTo>
                      <a:pt x="179" y="124"/>
                    </a:lnTo>
                    <a:close/>
                    <a:moveTo>
                      <a:pt x="218" y="126"/>
                    </a:moveTo>
                    <a:lnTo>
                      <a:pt x="220" y="126"/>
                    </a:lnTo>
                    <a:lnTo>
                      <a:pt x="220" y="128"/>
                    </a:lnTo>
                    <a:lnTo>
                      <a:pt x="218" y="128"/>
                    </a:lnTo>
                    <a:lnTo>
                      <a:pt x="218" y="126"/>
                    </a:lnTo>
                    <a:close/>
                    <a:moveTo>
                      <a:pt x="184" y="90"/>
                    </a:moveTo>
                    <a:lnTo>
                      <a:pt x="184" y="92"/>
                    </a:lnTo>
                    <a:lnTo>
                      <a:pt x="184" y="90"/>
                    </a:lnTo>
                    <a:close/>
                    <a:moveTo>
                      <a:pt x="204" y="148"/>
                    </a:moveTo>
                    <a:lnTo>
                      <a:pt x="206" y="148"/>
                    </a:lnTo>
                    <a:lnTo>
                      <a:pt x="204" y="148"/>
                    </a:lnTo>
                    <a:close/>
                    <a:moveTo>
                      <a:pt x="194" y="100"/>
                    </a:moveTo>
                    <a:lnTo>
                      <a:pt x="196" y="100"/>
                    </a:lnTo>
                    <a:lnTo>
                      <a:pt x="196" y="102"/>
                    </a:lnTo>
                    <a:lnTo>
                      <a:pt x="194" y="102"/>
                    </a:lnTo>
                    <a:lnTo>
                      <a:pt x="194" y="100"/>
                    </a:lnTo>
                    <a:close/>
                    <a:moveTo>
                      <a:pt x="328" y="260"/>
                    </a:moveTo>
                    <a:lnTo>
                      <a:pt x="330" y="260"/>
                    </a:lnTo>
                    <a:lnTo>
                      <a:pt x="330" y="262"/>
                    </a:lnTo>
                    <a:lnTo>
                      <a:pt x="328" y="262"/>
                    </a:lnTo>
                    <a:lnTo>
                      <a:pt x="328" y="260"/>
                    </a:lnTo>
                    <a:close/>
                    <a:moveTo>
                      <a:pt x="201" y="150"/>
                    </a:moveTo>
                    <a:lnTo>
                      <a:pt x="203" y="150"/>
                    </a:lnTo>
                    <a:lnTo>
                      <a:pt x="201" y="150"/>
                    </a:lnTo>
                    <a:close/>
                    <a:moveTo>
                      <a:pt x="218" y="114"/>
                    </a:moveTo>
                    <a:lnTo>
                      <a:pt x="220" y="114"/>
                    </a:lnTo>
                    <a:lnTo>
                      <a:pt x="218" y="114"/>
                    </a:lnTo>
                    <a:close/>
                    <a:moveTo>
                      <a:pt x="218" y="158"/>
                    </a:moveTo>
                    <a:lnTo>
                      <a:pt x="220" y="158"/>
                    </a:lnTo>
                    <a:lnTo>
                      <a:pt x="220" y="160"/>
                    </a:lnTo>
                    <a:lnTo>
                      <a:pt x="218" y="160"/>
                    </a:lnTo>
                    <a:lnTo>
                      <a:pt x="218" y="158"/>
                    </a:lnTo>
                    <a:close/>
                    <a:moveTo>
                      <a:pt x="187" y="102"/>
                    </a:moveTo>
                    <a:lnTo>
                      <a:pt x="189" y="102"/>
                    </a:lnTo>
                    <a:lnTo>
                      <a:pt x="189" y="104"/>
                    </a:lnTo>
                    <a:lnTo>
                      <a:pt x="187" y="104"/>
                    </a:lnTo>
                    <a:lnTo>
                      <a:pt x="187" y="102"/>
                    </a:lnTo>
                    <a:close/>
                    <a:moveTo>
                      <a:pt x="157" y="83"/>
                    </a:moveTo>
                    <a:lnTo>
                      <a:pt x="160" y="83"/>
                    </a:lnTo>
                    <a:lnTo>
                      <a:pt x="157" y="83"/>
                    </a:lnTo>
                    <a:close/>
                    <a:moveTo>
                      <a:pt x="194" y="110"/>
                    </a:moveTo>
                    <a:lnTo>
                      <a:pt x="196" y="110"/>
                    </a:lnTo>
                    <a:lnTo>
                      <a:pt x="194" y="110"/>
                    </a:lnTo>
                    <a:close/>
                    <a:moveTo>
                      <a:pt x="223" y="126"/>
                    </a:moveTo>
                    <a:lnTo>
                      <a:pt x="225" y="126"/>
                    </a:lnTo>
                    <a:lnTo>
                      <a:pt x="225" y="128"/>
                    </a:lnTo>
                    <a:lnTo>
                      <a:pt x="223" y="128"/>
                    </a:lnTo>
                    <a:lnTo>
                      <a:pt x="223" y="126"/>
                    </a:lnTo>
                    <a:close/>
                    <a:moveTo>
                      <a:pt x="322" y="258"/>
                    </a:moveTo>
                    <a:lnTo>
                      <a:pt x="323" y="258"/>
                    </a:lnTo>
                    <a:lnTo>
                      <a:pt x="323" y="260"/>
                    </a:lnTo>
                    <a:lnTo>
                      <a:pt x="322" y="260"/>
                    </a:lnTo>
                    <a:lnTo>
                      <a:pt x="322" y="258"/>
                    </a:lnTo>
                    <a:close/>
                    <a:moveTo>
                      <a:pt x="206" y="107"/>
                    </a:moveTo>
                    <a:lnTo>
                      <a:pt x="206" y="109"/>
                    </a:lnTo>
                    <a:lnTo>
                      <a:pt x="206" y="107"/>
                    </a:lnTo>
                    <a:close/>
                    <a:moveTo>
                      <a:pt x="180" y="90"/>
                    </a:moveTo>
                    <a:lnTo>
                      <a:pt x="182" y="90"/>
                    </a:lnTo>
                    <a:lnTo>
                      <a:pt x="180" y="90"/>
                    </a:lnTo>
                    <a:close/>
                    <a:moveTo>
                      <a:pt x="175" y="126"/>
                    </a:moveTo>
                    <a:lnTo>
                      <a:pt x="175" y="128"/>
                    </a:lnTo>
                    <a:lnTo>
                      <a:pt x="175" y="126"/>
                    </a:lnTo>
                    <a:close/>
                    <a:moveTo>
                      <a:pt x="214" y="110"/>
                    </a:moveTo>
                    <a:lnTo>
                      <a:pt x="216" y="110"/>
                    </a:lnTo>
                    <a:lnTo>
                      <a:pt x="216" y="112"/>
                    </a:lnTo>
                    <a:lnTo>
                      <a:pt x="214" y="112"/>
                    </a:lnTo>
                    <a:lnTo>
                      <a:pt x="214" y="110"/>
                    </a:lnTo>
                    <a:close/>
                    <a:moveTo>
                      <a:pt x="189" y="105"/>
                    </a:moveTo>
                    <a:lnTo>
                      <a:pt x="191" y="105"/>
                    </a:lnTo>
                    <a:lnTo>
                      <a:pt x="189" y="105"/>
                    </a:lnTo>
                    <a:close/>
                    <a:moveTo>
                      <a:pt x="220" y="119"/>
                    </a:moveTo>
                    <a:lnTo>
                      <a:pt x="221" y="119"/>
                    </a:lnTo>
                    <a:lnTo>
                      <a:pt x="220" y="119"/>
                    </a:lnTo>
                    <a:close/>
                    <a:moveTo>
                      <a:pt x="327" y="258"/>
                    </a:moveTo>
                    <a:lnTo>
                      <a:pt x="327" y="260"/>
                    </a:lnTo>
                    <a:lnTo>
                      <a:pt x="327" y="258"/>
                    </a:lnTo>
                    <a:close/>
                    <a:moveTo>
                      <a:pt x="197" y="105"/>
                    </a:moveTo>
                    <a:lnTo>
                      <a:pt x="199" y="105"/>
                    </a:lnTo>
                    <a:lnTo>
                      <a:pt x="199" y="107"/>
                    </a:lnTo>
                    <a:lnTo>
                      <a:pt x="197" y="107"/>
                    </a:lnTo>
                    <a:lnTo>
                      <a:pt x="197" y="105"/>
                    </a:lnTo>
                    <a:close/>
                    <a:moveTo>
                      <a:pt x="322" y="255"/>
                    </a:moveTo>
                    <a:lnTo>
                      <a:pt x="323" y="255"/>
                    </a:lnTo>
                    <a:lnTo>
                      <a:pt x="322" y="255"/>
                    </a:lnTo>
                    <a:close/>
                    <a:moveTo>
                      <a:pt x="170" y="83"/>
                    </a:moveTo>
                    <a:lnTo>
                      <a:pt x="172" y="83"/>
                    </a:lnTo>
                    <a:lnTo>
                      <a:pt x="172" y="85"/>
                    </a:lnTo>
                    <a:lnTo>
                      <a:pt x="170" y="85"/>
                    </a:lnTo>
                    <a:lnTo>
                      <a:pt x="170" y="83"/>
                    </a:lnTo>
                    <a:close/>
                    <a:moveTo>
                      <a:pt x="160" y="102"/>
                    </a:moveTo>
                    <a:lnTo>
                      <a:pt x="160" y="104"/>
                    </a:lnTo>
                    <a:lnTo>
                      <a:pt x="160" y="102"/>
                    </a:lnTo>
                    <a:close/>
                    <a:moveTo>
                      <a:pt x="213" y="114"/>
                    </a:moveTo>
                    <a:lnTo>
                      <a:pt x="213" y="116"/>
                    </a:lnTo>
                    <a:lnTo>
                      <a:pt x="213" y="114"/>
                    </a:lnTo>
                    <a:close/>
                    <a:moveTo>
                      <a:pt x="209" y="109"/>
                    </a:moveTo>
                    <a:lnTo>
                      <a:pt x="209" y="110"/>
                    </a:lnTo>
                    <a:lnTo>
                      <a:pt x="209" y="109"/>
                    </a:lnTo>
                    <a:close/>
                    <a:moveTo>
                      <a:pt x="330" y="257"/>
                    </a:moveTo>
                    <a:lnTo>
                      <a:pt x="332" y="257"/>
                    </a:lnTo>
                    <a:lnTo>
                      <a:pt x="332" y="258"/>
                    </a:lnTo>
                    <a:lnTo>
                      <a:pt x="330" y="258"/>
                    </a:lnTo>
                    <a:lnTo>
                      <a:pt x="330" y="257"/>
                    </a:lnTo>
                    <a:close/>
                    <a:moveTo>
                      <a:pt x="194" y="146"/>
                    </a:moveTo>
                    <a:lnTo>
                      <a:pt x="194" y="148"/>
                    </a:lnTo>
                    <a:lnTo>
                      <a:pt x="194" y="146"/>
                    </a:lnTo>
                    <a:close/>
                    <a:moveTo>
                      <a:pt x="325" y="258"/>
                    </a:moveTo>
                    <a:lnTo>
                      <a:pt x="325" y="260"/>
                    </a:lnTo>
                    <a:lnTo>
                      <a:pt x="325" y="258"/>
                    </a:lnTo>
                    <a:close/>
                    <a:moveTo>
                      <a:pt x="196" y="146"/>
                    </a:moveTo>
                    <a:lnTo>
                      <a:pt x="197" y="146"/>
                    </a:lnTo>
                    <a:lnTo>
                      <a:pt x="197" y="148"/>
                    </a:lnTo>
                    <a:lnTo>
                      <a:pt x="196" y="148"/>
                    </a:lnTo>
                    <a:lnTo>
                      <a:pt x="196" y="146"/>
                    </a:lnTo>
                    <a:close/>
                    <a:moveTo>
                      <a:pt x="184" y="139"/>
                    </a:moveTo>
                    <a:lnTo>
                      <a:pt x="186" y="139"/>
                    </a:lnTo>
                    <a:lnTo>
                      <a:pt x="184" y="139"/>
                    </a:lnTo>
                    <a:close/>
                    <a:moveTo>
                      <a:pt x="327" y="253"/>
                    </a:moveTo>
                    <a:lnTo>
                      <a:pt x="327" y="255"/>
                    </a:lnTo>
                    <a:lnTo>
                      <a:pt x="327" y="253"/>
                    </a:lnTo>
                    <a:close/>
                    <a:moveTo>
                      <a:pt x="199" y="109"/>
                    </a:moveTo>
                    <a:lnTo>
                      <a:pt x="199" y="110"/>
                    </a:lnTo>
                    <a:lnTo>
                      <a:pt x="199" y="109"/>
                    </a:lnTo>
                    <a:close/>
                    <a:moveTo>
                      <a:pt x="204" y="114"/>
                    </a:moveTo>
                    <a:lnTo>
                      <a:pt x="206" y="114"/>
                    </a:lnTo>
                    <a:lnTo>
                      <a:pt x="204" y="114"/>
                    </a:lnTo>
                    <a:close/>
                    <a:moveTo>
                      <a:pt x="281" y="207"/>
                    </a:moveTo>
                    <a:lnTo>
                      <a:pt x="281" y="209"/>
                    </a:lnTo>
                    <a:lnTo>
                      <a:pt x="281" y="207"/>
                    </a:lnTo>
                    <a:close/>
                    <a:moveTo>
                      <a:pt x="216" y="117"/>
                    </a:moveTo>
                    <a:lnTo>
                      <a:pt x="218" y="117"/>
                    </a:lnTo>
                    <a:lnTo>
                      <a:pt x="218" y="119"/>
                    </a:lnTo>
                    <a:lnTo>
                      <a:pt x="216" y="119"/>
                    </a:lnTo>
                    <a:lnTo>
                      <a:pt x="216" y="117"/>
                    </a:lnTo>
                    <a:close/>
                    <a:moveTo>
                      <a:pt x="192" y="104"/>
                    </a:moveTo>
                    <a:lnTo>
                      <a:pt x="194" y="104"/>
                    </a:lnTo>
                    <a:lnTo>
                      <a:pt x="194" y="105"/>
                    </a:lnTo>
                    <a:lnTo>
                      <a:pt x="192" y="105"/>
                    </a:lnTo>
                    <a:lnTo>
                      <a:pt x="192" y="104"/>
                    </a:lnTo>
                    <a:close/>
                    <a:moveTo>
                      <a:pt x="327" y="260"/>
                    </a:moveTo>
                    <a:lnTo>
                      <a:pt x="328" y="260"/>
                    </a:lnTo>
                    <a:lnTo>
                      <a:pt x="327" y="260"/>
                    </a:lnTo>
                    <a:close/>
                    <a:moveTo>
                      <a:pt x="225" y="163"/>
                    </a:moveTo>
                    <a:lnTo>
                      <a:pt x="226" y="163"/>
                    </a:lnTo>
                    <a:lnTo>
                      <a:pt x="226" y="165"/>
                    </a:lnTo>
                    <a:lnTo>
                      <a:pt x="225" y="165"/>
                    </a:lnTo>
                    <a:lnTo>
                      <a:pt x="225" y="163"/>
                    </a:lnTo>
                    <a:close/>
                    <a:moveTo>
                      <a:pt x="328" y="253"/>
                    </a:moveTo>
                    <a:lnTo>
                      <a:pt x="330" y="253"/>
                    </a:lnTo>
                    <a:lnTo>
                      <a:pt x="328" y="253"/>
                    </a:lnTo>
                    <a:close/>
                    <a:moveTo>
                      <a:pt x="187" y="143"/>
                    </a:moveTo>
                    <a:lnTo>
                      <a:pt x="187" y="145"/>
                    </a:lnTo>
                    <a:lnTo>
                      <a:pt x="187" y="143"/>
                    </a:lnTo>
                    <a:close/>
                    <a:moveTo>
                      <a:pt x="175" y="116"/>
                    </a:moveTo>
                    <a:lnTo>
                      <a:pt x="177" y="116"/>
                    </a:lnTo>
                    <a:lnTo>
                      <a:pt x="175" y="116"/>
                    </a:lnTo>
                    <a:close/>
                    <a:moveTo>
                      <a:pt x="189" y="141"/>
                    </a:moveTo>
                    <a:lnTo>
                      <a:pt x="189" y="143"/>
                    </a:lnTo>
                    <a:lnTo>
                      <a:pt x="189" y="141"/>
                    </a:lnTo>
                    <a:close/>
                    <a:moveTo>
                      <a:pt x="186" y="139"/>
                    </a:moveTo>
                    <a:lnTo>
                      <a:pt x="187" y="139"/>
                    </a:lnTo>
                    <a:lnTo>
                      <a:pt x="186" y="139"/>
                    </a:lnTo>
                    <a:close/>
                    <a:moveTo>
                      <a:pt x="279" y="207"/>
                    </a:moveTo>
                    <a:lnTo>
                      <a:pt x="279" y="209"/>
                    </a:lnTo>
                    <a:lnTo>
                      <a:pt x="279" y="207"/>
                    </a:lnTo>
                    <a:close/>
                    <a:moveTo>
                      <a:pt x="184" y="105"/>
                    </a:moveTo>
                    <a:lnTo>
                      <a:pt x="186" y="105"/>
                    </a:lnTo>
                    <a:lnTo>
                      <a:pt x="186" y="107"/>
                    </a:lnTo>
                    <a:lnTo>
                      <a:pt x="184" y="107"/>
                    </a:lnTo>
                    <a:lnTo>
                      <a:pt x="184" y="105"/>
                    </a:lnTo>
                    <a:close/>
                    <a:moveTo>
                      <a:pt x="170" y="126"/>
                    </a:moveTo>
                    <a:lnTo>
                      <a:pt x="172" y="126"/>
                    </a:lnTo>
                    <a:lnTo>
                      <a:pt x="172" y="128"/>
                    </a:lnTo>
                    <a:lnTo>
                      <a:pt x="170" y="128"/>
                    </a:lnTo>
                    <a:lnTo>
                      <a:pt x="170" y="126"/>
                    </a:lnTo>
                    <a:close/>
                    <a:moveTo>
                      <a:pt x="191" y="83"/>
                    </a:moveTo>
                    <a:lnTo>
                      <a:pt x="192" y="83"/>
                    </a:lnTo>
                    <a:lnTo>
                      <a:pt x="192" y="85"/>
                    </a:lnTo>
                    <a:lnTo>
                      <a:pt x="191" y="85"/>
                    </a:lnTo>
                    <a:lnTo>
                      <a:pt x="191" y="83"/>
                    </a:lnTo>
                    <a:close/>
                    <a:moveTo>
                      <a:pt x="179" y="97"/>
                    </a:moveTo>
                    <a:lnTo>
                      <a:pt x="179" y="99"/>
                    </a:lnTo>
                    <a:lnTo>
                      <a:pt x="179" y="97"/>
                    </a:lnTo>
                    <a:close/>
                    <a:moveTo>
                      <a:pt x="310" y="241"/>
                    </a:moveTo>
                    <a:lnTo>
                      <a:pt x="311" y="241"/>
                    </a:lnTo>
                    <a:lnTo>
                      <a:pt x="311" y="243"/>
                    </a:lnTo>
                    <a:lnTo>
                      <a:pt x="310" y="243"/>
                    </a:lnTo>
                    <a:lnTo>
                      <a:pt x="310" y="241"/>
                    </a:lnTo>
                    <a:close/>
                    <a:moveTo>
                      <a:pt x="209" y="153"/>
                    </a:moveTo>
                    <a:lnTo>
                      <a:pt x="211" y="153"/>
                    </a:lnTo>
                    <a:lnTo>
                      <a:pt x="209" y="153"/>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reeform 27">
                <a:extLst>
                  <a:ext uri="{FF2B5EF4-FFF2-40B4-BE49-F238E27FC236}">
                    <a16:creationId xmlns:a16="http://schemas.microsoft.com/office/drawing/2014/main" id="{8133D9A2-0E3F-47C5-AE4B-6D181CDCB60C}"/>
                  </a:ext>
                </a:extLst>
              </p:cNvPr>
              <p:cNvSpPr>
                <a:spLocks/>
              </p:cNvSpPr>
              <p:nvPr/>
            </p:nvSpPr>
            <p:spPr bwMode="gray">
              <a:xfrm>
                <a:off x="2500530" y="7350119"/>
                <a:ext cx="515856" cy="396395"/>
              </a:xfrm>
              <a:custGeom>
                <a:avLst/>
                <a:gdLst>
                  <a:gd name="T0" fmla="*/ 451 w 760"/>
                  <a:gd name="T1" fmla="*/ 160 h 584"/>
                  <a:gd name="T2" fmla="*/ 459 w 760"/>
                  <a:gd name="T3" fmla="*/ 201 h 584"/>
                  <a:gd name="T4" fmla="*/ 488 w 760"/>
                  <a:gd name="T5" fmla="*/ 193 h 584"/>
                  <a:gd name="T6" fmla="*/ 491 w 760"/>
                  <a:gd name="T7" fmla="*/ 218 h 584"/>
                  <a:gd name="T8" fmla="*/ 520 w 760"/>
                  <a:gd name="T9" fmla="*/ 257 h 584"/>
                  <a:gd name="T10" fmla="*/ 556 w 760"/>
                  <a:gd name="T11" fmla="*/ 298 h 584"/>
                  <a:gd name="T12" fmla="*/ 619 w 760"/>
                  <a:gd name="T13" fmla="*/ 320 h 584"/>
                  <a:gd name="T14" fmla="*/ 760 w 760"/>
                  <a:gd name="T15" fmla="*/ 351 h 584"/>
                  <a:gd name="T16" fmla="*/ 665 w 760"/>
                  <a:gd name="T17" fmla="*/ 448 h 584"/>
                  <a:gd name="T18" fmla="*/ 558 w 760"/>
                  <a:gd name="T19" fmla="*/ 504 h 584"/>
                  <a:gd name="T20" fmla="*/ 493 w 760"/>
                  <a:gd name="T21" fmla="*/ 540 h 584"/>
                  <a:gd name="T22" fmla="*/ 457 w 760"/>
                  <a:gd name="T23" fmla="*/ 546 h 584"/>
                  <a:gd name="T24" fmla="*/ 444 w 760"/>
                  <a:gd name="T25" fmla="*/ 555 h 584"/>
                  <a:gd name="T26" fmla="*/ 425 w 760"/>
                  <a:gd name="T27" fmla="*/ 555 h 584"/>
                  <a:gd name="T28" fmla="*/ 401 w 760"/>
                  <a:gd name="T29" fmla="*/ 545 h 584"/>
                  <a:gd name="T30" fmla="*/ 349 w 760"/>
                  <a:gd name="T31" fmla="*/ 560 h 584"/>
                  <a:gd name="T32" fmla="*/ 321 w 760"/>
                  <a:gd name="T33" fmla="*/ 579 h 584"/>
                  <a:gd name="T34" fmla="*/ 291 w 760"/>
                  <a:gd name="T35" fmla="*/ 575 h 584"/>
                  <a:gd name="T36" fmla="*/ 277 w 760"/>
                  <a:gd name="T37" fmla="*/ 574 h 584"/>
                  <a:gd name="T38" fmla="*/ 208 w 760"/>
                  <a:gd name="T39" fmla="*/ 535 h 584"/>
                  <a:gd name="T40" fmla="*/ 151 w 760"/>
                  <a:gd name="T41" fmla="*/ 529 h 584"/>
                  <a:gd name="T42" fmla="*/ 146 w 760"/>
                  <a:gd name="T43" fmla="*/ 494 h 584"/>
                  <a:gd name="T44" fmla="*/ 128 w 760"/>
                  <a:gd name="T45" fmla="*/ 482 h 584"/>
                  <a:gd name="T46" fmla="*/ 109 w 760"/>
                  <a:gd name="T47" fmla="*/ 467 h 584"/>
                  <a:gd name="T48" fmla="*/ 102 w 760"/>
                  <a:gd name="T49" fmla="*/ 434 h 584"/>
                  <a:gd name="T50" fmla="*/ 97 w 760"/>
                  <a:gd name="T51" fmla="*/ 422 h 584"/>
                  <a:gd name="T52" fmla="*/ 83 w 760"/>
                  <a:gd name="T53" fmla="*/ 414 h 584"/>
                  <a:gd name="T54" fmla="*/ 73 w 760"/>
                  <a:gd name="T55" fmla="*/ 405 h 584"/>
                  <a:gd name="T56" fmla="*/ 61 w 760"/>
                  <a:gd name="T57" fmla="*/ 400 h 584"/>
                  <a:gd name="T58" fmla="*/ 51 w 760"/>
                  <a:gd name="T59" fmla="*/ 381 h 584"/>
                  <a:gd name="T60" fmla="*/ 39 w 760"/>
                  <a:gd name="T61" fmla="*/ 370 h 584"/>
                  <a:gd name="T62" fmla="*/ 26 w 760"/>
                  <a:gd name="T63" fmla="*/ 364 h 584"/>
                  <a:gd name="T64" fmla="*/ 15 w 760"/>
                  <a:gd name="T65" fmla="*/ 364 h 584"/>
                  <a:gd name="T66" fmla="*/ 4 w 760"/>
                  <a:gd name="T67" fmla="*/ 361 h 584"/>
                  <a:gd name="T68" fmla="*/ 5 w 760"/>
                  <a:gd name="T69" fmla="*/ 346 h 584"/>
                  <a:gd name="T70" fmla="*/ 12 w 760"/>
                  <a:gd name="T71" fmla="*/ 339 h 584"/>
                  <a:gd name="T72" fmla="*/ 12 w 760"/>
                  <a:gd name="T73" fmla="*/ 329 h 584"/>
                  <a:gd name="T74" fmla="*/ 26 w 760"/>
                  <a:gd name="T75" fmla="*/ 325 h 584"/>
                  <a:gd name="T76" fmla="*/ 39 w 760"/>
                  <a:gd name="T77" fmla="*/ 332 h 584"/>
                  <a:gd name="T78" fmla="*/ 56 w 760"/>
                  <a:gd name="T79" fmla="*/ 322 h 584"/>
                  <a:gd name="T80" fmla="*/ 70 w 760"/>
                  <a:gd name="T81" fmla="*/ 240 h 584"/>
                  <a:gd name="T82" fmla="*/ 82 w 760"/>
                  <a:gd name="T83" fmla="*/ 203 h 584"/>
                  <a:gd name="T84" fmla="*/ 100 w 760"/>
                  <a:gd name="T85" fmla="*/ 199 h 584"/>
                  <a:gd name="T86" fmla="*/ 107 w 760"/>
                  <a:gd name="T87" fmla="*/ 165 h 584"/>
                  <a:gd name="T88" fmla="*/ 123 w 760"/>
                  <a:gd name="T89" fmla="*/ 138 h 584"/>
                  <a:gd name="T90" fmla="*/ 141 w 760"/>
                  <a:gd name="T91" fmla="*/ 113 h 584"/>
                  <a:gd name="T92" fmla="*/ 160 w 760"/>
                  <a:gd name="T93" fmla="*/ 99 h 584"/>
                  <a:gd name="T94" fmla="*/ 179 w 760"/>
                  <a:gd name="T95" fmla="*/ 43 h 584"/>
                  <a:gd name="T96" fmla="*/ 196 w 760"/>
                  <a:gd name="T97" fmla="*/ 29 h 584"/>
                  <a:gd name="T98" fmla="*/ 214 w 760"/>
                  <a:gd name="T99" fmla="*/ 24 h 584"/>
                  <a:gd name="T100" fmla="*/ 226 w 760"/>
                  <a:gd name="T101" fmla="*/ 33 h 584"/>
                  <a:gd name="T102" fmla="*/ 252 w 760"/>
                  <a:gd name="T103" fmla="*/ 6 h 584"/>
                  <a:gd name="T104" fmla="*/ 264 w 760"/>
                  <a:gd name="T105" fmla="*/ 12 h 584"/>
                  <a:gd name="T106" fmla="*/ 274 w 760"/>
                  <a:gd name="T107" fmla="*/ 23 h 584"/>
                  <a:gd name="T108" fmla="*/ 294 w 760"/>
                  <a:gd name="T109" fmla="*/ 23 h 584"/>
                  <a:gd name="T110" fmla="*/ 313 w 760"/>
                  <a:gd name="T111" fmla="*/ 12 h 584"/>
                  <a:gd name="T112" fmla="*/ 320 w 760"/>
                  <a:gd name="T113" fmla="*/ 23 h 584"/>
                  <a:gd name="T114" fmla="*/ 330 w 760"/>
                  <a:gd name="T115" fmla="*/ 17 h 584"/>
                  <a:gd name="T116" fmla="*/ 349 w 760"/>
                  <a:gd name="T117" fmla="*/ 23 h 584"/>
                  <a:gd name="T118" fmla="*/ 369 w 760"/>
                  <a:gd name="T119" fmla="*/ 26 h 584"/>
                  <a:gd name="T120" fmla="*/ 429 w 760"/>
                  <a:gd name="T121" fmla="*/ 74 h 584"/>
                  <a:gd name="T122" fmla="*/ 468 w 760"/>
                  <a:gd name="T123" fmla="*/ 109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584">
                    <a:moveTo>
                      <a:pt x="478" y="123"/>
                    </a:moveTo>
                    <a:lnTo>
                      <a:pt x="474" y="128"/>
                    </a:lnTo>
                    <a:lnTo>
                      <a:pt x="473" y="131"/>
                    </a:lnTo>
                    <a:lnTo>
                      <a:pt x="468" y="137"/>
                    </a:lnTo>
                    <a:lnTo>
                      <a:pt x="464" y="143"/>
                    </a:lnTo>
                    <a:lnTo>
                      <a:pt x="456" y="155"/>
                    </a:lnTo>
                    <a:lnTo>
                      <a:pt x="452" y="159"/>
                    </a:lnTo>
                    <a:lnTo>
                      <a:pt x="451" y="160"/>
                    </a:lnTo>
                    <a:lnTo>
                      <a:pt x="449" y="160"/>
                    </a:lnTo>
                    <a:lnTo>
                      <a:pt x="446" y="174"/>
                    </a:lnTo>
                    <a:lnTo>
                      <a:pt x="447" y="186"/>
                    </a:lnTo>
                    <a:lnTo>
                      <a:pt x="446" y="199"/>
                    </a:lnTo>
                    <a:lnTo>
                      <a:pt x="454" y="201"/>
                    </a:lnTo>
                    <a:lnTo>
                      <a:pt x="456" y="203"/>
                    </a:lnTo>
                    <a:lnTo>
                      <a:pt x="456" y="201"/>
                    </a:lnTo>
                    <a:lnTo>
                      <a:pt x="459" y="201"/>
                    </a:lnTo>
                    <a:lnTo>
                      <a:pt x="461" y="201"/>
                    </a:lnTo>
                    <a:lnTo>
                      <a:pt x="464" y="199"/>
                    </a:lnTo>
                    <a:lnTo>
                      <a:pt x="468" y="199"/>
                    </a:lnTo>
                    <a:lnTo>
                      <a:pt x="476" y="198"/>
                    </a:lnTo>
                    <a:lnTo>
                      <a:pt x="478" y="199"/>
                    </a:lnTo>
                    <a:lnTo>
                      <a:pt x="481" y="196"/>
                    </a:lnTo>
                    <a:lnTo>
                      <a:pt x="486" y="194"/>
                    </a:lnTo>
                    <a:lnTo>
                      <a:pt x="488" y="193"/>
                    </a:lnTo>
                    <a:lnTo>
                      <a:pt x="491" y="196"/>
                    </a:lnTo>
                    <a:lnTo>
                      <a:pt x="495" y="194"/>
                    </a:lnTo>
                    <a:lnTo>
                      <a:pt x="497" y="199"/>
                    </a:lnTo>
                    <a:lnTo>
                      <a:pt x="500" y="199"/>
                    </a:lnTo>
                    <a:lnTo>
                      <a:pt x="502" y="199"/>
                    </a:lnTo>
                    <a:lnTo>
                      <a:pt x="505" y="199"/>
                    </a:lnTo>
                    <a:lnTo>
                      <a:pt x="493" y="216"/>
                    </a:lnTo>
                    <a:lnTo>
                      <a:pt x="491" y="218"/>
                    </a:lnTo>
                    <a:lnTo>
                      <a:pt x="491" y="222"/>
                    </a:lnTo>
                    <a:lnTo>
                      <a:pt x="495" y="223"/>
                    </a:lnTo>
                    <a:lnTo>
                      <a:pt x="500" y="237"/>
                    </a:lnTo>
                    <a:lnTo>
                      <a:pt x="508" y="244"/>
                    </a:lnTo>
                    <a:lnTo>
                      <a:pt x="512" y="254"/>
                    </a:lnTo>
                    <a:lnTo>
                      <a:pt x="514" y="254"/>
                    </a:lnTo>
                    <a:lnTo>
                      <a:pt x="515" y="254"/>
                    </a:lnTo>
                    <a:lnTo>
                      <a:pt x="520" y="257"/>
                    </a:lnTo>
                    <a:lnTo>
                      <a:pt x="522" y="269"/>
                    </a:lnTo>
                    <a:lnTo>
                      <a:pt x="524" y="269"/>
                    </a:lnTo>
                    <a:lnTo>
                      <a:pt x="527" y="271"/>
                    </a:lnTo>
                    <a:lnTo>
                      <a:pt x="531" y="278"/>
                    </a:lnTo>
                    <a:lnTo>
                      <a:pt x="534" y="279"/>
                    </a:lnTo>
                    <a:lnTo>
                      <a:pt x="541" y="281"/>
                    </a:lnTo>
                    <a:lnTo>
                      <a:pt x="549" y="290"/>
                    </a:lnTo>
                    <a:lnTo>
                      <a:pt x="556" y="298"/>
                    </a:lnTo>
                    <a:lnTo>
                      <a:pt x="559" y="300"/>
                    </a:lnTo>
                    <a:lnTo>
                      <a:pt x="570" y="303"/>
                    </a:lnTo>
                    <a:lnTo>
                      <a:pt x="578" y="307"/>
                    </a:lnTo>
                    <a:lnTo>
                      <a:pt x="593" y="312"/>
                    </a:lnTo>
                    <a:lnTo>
                      <a:pt x="599" y="313"/>
                    </a:lnTo>
                    <a:lnTo>
                      <a:pt x="604" y="315"/>
                    </a:lnTo>
                    <a:lnTo>
                      <a:pt x="610" y="317"/>
                    </a:lnTo>
                    <a:lnTo>
                      <a:pt x="619" y="320"/>
                    </a:lnTo>
                    <a:lnTo>
                      <a:pt x="633" y="325"/>
                    </a:lnTo>
                    <a:lnTo>
                      <a:pt x="641" y="327"/>
                    </a:lnTo>
                    <a:lnTo>
                      <a:pt x="672" y="337"/>
                    </a:lnTo>
                    <a:lnTo>
                      <a:pt x="673" y="337"/>
                    </a:lnTo>
                    <a:lnTo>
                      <a:pt x="709" y="351"/>
                    </a:lnTo>
                    <a:lnTo>
                      <a:pt x="711" y="351"/>
                    </a:lnTo>
                    <a:lnTo>
                      <a:pt x="757" y="351"/>
                    </a:lnTo>
                    <a:lnTo>
                      <a:pt x="760" y="351"/>
                    </a:lnTo>
                    <a:lnTo>
                      <a:pt x="738" y="373"/>
                    </a:lnTo>
                    <a:lnTo>
                      <a:pt x="735" y="376"/>
                    </a:lnTo>
                    <a:lnTo>
                      <a:pt x="728" y="383"/>
                    </a:lnTo>
                    <a:lnTo>
                      <a:pt x="706" y="407"/>
                    </a:lnTo>
                    <a:lnTo>
                      <a:pt x="701" y="410"/>
                    </a:lnTo>
                    <a:lnTo>
                      <a:pt x="685" y="426"/>
                    </a:lnTo>
                    <a:lnTo>
                      <a:pt x="675" y="438"/>
                    </a:lnTo>
                    <a:lnTo>
                      <a:pt x="665" y="448"/>
                    </a:lnTo>
                    <a:lnTo>
                      <a:pt x="656" y="456"/>
                    </a:lnTo>
                    <a:lnTo>
                      <a:pt x="643" y="470"/>
                    </a:lnTo>
                    <a:lnTo>
                      <a:pt x="636" y="478"/>
                    </a:lnTo>
                    <a:lnTo>
                      <a:pt x="616" y="499"/>
                    </a:lnTo>
                    <a:lnTo>
                      <a:pt x="607" y="506"/>
                    </a:lnTo>
                    <a:lnTo>
                      <a:pt x="604" y="506"/>
                    </a:lnTo>
                    <a:lnTo>
                      <a:pt x="588" y="506"/>
                    </a:lnTo>
                    <a:lnTo>
                      <a:pt x="558" y="504"/>
                    </a:lnTo>
                    <a:lnTo>
                      <a:pt x="541" y="509"/>
                    </a:lnTo>
                    <a:lnTo>
                      <a:pt x="531" y="512"/>
                    </a:lnTo>
                    <a:lnTo>
                      <a:pt x="512" y="521"/>
                    </a:lnTo>
                    <a:lnTo>
                      <a:pt x="508" y="526"/>
                    </a:lnTo>
                    <a:lnTo>
                      <a:pt x="508" y="529"/>
                    </a:lnTo>
                    <a:lnTo>
                      <a:pt x="505" y="535"/>
                    </a:lnTo>
                    <a:lnTo>
                      <a:pt x="498" y="540"/>
                    </a:lnTo>
                    <a:lnTo>
                      <a:pt x="493" y="540"/>
                    </a:lnTo>
                    <a:lnTo>
                      <a:pt x="485" y="543"/>
                    </a:lnTo>
                    <a:lnTo>
                      <a:pt x="466" y="543"/>
                    </a:lnTo>
                    <a:lnTo>
                      <a:pt x="466" y="545"/>
                    </a:lnTo>
                    <a:lnTo>
                      <a:pt x="464" y="545"/>
                    </a:lnTo>
                    <a:lnTo>
                      <a:pt x="463" y="543"/>
                    </a:lnTo>
                    <a:lnTo>
                      <a:pt x="461" y="545"/>
                    </a:lnTo>
                    <a:lnTo>
                      <a:pt x="461" y="543"/>
                    </a:lnTo>
                    <a:lnTo>
                      <a:pt x="457" y="546"/>
                    </a:lnTo>
                    <a:lnTo>
                      <a:pt x="456" y="548"/>
                    </a:lnTo>
                    <a:lnTo>
                      <a:pt x="454" y="550"/>
                    </a:lnTo>
                    <a:lnTo>
                      <a:pt x="454" y="552"/>
                    </a:lnTo>
                    <a:lnTo>
                      <a:pt x="452" y="553"/>
                    </a:lnTo>
                    <a:lnTo>
                      <a:pt x="449" y="555"/>
                    </a:lnTo>
                    <a:lnTo>
                      <a:pt x="447" y="555"/>
                    </a:lnTo>
                    <a:lnTo>
                      <a:pt x="446" y="553"/>
                    </a:lnTo>
                    <a:lnTo>
                      <a:pt x="444" y="555"/>
                    </a:lnTo>
                    <a:lnTo>
                      <a:pt x="442" y="553"/>
                    </a:lnTo>
                    <a:lnTo>
                      <a:pt x="440" y="555"/>
                    </a:lnTo>
                    <a:lnTo>
                      <a:pt x="439" y="553"/>
                    </a:lnTo>
                    <a:lnTo>
                      <a:pt x="435" y="555"/>
                    </a:lnTo>
                    <a:lnTo>
                      <a:pt x="434" y="553"/>
                    </a:lnTo>
                    <a:lnTo>
                      <a:pt x="432" y="555"/>
                    </a:lnTo>
                    <a:lnTo>
                      <a:pt x="427" y="555"/>
                    </a:lnTo>
                    <a:lnTo>
                      <a:pt x="425" y="555"/>
                    </a:lnTo>
                    <a:lnTo>
                      <a:pt x="423" y="555"/>
                    </a:lnTo>
                    <a:lnTo>
                      <a:pt x="423" y="557"/>
                    </a:lnTo>
                    <a:lnTo>
                      <a:pt x="418" y="555"/>
                    </a:lnTo>
                    <a:lnTo>
                      <a:pt x="417" y="557"/>
                    </a:lnTo>
                    <a:lnTo>
                      <a:pt x="413" y="555"/>
                    </a:lnTo>
                    <a:lnTo>
                      <a:pt x="406" y="546"/>
                    </a:lnTo>
                    <a:lnTo>
                      <a:pt x="403" y="545"/>
                    </a:lnTo>
                    <a:lnTo>
                      <a:pt x="401" y="545"/>
                    </a:lnTo>
                    <a:lnTo>
                      <a:pt x="400" y="541"/>
                    </a:lnTo>
                    <a:lnTo>
                      <a:pt x="396" y="540"/>
                    </a:lnTo>
                    <a:lnTo>
                      <a:pt x="395" y="540"/>
                    </a:lnTo>
                    <a:lnTo>
                      <a:pt x="393" y="541"/>
                    </a:lnTo>
                    <a:lnTo>
                      <a:pt x="391" y="541"/>
                    </a:lnTo>
                    <a:lnTo>
                      <a:pt x="378" y="546"/>
                    </a:lnTo>
                    <a:lnTo>
                      <a:pt x="364" y="553"/>
                    </a:lnTo>
                    <a:lnTo>
                      <a:pt x="349" y="560"/>
                    </a:lnTo>
                    <a:lnTo>
                      <a:pt x="344" y="570"/>
                    </a:lnTo>
                    <a:lnTo>
                      <a:pt x="335" y="579"/>
                    </a:lnTo>
                    <a:lnTo>
                      <a:pt x="333" y="584"/>
                    </a:lnTo>
                    <a:lnTo>
                      <a:pt x="332" y="582"/>
                    </a:lnTo>
                    <a:lnTo>
                      <a:pt x="330" y="580"/>
                    </a:lnTo>
                    <a:lnTo>
                      <a:pt x="328" y="580"/>
                    </a:lnTo>
                    <a:lnTo>
                      <a:pt x="321" y="580"/>
                    </a:lnTo>
                    <a:lnTo>
                      <a:pt x="321" y="579"/>
                    </a:lnTo>
                    <a:lnTo>
                      <a:pt x="320" y="579"/>
                    </a:lnTo>
                    <a:lnTo>
                      <a:pt x="318" y="580"/>
                    </a:lnTo>
                    <a:lnTo>
                      <a:pt x="315" y="579"/>
                    </a:lnTo>
                    <a:lnTo>
                      <a:pt x="310" y="577"/>
                    </a:lnTo>
                    <a:lnTo>
                      <a:pt x="306" y="577"/>
                    </a:lnTo>
                    <a:lnTo>
                      <a:pt x="303" y="577"/>
                    </a:lnTo>
                    <a:lnTo>
                      <a:pt x="301" y="577"/>
                    </a:lnTo>
                    <a:lnTo>
                      <a:pt x="291" y="575"/>
                    </a:lnTo>
                    <a:lnTo>
                      <a:pt x="289" y="572"/>
                    </a:lnTo>
                    <a:lnTo>
                      <a:pt x="287" y="574"/>
                    </a:lnTo>
                    <a:lnTo>
                      <a:pt x="286" y="572"/>
                    </a:lnTo>
                    <a:lnTo>
                      <a:pt x="284" y="574"/>
                    </a:lnTo>
                    <a:lnTo>
                      <a:pt x="282" y="570"/>
                    </a:lnTo>
                    <a:lnTo>
                      <a:pt x="281" y="570"/>
                    </a:lnTo>
                    <a:lnTo>
                      <a:pt x="281" y="572"/>
                    </a:lnTo>
                    <a:lnTo>
                      <a:pt x="277" y="574"/>
                    </a:lnTo>
                    <a:lnTo>
                      <a:pt x="264" y="572"/>
                    </a:lnTo>
                    <a:lnTo>
                      <a:pt x="260" y="572"/>
                    </a:lnTo>
                    <a:lnTo>
                      <a:pt x="253" y="567"/>
                    </a:lnTo>
                    <a:lnTo>
                      <a:pt x="250" y="563"/>
                    </a:lnTo>
                    <a:lnTo>
                      <a:pt x="240" y="558"/>
                    </a:lnTo>
                    <a:lnTo>
                      <a:pt x="226" y="548"/>
                    </a:lnTo>
                    <a:lnTo>
                      <a:pt x="209" y="538"/>
                    </a:lnTo>
                    <a:lnTo>
                      <a:pt x="208" y="535"/>
                    </a:lnTo>
                    <a:lnTo>
                      <a:pt x="206" y="535"/>
                    </a:lnTo>
                    <a:lnTo>
                      <a:pt x="204" y="533"/>
                    </a:lnTo>
                    <a:lnTo>
                      <a:pt x="194" y="529"/>
                    </a:lnTo>
                    <a:lnTo>
                      <a:pt x="185" y="529"/>
                    </a:lnTo>
                    <a:lnTo>
                      <a:pt x="184" y="529"/>
                    </a:lnTo>
                    <a:lnTo>
                      <a:pt x="180" y="529"/>
                    </a:lnTo>
                    <a:lnTo>
                      <a:pt x="165" y="529"/>
                    </a:lnTo>
                    <a:lnTo>
                      <a:pt x="151" y="529"/>
                    </a:lnTo>
                    <a:lnTo>
                      <a:pt x="150" y="528"/>
                    </a:lnTo>
                    <a:lnTo>
                      <a:pt x="151" y="524"/>
                    </a:lnTo>
                    <a:lnTo>
                      <a:pt x="150" y="523"/>
                    </a:lnTo>
                    <a:lnTo>
                      <a:pt x="150" y="521"/>
                    </a:lnTo>
                    <a:lnTo>
                      <a:pt x="143" y="512"/>
                    </a:lnTo>
                    <a:lnTo>
                      <a:pt x="143" y="504"/>
                    </a:lnTo>
                    <a:lnTo>
                      <a:pt x="143" y="497"/>
                    </a:lnTo>
                    <a:lnTo>
                      <a:pt x="146" y="494"/>
                    </a:lnTo>
                    <a:lnTo>
                      <a:pt x="145" y="489"/>
                    </a:lnTo>
                    <a:lnTo>
                      <a:pt x="146" y="485"/>
                    </a:lnTo>
                    <a:lnTo>
                      <a:pt x="141" y="485"/>
                    </a:lnTo>
                    <a:lnTo>
                      <a:pt x="138" y="482"/>
                    </a:lnTo>
                    <a:lnTo>
                      <a:pt x="134" y="484"/>
                    </a:lnTo>
                    <a:lnTo>
                      <a:pt x="133" y="482"/>
                    </a:lnTo>
                    <a:lnTo>
                      <a:pt x="129" y="480"/>
                    </a:lnTo>
                    <a:lnTo>
                      <a:pt x="128" y="482"/>
                    </a:lnTo>
                    <a:lnTo>
                      <a:pt x="123" y="484"/>
                    </a:lnTo>
                    <a:lnTo>
                      <a:pt x="119" y="485"/>
                    </a:lnTo>
                    <a:lnTo>
                      <a:pt x="117" y="484"/>
                    </a:lnTo>
                    <a:lnTo>
                      <a:pt x="117" y="480"/>
                    </a:lnTo>
                    <a:lnTo>
                      <a:pt x="119" y="480"/>
                    </a:lnTo>
                    <a:lnTo>
                      <a:pt x="117" y="477"/>
                    </a:lnTo>
                    <a:lnTo>
                      <a:pt x="109" y="470"/>
                    </a:lnTo>
                    <a:lnTo>
                      <a:pt x="109" y="467"/>
                    </a:lnTo>
                    <a:lnTo>
                      <a:pt x="102" y="456"/>
                    </a:lnTo>
                    <a:lnTo>
                      <a:pt x="102" y="448"/>
                    </a:lnTo>
                    <a:lnTo>
                      <a:pt x="100" y="446"/>
                    </a:lnTo>
                    <a:lnTo>
                      <a:pt x="100" y="443"/>
                    </a:lnTo>
                    <a:lnTo>
                      <a:pt x="100" y="439"/>
                    </a:lnTo>
                    <a:lnTo>
                      <a:pt x="100" y="438"/>
                    </a:lnTo>
                    <a:lnTo>
                      <a:pt x="102" y="436"/>
                    </a:lnTo>
                    <a:lnTo>
                      <a:pt x="102" y="434"/>
                    </a:lnTo>
                    <a:lnTo>
                      <a:pt x="102" y="433"/>
                    </a:lnTo>
                    <a:lnTo>
                      <a:pt x="102" y="431"/>
                    </a:lnTo>
                    <a:lnTo>
                      <a:pt x="104" y="429"/>
                    </a:lnTo>
                    <a:lnTo>
                      <a:pt x="102" y="427"/>
                    </a:lnTo>
                    <a:lnTo>
                      <a:pt x="100" y="426"/>
                    </a:lnTo>
                    <a:lnTo>
                      <a:pt x="99" y="424"/>
                    </a:lnTo>
                    <a:lnTo>
                      <a:pt x="99" y="422"/>
                    </a:lnTo>
                    <a:lnTo>
                      <a:pt x="97" y="422"/>
                    </a:lnTo>
                    <a:lnTo>
                      <a:pt x="97" y="421"/>
                    </a:lnTo>
                    <a:lnTo>
                      <a:pt x="95" y="421"/>
                    </a:lnTo>
                    <a:lnTo>
                      <a:pt x="94" y="421"/>
                    </a:lnTo>
                    <a:lnTo>
                      <a:pt x="92" y="422"/>
                    </a:lnTo>
                    <a:lnTo>
                      <a:pt x="90" y="421"/>
                    </a:lnTo>
                    <a:lnTo>
                      <a:pt x="89" y="419"/>
                    </a:lnTo>
                    <a:lnTo>
                      <a:pt x="87" y="417"/>
                    </a:lnTo>
                    <a:lnTo>
                      <a:pt x="83" y="414"/>
                    </a:lnTo>
                    <a:lnTo>
                      <a:pt x="83" y="415"/>
                    </a:lnTo>
                    <a:lnTo>
                      <a:pt x="78" y="414"/>
                    </a:lnTo>
                    <a:lnTo>
                      <a:pt x="78" y="410"/>
                    </a:lnTo>
                    <a:lnTo>
                      <a:pt x="78" y="409"/>
                    </a:lnTo>
                    <a:lnTo>
                      <a:pt x="77" y="409"/>
                    </a:lnTo>
                    <a:lnTo>
                      <a:pt x="77" y="407"/>
                    </a:lnTo>
                    <a:lnTo>
                      <a:pt x="75" y="405"/>
                    </a:lnTo>
                    <a:lnTo>
                      <a:pt x="73" y="405"/>
                    </a:lnTo>
                    <a:lnTo>
                      <a:pt x="72" y="405"/>
                    </a:lnTo>
                    <a:lnTo>
                      <a:pt x="68" y="405"/>
                    </a:lnTo>
                    <a:lnTo>
                      <a:pt x="68" y="404"/>
                    </a:lnTo>
                    <a:lnTo>
                      <a:pt x="66" y="404"/>
                    </a:lnTo>
                    <a:lnTo>
                      <a:pt x="66" y="402"/>
                    </a:lnTo>
                    <a:lnTo>
                      <a:pt x="65" y="400"/>
                    </a:lnTo>
                    <a:lnTo>
                      <a:pt x="63" y="402"/>
                    </a:lnTo>
                    <a:lnTo>
                      <a:pt x="61" y="400"/>
                    </a:lnTo>
                    <a:lnTo>
                      <a:pt x="61" y="395"/>
                    </a:lnTo>
                    <a:lnTo>
                      <a:pt x="56" y="392"/>
                    </a:lnTo>
                    <a:lnTo>
                      <a:pt x="55" y="390"/>
                    </a:lnTo>
                    <a:lnTo>
                      <a:pt x="53" y="390"/>
                    </a:lnTo>
                    <a:lnTo>
                      <a:pt x="53" y="388"/>
                    </a:lnTo>
                    <a:lnTo>
                      <a:pt x="53" y="387"/>
                    </a:lnTo>
                    <a:lnTo>
                      <a:pt x="53" y="383"/>
                    </a:lnTo>
                    <a:lnTo>
                      <a:pt x="51" y="381"/>
                    </a:lnTo>
                    <a:lnTo>
                      <a:pt x="51" y="380"/>
                    </a:lnTo>
                    <a:lnTo>
                      <a:pt x="49" y="376"/>
                    </a:lnTo>
                    <a:lnTo>
                      <a:pt x="49" y="375"/>
                    </a:lnTo>
                    <a:lnTo>
                      <a:pt x="44" y="375"/>
                    </a:lnTo>
                    <a:lnTo>
                      <a:pt x="44" y="371"/>
                    </a:lnTo>
                    <a:lnTo>
                      <a:pt x="41" y="371"/>
                    </a:lnTo>
                    <a:lnTo>
                      <a:pt x="41" y="370"/>
                    </a:lnTo>
                    <a:lnTo>
                      <a:pt x="39" y="370"/>
                    </a:lnTo>
                    <a:lnTo>
                      <a:pt x="36" y="366"/>
                    </a:lnTo>
                    <a:lnTo>
                      <a:pt x="32" y="366"/>
                    </a:lnTo>
                    <a:lnTo>
                      <a:pt x="32" y="364"/>
                    </a:lnTo>
                    <a:lnTo>
                      <a:pt x="31" y="364"/>
                    </a:lnTo>
                    <a:lnTo>
                      <a:pt x="31" y="366"/>
                    </a:lnTo>
                    <a:lnTo>
                      <a:pt x="27" y="364"/>
                    </a:lnTo>
                    <a:lnTo>
                      <a:pt x="27" y="363"/>
                    </a:lnTo>
                    <a:lnTo>
                      <a:pt x="26" y="364"/>
                    </a:lnTo>
                    <a:lnTo>
                      <a:pt x="26" y="363"/>
                    </a:lnTo>
                    <a:lnTo>
                      <a:pt x="24" y="363"/>
                    </a:lnTo>
                    <a:lnTo>
                      <a:pt x="22" y="363"/>
                    </a:lnTo>
                    <a:lnTo>
                      <a:pt x="21" y="364"/>
                    </a:lnTo>
                    <a:lnTo>
                      <a:pt x="21" y="363"/>
                    </a:lnTo>
                    <a:lnTo>
                      <a:pt x="19" y="364"/>
                    </a:lnTo>
                    <a:lnTo>
                      <a:pt x="17" y="364"/>
                    </a:lnTo>
                    <a:lnTo>
                      <a:pt x="15" y="364"/>
                    </a:lnTo>
                    <a:lnTo>
                      <a:pt x="15" y="363"/>
                    </a:lnTo>
                    <a:lnTo>
                      <a:pt x="14" y="361"/>
                    </a:lnTo>
                    <a:lnTo>
                      <a:pt x="12" y="361"/>
                    </a:lnTo>
                    <a:lnTo>
                      <a:pt x="9" y="359"/>
                    </a:lnTo>
                    <a:lnTo>
                      <a:pt x="9" y="361"/>
                    </a:lnTo>
                    <a:lnTo>
                      <a:pt x="7" y="361"/>
                    </a:lnTo>
                    <a:lnTo>
                      <a:pt x="5" y="359"/>
                    </a:lnTo>
                    <a:lnTo>
                      <a:pt x="4" y="361"/>
                    </a:lnTo>
                    <a:lnTo>
                      <a:pt x="4" y="359"/>
                    </a:lnTo>
                    <a:lnTo>
                      <a:pt x="0" y="356"/>
                    </a:lnTo>
                    <a:lnTo>
                      <a:pt x="2" y="356"/>
                    </a:lnTo>
                    <a:lnTo>
                      <a:pt x="0" y="353"/>
                    </a:lnTo>
                    <a:lnTo>
                      <a:pt x="4" y="353"/>
                    </a:lnTo>
                    <a:lnTo>
                      <a:pt x="4" y="349"/>
                    </a:lnTo>
                    <a:lnTo>
                      <a:pt x="5" y="349"/>
                    </a:lnTo>
                    <a:lnTo>
                      <a:pt x="5" y="346"/>
                    </a:lnTo>
                    <a:lnTo>
                      <a:pt x="7" y="346"/>
                    </a:lnTo>
                    <a:lnTo>
                      <a:pt x="7" y="347"/>
                    </a:lnTo>
                    <a:lnTo>
                      <a:pt x="7" y="344"/>
                    </a:lnTo>
                    <a:lnTo>
                      <a:pt x="10" y="344"/>
                    </a:lnTo>
                    <a:lnTo>
                      <a:pt x="10" y="342"/>
                    </a:lnTo>
                    <a:lnTo>
                      <a:pt x="9" y="341"/>
                    </a:lnTo>
                    <a:lnTo>
                      <a:pt x="10" y="339"/>
                    </a:lnTo>
                    <a:lnTo>
                      <a:pt x="12" y="339"/>
                    </a:lnTo>
                    <a:lnTo>
                      <a:pt x="10" y="337"/>
                    </a:lnTo>
                    <a:lnTo>
                      <a:pt x="10" y="336"/>
                    </a:lnTo>
                    <a:lnTo>
                      <a:pt x="10" y="334"/>
                    </a:lnTo>
                    <a:lnTo>
                      <a:pt x="12" y="332"/>
                    </a:lnTo>
                    <a:lnTo>
                      <a:pt x="10" y="332"/>
                    </a:lnTo>
                    <a:lnTo>
                      <a:pt x="10" y="330"/>
                    </a:lnTo>
                    <a:lnTo>
                      <a:pt x="10" y="329"/>
                    </a:lnTo>
                    <a:lnTo>
                      <a:pt x="12" y="329"/>
                    </a:lnTo>
                    <a:lnTo>
                      <a:pt x="14" y="327"/>
                    </a:lnTo>
                    <a:lnTo>
                      <a:pt x="15" y="327"/>
                    </a:lnTo>
                    <a:lnTo>
                      <a:pt x="17" y="327"/>
                    </a:lnTo>
                    <a:lnTo>
                      <a:pt x="21" y="329"/>
                    </a:lnTo>
                    <a:lnTo>
                      <a:pt x="22" y="327"/>
                    </a:lnTo>
                    <a:lnTo>
                      <a:pt x="24" y="327"/>
                    </a:lnTo>
                    <a:lnTo>
                      <a:pt x="26" y="327"/>
                    </a:lnTo>
                    <a:lnTo>
                      <a:pt x="26" y="325"/>
                    </a:lnTo>
                    <a:lnTo>
                      <a:pt x="27" y="327"/>
                    </a:lnTo>
                    <a:lnTo>
                      <a:pt x="29" y="325"/>
                    </a:lnTo>
                    <a:lnTo>
                      <a:pt x="29" y="327"/>
                    </a:lnTo>
                    <a:lnTo>
                      <a:pt x="31" y="327"/>
                    </a:lnTo>
                    <a:lnTo>
                      <a:pt x="32" y="327"/>
                    </a:lnTo>
                    <a:lnTo>
                      <a:pt x="36" y="327"/>
                    </a:lnTo>
                    <a:lnTo>
                      <a:pt x="36" y="330"/>
                    </a:lnTo>
                    <a:lnTo>
                      <a:pt x="39" y="332"/>
                    </a:lnTo>
                    <a:lnTo>
                      <a:pt x="43" y="329"/>
                    </a:lnTo>
                    <a:lnTo>
                      <a:pt x="46" y="329"/>
                    </a:lnTo>
                    <a:lnTo>
                      <a:pt x="46" y="325"/>
                    </a:lnTo>
                    <a:lnTo>
                      <a:pt x="49" y="325"/>
                    </a:lnTo>
                    <a:lnTo>
                      <a:pt x="51" y="325"/>
                    </a:lnTo>
                    <a:lnTo>
                      <a:pt x="53" y="325"/>
                    </a:lnTo>
                    <a:lnTo>
                      <a:pt x="55" y="324"/>
                    </a:lnTo>
                    <a:lnTo>
                      <a:pt x="56" y="322"/>
                    </a:lnTo>
                    <a:lnTo>
                      <a:pt x="58" y="320"/>
                    </a:lnTo>
                    <a:lnTo>
                      <a:pt x="60" y="298"/>
                    </a:lnTo>
                    <a:lnTo>
                      <a:pt x="58" y="274"/>
                    </a:lnTo>
                    <a:lnTo>
                      <a:pt x="58" y="269"/>
                    </a:lnTo>
                    <a:lnTo>
                      <a:pt x="63" y="254"/>
                    </a:lnTo>
                    <a:lnTo>
                      <a:pt x="63" y="247"/>
                    </a:lnTo>
                    <a:lnTo>
                      <a:pt x="68" y="242"/>
                    </a:lnTo>
                    <a:lnTo>
                      <a:pt x="70" y="240"/>
                    </a:lnTo>
                    <a:lnTo>
                      <a:pt x="70" y="239"/>
                    </a:lnTo>
                    <a:lnTo>
                      <a:pt x="66" y="228"/>
                    </a:lnTo>
                    <a:lnTo>
                      <a:pt x="68" y="225"/>
                    </a:lnTo>
                    <a:lnTo>
                      <a:pt x="66" y="223"/>
                    </a:lnTo>
                    <a:lnTo>
                      <a:pt x="66" y="218"/>
                    </a:lnTo>
                    <a:lnTo>
                      <a:pt x="72" y="215"/>
                    </a:lnTo>
                    <a:lnTo>
                      <a:pt x="75" y="208"/>
                    </a:lnTo>
                    <a:lnTo>
                      <a:pt x="82" y="203"/>
                    </a:lnTo>
                    <a:lnTo>
                      <a:pt x="87" y="206"/>
                    </a:lnTo>
                    <a:lnTo>
                      <a:pt x="90" y="210"/>
                    </a:lnTo>
                    <a:lnTo>
                      <a:pt x="90" y="213"/>
                    </a:lnTo>
                    <a:lnTo>
                      <a:pt x="92" y="213"/>
                    </a:lnTo>
                    <a:lnTo>
                      <a:pt x="94" y="211"/>
                    </a:lnTo>
                    <a:lnTo>
                      <a:pt x="95" y="211"/>
                    </a:lnTo>
                    <a:lnTo>
                      <a:pt x="100" y="203"/>
                    </a:lnTo>
                    <a:lnTo>
                      <a:pt x="100" y="199"/>
                    </a:lnTo>
                    <a:lnTo>
                      <a:pt x="102" y="189"/>
                    </a:lnTo>
                    <a:lnTo>
                      <a:pt x="100" y="186"/>
                    </a:lnTo>
                    <a:lnTo>
                      <a:pt x="102" y="182"/>
                    </a:lnTo>
                    <a:lnTo>
                      <a:pt x="102" y="181"/>
                    </a:lnTo>
                    <a:lnTo>
                      <a:pt x="106" y="176"/>
                    </a:lnTo>
                    <a:lnTo>
                      <a:pt x="106" y="174"/>
                    </a:lnTo>
                    <a:lnTo>
                      <a:pt x="107" y="171"/>
                    </a:lnTo>
                    <a:lnTo>
                      <a:pt x="107" y="165"/>
                    </a:lnTo>
                    <a:lnTo>
                      <a:pt x="106" y="160"/>
                    </a:lnTo>
                    <a:lnTo>
                      <a:pt x="107" y="157"/>
                    </a:lnTo>
                    <a:lnTo>
                      <a:pt x="116" y="150"/>
                    </a:lnTo>
                    <a:lnTo>
                      <a:pt x="117" y="147"/>
                    </a:lnTo>
                    <a:lnTo>
                      <a:pt x="119" y="145"/>
                    </a:lnTo>
                    <a:lnTo>
                      <a:pt x="119" y="143"/>
                    </a:lnTo>
                    <a:lnTo>
                      <a:pt x="121" y="142"/>
                    </a:lnTo>
                    <a:lnTo>
                      <a:pt x="123" y="138"/>
                    </a:lnTo>
                    <a:lnTo>
                      <a:pt x="124" y="137"/>
                    </a:lnTo>
                    <a:lnTo>
                      <a:pt x="124" y="135"/>
                    </a:lnTo>
                    <a:lnTo>
                      <a:pt x="134" y="116"/>
                    </a:lnTo>
                    <a:lnTo>
                      <a:pt x="138" y="116"/>
                    </a:lnTo>
                    <a:lnTo>
                      <a:pt x="138" y="114"/>
                    </a:lnTo>
                    <a:lnTo>
                      <a:pt x="138" y="113"/>
                    </a:lnTo>
                    <a:lnTo>
                      <a:pt x="140" y="114"/>
                    </a:lnTo>
                    <a:lnTo>
                      <a:pt x="141" y="113"/>
                    </a:lnTo>
                    <a:lnTo>
                      <a:pt x="141" y="114"/>
                    </a:lnTo>
                    <a:lnTo>
                      <a:pt x="153" y="111"/>
                    </a:lnTo>
                    <a:lnTo>
                      <a:pt x="158" y="111"/>
                    </a:lnTo>
                    <a:lnTo>
                      <a:pt x="158" y="113"/>
                    </a:lnTo>
                    <a:lnTo>
                      <a:pt x="162" y="113"/>
                    </a:lnTo>
                    <a:lnTo>
                      <a:pt x="162" y="109"/>
                    </a:lnTo>
                    <a:lnTo>
                      <a:pt x="162" y="102"/>
                    </a:lnTo>
                    <a:lnTo>
                      <a:pt x="160" y="99"/>
                    </a:lnTo>
                    <a:lnTo>
                      <a:pt x="165" y="82"/>
                    </a:lnTo>
                    <a:lnTo>
                      <a:pt x="167" y="80"/>
                    </a:lnTo>
                    <a:lnTo>
                      <a:pt x="172" y="70"/>
                    </a:lnTo>
                    <a:lnTo>
                      <a:pt x="172" y="67"/>
                    </a:lnTo>
                    <a:lnTo>
                      <a:pt x="174" y="60"/>
                    </a:lnTo>
                    <a:lnTo>
                      <a:pt x="179" y="55"/>
                    </a:lnTo>
                    <a:lnTo>
                      <a:pt x="175" y="48"/>
                    </a:lnTo>
                    <a:lnTo>
                      <a:pt x="179" y="43"/>
                    </a:lnTo>
                    <a:lnTo>
                      <a:pt x="180" y="33"/>
                    </a:lnTo>
                    <a:lnTo>
                      <a:pt x="180" y="31"/>
                    </a:lnTo>
                    <a:lnTo>
                      <a:pt x="182" y="31"/>
                    </a:lnTo>
                    <a:lnTo>
                      <a:pt x="185" y="29"/>
                    </a:lnTo>
                    <a:lnTo>
                      <a:pt x="187" y="31"/>
                    </a:lnTo>
                    <a:lnTo>
                      <a:pt x="191" y="29"/>
                    </a:lnTo>
                    <a:lnTo>
                      <a:pt x="196" y="31"/>
                    </a:lnTo>
                    <a:lnTo>
                      <a:pt x="196" y="29"/>
                    </a:lnTo>
                    <a:lnTo>
                      <a:pt x="202" y="31"/>
                    </a:lnTo>
                    <a:lnTo>
                      <a:pt x="204" y="33"/>
                    </a:lnTo>
                    <a:lnTo>
                      <a:pt x="206" y="33"/>
                    </a:lnTo>
                    <a:lnTo>
                      <a:pt x="208" y="33"/>
                    </a:lnTo>
                    <a:lnTo>
                      <a:pt x="209" y="29"/>
                    </a:lnTo>
                    <a:lnTo>
                      <a:pt x="211" y="26"/>
                    </a:lnTo>
                    <a:lnTo>
                      <a:pt x="213" y="24"/>
                    </a:lnTo>
                    <a:lnTo>
                      <a:pt x="214" y="24"/>
                    </a:lnTo>
                    <a:lnTo>
                      <a:pt x="216" y="24"/>
                    </a:lnTo>
                    <a:lnTo>
                      <a:pt x="219" y="24"/>
                    </a:lnTo>
                    <a:lnTo>
                      <a:pt x="221" y="24"/>
                    </a:lnTo>
                    <a:lnTo>
                      <a:pt x="223" y="28"/>
                    </a:lnTo>
                    <a:lnTo>
                      <a:pt x="223" y="29"/>
                    </a:lnTo>
                    <a:lnTo>
                      <a:pt x="225" y="29"/>
                    </a:lnTo>
                    <a:lnTo>
                      <a:pt x="223" y="31"/>
                    </a:lnTo>
                    <a:lnTo>
                      <a:pt x="226" y="33"/>
                    </a:lnTo>
                    <a:lnTo>
                      <a:pt x="228" y="33"/>
                    </a:lnTo>
                    <a:lnTo>
                      <a:pt x="228" y="34"/>
                    </a:lnTo>
                    <a:lnTo>
                      <a:pt x="228" y="36"/>
                    </a:lnTo>
                    <a:lnTo>
                      <a:pt x="230" y="36"/>
                    </a:lnTo>
                    <a:lnTo>
                      <a:pt x="243" y="12"/>
                    </a:lnTo>
                    <a:lnTo>
                      <a:pt x="250" y="0"/>
                    </a:lnTo>
                    <a:lnTo>
                      <a:pt x="252" y="4"/>
                    </a:lnTo>
                    <a:lnTo>
                      <a:pt x="252" y="6"/>
                    </a:lnTo>
                    <a:lnTo>
                      <a:pt x="253" y="6"/>
                    </a:lnTo>
                    <a:lnTo>
                      <a:pt x="253" y="7"/>
                    </a:lnTo>
                    <a:lnTo>
                      <a:pt x="255" y="7"/>
                    </a:lnTo>
                    <a:lnTo>
                      <a:pt x="255" y="9"/>
                    </a:lnTo>
                    <a:lnTo>
                      <a:pt x="257" y="9"/>
                    </a:lnTo>
                    <a:lnTo>
                      <a:pt x="259" y="11"/>
                    </a:lnTo>
                    <a:lnTo>
                      <a:pt x="262" y="12"/>
                    </a:lnTo>
                    <a:lnTo>
                      <a:pt x="264" y="12"/>
                    </a:lnTo>
                    <a:lnTo>
                      <a:pt x="264" y="11"/>
                    </a:lnTo>
                    <a:lnTo>
                      <a:pt x="267" y="12"/>
                    </a:lnTo>
                    <a:lnTo>
                      <a:pt x="267" y="14"/>
                    </a:lnTo>
                    <a:lnTo>
                      <a:pt x="269" y="16"/>
                    </a:lnTo>
                    <a:lnTo>
                      <a:pt x="270" y="16"/>
                    </a:lnTo>
                    <a:lnTo>
                      <a:pt x="272" y="21"/>
                    </a:lnTo>
                    <a:lnTo>
                      <a:pt x="274" y="21"/>
                    </a:lnTo>
                    <a:lnTo>
                      <a:pt x="274" y="23"/>
                    </a:lnTo>
                    <a:lnTo>
                      <a:pt x="276" y="23"/>
                    </a:lnTo>
                    <a:lnTo>
                      <a:pt x="277" y="26"/>
                    </a:lnTo>
                    <a:lnTo>
                      <a:pt x="279" y="24"/>
                    </a:lnTo>
                    <a:lnTo>
                      <a:pt x="281" y="26"/>
                    </a:lnTo>
                    <a:lnTo>
                      <a:pt x="282" y="24"/>
                    </a:lnTo>
                    <a:lnTo>
                      <a:pt x="287" y="24"/>
                    </a:lnTo>
                    <a:lnTo>
                      <a:pt x="289" y="23"/>
                    </a:lnTo>
                    <a:lnTo>
                      <a:pt x="294" y="23"/>
                    </a:lnTo>
                    <a:lnTo>
                      <a:pt x="298" y="21"/>
                    </a:lnTo>
                    <a:lnTo>
                      <a:pt x="299" y="21"/>
                    </a:lnTo>
                    <a:lnTo>
                      <a:pt x="301" y="19"/>
                    </a:lnTo>
                    <a:lnTo>
                      <a:pt x="303" y="19"/>
                    </a:lnTo>
                    <a:lnTo>
                      <a:pt x="306" y="16"/>
                    </a:lnTo>
                    <a:lnTo>
                      <a:pt x="306" y="14"/>
                    </a:lnTo>
                    <a:lnTo>
                      <a:pt x="310" y="14"/>
                    </a:lnTo>
                    <a:lnTo>
                      <a:pt x="313" y="12"/>
                    </a:lnTo>
                    <a:lnTo>
                      <a:pt x="315" y="14"/>
                    </a:lnTo>
                    <a:lnTo>
                      <a:pt x="315" y="16"/>
                    </a:lnTo>
                    <a:lnTo>
                      <a:pt x="315" y="14"/>
                    </a:lnTo>
                    <a:lnTo>
                      <a:pt x="316" y="17"/>
                    </a:lnTo>
                    <a:lnTo>
                      <a:pt x="318" y="21"/>
                    </a:lnTo>
                    <a:lnTo>
                      <a:pt x="316" y="23"/>
                    </a:lnTo>
                    <a:lnTo>
                      <a:pt x="318" y="26"/>
                    </a:lnTo>
                    <a:lnTo>
                      <a:pt x="320" y="23"/>
                    </a:lnTo>
                    <a:lnTo>
                      <a:pt x="323" y="23"/>
                    </a:lnTo>
                    <a:lnTo>
                      <a:pt x="323" y="19"/>
                    </a:lnTo>
                    <a:lnTo>
                      <a:pt x="325" y="19"/>
                    </a:lnTo>
                    <a:lnTo>
                      <a:pt x="325" y="21"/>
                    </a:lnTo>
                    <a:lnTo>
                      <a:pt x="330" y="23"/>
                    </a:lnTo>
                    <a:lnTo>
                      <a:pt x="332" y="21"/>
                    </a:lnTo>
                    <a:lnTo>
                      <a:pt x="330" y="19"/>
                    </a:lnTo>
                    <a:lnTo>
                      <a:pt x="330" y="17"/>
                    </a:lnTo>
                    <a:lnTo>
                      <a:pt x="332" y="17"/>
                    </a:lnTo>
                    <a:lnTo>
                      <a:pt x="332" y="16"/>
                    </a:lnTo>
                    <a:lnTo>
                      <a:pt x="335" y="16"/>
                    </a:lnTo>
                    <a:lnTo>
                      <a:pt x="340" y="16"/>
                    </a:lnTo>
                    <a:lnTo>
                      <a:pt x="340" y="17"/>
                    </a:lnTo>
                    <a:lnTo>
                      <a:pt x="344" y="19"/>
                    </a:lnTo>
                    <a:lnTo>
                      <a:pt x="345" y="21"/>
                    </a:lnTo>
                    <a:lnTo>
                      <a:pt x="349" y="23"/>
                    </a:lnTo>
                    <a:lnTo>
                      <a:pt x="352" y="26"/>
                    </a:lnTo>
                    <a:lnTo>
                      <a:pt x="354" y="24"/>
                    </a:lnTo>
                    <a:lnTo>
                      <a:pt x="355" y="23"/>
                    </a:lnTo>
                    <a:lnTo>
                      <a:pt x="359" y="19"/>
                    </a:lnTo>
                    <a:lnTo>
                      <a:pt x="361" y="19"/>
                    </a:lnTo>
                    <a:lnTo>
                      <a:pt x="362" y="19"/>
                    </a:lnTo>
                    <a:lnTo>
                      <a:pt x="366" y="26"/>
                    </a:lnTo>
                    <a:lnTo>
                      <a:pt x="369" y="26"/>
                    </a:lnTo>
                    <a:lnTo>
                      <a:pt x="378" y="29"/>
                    </a:lnTo>
                    <a:lnTo>
                      <a:pt x="396" y="38"/>
                    </a:lnTo>
                    <a:lnTo>
                      <a:pt x="400" y="40"/>
                    </a:lnTo>
                    <a:lnTo>
                      <a:pt x="403" y="41"/>
                    </a:lnTo>
                    <a:lnTo>
                      <a:pt x="406" y="45"/>
                    </a:lnTo>
                    <a:lnTo>
                      <a:pt x="415" y="60"/>
                    </a:lnTo>
                    <a:lnTo>
                      <a:pt x="422" y="68"/>
                    </a:lnTo>
                    <a:lnTo>
                      <a:pt x="429" y="74"/>
                    </a:lnTo>
                    <a:lnTo>
                      <a:pt x="437" y="77"/>
                    </a:lnTo>
                    <a:lnTo>
                      <a:pt x="442" y="82"/>
                    </a:lnTo>
                    <a:lnTo>
                      <a:pt x="444" y="84"/>
                    </a:lnTo>
                    <a:lnTo>
                      <a:pt x="451" y="94"/>
                    </a:lnTo>
                    <a:lnTo>
                      <a:pt x="456" y="101"/>
                    </a:lnTo>
                    <a:lnTo>
                      <a:pt x="457" y="104"/>
                    </a:lnTo>
                    <a:lnTo>
                      <a:pt x="459" y="106"/>
                    </a:lnTo>
                    <a:lnTo>
                      <a:pt x="468" y="109"/>
                    </a:lnTo>
                    <a:lnTo>
                      <a:pt x="471" y="114"/>
                    </a:lnTo>
                    <a:lnTo>
                      <a:pt x="478" y="123"/>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Freeform 34">
                <a:extLst>
                  <a:ext uri="{FF2B5EF4-FFF2-40B4-BE49-F238E27FC236}">
                    <a16:creationId xmlns:a16="http://schemas.microsoft.com/office/drawing/2014/main" id="{F73FBE15-673E-40F2-86F7-16563CF265B1}"/>
                  </a:ext>
                </a:extLst>
              </p:cNvPr>
              <p:cNvSpPr>
                <a:spLocks noEditPoints="1"/>
              </p:cNvSpPr>
              <p:nvPr/>
            </p:nvSpPr>
            <p:spPr bwMode="gray">
              <a:xfrm>
                <a:off x="2533111" y="7673887"/>
                <a:ext cx="274219" cy="349561"/>
              </a:xfrm>
              <a:custGeom>
                <a:avLst/>
                <a:gdLst>
                  <a:gd name="T0" fmla="*/ 358 w 404"/>
                  <a:gd name="T1" fmla="*/ 144 h 515"/>
                  <a:gd name="T2" fmla="*/ 358 w 404"/>
                  <a:gd name="T3" fmla="*/ 207 h 515"/>
                  <a:gd name="T4" fmla="*/ 358 w 404"/>
                  <a:gd name="T5" fmla="*/ 279 h 515"/>
                  <a:gd name="T6" fmla="*/ 386 w 404"/>
                  <a:gd name="T7" fmla="*/ 359 h 515"/>
                  <a:gd name="T8" fmla="*/ 379 w 404"/>
                  <a:gd name="T9" fmla="*/ 372 h 515"/>
                  <a:gd name="T10" fmla="*/ 370 w 404"/>
                  <a:gd name="T11" fmla="*/ 377 h 515"/>
                  <a:gd name="T12" fmla="*/ 360 w 404"/>
                  <a:gd name="T13" fmla="*/ 381 h 515"/>
                  <a:gd name="T14" fmla="*/ 357 w 404"/>
                  <a:gd name="T15" fmla="*/ 377 h 515"/>
                  <a:gd name="T16" fmla="*/ 353 w 404"/>
                  <a:gd name="T17" fmla="*/ 379 h 515"/>
                  <a:gd name="T18" fmla="*/ 357 w 404"/>
                  <a:gd name="T19" fmla="*/ 396 h 515"/>
                  <a:gd name="T20" fmla="*/ 347 w 404"/>
                  <a:gd name="T21" fmla="*/ 398 h 515"/>
                  <a:gd name="T22" fmla="*/ 340 w 404"/>
                  <a:gd name="T23" fmla="*/ 408 h 515"/>
                  <a:gd name="T24" fmla="*/ 316 w 404"/>
                  <a:gd name="T25" fmla="*/ 418 h 515"/>
                  <a:gd name="T26" fmla="*/ 316 w 404"/>
                  <a:gd name="T27" fmla="*/ 435 h 515"/>
                  <a:gd name="T28" fmla="*/ 301 w 404"/>
                  <a:gd name="T29" fmla="*/ 462 h 515"/>
                  <a:gd name="T30" fmla="*/ 292 w 404"/>
                  <a:gd name="T31" fmla="*/ 485 h 515"/>
                  <a:gd name="T32" fmla="*/ 290 w 404"/>
                  <a:gd name="T33" fmla="*/ 486 h 515"/>
                  <a:gd name="T34" fmla="*/ 279 w 404"/>
                  <a:gd name="T35" fmla="*/ 512 h 515"/>
                  <a:gd name="T36" fmla="*/ 272 w 404"/>
                  <a:gd name="T37" fmla="*/ 512 h 515"/>
                  <a:gd name="T38" fmla="*/ 248 w 404"/>
                  <a:gd name="T39" fmla="*/ 500 h 515"/>
                  <a:gd name="T40" fmla="*/ 192 w 404"/>
                  <a:gd name="T41" fmla="*/ 457 h 515"/>
                  <a:gd name="T42" fmla="*/ 185 w 404"/>
                  <a:gd name="T43" fmla="*/ 452 h 515"/>
                  <a:gd name="T44" fmla="*/ 144 w 404"/>
                  <a:gd name="T45" fmla="*/ 408 h 515"/>
                  <a:gd name="T46" fmla="*/ 49 w 404"/>
                  <a:gd name="T47" fmla="*/ 354 h 515"/>
                  <a:gd name="T48" fmla="*/ 10 w 404"/>
                  <a:gd name="T49" fmla="*/ 331 h 515"/>
                  <a:gd name="T50" fmla="*/ 0 w 404"/>
                  <a:gd name="T51" fmla="*/ 304 h 515"/>
                  <a:gd name="T52" fmla="*/ 7 w 404"/>
                  <a:gd name="T53" fmla="*/ 262 h 515"/>
                  <a:gd name="T54" fmla="*/ 10 w 404"/>
                  <a:gd name="T55" fmla="*/ 250 h 515"/>
                  <a:gd name="T56" fmla="*/ 20 w 404"/>
                  <a:gd name="T57" fmla="*/ 240 h 515"/>
                  <a:gd name="T58" fmla="*/ 29 w 404"/>
                  <a:gd name="T59" fmla="*/ 224 h 515"/>
                  <a:gd name="T60" fmla="*/ 44 w 404"/>
                  <a:gd name="T61" fmla="*/ 217 h 515"/>
                  <a:gd name="T62" fmla="*/ 47 w 404"/>
                  <a:gd name="T63" fmla="*/ 206 h 515"/>
                  <a:gd name="T64" fmla="*/ 54 w 404"/>
                  <a:gd name="T65" fmla="*/ 187 h 515"/>
                  <a:gd name="T66" fmla="*/ 49 w 404"/>
                  <a:gd name="T67" fmla="*/ 151 h 515"/>
                  <a:gd name="T68" fmla="*/ 39 w 404"/>
                  <a:gd name="T69" fmla="*/ 132 h 515"/>
                  <a:gd name="T70" fmla="*/ 29 w 404"/>
                  <a:gd name="T71" fmla="*/ 119 h 515"/>
                  <a:gd name="T72" fmla="*/ 25 w 404"/>
                  <a:gd name="T73" fmla="*/ 102 h 515"/>
                  <a:gd name="T74" fmla="*/ 18 w 404"/>
                  <a:gd name="T75" fmla="*/ 92 h 515"/>
                  <a:gd name="T76" fmla="*/ 12 w 404"/>
                  <a:gd name="T77" fmla="*/ 86 h 515"/>
                  <a:gd name="T78" fmla="*/ 10 w 404"/>
                  <a:gd name="T79" fmla="*/ 78 h 515"/>
                  <a:gd name="T80" fmla="*/ 5 w 404"/>
                  <a:gd name="T81" fmla="*/ 66 h 515"/>
                  <a:gd name="T82" fmla="*/ 58 w 404"/>
                  <a:gd name="T83" fmla="*/ 15 h 515"/>
                  <a:gd name="T84" fmla="*/ 69 w 404"/>
                  <a:gd name="T85" fmla="*/ 7 h 515"/>
                  <a:gd name="T86" fmla="*/ 86 w 404"/>
                  <a:gd name="T87" fmla="*/ 7 h 515"/>
                  <a:gd name="T88" fmla="*/ 95 w 404"/>
                  <a:gd name="T89" fmla="*/ 20 h 515"/>
                  <a:gd name="T90" fmla="*/ 102 w 404"/>
                  <a:gd name="T91" fmla="*/ 51 h 515"/>
                  <a:gd name="T92" fmla="*/ 146 w 404"/>
                  <a:gd name="T93" fmla="*/ 52 h 515"/>
                  <a:gd name="T94" fmla="*/ 192 w 404"/>
                  <a:gd name="T95" fmla="*/ 81 h 515"/>
                  <a:gd name="T96" fmla="*/ 233 w 404"/>
                  <a:gd name="T97" fmla="*/ 95 h 515"/>
                  <a:gd name="T98" fmla="*/ 241 w 404"/>
                  <a:gd name="T99" fmla="*/ 95 h 515"/>
                  <a:gd name="T100" fmla="*/ 267 w 404"/>
                  <a:gd name="T101" fmla="*/ 102 h 515"/>
                  <a:gd name="T102" fmla="*/ 282 w 404"/>
                  <a:gd name="T103" fmla="*/ 103 h 515"/>
                  <a:gd name="T104" fmla="*/ 316 w 404"/>
                  <a:gd name="T105" fmla="*/ 76 h 515"/>
                  <a:gd name="T106" fmla="*/ 352 w 404"/>
                  <a:gd name="T107" fmla="*/ 64 h 515"/>
                  <a:gd name="T108" fmla="*/ 370 w 404"/>
                  <a:gd name="T109" fmla="*/ 78 h 515"/>
                  <a:gd name="T110" fmla="*/ 386 w 404"/>
                  <a:gd name="T111" fmla="*/ 76 h 515"/>
                  <a:gd name="T112" fmla="*/ 398 w 404"/>
                  <a:gd name="T113" fmla="*/ 76 h 515"/>
                  <a:gd name="T114" fmla="*/ 367 w 404"/>
                  <a:gd name="T115" fmla="*/ 386 h 515"/>
                  <a:gd name="T116" fmla="*/ 358 w 404"/>
                  <a:gd name="T117" fmla="*/ 391 h 515"/>
                  <a:gd name="T118" fmla="*/ 364 w 404"/>
                  <a:gd name="T119" fmla="*/ 382 h 515"/>
                  <a:gd name="T120" fmla="*/ 370 w 404"/>
                  <a:gd name="T121" fmla="*/ 379 h 515"/>
                  <a:gd name="T122" fmla="*/ 372 w 404"/>
                  <a:gd name="T123" fmla="*/ 377 h 515"/>
                  <a:gd name="T124" fmla="*/ 384 w 404"/>
                  <a:gd name="T125" fmla="*/ 36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4" h="515">
                    <a:moveTo>
                      <a:pt x="404" y="76"/>
                    </a:moveTo>
                    <a:lnTo>
                      <a:pt x="401" y="80"/>
                    </a:lnTo>
                    <a:lnTo>
                      <a:pt x="375" y="119"/>
                    </a:lnTo>
                    <a:lnTo>
                      <a:pt x="360" y="132"/>
                    </a:lnTo>
                    <a:lnTo>
                      <a:pt x="358" y="136"/>
                    </a:lnTo>
                    <a:lnTo>
                      <a:pt x="358" y="144"/>
                    </a:lnTo>
                    <a:lnTo>
                      <a:pt x="358" y="160"/>
                    </a:lnTo>
                    <a:lnTo>
                      <a:pt x="358" y="161"/>
                    </a:lnTo>
                    <a:lnTo>
                      <a:pt x="358" y="168"/>
                    </a:lnTo>
                    <a:lnTo>
                      <a:pt x="358" y="178"/>
                    </a:lnTo>
                    <a:lnTo>
                      <a:pt x="358" y="192"/>
                    </a:lnTo>
                    <a:lnTo>
                      <a:pt x="358" y="207"/>
                    </a:lnTo>
                    <a:lnTo>
                      <a:pt x="358" y="216"/>
                    </a:lnTo>
                    <a:lnTo>
                      <a:pt x="358" y="228"/>
                    </a:lnTo>
                    <a:lnTo>
                      <a:pt x="358" y="231"/>
                    </a:lnTo>
                    <a:lnTo>
                      <a:pt x="358" y="245"/>
                    </a:lnTo>
                    <a:lnTo>
                      <a:pt x="358" y="258"/>
                    </a:lnTo>
                    <a:lnTo>
                      <a:pt x="358" y="279"/>
                    </a:lnTo>
                    <a:lnTo>
                      <a:pt x="358" y="289"/>
                    </a:lnTo>
                    <a:lnTo>
                      <a:pt x="358" y="318"/>
                    </a:lnTo>
                    <a:lnTo>
                      <a:pt x="358" y="321"/>
                    </a:lnTo>
                    <a:lnTo>
                      <a:pt x="364" y="330"/>
                    </a:lnTo>
                    <a:lnTo>
                      <a:pt x="369" y="337"/>
                    </a:lnTo>
                    <a:lnTo>
                      <a:pt x="386" y="359"/>
                    </a:lnTo>
                    <a:lnTo>
                      <a:pt x="386" y="362"/>
                    </a:lnTo>
                    <a:lnTo>
                      <a:pt x="382" y="369"/>
                    </a:lnTo>
                    <a:lnTo>
                      <a:pt x="381" y="371"/>
                    </a:lnTo>
                    <a:lnTo>
                      <a:pt x="381" y="369"/>
                    </a:lnTo>
                    <a:lnTo>
                      <a:pt x="381" y="371"/>
                    </a:lnTo>
                    <a:lnTo>
                      <a:pt x="379" y="372"/>
                    </a:lnTo>
                    <a:lnTo>
                      <a:pt x="381" y="372"/>
                    </a:lnTo>
                    <a:lnTo>
                      <a:pt x="377" y="374"/>
                    </a:lnTo>
                    <a:lnTo>
                      <a:pt x="379" y="372"/>
                    </a:lnTo>
                    <a:lnTo>
                      <a:pt x="372" y="379"/>
                    </a:lnTo>
                    <a:lnTo>
                      <a:pt x="372" y="377"/>
                    </a:lnTo>
                    <a:lnTo>
                      <a:pt x="370" y="377"/>
                    </a:lnTo>
                    <a:lnTo>
                      <a:pt x="370" y="379"/>
                    </a:lnTo>
                    <a:lnTo>
                      <a:pt x="369" y="377"/>
                    </a:lnTo>
                    <a:lnTo>
                      <a:pt x="369" y="379"/>
                    </a:lnTo>
                    <a:lnTo>
                      <a:pt x="367" y="379"/>
                    </a:lnTo>
                    <a:lnTo>
                      <a:pt x="365" y="379"/>
                    </a:lnTo>
                    <a:lnTo>
                      <a:pt x="360" y="381"/>
                    </a:lnTo>
                    <a:lnTo>
                      <a:pt x="360" y="382"/>
                    </a:lnTo>
                    <a:lnTo>
                      <a:pt x="358" y="382"/>
                    </a:lnTo>
                    <a:lnTo>
                      <a:pt x="357" y="381"/>
                    </a:lnTo>
                    <a:lnTo>
                      <a:pt x="357" y="377"/>
                    </a:lnTo>
                    <a:lnTo>
                      <a:pt x="358" y="376"/>
                    </a:lnTo>
                    <a:lnTo>
                      <a:pt x="357" y="377"/>
                    </a:lnTo>
                    <a:lnTo>
                      <a:pt x="357" y="379"/>
                    </a:lnTo>
                    <a:lnTo>
                      <a:pt x="357" y="381"/>
                    </a:lnTo>
                    <a:lnTo>
                      <a:pt x="357" y="382"/>
                    </a:lnTo>
                    <a:lnTo>
                      <a:pt x="355" y="384"/>
                    </a:lnTo>
                    <a:lnTo>
                      <a:pt x="353" y="381"/>
                    </a:lnTo>
                    <a:lnTo>
                      <a:pt x="353" y="379"/>
                    </a:lnTo>
                    <a:lnTo>
                      <a:pt x="348" y="377"/>
                    </a:lnTo>
                    <a:lnTo>
                      <a:pt x="353" y="381"/>
                    </a:lnTo>
                    <a:lnTo>
                      <a:pt x="353" y="391"/>
                    </a:lnTo>
                    <a:lnTo>
                      <a:pt x="357" y="391"/>
                    </a:lnTo>
                    <a:lnTo>
                      <a:pt x="357" y="393"/>
                    </a:lnTo>
                    <a:lnTo>
                      <a:pt x="357" y="396"/>
                    </a:lnTo>
                    <a:lnTo>
                      <a:pt x="355" y="396"/>
                    </a:lnTo>
                    <a:lnTo>
                      <a:pt x="353" y="394"/>
                    </a:lnTo>
                    <a:lnTo>
                      <a:pt x="352" y="394"/>
                    </a:lnTo>
                    <a:lnTo>
                      <a:pt x="348" y="398"/>
                    </a:lnTo>
                    <a:lnTo>
                      <a:pt x="348" y="396"/>
                    </a:lnTo>
                    <a:lnTo>
                      <a:pt x="347" y="398"/>
                    </a:lnTo>
                    <a:lnTo>
                      <a:pt x="350" y="398"/>
                    </a:lnTo>
                    <a:lnTo>
                      <a:pt x="348" y="399"/>
                    </a:lnTo>
                    <a:lnTo>
                      <a:pt x="347" y="401"/>
                    </a:lnTo>
                    <a:lnTo>
                      <a:pt x="347" y="403"/>
                    </a:lnTo>
                    <a:lnTo>
                      <a:pt x="343" y="405"/>
                    </a:lnTo>
                    <a:lnTo>
                      <a:pt x="340" y="408"/>
                    </a:lnTo>
                    <a:lnTo>
                      <a:pt x="338" y="408"/>
                    </a:lnTo>
                    <a:lnTo>
                      <a:pt x="335" y="406"/>
                    </a:lnTo>
                    <a:lnTo>
                      <a:pt x="330" y="408"/>
                    </a:lnTo>
                    <a:lnTo>
                      <a:pt x="323" y="411"/>
                    </a:lnTo>
                    <a:lnTo>
                      <a:pt x="319" y="415"/>
                    </a:lnTo>
                    <a:lnTo>
                      <a:pt x="316" y="418"/>
                    </a:lnTo>
                    <a:lnTo>
                      <a:pt x="316" y="422"/>
                    </a:lnTo>
                    <a:lnTo>
                      <a:pt x="316" y="427"/>
                    </a:lnTo>
                    <a:lnTo>
                      <a:pt x="318" y="430"/>
                    </a:lnTo>
                    <a:lnTo>
                      <a:pt x="319" y="430"/>
                    </a:lnTo>
                    <a:lnTo>
                      <a:pt x="318" y="432"/>
                    </a:lnTo>
                    <a:lnTo>
                      <a:pt x="316" y="435"/>
                    </a:lnTo>
                    <a:lnTo>
                      <a:pt x="316" y="437"/>
                    </a:lnTo>
                    <a:lnTo>
                      <a:pt x="314" y="440"/>
                    </a:lnTo>
                    <a:lnTo>
                      <a:pt x="314" y="444"/>
                    </a:lnTo>
                    <a:lnTo>
                      <a:pt x="314" y="445"/>
                    </a:lnTo>
                    <a:lnTo>
                      <a:pt x="306" y="451"/>
                    </a:lnTo>
                    <a:lnTo>
                      <a:pt x="301" y="462"/>
                    </a:lnTo>
                    <a:lnTo>
                      <a:pt x="301" y="466"/>
                    </a:lnTo>
                    <a:lnTo>
                      <a:pt x="299" y="473"/>
                    </a:lnTo>
                    <a:lnTo>
                      <a:pt x="296" y="478"/>
                    </a:lnTo>
                    <a:lnTo>
                      <a:pt x="294" y="481"/>
                    </a:lnTo>
                    <a:lnTo>
                      <a:pt x="294" y="483"/>
                    </a:lnTo>
                    <a:lnTo>
                      <a:pt x="292" y="485"/>
                    </a:lnTo>
                    <a:lnTo>
                      <a:pt x="290" y="481"/>
                    </a:lnTo>
                    <a:lnTo>
                      <a:pt x="289" y="483"/>
                    </a:lnTo>
                    <a:lnTo>
                      <a:pt x="285" y="483"/>
                    </a:lnTo>
                    <a:lnTo>
                      <a:pt x="285" y="485"/>
                    </a:lnTo>
                    <a:lnTo>
                      <a:pt x="289" y="485"/>
                    </a:lnTo>
                    <a:lnTo>
                      <a:pt x="290" y="486"/>
                    </a:lnTo>
                    <a:lnTo>
                      <a:pt x="287" y="491"/>
                    </a:lnTo>
                    <a:lnTo>
                      <a:pt x="284" y="503"/>
                    </a:lnTo>
                    <a:lnTo>
                      <a:pt x="282" y="503"/>
                    </a:lnTo>
                    <a:lnTo>
                      <a:pt x="280" y="507"/>
                    </a:lnTo>
                    <a:lnTo>
                      <a:pt x="280" y="510"/>
                    </a:lnTo>
                    <a:lnTo>
                      <a:pt x="279" y="512"/>
                    </a:lnTo>
                    <a:lnTo>
                      <a:pt x="279" y="510"/>
                    </a:lnTo>
                    <a:lnTo>
                      <a:pt x="277" y="512"/>
                    </a:lnTo>
                    <a:lnTo>
                      <a:pt x="279" y="513"/>
                    </a:lnTo>
                    <a:lnTo>
                      <a:pt x="277" y="513"/>
                    </a:lnTo>
                    <a:lnTo>
                      <a:pt x="272" y="513"/>
                    </a:lnTo>
                    <a:lnTo>
                      <a:pt x="272" y="512"/>
                    </a:lnTo>
                    <a:lnTo>
                      <a:pt x="270" y="513"/>
                    </a:lnTo>
                    <a:lnTo>
                      <a:pt x="268" y="515"/>
                    </a:lnTo>
                    <a:lnTo>
                      <a:pt x="268" y="513"/>
                    </a:lnTo>
                    <a:lnTo>
                      <a:pt x="267" y="513"/>
                    </a:lnTo>
                    <a:lnTo>
                      <a:pt x="263" y="510"/>
                    </a:lnTo>
                    <a:lnTo>
                      <a:pt x="248" y="500"/>
                    </a:lnTo>
                    <a:lnTo>
                      <a:pt x="231" y="488"/>
                    </a:lnTo>
                    <a:lnTo>
                      <a:pt x="228" y="486"/>
                    </a:lnTo>
                    <a:lnTo>
                      <a:pt x="205" y="471"/>
                    </a:lnTo>
                    <a:lnTo>
                      <a:pt x="195" y="464"/>
                    </a:lnTo>
                    <a:lnTo>
                      <a:pt x="194" y="457"/>
                    </a:lnTo>
                    <a:lnTo>
                      <a:pt x="192" y="457"/>
                    </a:lnTo>
                    <a:lnTo>
                      <a:pt x="190" y="456"/>
                    </a:lnTo>
                    <a:lnTo>
                      <a:pt x="188" y="457"/>
                    </a:lnTo>
                    <a:lnTo>
                      <a:pt x="187" y="457"/>
                    </a:lnTo>
                    <a:lnTo>
                      <a:pt x="187" y="454"/>
                    </a:lnTo>
                    <a:lnTo>
                      <a:pt x="185" y="454"/>
                    </a:lnTo>
                    <a:lnTo>
                      <a:pt x="185" y="452"/>
                    </a:lnTo>
                    <a:lnTo>
                      <a:pt x="190" y="449"/>
                    </a:lnTo>
                    <a:lnTo>
                      <a:pt x="190" y="447"/>
                    </a:lnTo>
                    <a:lnTo>
                      <a:pt x="192" y="445"/>
                    </a:lnTo>
                    <a:lnTo>
                      <a:pt x="190" y="434"/>
                    </a:lnTo>
                    <a:lnTo>
                      <a:pt x="171" y="422"/>
                    </a:lnTo>
                    <a:lnTo>
                      <a:pt x="144" y="408"/>
                    </a:lnTo>
                    <a:lnTo>
                      <a:pt x="115" y="391"/>
                    </a:lnTo>
                    <a:lnTo>
                      <a:pt x="105" y="386"/>
                    </a:lnTo>
                    <a:lnTo>
                      <a:pt x="105" y="384"/>
                    </a:lnTo>
                    <a:lnTo>
                      <a:pt x="69" y="365"/>
                    </a:lnTo>
                    <a:lnTo>
                      <a:pt x="56" y="357"/>
                    </a:lnTo>
                    <a:lnTo>
                      <a:pt x="49" y="354"/>
                    </a:lnTo>
                    <a:lnTo>
                      <a:pt x="41" y="348"/>
                    </a:lnTo>
                    <a:lnTo>
                      <a:pt x="27" y="342"/>
                    </a:lnTo>
                    <a:lnTo>
                      <a:pt x="20" y="337"/>
                    </a:lnTo>
                    <a:lnTo>
                      <a:pt x="17" y="337"/>
                    </a:lnTo>
                    <a:lnTo>
                      <a:pt x="17" y="335"/>
                    </a:lnTo>
                    <a:lnTo>
                      <a:pt x="10" y="331"/>
                    </a:lnTo>
                    <a:lnTo>
                      <a:pt x="8" y="330"/>
                    </a:lnTo>
                    <a:lnTo>
                      <a:pt x="5" y="331"/>
                    </a:lnTo>
                    <a:lnTo>
                      <a:pt x="5" y="330"/>
                    </a:lnTo>
                    <a:lnTo>
                      <a:pt x="0" y="330"/>
                    </a:lnTo>
                    <a:lnTo>
                      <a:pt x="0" y="325"/>
                    </a:lnTo>
                    <a:lnTo>
                      <a:pt x="0" y="304"/>
                    </a:lnTo>
                    <a:lnTo>
                      <a:pt x="0" y="303"/>
                    </a:lnTo>
                    <a:lnTo>
                      <a:pt x="3" y="289"/>
                    </a:lnTo>
                    <a:lnTo>
                      <a:pt x="3" y="286"/>
                    </a:lnTo>
                    <a:lnTo>
                      <a:pt x="0" y="274"/>
                    </a:lnTo>
                    <a:lnTo>
                      <a:pt x="5" y="265"/>
                    </a:lnTo>
                    <a:lnTo>
                      <a:pt x="7" y="262"/>
                    </a:lnTo>
                    <a:lnTo>
                      <a:pt x="8" y="262"/>
                    </a:lnTo>
                    <a:lnTo>
                      <a:pt x="8" y="260"/>
                    </a:lnTo>
                    <a:lnTo>
                      <a:pt x="8" y="255"/>
                    </a:lnTo>
                    <a:lnTo>
                      <a:pt x="10" y="255"/>
                    </a:lnTo>
                    <a:lnTo>
                      <a:pt x="10" y="251"/>
                    </a:lnTo>
                    <a:lnTo>
                      <a:pt x="10" y="250"/>
                    </a:lnTo>
                    <a:lnTo>
                      <a:pt x="13" y="248"/>
                    </a:lnTo>
                    <a:lnTo>
                      <a:pt x="13" y="246"/>
                    </a:lnTo>
                    <a:lnTo>
                      <a:pt x="18" y="246"/>
                    </a:lnTo>
                    <a:lnTo>
                      <a:pt x="18" y="245"/>
                    </a:lnTo>
                    <a:lnTo>
                      <a:pt x="20" y="243"/>
                    </a:lnTo>
                    <a:lnTo>
                      <a:pt x="20" y="240"/>
                    </a:lnTo>
                    <a:lnTo>
                      <a:pt x="25" y="238"/>
                    </a:lnTo>
                    <a:lnTo>
                      <a:pt x="24" y="236"/>
                    </a:lnTo>
                    <a:lnTo>
                      <a:pt x="25" y="234"/>
                    </a:lnTo>
                    <a:lnTo>
                      <a:pt x="27" y="233"/>
                    </a:lnTo>
                    <a:lnTo>
                      <a:pt x="29" y="231"/>
                    </a:lnTo>
                    <a:lnTo>
                      <a:pt x="29" y="224"/>
                    </a:lnTo>
                    <a:lnTo>
                      <a:pt x="30" y="223"/>
                    </a:lnTo>
                    <a:lnTo>
                      <a:pt x="32" y="223"/>
                    </a:lnTo>
                    <a:lnTo>
                      <a:pt x="34" y="221"/>
                    </a:lnTo>
                    <a:lnTo>
                      <a:pt x="37" y="219"/>
                    </a:lnTo>
                    <a:lnTo>
                      <a:pt x="37" y="217"/>
                    </a:lnTo>
                    <a:lnTo>
                      <a:pt x="44" y="217"/>
                    </a:lnTo>
                    <a:lnTo>
                      <a:pt x="44" y="216"/>
                    </a:lnTo>
                    <a:lnTo>
                      <a:pt x="46" y="214"/>
                    </a:lnTo>
                    <a:lnTo>
                      <a:pt x="46" y="212"/>
                    </a:lnTo>
                    <a:lnTo>
                      <a:pt x="44" y="209"/>
                    </a:lnTo>
                    <a:lnTo>
                      <a:pt x="44" y="207"/>
                    </a:lnTo>
                    <a:lnTo>
                      <a:pt x="47" y="206"/>
                    </a:lnTo>
                    <a:lnTo>
                      <a:pt x="47" y="202"/>
                    </a:lnTo>
                    <a:lnTo>
                      <a:pt x="49" y="200"/>
                    </a:lnTo>
                    <a:lnTo>
                      <a:pt x="51" y="199"/>
                    </a:lnTo>
                    <a:lnTo>
                      <a:pt x="52" y="195"/>
                    </a:lnTo>
                    <a:lnTo>
                      <a:pt x="54" y="195"/>
                    </a:lnTo>
                    <a:lnTo>
                      <a:pt x="54" y="187"/>
                    </a:lnTo>
                    <a:lnTo>
                      <a:pt x="56" y="182"/>
                    </a:lnTo>
                    <a:lnTo>
                      <a:pt x="52" y="178"/>
                    </a:lnTo>
                    <a:lnTo>
                      <a:pt x="49" y="156"/>
                    </a:lnTo>
                    <a:lnTo>
                      <a:pt x="52" y="155"/>
                    </a:lnTo>
                    <a:lnTo>
                      <a:pt x="51" y="151"/>
                    </a:lnTo>
                    <a:lnTo>
                      <a:pt x="49" y="151"/>
                    </a:lnTo>
                    <a:lnTo>
                      <a:pt x="49" y="148"/>
                    </a:lnTo>
                    <a:lnTo>
                      <a:pt x="47" y="148"/>
                    </a:lnTo>
                    <a:lnTo>
                      <a:pt x="42" y="143"/>
                    </a:lnTo>
                    <a:lnTo>
                      <a:pt x="42" y="139"/>
                    </a:lnTo>
                    <a:lnTo>
                      <a:pt x="42" y="136"/>
                    </a:lnTo>
                    <a:lnTo>
                      <a:pt x="39" y="132"/>
                    </a:lnTo>
                    <a:lnTo>
                      <a:pt x="37" y="134"/>
                    </a:lnTo>
                    <a:lnTo>
                      <a:pt x="35" y="131"/>
                    </a:lnTo>
                    <a:lnTo>
                      <a:pt x="34" y="131"/>
                    </a:lnTo>
                    <a:lnTo>
                      <a:pt x="32" y="122"/>
                    </a:lnTo>
                    <a:lnTo>
                      <a:pt x="30" y="119"/>
                    </a:lnTo>
                    <a:lnTo>
                      <a:pt x="29" y="119"/>
                    </a:lnTo>
                    <a:lnTo>
                      <a:pt x="27" y="117"/>
                    </a:lnTo>
                    <a:lnTo>
                      <a:pt x="25" y="112"/>
                    </a:lnTo>
                    <a:lnTo>
                      <a:pt x="24" y="107"/>
                    </a:lnTo>
                    <a:lnTo>
                      <a:pt x="24" y="103"/>
                    </a:lnTo>
                    <a:lnTo>
                      <a:pt x="24" y="102"/>
                    </a:lnTo>
                    <a:lnTo>
                      <a:pt x="25" y="102"/>
                    </a:lnTo>
                    <a:lnTo>
                      <a:pt x="25" y="100"/>
                    </a:lnTo>
                    <a:lnTo>
                      <a:pt x="27" y="93"/>
                    </a:lnTo>
                    <a:lnTo>
                      <a:pt x="24" y="92"/>
                    </a:lnTo>
                    <a:lnTo>
                      <a:pt x="22" y="90"/>
                    </a:lnTo>
                    <a:lnTo>
                      <a:pt x="20" y="90"/>
                    </a:lnTo>
                    <a:lnTo>
                      <a:pt x="18" y="92"/>
                    </a:lnTo>
                    <a:lnTo>
                      <a:pt x="18" y="90"/>
                    </a:lnTo>
                    <a:lnTo>
                      <a:pt x="15" y="86"/>
                    </a:lnTo>
                    <a:lnTo>
                      <a:pt x="12" y="88"/>
                    </a:lnTo>
                    <a:lnTo>
                      <a:pt x="12" y="86"/>
                    </a:lnTo>
                    <a:lnTo>
                      <a:pt x="13" y="86"/>
                    </a:lnTo>
                    <a:lnTo>
                      <a:pt x="12" y="86"/>
                    </a:lnTo>
                    <a:lnTo>
                      <a:pt x="12" y="85"/>
                    </a:lnTo>
                    <a:lnTo>
                      <a:pt x="15" y="85"/>
                    </a:lnTo>
                    <a:lnTo>
                      <a:pt x="13" y="81"/>
                    </a:lnTo>
                    <a:lnTo>
                      <a:pt x="8" y="83"/>
                    </a:lnTo>
                    <a:lnTo>
                      <a:pt x="8" y="81"/>
                    </a:lnTo>
                    <a:lnTo>
                      <a:pt x="10" y="78"/>
                    </a:lnTo>
                    <a:lnTo>
                      <a:pt x="7" y="75"/>
                    </a:lnTo>
                    <a:lnTo>
                      <a:pt x="8" y="75"/>
                    </a:lnTo>
                    <a:lnTo>
                      <a:pt x="8" y="73"/>
                    </a:lnTo>
                    <a:lnTo>
                      <a:pt x="5" y="69"/>
                    </a:lnTo>
                    <a:lnTo>
                      <a:pt x="7" y="69"/>
                    </a:lnTo>
                    <a:lnTo>
                      <a:pt x="5" y="66"/>
                    </a:lnTo>
                    <a:lnTo>
                      <a:pt x="3" y="64"/>
                    </a:lnTo>
                    <a:lnTo>
                      <a:pt x="10" y="58"/>
                    </a:lnTo>
                    <a:lnTo>
                      <a:pt x="25" y="42"/>
                    </a:lnTo>
                    <a:lnTo>
                      <a:pt x="34" y="35"/>
                    </a:lnTo>
                    <a:lnTo>
                      <a:pt x="49" y="22"/>
                    </a:lnTo>
                    <a:lnTo>
                      <a:pt x="58" y="15"/>
                    </a:lnTo>
                    <a:lnTo>
                      <a:pt x="61" y="12"/>
                    </a:lnTo>
                    <a:lnTo>
                      <a:pt x="68" y="1"/>
                    </a:lnTo>
                    <a:lnTo>
                      <a:pt x="69" y="0"/>
                    </a:lnTo>
                    <a:lnTo>
                      <a:pt x="71" y="3"/>
                    </a:lnTo>
                    <a:lnTo>
                      <a:pt x="69" y="3"/>
                    </a:lnTo>
                    <a:lnTo>
                      <a:pt x="69" y="7"/>
                    </a:lnTo>
                    <a:lnTo>
                      <a:pt x="71" y="8"/>
                    </a:lnTo>
                    <a:lnTo>
                      <a:pt x="75" y="7"/>
                    </a:lnTo>
                    <a:lnTo>
                      <a:pt x="80" y="5"/>
                    </a:lnTo>
                    <a:lnTo>
                      <a:pt x="81" y="3"/>
                    </a:lnTo>
                    <a:lnTo>
                      <a:pt x="85" y="5"/>
                    </a:lnTo>
                    <a:lnTo>
                      <a:pt x="86" y="7"/>
                    </a:lnTo>
                    <a:lnTo>
                      <a:pt x="90" y="5"/>
                    </a:lnTo>
                    <a:lnTo>
                      <a:pt x="93" y="8"/>
                    </a:lnTo>
                    <a:lnTo>
                      <a:pt x="98" y="8"/>
                    </a:lnTo>
                    <a:lnTo>
                      <a:pt x="97" y="12"/>
                    </a:lnTo>
                    <a:lnTo>
                      <a:pt x="98" y="17"/>
                    </a:lnTo>
                    <a:lnTo>
                      <a:pt x="95" y="20"/>
                    </a:lnTo>
                    <a:lnTo>
                      <a:pt x="95" y="27"/>
                    </a:lnTo>
                    <a:lnTo>
                      <a:pt x="95" y="35"/>
                    </a:lnTo>
                    <a:lnTo>
                      <a:pt x="102" y="44"/>
                    </a:lnTo>
                    <a:lnTo>
                      <a:pt x="102" y="46"/>
                    </a:lnTo>
                    <a:lnTo>
                      <a:pt x="103" y="47"/>
                    </a:lnTo>
                    <a:lnTo>
                      <a:pt x="102" y="51"/>
                    </a:lnTo>
                    <a:lnTo>
                      <a:pt x="103" y="52"/>
                    </a:lnTo>
                    <a:lnTo>
                      <a:pt x="117" y="52"/>
                    </a:lnTo>
                    <a:lnTo>
                      <a:pt x="132" y="52"/>
                    </a:lnTo>
                    <a:lnTo>
                      <a:pt x="136" y="52"/>
                    </a:lnTo>
                    <a:lnTo>
                      <a:pt x="137" y="52"/>
                    </a:lnTo>
                    <a:lnTo>
                      <a:pt x="146" y="52"/>
                    </a:lnTo>
                    <a:lnTo>
                      <a:pt x="156" y="56"/>
                    </a:lnTo>
                    <a:lnTo>
                      <a:pt x="158" y="58"/>
                    </a:lnTo>
                    <a:lnTo>
                      <a:pt x="160" y="58"/>
                    </a:lnTo>
                    <a:lnTo>
                      <a:pt x="161" y="61"/>
                    </a:lnTo>
                    <a:lnTo>
                      <a:pt x="178" y="71"/>
                    </a:lnTo>
                    <a:lnTo>
                      <a:pt x="192" y="81"/>
                    </a:lnTo>
                    <a:lnTo>
                      <a:pt x="202" y="86"/>
                    </a:lnTo>
                    <a:lnTo>
                      <a:pt x="205" y="90"/>
                    </a:lnTo>
                    <a:lnTo>
                      <a:pt x="212" y="95"/>
                    </a:lnTo>
                    <a:lnTo>
                      <a:pt x="216" y="95"/>
                    </a:lnTo>
                    <a:lnTo>
                      <a:pt x="229" y="97"/>
                    </a:lnTo>
                    <a:lnTo>
                      <a:pt x="233" y="95"/>
                    </a:lnTo>
                    <a:lnTo>
                      <a:pt x="233" y="93"/>
                    </a:lnTo>
                    <a:lnTo>
                      <a:pt x="234" y="93"/>
                    </a:lnTo>
                    <a:lnTo>
                      <a:pt x="236" y="97"/>
                    </a:lnTo>
                    <a:lnTo>
                      <a:pt x="238" y="95"/>
                    </a:lnTo>
                    <a:lnTo>
                      <a:pt x="239" y="97"/>
                    </a:lnTo>
                    <a:lnTo>
                      <a:pt x="241" y="95"/>
                    </a:lnTo>
                    <a:lnTo>
                      <a:pt x="243" y="98"/>
                    </a:lnTo>
                    <a:lnTo>
                      <a:pt x="253" y="100"/>
                    </a:lnTo>
                    <a:lnTo>
                      <a:pt x="255" y="100"/>
                    </a:lnTo>
                    <a:lnTo>
                      <a:pt x="258" y="100"/>
                    </a:lnTo>
                    <a:lnTo>
                      <a:pt x="262" y="100"/>
                    </a:lnTo>
                    <a:lnTo>
                      <a:pt x="267" y="102"/>
                    </a:lnTo>
                    <a:lnTo>
                      <a:pt x="270" y="103"/>
                    </a:lnTo>
                    <a:lnTo>
                      <a:pt x="272" y="102"/>
                    </a:lnTo>
                    <a:lnTo>
                      <a:pt x="273" y="102"/>
                    </a:lnTo>
                    <a:lnTo>
                      <a:pt x="273" y="103"/>
                    </a:lnTo>
                    <a:lnTo>
                      <a:pt x="280" y="103"/>
                    </a:lnTo>
                    <a:lnTo>
                      <a:pt x="282" y="103"/>
                    </a:lnTo>
                    <a:lnTo>
                      <a:pt x="284" y="105"/>
                    </a:lnTo>
                    <a:lnTo>
                      <a:pt x="285" y="107"/>
                    </a:lnTo>
                    <a:lnTo>
                      <a:pt x="287" y="102"/>
                    </a:lnTo>
                    <a:lnTo>
                      <a:pt x="296" y="93"/>
                    </a:lnTo>
                    <a:lnTo>
                      <a:pt x="301" y="83"/>
                    </a:lnTo>
                    <a:lnTo>
                      <a:pt x="316" y="76"/>
                    </a:lnTo>
                    <a:lnTo>
                      <a:pt x="330" y="69"/>
                    </a:lnTo>
                    <a:lnTo>
                      <a:pt x="343" y="64"/>
                    </a:lnTo>
                    <a:lnTo>
                      <a:pt x="345" y="64"/>
                    </a:lnTo>
                    <a:lnTo>
                      <a:pt x="347" y="63"/>
                    </a:lnTo>
                    <a:lnTo>
                      <a:pt x="348" y="63"/>
                    </a:lnTo>
                    <a:lnTo>
                      <a:pt x="352" y="64"/>
                    </a:lnTo>
                    <a:lnTo>
                      <a:pt x="353" y="68"/>
                    </a:lnTo>
                    <a:lnTo>
                      <a:pt x="355" y="68"/>
                    </a:lnTo>
                    <a:lnTo>
                      <a:pt x="358" y="69"/>
                    </a:lnTo>
                    <a:lnTo>
                      <a:pt x="365" y="78"/>
                    </a:lnTo>
                    <a:lnTo>
                      <a:pt x="369" y="80"/>
                    </a:lnTo>
                    <a:lnTo>
                      <a:pt x="370" y="78"/>
                    </a:lnTo>
                    <a:lnTo>
                      <a:pt x="375" y="80"/>
                    </a:lnTo>
                    <a:lnTo>
                      <a:pt x="375" y="78"/>
                    </a:lnTo>
                    <a:lnTo>
                      <a:pt x="377" y="78"/>
                    </a:lnTo>
                    <a:lnTo>
                      <a:pt x="379" y="78"/>
                    </a:lnTo>
                    <a:lnTo>
                      <a:pt x="384" y="78"/>
                    </a:lnTo>
                    <a:lnTo>
                      <a:pt x="386" y="76"/>
                    </a:lnTo>
                    <a:lnTo>
                      <a:pt x="387" y="78"/>
                    </a:lnTo>
                    <a:lnTo>
                      <a:pt x="391" y="76"/>
                    </a:lnTo>
                    <a:lnTo>
                      <a:pt x="392" y="78"/>
                    </a:lnTo>
                    <a:lnTo>
                      <a:pt x="394" y="76"/>
                    </a:lnTo>
                    <a:lnTo>
                      <a:pt x="396" y="78"/>
                    </a:lnTo>
                    <a:lnTo>
                      <a:pt x="398" y="76"/>
                    </a:lnTo>
                    <a:lnTo>
                      <a:pt x="399" y="78"/>
                    </a:lnTo>
                    <a:lnTo>
                      <a:pt x="401" y="78"/>
                    </a:lnTo>
                    <a:lnTo>
                      <a:pt x="404" y="76"/>
                    </a:lnTo>
                    <a:close/>
                    <a:moveTo>
                      <a:pt x="364" y="382"/>
                    </a:moveTo>
                    <a:lnTo>
                      <a:pt x="367" y="384"/>
                    </a:lnTo>
                    <a:lnTo>
                      <a:pt x="367" y="386"/>
                    </a:lnTo>
                    <a:lnTo>
                      <a:pt x="365" y="386"/>
                    </a:lnTo>
                    <a:lnTo>
                      <a:pt x="364" y="386"/>
                    </a:lnTo>
                    <a:lnTo>
                      <a:pt x="364" y="388"/>
                    </a:lnTo>
                    <a:lnTo>
                      <a:pt x="360" y="388"/>
                    </a:lnTo>
                    <a:lnTo>
                      <a:pt x="358" y="388"/>
                    </a:lnTo>
                    <a:lnTo>
                      <a:pt x="358" y="391"/>
                    </a:lnTo>
                    <a:lnTo>
                      <a:pt x="357" y="389"/>
                    </a:lnTo>
                    <a:lnTo>
                      <a:pt x="357" y="388"/>
                    </a:lnTo>
                    <a:lnTo>
                      <a:pt x="357" y="386"/>
                    </a:lnTo>
                    <a:lnTo>
                      <a:pt x="360" y="384"/>
                    </a:lnTo>
                    <a:lnTo>
                      <a:pt x="362" y="382"/>
                    </a:lnTo>
                    <a:lnTo>
                      <a:pt x="364" y="382"/>
                    </a:lnTo>
                    <a:close/>
                    <a:moveTo>
                      <a:pt x="289" y="483"/>
                    </a:moveTo>
                    <a:lnTo>
                      <a:pt x="292" y="483"/>
                    </a:lnTo>
                    <a:lnTo>
                      <a:pt x="292" y="485"/>
                    </a:lnTo>
                    <a:lnTo>
                      <a:pt x="289" y="485"/>
                    </a:lnTo>
                    <a:lnTo>
                      <a:pt x="289" y="483"/>
                    </a:lnTo>
                    <a:close/>
                    <a:moveTo>
                      <a:pt x="370" y="379"/>
                    </a:moveTo>
                    <a:lnTo>
                      <a:pt x="372" y="379"/>
                    </a:lnTo>
                    <a:lnTo>
                      <a:pt x="374" y="379"/>
                    </a:lnTo>
                    <a:lnTo>
                      <a:pt x="370" y="382"/>
                    </a:lnTo>
                    <a:lnTo>
                      <a:pt x="372" y="381"/>
                    </a:lnTo>
                    <a:lnTo>
                      <a:pt x="370" y="379"/>
                    </a:lnTo>
                    <a:lnTo>
                      <a:pt x="372" y="377"/>
                    </a:lnTo>
                    <a:lnTo>
                      <a:pt x="370" y="379"/>
                    </a:lnTo>
                    <a:close/>
                    <a:moveTo>
                      <a:pt x="365" y="381"/>
                    </a:moveTo>
                    <a:lnTo>
                      <a:pt x="369" y="381"/>
                    </a:lnTo>
                    <a:lnTo>
                      <a:pt x="365" y="381"/>
                    </a:lnTo>
                    <a:close/>
                    <a:moveTo>
                      <a:pt x="382" y="367"/>
                    </a:moveTo>
                    <a:lnTo>
                      <a:pt x="384" y="367"/>
                    </a:lnTo>
                    <a:lnTo>
                      <a:pt x="384" y="369"/>
                    </a:lnTo>
                    <a:lnTo>
                      <a:pt x="382" y="369"/>
                    </a:lnTo>
                    <a:lnTo>
                      <a:pt x="382" y="367"/>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Freeform 38">
                <a:extLst>
                  <a:ext uri="{FF2B5EF4-FFF2-40B4-BE49-F238E27FC236}">
                    <a16:creationId xmlns:a16="http://schemas.microsoft.com/office/drawing/2014/main" id="{FE96A9DD-A6D6-4DA5-B882-BDD07B5ACCF8}"/>
                  </a:ext>
                </a:extLst>
              </p:cNvPr>
              <p:cNvSpPr>
                <a:spLocks noEditPoints="1"/>
              </p:cNvSpPr>
              <p:nvPr/>
            </p:nvSpPr>
            <p:spPr bwMode="gray">
              <a:xfrm>
                <a:off x="2865024" y="7891297"/>
                <a:ext cx="249104" cy="470380"/>
              </a:xfrm>
              <a:custGeom>
                <a:avLst/>
                <a:gdLst>
                  <a:gd name="T0" fmla="*/ 302 w 367"/>
                  <a:gd name="T1" fmla="*/ 17 h 693"/>
                  <a:gd name="T2" fmla="*/ 317 w 367"/>
                  <a:gd name="T3" fmla="*/ 22 h 693"/>
                  <a:gd name="T4" fmla="*/ 326 w 367"/>
                  <a:gd name="T5" fmla="*/ 45 h 693"/>
                  <a:gd name="T6" fmla="*/ 340 w 367"/>
                  <a:gd name="T7" fmla="*/ 67 h 693"/>
                  <a:gd name="T8" fmla="*/ 355 w 367"/>
                  <a:gd name="T9" fmla="*/ 143 h 693"/>
                  <a:gd name="T10" fmla="*/ 355 w 367"/>
                  <a:gd name="T11" fmla="*/ 201 h 693"/>
                  <a:gd name="T12" fmla="*/ 329 w 367"/>
                  <a:gd name="T13" fmla="*/ 177 h 693"/>
                  <a:gd name="T14" fmla="*/ 336 w 367"/>
                  <a:gd name="T15" fmla="*/ 227 h 693"/>
                  <a:gd name="T16" fmla="*/ 316 w 367"/>
                  <a:gd name="T17" fmla="*/ 281 h 693"/>
                  <a:gd name="T18" fmla="*/ 273 w 367"/>
                  <a:gd name="T19" fmla="*/ 424 h 693"/>
                  <a:gd name="T20" fmla="*/ 253 w 367"/>
                  <a:gd name="T21" fmla="*/ 492 h 693"/>
                  <a:gd name="T22" fmla="*/ 222 w 367"/>
                  <a:gd name="T23" fmla="*/ 591 h 693"/>
                  <a:gd name="T24" fmla="*/ 197 w 367"/>
                  <a:gd name="T25" fmla="*/ 659 h 693"/>
                  <a:gd name="T26" fmla="*/ 176 w 367"/>
                  <a:gd name="T27" fmla="*/ 667 h 693"/>
                  <a:gd name="T28" fmla="*/ 61 w 367"/>
                  <a:gd name="T29" fmla="*/ 676 h 693"/>
                  <a:gd name="T30" fmla="*/ 35 w 367"/>
                  <a:gd name="T31" fmla="*/ 647 h 693"/>
                  <a:gd name="T32" fmla="*/ 27 w 367"/>
                  <a:gd name="T33" fmla="*/ 587 h 693"/>
                  <a:gd name="T34" fmla="*/ 0 w 367"/>
                  <a:gd name="T35" fmla="*/ 521 h 693"/>
                  <a:gd name="T36" fmla="*/ 12 w 367"/>
                  <a:gd name="T37" fmla="*/ 492 h 693"/>
                  <a:gd name="T38" fmla="*/ 40 w 367"/>
                  <a:gd name="T39" fmla="*/ 446 h 693"/>
                  <a:gd name="T40" fmla="*/ 64 w 367"/>
                  <a:gd name="T41" fmla="*/ 407 h 693"/>
                  <a:gd name="T42" fmla="*/ 63 w 367"/>
                  <a:gd name="T43" fmla="*/ 385 h 693"/>
                  <a:gd name="T44" fmla="*/ 51 w 367"/>
                  <a:gd name="T45" fmla="*/ 351 h 693"/>
                  <a:gd name="T46" fmla="*/ 35 w 367"/>
                  <a:gd name="T47" fmla="*/ 281 h 693"/>
                  <a:gd name="T48" fmla="*/ 59 w 367"/>
                  <a:gd name="T49" fmla="*/ 244 h 693"/>
                  <a:gd name="T50" fmla="*/ 78 w 367"/>
                  <a:gd name="T51" fmla="*/ 216 h 693"/>
                  <a:gd name="T52" fmla="*/ 103 w 367"/>
                  <a:gd name="T53" fmla="*/ 203 h 693"/>
                  <a:gd name="T54" fmla="*/ 119 w 367"/>
                  <a:gd name="T55" fmla="*/ 208 h 693"/>
                  <a:gd name="T56" fmla="*/ 129 w 367"/>
                  <a:gd name="T57" fmla="*/ 196 h 693"/>
                  <a:gd name="T58" fmla="*/ 153 w 367"/>
                  <a:gd name="T59" fmla="*/ 193 h 693"/>
                  <a:gd name="T60" fmla="*/ 161 w 367"/>
                  <a:gd name="T61" fmla="*/ 184 h 693"/>
                  <a:gd name="T62" fmla="*/ 193 w 367"/>
                  <a:gd name="T63" fmla="*/ 184 h 693"/>
                  <a:gd name="T64" fmla="*/ 193 w 367"/>
                  <a:gd name="T65" fmla="*/ 167 h 693"/>
                  <a:gd name="T66" fmla="*/ 216 w 367"/>
                  <a:gd name="T67" fmla="*/ 141 h 693"/>
                  <a:gd name="T68" fmla="*/ 229 w 367"/>
                  <a:gd name="T69" fmla="*/ 135 h 693"/>
                  <a:gd name="T70" fmla="*/ 227 w 367"/>
                  <a:gd name="T71" fmla="*/ 130 h 693"/>
                  <a:gd name="T72" fmla="*/ 241 w 367"/>
                  <a:gd name="T73" fmla="*/ 114 h 693"/>
                  <a:gd name="T74" fmla="*/ 241 w 367"/>
                  <a:gd name="T75" fmla="*/ 104 h 693"/>
                  <a:gd name="T76" fmla="*/ 241 w 367"/>
                  <a:gd name="T77" fmla="*/ 82 h 693"/>
                  <a:gd name="T78" fmla="*/ 255 w 367"/>
                  <a:gd name="T79" fmla="*/ 96 h 693"/>
                  <a:gd name="T80" fmla="*/ 265 w 367"/>
                  <a:gd name="T81" fmla="*/ 82 h 693"/>
                  <a:gd name="T82" fmla="*/ 284 w 367"/>
                  <a:gd name="T83" fmla="*/ 67 h 693"/>
                  <a:gd name="T84" fmla="*/ 289 w 367"/>
                  <a:gd name="T85" fmla="*/ 45 h 693"/>
                  <a:gd name="T86" fmla="*/ 294 w 367"/>
                  <a:gd name="T87" fmla="*/ 19 h 693"/>
                  <a:gd name="T88" fmla="*/ 302 w 367"/>
                  <a:gd name="T89" fmla="*/ 7 h 693"/>
                  <a:gd name="T90" fmla="*/ 258 w 367"/>
                  <a:gd name="T91" fmla="*/ 72 h 693"/>
                  <a:gd name="T92" fmla="*/ 333 w 367"/>
                  <a:gd name="T93" fmla="*/ 261 h 693"/>
                  <a:gd name="T94" fmla="*/ 171 w 367"/>
                  <a:gd name="T95" fmla="*/ 211 h 693"/>
                  <a:gd name="T96" fmla="*/ 273 w 367"/>
                  <a:gd name="T97" fmla="*/ 50 h 693"/>
                  <a:gd name="T98" fmla="*/ 260 w 367"/>
                  <a:gd name="T99" fmla="*/ 75 h 693"/>
                  <a:gd name="T100" fmla="*/ 161 w 367"/>
                  <a:gd name="T101" fmla="*/ 199 h 693"/>
                  <a:gd name="T102" fmla="*/ 200 w 367"/>
                  <a:gd name="T103" fmla="*/ 175 h 693"/>
                  <a:gd name="T104" fmla="*/ 323 w 367"/>
                  <a:gd name="T105" fmla="*/ 33 h 693"/>
                  <a:gd name="T106" fmla="*/ 193 w 367"/>
                  <a:gd name="T107" fmla="*/ 179 h 693"/>
                  <a:gd name="T108" fmla="*/ 159 w 367"/>
                  <a:gd name="T109" fmla="*/ 201 h 693"/>
                  <a:gd name="T110" fmla="*/ 326 w 367"/>
                  <a:gd name="T111" fmla="*/ 38 h 693"/>
                  <a:gd name="T112" fmla="*/ 229 w 367"/>
                  <a:gd name="T113" fmla="*/ 111 h 693"/>
                  <a:gd name="T114" fmla="*/ 333 w 367"/>
                  <a:gd name="T115" fmla="*/ 261 h 693"/>
                  <a:gd name="T116" fmla="*/ 144 w 367"/>
                  <a:gd name="T117" fmla="*/ 198 h 693"/>
                  <a:gd name="T118" fmla="*/ 231 w 367"/>
                  <a:gd name="T119" fmla="*/ 84 h 693"/>
                  <a:gd name="T120" fmla="*/ 334 w 367"/>
                  <a:gd name="T121" fmla="*/ 235 h 693"/>
                  <a:gd name="T122" fmla="*/ 168 w 367"/>
                  <a:gd name="T123" fmla="*/ 20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7" h="693">
                    <a:moveTo>
                      <a:pt x="306" y="0"/>
                    </a:moveTo>
                    <a:lnTo>
                      <a:pt x="307" y="2"/>
                    </a:lnTo>
                    <a:lnTo>
                      <a:pt x="307" y="4"/>
                    </a:lnTo>
                    <a:lnTo>
                      <a:pt x="309" y="5"/>
                    </a:lnTo>
                    <a:lnTo>
                      <a:pt x="307" y="5"/>
                    </a:lnTo>
                    <a:lnTo>
                      <a:pt x="309" y="5"/>
                    </a:lnTo>
                    <a:lnTo>
                      <a:pt x="311" y="9"/>
                    </a:lnTo>
                    <a:lnTo>
                      <a:pt x="309" y="9"/>
                    </a:lnTo>
                    <a:lnTo>
                      <a:pt x="311" y="14"/>
                    </a:lnTo>
                    <a:lnTo>
                      <a:pt x="307" y="10"/>
                    </a:lnTo>
                    <a:lnTo>
                      <a:pt x="307" y="12"/>
                    </a:lnTo>
                    <a:lnTo>
                      <a:pt x="307" y="14"/>
                    </a:lnTo>
                    <a:lnTo>
                      <a:pt x="307" y="12"/>
                    </a:lnTo>
                    <a:lnTo>
                      <a:pt x="306" y="12"/>
                    </a:lnTo>
                    <a:lnTo>
                      <a:pt x="304" y="10"/>
                    </a:lnTo>
                    <a:lnTo>
                      <a:pt x="304" y="12"/>
                    </a:lnTo>
                    <a:lnTo>
                      <a:pt x="304" y="14"/>
                    </a:lnTo>
                    <a:lnTo>
                      <a:pt x="306" y="16"/>
                    </a:lnTo>
                    <a:lnTo>
                      <a:pt x="306" y="17"/>
                    </a:lnTo>
                    <a:lnTo>
                      <a:pt x="302" y="16"/>
                    </a:lnTo>
                    <a:lnTo>
                      <a:pt x="302" y="17"/>
                    </a:lnTo>
                    <a:lnTo>
                      <a:pt x="304" y="19"/>
                    </a:lnTo>
                    <a:lnTo>
                      <a:pt x="304" y="17"/>
                    </a:lnTo>
                    <a:lnTo>
                      <a:pt x="306" y="17"/>
                    </a:lnTo>
                    <a:lnTo>
                      <a:pt x="307" y="16"/>
                    </a:lnTo>
                    <a:lnTo>
                      <a:pt x="307" y="17"/>
                    </a:lnTo>
                    <a:lnTo>
                      <a:pt x="307" y="19"/>
                    </a:lnTo>
                    <a:lnTo>
                      <a:pt x="309" y="19"/>
                    </a:lnTo>
                    <a:lnTo>
                      <a:pt x="311" y="17"/>
                    </a:lnTo>
                    <a:lnTo>
                      <a:pt x="309" y="16"/>
                    </a:lnTo>
                    <a:lnTo>
                      <a:pt x="311" y="14"/>
                    </a:lnTo>
                    <a:lnTo>
                      <a:pt x="312" y="16"/>
                    </a:lnTo>
                    <a:lnTo>
                      <a:pt x="312" y="17"/>
                    </a:lnTo>
                    <a:lnTo>
                      <a:pt x="312" y="21"/>
                    </a:lnTo>
                    <a:lnTo>
                      <a:pt x="314" y="19"/>
                    </a:lnTo>
                    <a:lnTo>
                      <a:pt x="314" y="21"/>
                    </a:lnTo>
                    <a:lnTo>
                      <a:pt x="314" y="22"/>
                    </a:lnTo>
                    <a:lnTo>
                      <a:pt x="316" y="21"/>
                    </a:lnTo>
                    <a:lnTo>
                      <a:pt x="317" y="21"/>
                    </a:lnTo>
                    <a:lnTo>
                      <a:pt x="319" y="22"/>
                    </a:lnTo>
                    <a:lnTo>
                      <a:pt x="319" y="24"/>
                    </a:lnTo>
                    <a:lnTo>
                      <a:pt x="317" y="22"/>
                    </a:lnTo>
                    <a:lnTo>
                      <a:pt x="316" y="24"/>
                    </a:lnTo>
                    <a:lnTo>
                      <a:pt x="317" y="24"/>
                    </a:lnTo>
                    <a:lnTo>
                      <a:pt x="317" y="26"/>
                    </a:lnTo>
                    <a:lnTo>
                      <a:pt x="319" y="26"/>
                    </a:lnTo>
                    <a:lnTo>
                      <a:pt x="321" y="26"/>
                    </a:lnTo>
                    <a:lnTo>
                      <a:pt x="319" y="26"/>
                    </a:lnTo>
                    <a:lnTo>
                      <a:pt x="321" y="24"/>
                    </a:lnTo>
                    <a:lnTo>
                      <a:pt x="323" y="29"/>
                    </a:lnTo>
                    <a:lnTo>
                      <a:pt x="323" y="31"/>
                    </a:lnTo>
                    <a:lnTo>
                      <a:pt x="321" y="31"/>
                    </a:lnTo>
                    <a:lnTo>
                      <a:pt x="321" y="28"/>
                    </a:lnTo>
                    <a:lnTo>
                      <a:pt x="319" y="28"/>
                    </a:lnTo>
                    <a:lnTo>
                      <a:pt x="321" y="33"/>
                    </a:lnTo>
                    <a:lnTo>
                      <a:pt x="319" y="36"/>
                    </a:lnTo>
                    <a:lnTo>
                      <a:pt x="321" y="36"/>
                    </a:lnTo>
                    <a:lnTo>
                      <a:pt x="323" y="36"/>
                    </a:lnTo>
                    <a:lnTo>
                      <a:pt x="324" y="38"/>
                    </a:lnTo>
                    <a:lnTo>
                      <a:pt x="326" y="43"/>
                    </a:lnTo>
                    <a:lnTo>
                      <a:pt x="324" y="45"/>
                    </a:lnTo>
                    <a:lnTo>
                      <a:pt x="326" y="43"/>
                    </a:lnTo>
                    <a:lnTo>
                      <a:pt x="326" y="45"/>
                    </a:lnTo>
                    <a:lnTo>
                      <a:pt x="326" y="43"/>
                    </a:lnTo>
                    <a:lnTo>
                      <a:pt x="328" y="43"/>
                    </a:lnTo>
                    <a:lnTo>
                      <a:pt x="328" y="39"/>
                    </a:lnTo>
                    <a:lnTo>
                      <a:pt x="329" y="41"/>
                    </a:lnTo>
                    <a:lnTo>
                      <a:pt x="328" y="41"/>
                    </a:lnTo>
                    <a:lnTo>
                      <a:pt x="329" y="43"/>
                    </a:lnTo>
                    <a:lnTo>
                      <a:pt x="329" y="41"/>
                    </a:lnTo>
                    <a:lnTo>
                      <a:pt x="331" y="43"/>
                    </a:lnTo>
                    <a:lnTo>
                      <a:pt x="333" y="45"/>
                    </a:lnTo>
                    <a:lnTo>
                      <a:pt x="331" y="45"/>
                    </a:lnTo>
                    <a:lnTo>
                      <a:pt x="333" y="48"/>
                    </a:lnTo>
                    <a:lnTo>
                      <a:pt x="334" y="48"/>
                    </a:lnTo>
                    <a:lnTo>
                      <a:pt x="336" y="48"/>
                    </a:lnTo>
                    <a:lnTo>
                      <a:pt x="334" y="50"/>
                    </a:lnTo>
                    <a:lnTo>
                      <a:pt x="336" y="51"/>
                    </a:lnTo>
                    <a:lnTo>
                      <a:pt x="336" y="50"/>
                    </a:lnTo>
                    <a:lnTo>
                      <a:pt x="338" y="53"/>
                    </a:lnTo>
                    <a:lnTo>
                      <a:pt x="340" y="56"/>
                    </a:lnTo>
                    <a:lnTo>
                      <a:pt x="338" y="63"/>
                    </a:lnTo>
                    <a:lnTo>
                      <a:pt x="340" y="63"/>
                    </a:lnTo>
                    <a:lnTo>
                      <a:pt x="340" y="67"/>
                    </a:lnTo>
                    <a:lnTo>
                      <a:pt x="341" y="68"/>
                    </a:lnTo>
                    <a:lnTo>
                      <a:pt x="341" y="70"/>
                    </a:lnTo>
                    <a:lnTo>
                      <a:pt x="341" y="72"/>
                    </a:lnTo>
                    <a:lnTo>
                      <a:pt x="343" y="72"/>
                    </a:lnTo>
                    <a:lnTo>
                      <a:pt x="345" y="73"/>
                    </a:lnTo>
                    <a:lnTo>
                      <a:pt x="343" y="75"/>
                    </a:lnTo>
                    <a:lnTo>
                      <a:pt x="345" y="80"/>
                    </a:lnTo>
                    <a:lnTo>
                      <a:pt x="346" y="82"/>
                    </a:lnTo>
                    <a:lnTo>
                      <a:pt x="346" y="84"/>
                    </a:lnTo>
                    <a:lnTo>
                      <a:pt x="346" y="85"/>
                    </a:lnTo>
                    <a:lnTo>
                      <a:pt x="346" y="87"/>
                    </a:lnTo>
                    <a:lnTo>
                      <a:pt x="350" y="94"/>
                    </a:lnTo>
                    <a:lnTo>
                      <a:pt x="350" y="104"/>
                    </a:lnTo>
                    <a:lnTo>
                      <a:pt x="351" y="107"/>
                    </a:lnTo>
                    <a:lnTo>
                      <a:pt x="350" y="116"/>
                    </a:lnTo>
                    <a:lnTo>
                      <a:pt x="351" y="118"/>
                    </a:lnTo>
                    <a:lnTo>
                      <a:pt x="353" y="119"/>
                    </a:lnTo>
                    <a:lnTo>
                      <a:pt x="351" y="126"/>
                    </a:lnTo>
                    <a:lnTo>
                      <a:pt x="351" y="133"/>
                    </a:lnTo>
                    <a:lnTo>
                      <a:pt x="353" y="138"/>
                    </a:lnTo>
                    <a:lnTo>
                      <a:pt x="355" y="143"/>
                    </a:lnTo>
                    <a:lnTo>
                      <a:pt x="355" y="145"/>
                    </a:lnTo>
                    <a:lnTo>
                      <a:pt x="358" y="152"/>
                    </a:lnTo>
                    <a:lnTo>
                      <a:pt x="360" y="157"/>
                    </a:lnTo>
                    <a:lnTo>
                      <a:pt x="365" y="162"/>
                    </a:lnTo>
                    <a:lnTo>
                      <a:pt x="365" y="164"/>
                    </a:lnTo>
                    <a:lnTo>
                      <a:pt x="367" y="165"/>
                    </a:lnTo>
                    <a:lnTo>
                      <a:pt x="367" y="167"/>
                    </a:lnTo>
                    <a:lnTo>
                      <a:pt x="367" y="169"/>
                    </a:lnTo>
                    <a:lnTo>
                      <a:pt x="367" y="172"/>
                    </a:lnTo>
                    <a:lnTo>
                      <a:pt x="367" y="174"/>
                    </a:lnTo>
                    <a:lnTo>
                      <a:pt x="367" y="175"/>
                    </a:lnTo>
                    <a:lnTo>
                      <a:pt x="365" y="177"/>
                    </a:lnTo>
                    <a:lnTo>
                      <a:pt x="367" y="177"/>
                    </a:lnTo>
                    <a:lnTo>
                      <a:pt x="365" y="179"/>
                    </a:lnTo>
                    <a:lnTo>
                      <a:pt x="363" y="184"/>
                    </a:lnTo>
                    <a:lnTo>
                      <a:pt x="360" y="189"/>
                    </a:lnTo>
                    <a:lnTo>
                      <a:pt x="358" y="196"/>
                    </a:lnTo>
                    <a:lnTo>
                      <a:pt x="360" y="196"/>
                    </a:lnTo>
                    <a:lnTo>
                      <a:pt x="358" y="196"/>
                    </a:lnTo>
                    <a:lnTo>
                      <a:pt x="358" y="199"/>
                    </a:lnTo>
                    <a:lnTo>
                      <a:pt x="355" y="201"/>
                    </a:lnTo>
                    <a:lnTo>
                      <a:pt x="353" y="203"/>
                    </a:lnTo>
                    <a:lnTo>
                      <a:pt x="355" y="203"/>
                    </a:lnTo>
                    <a:lnTo>
                      <a:pt x="355" y="204"/>
                    </a:lnTo>
                    <a:lnTo>
                      <a:pt x="351" y="204"/>
                    </a:lnTo>
                    <a:lnTo>
                      <a:pt x="350" y="203"/>
                    </a:lnTo>
                    <a:lnTo>
                      <a:pt x="346" y="201"/>
                    </a:lnTo>
                    <a:lnTo>
                      <a:pt x="343" y="199"/>
                    </a:lnTo>
                    <a:lnTo>
                      <a:pt x="343" y="194"/>
                    </a:lnTo>
                    <a:lnTo>
                      <a:pt x="341" y="193"/>
                    </a:lnTo>
                    <a:lnTo>
                      <a:pt x="341" y="187"/>
                    </a:lnTo>
                    <a:lnTo>
                      <a:pt x="341" y="186"/>
                    </a:lnTo>
                    <a:lnTo>
                      <a:pt x="340" y="186"/>
                    </a:lnTo>
                    <a:lnTo>
                      <a:pt x="338" y="182"/>
                    </a:lnTo>
                    <a:lnTo>
                      <a:pt x="338" y="181"/>
                    </a:lnTo>
                    <a:lnTo>
                      <a:pt x="338" y="179"/>
                    </a:lnTo>
                    <a:lnTo>
                      <a:pt x="338" y="177"/>
                    </a:lnTo>
                    <a:lnTo>
                      <a:pt x="336" y="175"/>
                    </a:lnTo>
                    <a:lnTo>
                      <a:pt x="334" y="177"/>
                    </a:lnTo>
                    <a:lnTo>
                      <a:pt x="333" y="177"/>
                    </a:lnTo>
                    <a:lnTo>
                      <a:pt x="331" y="177"/>
                    </a:lnTo>
                    <a:lnTo>
                      <a:pt x="329" y="177"/>
                    </a:lnTo>
                    <a:lnTo>
                      <a:pt x="328" y="177"/>
                    </a:lnTo>
                    <a:lnTo>
                      <a:pt x="323" y="182"/>
                    </a:lnTo>
                    <a:lnTo>
                      <a:pt x="324" y="186"/>
                    </a:lnTo>
                    <a:lnTo>
                      <a:pt x="324" y="187"/>
                    </a:lnTo>
                    <a:lnTo>
                      <a:pt x="324" y="189"/>
                    </a:lnTo>
                    <a:lnTo>
                      <a:pt x="326" y="191"/>
                    </a:lnTo>
                    <a:lnTo>
                      <a:pt x="328" y="198"/>
                    </a:lnTo>
                    <a:lnTo>
                      <a:pt x="328" y="199"/>
                    </a:lnTo>
                    <a:lnTo>
                      <a:pt x="329" y="201"/>
                    </a:lnTo>
                    <a:lnTo>
                      <a:pt x="326" y="204"/>
                    </a:lnTo>
                    <a:lnTo>
                      <a:pt x="326" y="208"/>
                    </a:lnTo>
                    <a:lnTo>
                      <a:pt x="329" y="213"/>
                    </a:lnTo>
                    <a:lnTo>
                      <a:pt x="334" y="215"/>
                    </a:lnTo>
                    <a:lnTo>
                      <a:pt x="336" y="216"/>
                    </a:lnTo>
                    <a:lnTo>
                      <a:pt x="336" y="215"/>
                    </a:lnTo>
                    <a:lnTo>
                      <a:pt x="336" y="218"/>
                    </a:lnTo>
                    <a:lnTo>
                      <a:pt x="334" y="218"/>
                    </a:lnTo>
                    <a:lnTo>
                      <a:pt x="333" y="223"/>
                    </a:lnTo>
                    <a:lnTo>
                      <a:pt x="334" y="225"/>
                    </a:lnTo>
                    <a:lnTo>
                      <a:pt x="334" y="227"/>
                    </a:lnTo>
                    <a:lnTo>
                      <a:pt x="336" y="227"/>
                    </a:lnTo>
                    <a:lnTo>
                      <a:pt x="336" y="228"/>
                    </a:lnTo>
                    <a:lnTo>
                      <a:pt x="334" y="232"/>
                    </a:lnTo>
                    <a:lnTo>
                      <a:pt x="334" y="233"/>
                    </a:lnTo>
                    <a:lnTo>
                      <a:pt x="333" y="235"/>
                    </a:lnTo>
                    <a:lnTo>
                      <a:pt x="333" y="237"/>
                    </a:lnTo>
                    <a:lnTo>
                      <a:pt x="331" y="240"/>
                    </a:lnTo>
                    <a:lnTo>
                      <a:pt x="329" y="242"/>
                    </a:lnTo>
                    <a:lnTo>
                      <a:pt x="331" y="240"/>
                    </a:lnTo>
                    <a:lnTo>
                      <a:pt x="329" y="240"/>
                    </a:lnTo>
                    <a:lnTo>
                      <a:pt x="329" y="242"/>
                    </a:lnTo>
                    <a:lnTo>
                      <a:pt x="329" y="244"/>
                    </a:lnTo>
                    <a:lnTo>
                      <a:pt x="331" y="247"/>
                    </a:lnTo>
                    <a:lnTo>
                      <a:pt x="333" y="247"/>
                    </a:lnTo>
                    <a:lnTo>
                      <a:pt x="334" y="249"/>
                    </a:lnTo>
                    <a:lnTo>
                      <a:pt x="326" y="250"/>
                    </a:lnTo>
                    <a:lnTo>
                      <a:pt x="323" y="252"/>
                    </a:lnTo>
                    <a:lnTo>
                      <a:pt x="314" y="272"/>
                    </a:lnTo>
                    <a:lnTo>
                      <a:pt x="312" y="274"/>
                    </a:lnTo>
                    <a:lnTo>
                      <a:pt x="316" y="278"/>
                    </a:lnTo>
                    <a:lnTo>
                      <a:pt x="314" y="279"/>
                    </a:lnTo>
                    <a:lnTo>
                      <a:pt x="316" y="281"/>
                    </a:lnTo>
                    <a:lnTo>
                      <a:pt x="316" y="283"/>
                    </a:lnTo>
                    <a:lnTo>
                      <a:pt x="316" y="286"/>
                    </a:lnTo>
                    <a:lnTo>
                      <a:pt x="317" y="289"/>
                    </a:lnTo>
                    <a:lnTo>
                      <a:pt x="319" y="289"/>
                    </a:lnTo>
                    <a:lnTo>
                      <a:pt x="319" y="291"/>
                    </a:lnTo>
                    <a:lnTo>
                      <a:pt x="312" y="308"/>
                    </a:lnTo>
                    <a:lnTo>
                      <a:pt x="312" y="310"/>
                    </a:lnTo>
                    <a:lnTo>
                      <a:pt x="314" y="315"/>
                    </a:lnTo>
                    <a:lnTo>
                      <a:pt x="312" y="315"/>
                    </a:lnTo>
                    <a:lnTo>
                      <a:pt x="311" y="317"/>
                    </a:lnTo>
                    <a:lnTo>
                      <a:pt x="309" y="327"/>
                    </a:lnTo>
                    <a:lnTo>
                      <a:pt x="304" y="339"/>
                    </a:lnTo>
                    <a:lnTo>
                      <a:pt x="297" y="356"/>
                    </a:lnTo>
                    <a:lnTo>
                      <a:pt x="292" y="368"/>
                    </a:lnTo>
                    <a:lnTo>
                      <a:pt x="292" y="375"/>
                    </a:lnTo>
                    <a:lnTo>
                      <a:pt x="285" y="390"/>
                    </a:lnTo>
                    <a:lnTo>
                      <a:pt x="284" y="400"/>
                    </a:lnTo>
                    <a:lnTo>
                      <a:pt x="284" y="403"/>
                    </a:lnTo>
                    <a:lnTo>
                      <a:pt x="282" y="405"/>
                    </a:lnTo>
                    <a:lnTo>
                      <a:pt x="284" y="403"/>
                    </a:lnTo>
                    <a:lnTo>
                      <a:pt x="273" y="424"/>
                    </a:lnTo>
                    <a:lnTo>
                      <a:pt x="272" y="429"/>
                    </a:lnTo>
                    <a:lnTo>
                      <a:pt x="267" y="443"/>
                    </a:lnTo>
                    <a:lnTo>
                      <a:pt x="267" y="449"/>
                    </a:lnTo>
                    <a:lnTo>
                      <a:pt x="265" y="451"/>
                    </a:lnTo>
                    <a:lnTo>
                      <a:pt x="265" y="458"/>
                    </a:lnTo>
                    <a:lnTo>
                      <a:pt x="263" y="456"/>
                    </a:lnTo>
                    <a:lnTo>
                      <a:pt x="263" y="458"/>
                    </a:lnTo>
                    <a:lnTo>
                      <a:pt x="263" y="460"/>
                    </a:lnTo>
                    <a:lnTo>
                      <a:pt x="265" y="458"/>
                    </a:lnTo>
                    <a:lnTo>
                      <a:pt x="263" y="458"/>
                    </a:lnTo>
                    <a:lnTo>
                      <a:pt x="260" y="471"/>
                    </a:lnTo>
                    <a:lnTo>
                      <a:pt x="258" y="471"/>
                    </a:lnTo>
                    <a:lnTo>
                      <a:pt x="260" y="473"/>
                    </a:lnTo>
                    <a:lnTo>
                      <a:pt x="258" y="475"/>
                    </a:lnTo>
                    <a:lnTo>
                      <a:pt x="256" y="482"/>
                    </a:lnTo>
                    <a:lnTo>
                      <a:pt x="253" y="492"/>
                    </a:lnTo>
                    <a:lnTo>
                      <a:pt x="255" y="487"/>
                    </a:lnTo>
                    <a:lnTo>
                      <a:pt x="253" y="487"/>
                    </a:lnTo>
                    <a:lnTo>
                      <a:pt x="253" y="488"/>
                    </a:lnTo>
                    <a:lnTo>
                      <a:pt x="255" y="488"/>
                    </a:lnTo>
                    <a:lnTo>
                      <a:pt x="253" y="492"/>
                    </a:lnTo>
                    <a:lnTo>
                      <a:pt x="251" y="495"/>
                    </a:lnTo>
                    <a:lnTo>
                      <a:pt x="246" y="509"/>
                    </a:lnTo>
                    <a:lnTo>
                      <a:pt x="239" y="526"/>
                    </a:lnTo>
                    <a:lnTo>
                      <a:pt x="236" y="534"/>
                    </a:lnTo>
                    <a:lnTo>
                      <a:pt x="234" y="548"/>
                    </a:lnTo>
                    <a:lnTo>
                      <a:pt x="233" y="558"/>
                    </a:lnTo>
                    <a:lnTo>
                      <a:pt x="229" y="567"/>
                    </a:lnTo>
                    <a:lnTo>
                      <a:pt x="227" y="574"/>
                    </a:lnTo>
                    <a:lnTo>
                      <a:pt x="226" y="577"/>
                    </a:lnTo>
                    <a:lnTo>
                      <a:pt x="226" y="579"/>
                    </a:lnTo>
                    <a:lnTo>
                      <a:pt x="226" y="577"/>
                    </a:lnTo>
                    <a:lnTo>
                      <a:pt x="224" y="584"/>
                    </a:lnTo>
                    <a:lnTo>
                      <a:pt x="222" y="591"/>
                    </a:lnTo>
                    <a:lnTo>
                      <a:pt x="222" y="589"/>
                    </a:lnTo>
                    <a:lnTo>
                      <a:pt x="221" y="589"/>
                    </a:lnTo>
                    <a:lnTo>
                      <a:pt x="221" y="587"/>
                    </a:lnTo>
                    <a:lnTo>
                      <a:pt x="221" y="589"/>
                    </a:lnTo>
                    <a:lnTo>
                      <a:pt x="221" y="591"/>
                    </a:lnTo>
                    <a:lnTo>
                      <a:pt x="219" y="591"/>
                    </a:lnTo>
                    <a:lnTo>
                      <a:pt x="221" y="591"/>
                    </a:lnTo>
                    <a:lnTo>
                      <a:pt x="222" y="591"/>
                    </a:lnTo>
                    <a:lnTo>
                      <a:pt x="221" y="601"/>
                    </a:lnTo>
                    <a:lnTo>
                      <a:pt x="219" y="601"/>
                    </a:lnTo>
                    <a:lnTo>
                      <a:pt x="221" y="601"/>
                    </a:lnTo>
                    <a:lnTo>
                      <a:pt x="221" y="602"/>
                    </a:lnTo>
                    <a:lnTo>
                      <a:pt x="216" y="613"/>
                    </a:lnTo>
                    <a:lnTo>
                      <a:pt x="214" y="613"/>
                    </a:lnTo>
                    <a:lnTo>
                      <a:pt x="214" y="614"/>
                    </a:lnTo>
                    <a:lnTo>
                      <a:pt x="209" y="626"/>
                    </a:lnTo>
                    <a:lnTo>
                      <a:pt x="205" y="638"/>
                    </a:lnTo>
                    <a:lnTo>
                      <a:pt x="200" y="647"/>
                    </a:lnTo>
                    <a:lnTo>
                      <a:pt x="200" y="650"/>
                    </a:lnTo>
                    <a:lnTo>
                      <a:pt x="199" y="650"/>
                    </a:lnTo>
                    <a:lnTo>
                      <a:pt x="200" y="650"/>
                    </a:lnTo>
                    <a:lnTo>
                      <a:pt x="199" y="652"/>
                    </a:lnTo>
                    <a:lnTo>
                      <a:pt x="197" y="654"/>
                    </a:lnTo>
                    <a:lnTo>
                      <a:pt x="197" y="655"/>
                    </a:lnTo>
                    <a:lnTo>
                      <a:pt x="199" y="657"/>
                    </a:lnTo>
                    <a:lnTo>
                      <a:pt x="197" y="659"/>
                    </a:lnTo>
                    <a:lnTo>
                      <a:pt x="197" y="657"/>
                    </a:lnTo>
                    <a:lnTo>
                      <a:pt x="195" y="657"/>
                    </a:lnTo>
                    <a:lnTo>
                      <a:pt x="197" y="659"/>
                    </a:lnTo>
                    <a:lnTo>
                      <a:pt x="195" y="660"/>
                    </a:lnTo>
                    <a:lnTo>
                      <a:pt x="193" y="659"/>
                    </a:lnTo>
                    <a:lnTo>
                      <a:pt x="193" y="660"/>
                    </a:lnTo>
                    <a:lnTo>
                      <a:pt x="195" y="660"/>
                    </a:lnTo>
                    <a:lnTo>
                      <a:pt x="192" y="660"/>
                    </a:lnTo>
                    <a:lnTo>
                      <a:pt x="190" y="662"/>
                    </a:lnTo>
                    <a:lnTo>
                      <a:pt x="190" y="664"/>
                    </a:lnTo>
                    <a:lnTo>
                      <a:pt x="188" y="665"/>
                    </a:lnTo>
                    <a:lnTo>
                      <a:pt x="188" y="664"/>
                    </a:lnTo>
                    <a:lnTo>
                      <a:pt x="187" y="664"/>
                    </a:lnTo>
                    <a:lnTo>
                      <a:pt x="187" y="662"/>
                    </a:lnTo>
                    <a:lnTo>
                      <a:pt x="187" y="664"/>
                    </a:lnTo>
                    <a:lnTo>
                      <a:pt x="185" y="664"/>
                    </a:lnTo>
                    <a:lnTo>
                      <a:pt x="187" y="664"/>
                    </a:lnTo>
                    <a:lnTo>
                      <a:pt x="185" y="664"/>
                    </a:lnTo>
                    <a:lnTo>
                      <a:pt x="187" y="665"/>
                    </a:lnTo>
                    <a:lnTo>
                      <a:pt x="183" y="665"/>
                    </a:lnTo>
                    <a:lnTo>
                      <a:pt x="182" y="667"/>
                    </a:lnTo>
                    <a:lnTo>
                      <a:pt x="180" y="669"/>
                    </a:lnTo>
                    <a:lnTo>
                      <a:pt x="176" y="669"/>
                    </a:lnTo>
                    <a:lnTo>
                      <a:pt x="176" y="667"/>
                    </a:lnTo>
                    <a:lnTo>
                      <a:pt x="176" y="669"/>
                    </a:lnTo>
                    <a:lnTo>
                      <a:pt x="178" y="669"/>
                    </a:lnTo>
                    <a:lnTo>
                      <a:pt x="176" y="671"/>
                    </a:lnTo>
                    <a:lnTo>
                      <a:pt x="173" y="672"/>
                    </a:lnTo>
                    <a:lnTo>
                      <a:pt x="171" y="671"/>
                    </a:lnTo>
                    <a:lnTo>
                      <a:pt x="165" y="671"/>
                    </a:lnTo>
                    <a:lnTo>
                      <a:pt x="158" y="671"/>
                    </a:lnTo>
                    <a:lnTo>
                      <a:pt x="151" y="672"/>
                    </a:lnTo>
                    <a:lnTo>
                      <a:pt x="134" y="679"/>
                    </a:lnTo>
                    <a:lnTo>
                      <a:pt x="125" y="684"/>
                    </a:lnTo>
                    <a:lnTo>
                      <a:pt x="122" y="688"/>
                    </a:lnTo>
                    <a:lnTo>
                      <a:pt x="117" y="691"/>
                    </a:lnTo>
                    <a:lnTo>
                      <a:pt x="105" y="691"/>
                    </a:lnTo>
                    <a:lnTo>
                      <a:pt x="98" y="693"/>
                    </a:lnTo>
                    <a:lnTo>
                      <a:pt x="97" y="691"/>
                    </a:lnTo>
                    <a:lnTo>
                      <a:pt x="95" y="689"/>
                    </a:lnTo>
                    <a:lnTo>
                      <a:pt x="88" y="686"/>
                    </a:lnTo>
                    <a:lnTo>
                      <a:pt x="86" y="682"/>
                    </a:lnTo>
                    <a:lnTo>
                      <a:pt x="80" y="679"/>
                    </a:lnTo>
                    <a:lnTo>
                      <a:pt x="71" y="677"/>
                    </a:lnTo>
                    <a:lnTo>
                      <a:pt x="61" y="676"/>
                    </a:lnTo>
                    <a:lnTo>
                      <a:pt x="56" y="676"/>
                    </a:lnTo>
                    <a:lnTo>
                      <a:pt x="57" y="674"/>
                    </a:lnTo>
                    <a:lnTo>
                      <a:pt x="57" y="672"/>
                    </a:lnTo>
                    <a:lnTo>
                      <a:pt x="54" y="669"/>
                    </a:lnTo>
                    <a:lnTo>
                      <a:pt x="57" y="672"/>
                    </a:lnTo>
                    <a:lnTo>
                      <a:pt x="57" y="674"/>
                    </a:lnTo>
                    <a:lnTo>
                      <a:pt x="61" y="674"/>
                    </a:lnTo>
                    <a:lnTo>
                      <a:pt x="61" y="672"/>
                    </a:lnTo>
                    <a:lnTo>
                      <a:pt x="59" y="672"/>
                    </a:lnTo>
                    <a:lnTo>
                      <a:pt x="56" y="671"/>
                    </a:lnTo>
                    <a:lnTo>
                      <a:pt x="49" y="665"/>
                    </a:lnTo>
                    <a:lnTo>
                      <a:pt x="47" y="665"/>
                    </a:lnTo>
                    <a:lnTo>
                      <a:pt x="44" y="665"/>
                    </a:lnTo>
                    <a:lnTo>
                      <a:pt x="42" y="664"/>
                    </a:lnTo>
                    <a:lnTo>
                      <a:pt x="42" y="662"/>
                    </a:lnTo>
                    <a:lnTo>
                      <a:pt x="40" y="662"/>
                    </a:lnTo>
                    <a:lnTo>
                      <a:pt x="40" y="660"/>
                    </a:lnTo>
                    <a:lnTo>
                      <a:pt x="40" y="655"/>
                    </a:lnTo>
                    <a:lnTo>
                      <a:pt x="37" y="652"/>
                    </a:lnTo>
                    <a:lnTo>
                      <a:pt x="35" y="648"/>
                    </a:lnTo>
                    <a:lnTo>
                      <a:pt x="35" y="647"/>
                    </a:lnTo>
                    <a:lnTo>
                      <a:pt x="35" y="645"/>
                    </a:lnTo>
                    <a:lnTo>
                      <a:pt x="35" y="643"/>
                    </a:lnTo>
                    <a:lnTo>
                      <a:pt x="30" y="636"/>
                    </a:lnTo>
                    <a:lnTo>
                      <a:pt x="25" y="631"/>
                    </a:lnTo>
                    <a:lnTo>
                      <a:pt x="23" y="630"/>
                    </a:lnTo>
                    <a:lnTo>
                      <a:pt x="22" y="626"/>
                    </a:lnTo>
                    <a:lnTo>
                      <a:pt x="23" y="613"/>
                    </a:lnTo>
                    <a:lnTo>
                      <a:pt x="22" y="606"/>
                    </a:lnTo>
                    <a:lnTo>
                      <a:pt x="22" y="602"/>
                    </a:lnTo>
                    <a:lnTo>
                      <a:pt x="22" y="601"/>
                    </a:lnTo>
                    <a:lnTo>
                      <a:pt x="20" y="597"/>
                    </a:lnTo>
                    <a:lnTo>
                      <a:pt x="22" y="597"/>
                    </a:lnTo>
                    <a:lnTo>
                      <a:pt x="20" y="597"/>
                    </a:lnTo>
                    <a:lnTo>
                      <a:pt x="22" y="594"/>
                    </a:lnTo>
                    <a:lnTo>
                      <a:pt x="20" y="594"/>
                    </a:lnTo>
                    <a:lnTo>
                      <a:pt x="22" y="591"/>
                    </a:lnTo>
                    <a:lnTo>
                      <a:pt x="27" y="589"/>
                    </a:lnTo>
                    <a:lnTo>
                      <a:pt x="27" y="587"/>
                    </a:lnTo>
                    <a:lnTo>
                      <a:pt x="25" y="589"/>
                    </a:lnTo>
                    <a:lnTo>
                      <a:pt x="25" y="587"/>
                    </a:lnTo>
                    <a:lnTo>
                      <a:pt x="27" y="587"/>
                    </a:lnTo>
                    <a:lnTo>
                      <a:pt x="27" y="585"/>
                    </a:lnTo>
                    <a:lnTo>
                      <a:pt x="27" y="584"/>
                    </a:lnTo>
                    <a:lnTo>
                      <a:pt x="22" y="579"/>
                    </a:lnTo>
                    <a:lnTo>
                      <a:pt x="20" y="579"/>
                    </a:lnTo>
                    <a:lnTo>
                      <a:pt x="20" y="577"/>
                    </a:lnTo>
                    <a:lnTo>
                      <a:pt x="20" y="570"/>
                    </a:lnTo>
                    <a:lnTo>
                      <a:pt x="20" y="565"/>
                    </a:lnTo>
                    <a:lnTo>
                      <a:pt x="18" y="563"/>
                    </a:lnTo>
                    <a:lnTo>
                      <a:pt x="15" y="560"/>
                    </a:lnTo>
                    <a:lnTo>
                      <a:pt x="13" y="560"/>
                    </a:lnTo>
                    <a:lnTo>
                      <a:pt x="13" y="558"/>
                    </a:lnTo>
                    <a:lnTo>
                      <a:pt x="6" y="551"/>
                    </a:lnTo>
                    <a:lnTo>
                      <a:pt x="5" y="545"/>
                    </a:lnTo>
                    <a:lnTo>
                      <a:pt x="3" y="540"/>
                    </a:lnTo>
                    <a:lnTo>
                      <a:pt x="3" y="534"/>
                    </a:lnTo>
                    <a:lnTo>
                      <a:pt x="3" y="533"/>
                    </a:lnTo>
                    <a:lnTo>
                      <a:pt x="1" y="528"/>
                    </a:lnTo>
                    <a:lnTo>
                      <a:pt x="0" y="526"/>
                    </a:lnTo>
                    <a:lnTo>
                      <a:pt x="0" y="524"/>
                    </a:lnTo>
                    <a:lnTo>
                      <a:pt x="0" y="523"/>
                    </a:lnTo>
                    <a:lnTo>
                      <a:pt x="0" y="521"/>
                    </a:lnTo>
                    <a:lnTo>
                      <a:pt x="3" y="521"/>
                    </a:lnTo>
                    <a:lnTo>
                      <a:pt x="3" y="523"/>
                    </a:lnTo>
                    <a:lnTo>
                      <a:pt x="5" y="521"/>
                    </a:lnTo>
                    <a:lnTo>
                      <a:pt x="3" y="517"/>
                    </a:lnTo>
                    <a:lnTo>
                      <a:pt x="1" y="519"/>
                    </a:lnTo>
                    <a:lnTo>
                      <a:pt x="1" y="517"/>
                    </a:lnTo>
                    <a:lnTo>
                      <a:pt x="0" y="517"/>
                    </a:lnTo>
                    <a:lnTo>
                      <a:pt x="1" y="514"/>
                    </a:lnTo>
                    <a:lnTo>
                      <a:pt x="0" y="514"/>
                    </a:lnTo>
                    <a:lnTo>
                      <a:pt x="1" y="509"/>
                    </a:lnTo>
                    <a:lnTo>
                      <a:pt x="1" y="507"/>
                    </a:lnTo>
                    <a:lnTo>
                      <a:pt x="3" y="507"/>
                    </a:lnTo>
                    <a:lnTo>
                      <a:pt x="3" y="504"/>
                    </a:lnTo>
                    <a:lnTo>
                      <a:pt x="3" y="502"/>
                    </a:lnTo>
                    <a:lnTo>
                      <a:pt x="5" y="506"/>
                    </a:lnTo>
                    <a:lnTo>
                      <a:pt x="6" y="504"/>
                    </a:lnTo>
                    <a:lnTo>
                      <a:pt x="5" y="502"/>
                    </a:lnTo>
                    <a:lnTo>
                      <a:pt x="6" y="497"/>
                    </a:lnTo>
                    <a:lnTo>
                      <a:pt x="8" y="495"/>
                    </a:lnTo>
                    <a:lnTo>
                      <a:pt x="10" y="492"/>
                    </a:lnTo>
                    <a:lnTo>
                      <a:pt x="12" y="492"/>
                    </a:lnTo>
                    <a:lnTo>
                      <a:pt x="12" y="488"/>
                    </a:lnTo>
                    <a:lnTo>
                      <a:pt x="12" y="482"/>
                    </a:lnTo>
                    <a:lnTo>
                      <a:pt x="12" y="480"/>
                    </a:lnTo>
                    <a:lnTo>
                      <a:pt x="13" y="475"/>
                    </a:lnTo>
                    <a:lnTo>
                      <a:pt x="15" y="475"/>
                    </a:lnTo>
                    <a:lnTo>
                      <a:pt x="18" y="473"/>
                    </a:lnTo>
                    <a:lnTo>
                      <a:pt x="20" y="473"/>
                    </a:lnTo>
                    <a:lnTo>
                      <a:pt x="23" y="471"/>
                    </a:lnTo>
                    <a:lnTo>
                      <a:pt x="25" y="473"/>
                    </a:lnTo>
                    <a:lnTo>
                      <a:pt x="27" y="471"/>
                    </a:lnTo>
                    <a:lnTo>
                      <a:pt x="29" y="470"/>
                    </a:lnTo>
                    <a:lnTo>
                      <a:pt x="30" y="466"/>
                    </a:lnTo>
                    <a:lnTo>
                      <a:pt x="34" y="454"/>
                    </a:lnTo>
                    <a:lnTo>
                      <a:pt x="35" y="448"/>
                    </a:lnTo>
                    <a:lnTo>
                      <a:pt x="37" y="448"/>
                    </a:lnTo>
                    <a:lnTo>
                      <a:pt x="35" y="449"/>
                    </a:lnTo>
                    <a:lnTo>
                      <a:pt x="37" y="448"/>
                    </a:lnTo>
                    <a:lnTo>
                      <a:pt x="37" y="446"/>
                    </a:lnTo>
                    <a:lnTo>
                      <a:pt x="39" y="446"/>
                    </a:lnTo>
                    <a:lnTo>
                      <a:pt x="39" y="448"/>
                    </a:lnTo>
                    <a:lnTo>
                      <a:pt x="40" y="446"/>
                    </a:lnTo>
                    <a:lnTo>
                      <a:pt x="39" y="446"/>
                    </a:lnTo>
                    <a:lnTo>
                      <a:pt x="42" y="444"/>
                    </a:lnTo>
                    <a:lnTo>
                      <a:pt x="40" y="444"/>
                    </a:lnTo>
                    <a:lnTo>
                      <a:pt x="46" y="432"/>
                    </a:lnTo>
                    <a:lnTo>
                      <a:pt x="46" y="434"/>
                    </a:lnTo>
                    <a:lnTo>
                      <a:pt x="47" y="431"/>
                    </a:lnTo>
                    <a:lnTo>
                      <a:pt x="52" y="427"/>
                    </a:lnTo>
                    <a:lnTo>
                      <a:pt x="52" y="424"/>
                    </a:lnTo>
                    <a:lnTo>
                      <a:pt x="54" y="422"/>
                    </a:lnTo>
                    <a:lnTo>
                      <a:pt x="57" y="417"/>
                    </a:lnTo>
                    <a:lnTo>
                      <a:pt x="57" y="415"/>
                    </a:lnTo>
                    <a:lnTo>
                      <a:pt x="59" y="415"/>
                    </a:lnTo>
                    <a:lnTo>
                      <a:pt x="59" y="414"/>
                    </a:lnTo>
                    <a:lnTo>
                      <a:pt x="61" y="410"/>
                    </a:lnTo>
                    <a:lnTo>
                      <a:pt x="63" y="410"/>
                    </a:lnTo>
                    <a:lnTo>
                      <a:pt x="61" y="410"/>
                    </a:lnTo>
                    <a:lnTo>
                      <a:pt x="63" y="407"/>
                    </a:lnTo>
                    <a:lnTo>
                      <a:pt x="63" y="409"/>
                    </a:lnTo>
                    <a:lnTo>
                      <a:pt x="64" y="409"/>
                    </a:lnTo>
                    <a:lnTo>
                      <a:pt x="63" y="409"/>
                    </a:lnTo>
                    <a:lnTo>
                      <a:pt x="64" y="407"/>
                    </a:lnTo>
                    <a:lnTo>
                      <a:pt x="63" y="402"/>
                    </a:lnTo>
                    <a:lnTo>
                      <a:pt x="63" y="400"/>
                    </a:lnTo>
                    <a:lnTo>
                      <a:pt x="61" y="400"/>
                    </a:lnTo>
                    <a:lnTo>
                      <a:pt x="59" y="400"/>
                    </a:lnTo>
                    <a:lnTo>
                      <a:pt x="61" y="398"/>
                    </a:lnTo>
                    <a:lnTo>
                      <a:pt x="59" y="398"/>
                    </a:lnTo>
                    <a:lnTo>
                      <a:pt x="59" y="397"/>
                    </a:lnTo>
                    <a:lnTo>
                      <a:pt x="59" y="395"/>
                    </a:lnTo>
                    <a:lnTo>
                      <a:pt x="59" y="397"/>
                    </a:lnTo>
                    <a:lnTo>
                      <a:pt x="61" y="397"/>
                    </a:lnTo>
                    <a:lnTo>
                      <a:pt x="59" y="397"/>
                    </a:lnTo>
                    <a:lnTo>
                      <a:pt x="61" y="395"/>
                    </a:lnTo>
                    <a:lnTo>
                      <a:pt x="59" y="392"/>
                    </a:lnTo>
                    <a:lnTo>
                      <a:pt x="61" y="392"/>
                    </a:lnTo>
                    <a:lnTo>
                      <a:pt x="61" y="393"/>
                    </a:lnTo>
                    <a:lnTo>
                      <a:pt x="61" y="392"/>
                    </a:lnTo>
                    <a:lnTo>
                      <a:pt x="61" y="390"/>
                    </a:lnTo>
                    <a:lnTo>
                      <a:pt x="59" y="390"/>
                    </a:lnTo>
                    <a:lnTo>
                      <a:pt x="59" y="388"/>
                    </a:lnTo>
                    <a:lnTo>
                      <a:pt x="61" y="388"/>
                    </a:lnTo>
                    <a:lnTo>
                      <a:pt x="63" y="385"/>
                    </a:lnTo>
                    <a:lnTo>
                      <a:pt x="63" y="386"/>
                    </a:lnTo>
                    <a:lnTo>
                      <a:pt x="63" y="383"/>
                    </a:lnTo>
                    <a:lnTo>
                      <a:pt x="63" y="381"/>
                    </a:lnTo>
                    <a:lnTo>
                      <a:pt x="59" y="375"/>
                    </a:lnTo>
                    <a:lnTo>
                      <a:pt x="61" y="376"/>
                    </a:lnTo>
                    <a:lnTo>
                      <a:pt x="57" y="373"/>
                    </a:lnTo>
                    <a:lnTo>
                      <a:pt x="56" y="371"/>
                    </a:lnTo>
                    <a:lnTo>
                      <a:pt x="56" y="369"/>
                    </a:lnTo>
                    <a:lnTo>
                      <a:pt x="54" y="366"/>
                    </a:lnTo>
                    <a:lnTo>
                      <a:pt x="52" y="366"/>
                    </a:lnTo>
                    <a:lnTo>
                      <a:pt x="52" y="364"/>
                    </a:lnTo>
                    <a:lnTo>
                      <a:pt x="51" y="363"/>
                    </a:lnTo>
                    <a:lnTo>
                      <a:pt x="52" y="363"/>
                    </a:lnTo>
                    <a:lnTo>
                      <a:pt x="51" y="361"/>
                    </a:lnTo>
                    <a:lnTo>
                      <a:pt x="51" y="356"/>
                    </a:lnTo>
                    <a:lnTo>
                      <a:pt x="51" y="354"/>
                    </a:lnTo>
                    <a:lnTo>
                      <a:pt x="51" y="356"/>
                    </a:lnTo>
                    <a:lnTo>
                      <a:pt x="52" y="356"/>
                    </a:lnTo>
                    <a:lnTo>
                      <a:pt x="51" y="354"/>
                    </a:lnTo>
                    <a:lnTo>
                      <a:pt x="52" y="352"/>
                    </a:lnTo>
                    <a:lnTo>
                      <a:pt x="51" y="351"/>
                    </a:lnTo>
                    <a:lnTo>
                      <a:pt x="52" y="351"/>
                    </a:lnTo>
                    <a:lnTo>
                      <a:pt x="49" y="342"/>
                    </a:lnTo>
                    <a:lnTo>
                      <a:pt x="51" y="342"/>
                    </a:lnTo>
                    <a:lnTo>
                      <a:pt x="47" y="337"/>
                    </a:lnTo>
                    <a:lnTo>
                      <a:pt x="46" y="334"/>
                    </a:lnTo>
                    <a:lnTo>
                      <a:pt x="40" y="327"/>
                    </a:lnTo>
                    <a:lnTo>
                      <a:pt x="42" y="323"/>
                    </a:lnTo>
                    <a:lnTo>
                      <a:pt x="42" y="317"/>
                    </a:lnTo>
                    <a:lnTo>
                      <a:pt x="40" y="312"/>
                    </a:lnTo>
                    <a:lnTo>
                      <a:pt x="39" y="305"/>
                    </a:lnTo>
                    <a:lnTo>
                      <a:pt x="40" y="295"/>
                    </a:lnTo>
                    <a:lnTo>
                      <a:pt x="39" y="293"/>
                    </a:lnTo>
                    <a:lnTo>
                      <a:pt x="37" y="293"/>
                    </a:lnTo>
                    <a:lnTo>
                      <a:pt x="37" y="291"/>
                    </a:lnTo>
                    <a:lnTo>
                      <a:pt x="39" y="291"/>
                    </a:lnTo>
                    <a:lnTo>
                      <a:pt x="37" y="291"/>
                    </a:lnTo>
                    <a:lnTo>
                      <a:pt x="37" y="289"/>
                    </a:lnTo>
                    <a:lnTo>
                      <a:pt x="37" y="288"/>
                    </a:lnTo>
                    <a:lnTo>
                      <a:pt x="35" y="283"/>
                    </a:lnTo>
                    <a:lnTo>
                      <a:pt x="37" y="283"/>
                    </a:lnTo>
                    <a:lnTo>
                      <a:pt x="35" y="281"/>
                    </a:lnTo>
                    <a:lnTo>
                      <a:pt x="37" y="276"/>
                    </a:lnTo>
                    <a:lnTo>
                      <a:pt x="39" y="276"/>
                    </a:lnTo>
                    <a:lnTo>
                      <a:pt x="39" y="274"/>
                    </a:lnTo>
                    <a:lnTo>
                      <a:pt x="40" y="274"/>
                    </a:lnTo>
                    <a:lnTo>
                      <a:pt x="40" y="272"/>
                    </a:lnTo>
                    <a:lnTo>
                      <a:pt x="42" y="269"/>
                    </a:lnTo>
                    <a:lnTo>
                      <a:pt x="44" y="269"/>
                    </a:lnTo>
                    <a:lnTo>
                      <a:pt x="44" y="266"/>
                    </a:lnTo>
                    <a:lnTo>
                      <a:pt x="46" y="266"/>
                    </a:lnTo>
                    <a:lnTo>
                      <a:pt x="44" y="264"/>
                    </a:lnTo>
                    <a:lnTo>
                      <a:pt x="46" y="261"/>
                    </a:lnTo>
                    <a:lnTo>
                      <a:pt x="47" y="262"/>
                    </a:lnTo>
                    <a:lnTo>
                      <a:pt x="47" y="261"/>
                    </a:lnTo>
                    <a:lnTo>
                      <a:pt x="51" y="257"/>
                    </a:lnTo>
                    <a:lnTo>
                      <a:pt x="52" y="254"/>
                    </a:lnTo>
                    <a:lnTo>
                      <a:pt x="52" y="252"/>
                    </a:lnTo>
                    <a:lnTo>
                      <a:pt x="56" y="247"/>
                    </a:lnTo>
                    <a:lnTo>
                      <a:pt x="56" y="249"/>
                    </a:lnTo>
                    <a:lnTo>
                      <a:pt x="56" y="245"/>
                    </a:lnTo>
                    <a:lnTo>
                      <a:pt x="57" y="245"/>
                    </a:lnTo>
                    <a:lnTo>
                      <a:pt x="59" y="244"/>
                    </a:lnTo>
                    <a:lnTo>
                      <a:pt x="61" y="242"/>
                    </a:lnTo>
                    <a:lnTo>
                      <a:pt x="61" y="240"/>
                    </a:lnTo>
                    <a:lnTo>
                      <a:pt x="61" y="237"/>
                    </a:lnTo>
                    <a:lnTo>
                      <a:pt x="63" y="237"/>
                    </a:lnTo>
                    <a:lnTo>
                      <a:pt x="63" y="238"/>
                    </a:lnTo>
                    <a:lnTo>
                      <a:pt x="64" y="238"/>
                    </a:lnTo>
                    <a:lnTo>
                      <a:pt x="63" y="238"/>
                    </a:lnTo>
                    <a:lnTo>
                      <a:pt x="63" y="237"/>
                    </a:lnTo>
                    <a:lnTo>
                      <a:pt x="61" y="235"/>
                    </a:lnTo>
                    <a:lnTo>
                      <a:pt x="63" y="233"/>
                    </a:lnTo>
                    <a:lnTo>
                      <a:pt x="63" y="232"/>
                    </a:lnTo>
                    <a:lnTo>
                      <a:pt x="59" y="223"/>
                    </a:lnTo>
                    <a:lnTo>
                      <a:pt x="61" y="218"/>
                    </a:lnTo>
                    <a:lnTo>
                      <a:pt x="61" y="216"/>
                    </a:lnTo>
                    <a:lnTo>
                      <a:pt x="63" y="215"/>
                    </a:lnTo>
                    <a:lnTo>
                      <a:pt x="64" y="215"/>
                    </a:lnTo>
                    <a:lnTo>
                      <a:pt x="66" y="216"/>
                    </a:lnTo>
                    <a:lnTo>
                      <a:pt x="66" y="215"/>
                    </a:lnTo>
                    <a:lnTo>
                      <a:pt x="64" y="215"/>
                    </a:lnTo>
                    <a:lnTo>
                      <a:pt x="73" y="216"/>
                    </a:lnTo>
                    <a:lnTo>
                      <a:pt x="78" y="216"/>
                    </a:lnTo>
                    <a:lnTo>
                      <a:pt x="76" y="216"/>
                    </a:lnTo>
                    <a:lnTo>
                      <a:pt x="78" y="216"/>
                    </a:lnTo>
                    <a:lnTo>
                      <a:pt x="76" y="218"/>
                    </a:lnTo>
                    <a:lnTo>
                      <a:pt x="78" y="216"/>
                    </a:lnTo>
                    <a:lnTo>
                      <a:pt x="80" y="218"/>
                    </a:lnTo>
                    <a:lnTo>
                      <a:pt x="81" y="218"/>
                    </a:lnTo>
                    <a:lnTo>
                      <a:pt x="83" y="218"/>
                    </a:lnTo>
                    <a:lnTo>
                      <a:pt x="81" y="218"/>
                    </a:lnTo>
                    <a:lnTo>
                      <a:pt x="83" y="218"/>
                    </a:lnTo>
                    <a:lnTo>
                      <a:pt x="81" y="216"/>
                    </a:lnTo>
                    <a:lnTo>
                      <a:pt x="83" y="216"/>
                    </a:lnTo>
                    <a:lnTo>
                      <a:pt x="83" y="215"/>
                    </a:lnTo>
                    <a:lnTo>
                      <a:pt x="85" y="215"/>
                    </a:lnTo>
                    <a:lnTo>
                      <a:pt x="90" y="215"/>
                    </a:lnTo>
                    <a:lnTo>
                      <a:pt x="90" y="216"/>
                    </a:lnTo>
                    <a:lnTo>
                      <a:pt x="90" y="215"/>
                    </a:lnTo>
                    <a:lnTo>
                      <a:pt x="86" y="213"/>
                    </a:lnTo>
                    <a:lnTo>
                      <a:pt x="90" y="211"/>
                    </a:lnTo>
                    <a:lnTo>
                      <a:pt x="97" y="206"/>
                    </a:lnTo>
                    <a:lnTo>
                      <a:pt x="102" y="203"/>
                    </a:lnTo>
                    <a:lnTo>
                      <a:pt x="103" y="203"/>
                    </a:lnTo>
                    <a:lnTo>
                      <a:pt x="103" y="206"/>
                    </a:lnTo>
                    <a:lnTo>
                      <a:pt x="105" y="208"/>
                    </a:lnTo>
                    <a:lnTo>
                      <a:pt x="103" y="211"/>
                    </a:lnTo>
                    <a:lnTo>
                      <a:pt x="105" y="213"/>
                    </a:lnTo>
                    <a:lnTo>
                      <a:pt x="105" y="211"/>
                    </a:lnTo>
                    <a:lnTo>
                      <a:pt x="107" y="211"/>
                    </a:lnTo>
                    <a:lnTo>
                      <a:pt x="108" y="211"/>
                    </a:lnTo>
                    <a:lnTo>
                      <a:pt x="107" y="211"/>
                    </a:lnTo>
                    <a:lnTo>
                      <a:pt x="107" y="210"/>
                    </a:lnTo>
                    <a:lnTo>
                      <a:pt x="108" y="210"/>
                    </a:lnTo>
                    <a:lnTo>
                      <a:pt x="110" y="208"/>
                    </a:lnTo>
                    <a:lnTo>
                      <a:pt x="110" y="206"/>
                    </a:lnTo>
                    <a:lnTo>
                      <a:pt x="108" y="206"/>
                    </a:lnTo>
                    <a:lnTo>
                      <a:pt x="108" y="208"/>
                    </a:lnTo>
                    <a:lnTo>
                      <a:pt x="107" y="204"/>
                    </a:lnTo>
                    <a:lnTo>
                      <a:pt x="110" y="204"/>
                    </a:lnTo>
                    <a:lnTo>
                      <a:pt x="119" y="203"/>
                    </a:lnTo>
                    <a:lnTo>
                      <a:pt x="119" y="204"/>
                    </a:lnTo>
                    <a:lnTo>
                      <a:pt x="117" y="210"/>
                    </a:lnTo>
                    <a:lnTo>
                      <a:pt x="117" y="208"/>
                    </a:lnTo>
                    <a:lnTo>
                      <a:pt x="119" y="208"/>
                    </a:lnTo>
                    <a:lnTo>
                      <a:pt x="119" y="206"/>
                    </a:lnTo>
                    <a:lnTo>
                      <a:pt x="120" y="208"/>
                    </a:lnTo>
                    <a:lnTo>
                      <a:pt x="119" y="208"/>
                    </a:lnTo>
                    <a:lnTo>
                      <a:pt x="120" y="208"/>
                    </a:lnTo>
                    <a:lnTo>
                      <a:pt x="120" y="210"/>
                    </a:lnTo>
                    <a:lnTo>
                      <a:pt x="120" y="206"/>
                    </a:lnTo>
                    <a:lnTo>
                      <a:pt x="120" y="208"/>
                    </a:lnTo>
                    <a:lnTo>
                      <a:pt x="120" y="206"/>
                    </a:lnTo>
                    <a:lnTo>
                      <a:pt x="120" y="203"/>
                    </a:lnTo>
                    <a:lnTo>
                      <a:pt x="122" y="204"/>
                    </a:lnTo>
                    <a:lnTo>
                      <a:pt x="120" y="203"/>
                    </a:lnTo>
                    <a:lnTo>
                      <a:pt x="120" y="201"/>
                    </a:lnTo>
                    <a:lnTo>
                      <a:pt x="122" y="201"/>
                    </a:lnTo>
                    <a:lnTo>
                      <a:pt x="120" y="198"/>
                    </a:lnTo>
                    <a:lnTo>
                      <a:pt x="122" y="196"/>
                    </a:lnTo>
                    <a:lnTo>
                      <a:pt x="120" y="198"/>
                    </a:lnTo>
                    <a:lnTo>
                      <a:pt x="124" y="194"/>
                    </a:lnTo>
                    <a:lnTo>
                      <a:pt x="125" y="194"/>
                    </a:lnTo>
                    <a:lnTo>
                      <a:pt x="129" y="196"/>
                    </a:lnTo>
                    <a:lnTo>
                      <a:pt x="127" y="196"/>
                    </a:lnTo>
                    <a:lnTo>
                      <a:pt x="129" y="196"/>
                    </a:lnTo>
                    <a:lnTo>
                      <a:pt x="129" y="198"/>
                    </a:lnTo>
                    <a:lnTo>
                      <a:pt x="131" y="198"/>
                    </a:lnTo>
                    <a:lnTo>
                      <a:pt x="132" y="194"/>
                    </a:lnTo>
                    <a:lnTo>
                      <a:pt x="132" y="196"/>
                    </a:lnTo>
                    <a:lnTo>
                      <a:pt x="132" y="194"/>
                    </a:lnTo>
                    <a:lnTo>
                      <a:pt x="136" y="194"/>
                    </a:lnTo>
                    <a:lnTo>
                      <a:pt x="139" y="194"/>
                    </a:lnTo>
                    <a:lnTo>
                      <a:pt x="137" y="196"/>
                    </a:lnTo>
                    <a:lnTo>
                      <a:pt x="139" y="198"/>
                    </a:lnTo>
                    <a:lnTo>
                      <a:pt x="141" y="198"/>
                    </a:lnTo>
                    <a:lnTo>
                      <a:pt x="142" y="199"/>
                    </a:lnTo>
                    <a:lnTo>
                      <a:pt x="144" y="198"/>
                    </a:lnTo>
                    <a:lnTo>
                      <a:pt x="142" y="198"/>
                    </a:lnTo>
                    <a:lnTo>
                      <a:pt x="144" y="196"/>
                    </a:lnTo>
                    <a:lnTo>
                      <a:pt x="146" y="194"/>
                    </a:lnTo>
                    <a:lnTo>
                      <a:pt x="142" y="196"/>
                    </a:lnTo>
                    <a:lnTo>
                      <a:pt x="141" y="196"/>
                    </a:lnTo>
                    <a:lnTo>
                      <a:pt x="144" y="191"/>
                    </a:lnTo>
                    <a:lnTo>
                      <a:pt x="149" y="191"/>
                    </a:lnTo>
                    <a:lnTo>
                      <a:pt x="153" y="191"/>
                    </a:lnTo>
                    <a:lnTo>
                      <a:pt x="153" y="193"/>
                    </a:lnTo>
                    <a:lnTo>
                      <a:pt x="151" y="196"/>
                    </a:lnTo>
                    <a:lnTo>
                      <a:pt x="153" y="198"/>
                    </a:lnTo>
                    <a:lnTo>
                      <a:pt x="158" y="206"/>
                    </a:lnTo>
                    <a:lnTo>
                      <a:pt x="161" y="208"/>
                    </a:lnTo>
                    <a:lnTo>
                      <a:pt x="168" y="208"/>
                    </a:lnTo>
                    <a:lnTo>
                      <a:pt x="170" y="208"/>
                    </a:lnTo>
                    <a:lnTo>
                      <a:pt x="171" y="211"/>
                    </a:lnTo>
                    <a:lnTo>
                      <a:pt x="171" y="210"/>
                    </a:lnTo>
                    <a:lnTo>
                      <a:pt x="173" y="208"/>
                    </a:lnTo>
                    <a:lnTo>
                      <a:pt x="171" y="206"/>
                    </a:lnTo>
                    <a:lnTo>
                      <a:pt x="166" y="204"/>
                    </a:lnTo>
                    <a:lnTo>
                      <a:pt x="165" y="203"/>
                    </a:lnTo>
                    <a:lnTo>
                      <a:pt x="159" y="198"/>
                    </a:lnTo>
                    <a:lnTo>
                      <a:pt x="156" y="198"/>
                    </a:lnTo>
                    <a:lnTo>
                      <a:pt x="156" y="196"/>
                    </a:lnTo>
                    <a:lnTo>
                      <a:pt x="159" y="193"/>
                    </a:lnTo>
                    <a:lnTo>
                      <a:pt x="159" y="191"/>
                    </a:lnTo>
                    <a:lnTo>
                      <a:pt x="158" y="191"/>
                    </a:lnTo>
                    <a:lnTo>
                      <a:pt x="156" y="191"/>
                    </a:lnTo>
                    <a:lnTo>
                      <a:pt x="159" y="186"/>
                    </a:lnTo>
                    <a:lnTo>
                      <a:pt x="161" y="184"/>
                    </a:lnTo>
                    <a:lnTo>
                      <a:pt x="165" y="181"/>
                    </a:lnTo>
                    <a:lnTo>
                      <a:pt x="165" y="182"/>
                    </a:lnTo>
                    <a:lnTo>
                      <a:pt x="165" y="181"/>
                    </a:lnTo>
                    <a:lnTo>
                      <a:pt x="171" y="175"/>
                    </a:lnTo>
                    <a:lnTo>
                      <a:pt x="175" y="175"/>
                    </a:lnTo>
                    <a:lnTo>
                      <a:pt x="173" y="177"/>
                    </a:lnTo>
                    <a:lnTo>
                      <a:pt x="175" y="177"/>
                    </a:lnTo>
                    <a:lnTo>
                      <a:pt x="175" y="175"/>
                    </a:lnTo>
                    <a:lnTo>
                      <a:pt x="173" y="175"/>
                    </a:lnTo>
                    <a:lnTo>
                      <a:pt x="185" y="167"/>
                    </a:lnTo>
                    <a:lnTo>
                      <a:pt x="188" y="165"/>
                    </a:lnTo>
                    <a:lnTo>
                      <a:pt x="188" y="169"/>
                    </a:lnTo>
                    <a:lnTo>
                      <a:pt x="195" y="172"/>
                    </a:lnTo>
                    <a:lnTo>
                      <a:pt x="190" y="177"/>
                    </a:lnTo>
                    <a:lnTo>
                      <a:pt x="188" y="182"/>
                    </a:lnTo>
                    <a:lnTo>
                      <a:pt x="185" y="186"/>
                    </a:lnTo>
                    <a:lnTo>
                      <a:pt x="187" y="184"/>
                    </a:lnTo>
                    <a:lnTo>
                      <a:pt x="187" y="186"/>
                    </a:lnTo>
                    <a:lnTo>
                      <a:pt x="188" y="184"/>
                    </a:lnTo>
                    <a:lnTo>
                      <a:pt x="190" y="179"/>
                    </a:lnTo>
                    <a:lnTo>
                      <a:pt x="193" y="184"/>
                    </a:lnTo>
                    <a:lnTo>
                      <a:pt x="193" y="182"/>
                    </a:lnTo>
                    <a:lnTo>
                      <a:pt x="193" y="179"/>
                    </a:lnTo>
                    <a:lnTo>
                      <a:pt x="195" y="181"/>
                    </a:lnTo>
                    <a:lnTo>
                      <a:pt x="195" y="182"/>
                    </a:lnTo>
                    <a:lnTo>
                      <a:pt x="195" y="179"/>
                    </a:lnTo>
                    <a:lnTo>
                      <a:pt x="197" y="181"/>
                    </a:lnTo>
                    <a:lnTo>
                      <a:pt x="195" y="177"/>
                    </a:lnTo>
                    <a:lnTo>
                      <a:pt x="197" y="177"/>
                    </a:lnTo>
                    <a:lnTo>
                      <a:pt x="199" y="179"/>
                    </a:lnTo>
                    <a:lnTo>
                      <a:pt x="199" y="177"/>
                    </a:lnTo>
                    <a:lnTo>
                      <a:pt x="200" y="179"/>
                    </a:lnTo>
                    <a:lnTo>
                      <a:pt x="200" y="177"/>
                    </a:lnTo>
                    <a:lnTo>
                      <a:pt x="202" y="177"/>
                    </a:lnTo>
                    <a:lnTo>
                      <a:pt x="202" y="175"/>
                    </a:lnTo>
                    <a:lnTo>
                      <a:pt x="200" y="175"/>
                    </a:lnTo>
                    <a:lnTo>
                      <a:pt x="199" y="174"/>
                    </a:lnTo>
                    <a:lnTo>
                      <a:pt x="199" y="169"/>
                    </a:lnTo>
                    <a:lnTo>
                      <a:pt x="197" y="170"/>
                    </a:lnTo>
                    <a:lnTo>
                      <a:pt x="195" y="170"/>
                    </a:lnTo>
                    <a:lnTo>
                      <a:pt x="195" y="169"/>
                    </a:lnTo>
                    <a:lnTo>
                      <a:pt x="193" y="167"/>
                    </a:lnTo>
                    <a:lnTo>
                      <a:pt x="193" y="164"/>
                    </a:lnTo>
                    <a:lnTo>
                      <a:pt x="197" y="160"/>
                    </a:lnTo>
                    <a:lnTo>
                      <a:pt x="199" y="160"/>
                    </a:lnTo>
                    <a:lnTo>
                      <a:pt x="200" y="158"/>
                    </a:lnTo>
                    <a:lnTo>
                      <a:pt x="202" y="155"/>
                    </a:lnTo>
                    <a:lnTo>
                      <a:pt x="202" y="153"/>
                    </a:lnTo>
                    <a:lnTo>
                      <a:pt x="204" y="155"/>
                    </a:lnTo>
                    <a:lnTo>
                      <a:pt x="204" y="153"/>
                    </a:lnTo>
                    <a:lnTo>
                      <a:pt x="205" y="152"/>
                    </a:lnTo>
                    <a:lnTo>
                      <a:pt x="207" y="150"/>
                    </a:lnTo>
                    <a:lnTo>
                      <a:pt x="207" y="152"/>
                    </a:lnTo>
                    <a:lnTo>
                      <a:pt x="209" y="150"/>
                    </a:lnTo>
                    <a:lnTo>
                      <a:pt x="210" y="148"/>
                    </a:lnTo>
                    <a:lnTo>
                      <a:pt x="209" y="147"/>
                    </a:lnTo>
                    <a:lnTo>
                      <a:pt x="209" y="148"/>
                    </a:lnTo>
                    <a:lnTo>
                      <a:pt x="209" y="150"/>
                    </a:lnTo>
                    <a:lnTo>
                      <a:pt x="205" y="148"/>
                    </a:lnTo>
                    <a:lnTo>
                      <a:pt x="212" y="140"/>
                    </a:lnTo>
                    <a:lnTo>
                      <a:pt x="214" y="138"/>
                    </a:lnTo>
                    <a:lnTo>
                      <a:pt x="216" y="140"/>
                    </a:lnTo>
                    <a:lnTo>
                      <a:pt x="216" y="141"/>
                    </a:lnTo>
                    <a:lnTo>
                      <a:pt x="216" y="145"/>
                    </a:lnTo>
                    <a:lnTo>
                      <a:pt x="217" y="145"/>
                    </a:lnTo>
                    <a:lnTo>
                      <a:pt x="210" y="153"/>
                    </a:lnTo>
                    <a:lnTo>
                      <a:pt x="212" y="157"/>
                    </a:lnTo>
                    <a:lnTo>
                      <a:pt x="210" y="160"/>
                    </a:lnTo>
                    <a:lnTo>
                      <a:pt x="212" y="160"/>
                    </a:lnTo>
                    <a:lnTo>
                      <a:pt x="216" y="158"/>
                    </a:lnTo>
                    <a:lnTo>
                      <a:pt x="216" y="157"/>
                    </a:lnTo>
                    <a:lnTo>
                      <a:pt x="217" y="155"/>
                    </a:lnTo>
                    <a:lnTo>
                      <a:pt x="219" y="153"/>
                    </a:lnTo>
                    <a:lnTo>
                      <a:pt x="219" y="155"/>
                    </a:lnTo>
                    <a:lnTo>
                      <a:pt x="219" y="153"/>
                    </a:lnTo>
                    <a:lnTo>
                      <a:pt x="219" y="152"/>
                    </a:lnTo>
                    <a:lnTo>
                      <a:pt x="221" y="152"/>
                    </a:lnTo>
                    <a:lnTo>
                      <a:pt x="222" y="147"/>
                    </a:lnTo>
                    <a:lnTo>
                      <a:pt x="224" y="145"/>
                    </a:lnTo>
                    <a:lnTo>
                      <a:pt x="222" y="145"/>
                    </a:lnTo>
                    <a:lnTo>
                      <a:pt x="226" y="141"/>
                    </a:lnTo>
                    <a:lnTo>
                      <a:pt x="226" y="140"/>
                    </a:lnTo>
                    <a:lnTo>
                      <a:pt x="227" y="138"/>
                    </a:lnTo>
                    <a:lnTo>
                      <a:pt x="229" y="135"/>
                    </a:lnTo>
                    <a:lnTo>
                      <a:pt x="231" y="135"/>
                    </a:lnTo>
                    <a:lnTo>
                      <a:pt x="231" y="133"/>
                    </a:lnTo>
                    <a:lnTo>
                      <a:pt x="233" y="136"/>
                    </a:lnTo>
                    <a:lnTo>
                      <a:pt x="238" y="138"/>
                    </a:lnTo>
                    <a:lnTo>
                      <a:pt x="238" y="140"/>
                    </a:lnTo>
                    <a:lnTo>
                      <a:pt x="238" y="138"/>
                    </a:lnTo>
                    <a:lnTo>
                      <a:pt x="238" y="136"/>
                    </a:lnTo>
                    <a:lnTo>
                      <a:pt x="239" y="135"/>
                    </a:lnTo>
                    <a:lnTo>
                      <a:pt x="241" y="136"/>
                    </a:lnTo>
                    <a:lnTo>
                      <a:pt x="241" y="138"/>
                    </a:lnTo>
                    <a:lnTo>
                      <a:pt x="241" y="136"/>
                    </a:lnTo>
                    <a:lnTo>
                      <a:pt x="241" y="135"/>
                    </a:lnTo>
                    <a:lnTo>
                      <a:pt x="236" y="133"/>
                    </a:lnTo>
                    <a:lnTo>
                      <a:pt x="234" y="135"/>
                    </a:lnTo>
                    <a:lnTo>
                      <a:pt x="233" y="135"/>
                    </a:lnTo>
                    <a:lnTo>
                      <a:pt x="231" y="133"/>
                    </a:lnTo>
                    <a:lnTo>
                      <a:pt x="231" y="135"/>
                    </a:lnTo>
                    <a:lnTo>
                      <a:pt x="227" y="135"/>
                    </a:lnTo>
                    <a:lnTo>
                      <a:pt x="227" y="133"/>
                    </a:lnTo>
                    <a:lnTo>
                      <a:pt x="227" y="131"/>
                    </a:lnTo>
                    <a:lnTo>
                      <a:pt x="227" y="130"/>
                    </a:lnTo>
                    <a:lnTo>
                      <a:pt x="226" y="126"/>
                    </a:lnTo>
                    <a:lnTo>
                      <a:pt x="227" y="121"/>
                    </a:lnTo>
                    <a:lnTo>
                      <a:pt x="231" y="119"/>
                    </a:lnTo>
                    <a:lnTo>
                      <a:pt x="229" y="116"/>
                    </a:lnTo>
                    <a:lnTo>
                      <a:pt x="231" y="116"/>
                    </a:lnTo>
                    <a:lnTo>
                      <a:pt x="231" y="114"/>
                    </a:lnTo>
                    <a:lnTo>
                      <a:pt x="234" y="118"/>
                    </a:lnTo>
                    <a:lnTo>
                      <a:pt x="236" y="118"/>
                    </a:lnTo>
                    <a:lnTo>
                      <a:pt x="236" y="116"/>
                    </a:lnTo>
                    <a:lnTo>
                      <a:pt x="238" y="118"/>
                    </a:lnTo>
                    <a:lnTo>
                      <a:pt x="238" y="116"/>
                    </a:lnTo>
                    <a:lnTo>
                      <a:pt x="239" y="113"/>
                    </a:lnTo>
                    <a:lnTo>
                      <a:pt x="236" y="109"/>
                    </a:lnTo>
                    <a:lnTo>
                      <a:pt x="238" y="109"/>
                    </a:lnTo>
                    <a:lnTo>
                      <a:pt x="236" y="109"/>
                    </a:lnTo>
                    <a:lnTo>
                      <a:pt x="238" y="109"/>
                    </a:lnTo>
                    <a:lnTo>
                      <a:pt x="239" y="109"/>
                    </a:lnTo>
                    <a:lnTo>
                      <a:pt x="239" y="111"/>
                    </a:lnTo>
                    <a:lnTo>
                      <a:pt x="241" y="111"/>
                    </a:lnTo>
                    <a:lnTo>
                      <a:pt x="241" y="113"/>
                    </a:lnTo>
                    <a:lnTo>
                      <a:pt x="241" y="114"/>
                    </a:lnTo>
                    <a:lnTo>
                      <a:pt x="239" y="119"/>
                    </a:lnTo>
                    <a:lnTo>
                      <a:pt x="241" y="121"/>
                    </a:lnTo>
                    <a:lnTo>
                      <a:pt x="241" y="123"/>
                    </a:lnTo>
                    <a:lnTo>
                      <a:pt x="241" y="121"/>
                    </a:lnTo>
                    <a:lnTo>
                      <a:pt x="241" y="118"/>
                    </a:lnTo>
                    <a:lnTo>
                      <a:pt x="243" y="118"/>
                    </a:lnTo>
                    <a:lnTo>
                      <a:pt x="243" y="116"/>
                    </a:lnTo>
                    <a:lnTo>
                      <a:pt x="241" y="114"/>
                    </a:lnTo>
                    <a:lnTo>
                      <a:pt x="243" y="113"/>
                    </a:lnTo>
                    <a:lnTo>
                      <a:pt x="244" y="113"/>
                    </a:lnTo>
                    <a:lnTo>
                      <a:pt x="243" y="111"/>
                    </a:lnTo>
                    <a:lnTo>
                      <a:pt x="244" y="109"/>
                    </a:lnTo>
                    <a:lnTo>
                      <a:pt x="243" y="107"/>
                    </a:lnTo>
                    <a:lnTo>
                      <a:pt x="244" y="107"/>
                    </a:lnTo>
                    <a:lnTo>
                      <a:pt x="243" y="106"/>
                    </a:lnTo>
                    <a:lnTo>
                      <a:pt x="243" y="107"/>
                    </a:lnTo>
                    <a:lnTo>
                      <a:pt x="241" y="107"/>
                    </a:lnTo>
                    <a:lnTo>
                      <a:pt x="238" y="104"/>
                    </a:lnTo>
                    <a:lnTo>
                      <a:pt x="241" y="104"/>
                    </a:lnTo>
                    <a:lnTo>
                      <a:pt x="241" y="102"/>
                    </a:lnTo>
                    <a:lnTo>
                      <a:pt x="241" y="104"/>
                    </a:lnTo>
                    <a:lnTo>
                      <a:pt x="243" y="102"/>
                    </a:lnTo>
                    <a:lnTo>
                      <a:pt x="241" y="102"/>
                    </a:lnTo>
                    <a:lnTo>
                      <a:pt x="243" y="101"/>
                    </a:lnTo>
                    <a:lnTo>
                      <a:pt x="241" y="102"/>
                    </a:lnTo>
                    <a:lnTo>
                      <a:pt x="241" y="101"/>
                    </a:lnTo>
                    <a:lnTo>
                      <a:pt x="239" y="101"/>
                    </a:lnTo>
                    <a:lnTo>
                      <a:pt x="236" y="99"/>
                    </a:lnTo>
                    <a:lnTo>
                      <a:pt x="236" y="96"/>
                    </a:lnTo>
                    <a:lnTo>
                      <a:pt x="236" y="94"/>
                    </a:lnTo>
                    <a:lnTo>
                      <a:pt x="234" y="92"/>
                    </a:lnTo>
                    <a:lnTo>
                      <a:pt x="236" y="90"/>
                    </a:lnTo>
                    <a:lnTo>
                      <a:pt x="238" y="89"/>
                    </a:lnTo>
                    <a:lnTo>
                      <a:pt x="236" y="89"/>
                    </a:lnTo>
                    <a:lnTo>
                      <a:pt x="236" y="84"/>
                    </a:lnTo>
                    <a:lnTo>
                      <a:pt x="239" y="84"/>
                    </a:lnTo>
                    <a:lnTo>
                      <a:pt x="239" y="82"/>
                    </a:lnTo>
                    <a:lnTo>
                      <a:pt x="238" y="82"/>
                    </a:lnTo>
                    <a:lnTo>
                      <a:pt x="239" y="79"/>
                    </a:lnTo>
                    <a:lnTo>
                      <a:pt x="241" y="80"/>
                    </a:lnTo>
                    <a:lnTo>
                      <a:pt x="239" y="82"/>
                    </a:lnTo>
                    <a:lnTo>
                      <a:pt x="241" y="82"/>
                    </a:lnTo>
                    <a:lnTo>
                      <a:pt x="241" y="84"/>
                    </a:lnTo>
                    <a:lnTo>
                      <a:pt x="241" y="82"/>
                    </a:lnTo>
                    <a:lnTo>
                      <a:pt x="243" y="84"/>
                    </a:lnTo>
                    <a:lnTo>
                      <a:pt x="243" y="82"/>
                    </a:lnTo>
                    <a:lnTo>
                      <a:pt x="244" y="82"/>
                    </a:lnTo>
                    <a:lnTo>
                      <a:pt x="243" y="80"/>
                    </a:lnTo>
                    <a:lnTo>
                      <a:pt x="244" y="80"/>
                    </a:lnTo>
                    <a:lnTo>
                      <a:pt x="246" y="82"/>
                    </a:lnTo>
                    <a:lnTo>
                      <a:pt x="244" y="84"/>
                    </a:lnTo>
                    <a:lnTo>
                      <a:pt x="246" y="84"/>
                    </a:lnTo>
                    <a:lnTo>
                      <a:pt x="248" y="84"/>
                    </a:lnTo>
                    <a:lnTo>
                      <a:pt x="250" y="84"/>
                    </a:lnTo>
                    <a:lnTo>
                      <a:pt x="248" y="85"/>
                    </a:lnTo>
                    <a:lnTo>
                      <a:pt x="250" y="85"/>
                    </a:lnTo>
                    <a:lnTo>
                      <a:pt x="250" y="87"/>
                    </a:lnTo>
                    <a:lnTo>
                      <a:pt x="250" y="90"/>
                    </a:lnTo>
                    <a:lnTo>
                      <a:pt x="251" y="90"/>
                    </a:lnTo>
                    <a:lnTo>
                      <a:pt x="250" y="90"/>
                    </a:lnTo>
                    <a:lnTo>
                      <a:pt x="250" y="92"/>
                    </a:lnTo>
                    <a:lnTo>
                      <a:pt x="253" y="94"/>
                    </a:lnTo>
                    <a:lnTo>
                      <a:pt x="255" y="96"/>
                    </a:lnTo>
                    <a:lnTo>
                      <a:pt x="258" y="92"/>
                    </a:lnTo>
                    <a:lnTo>
                      <a:pt x="258" y="94"/>
                    </a:lnTo>
                    <a:lnTo>
                      <a:pt x="258" y="90"/>
                    </a:lnTo>
                    <a:lnTo>
                      <a:pt x="258" y="89"/>
                    </a:lnTo>
                    <a:lnTo>
                      <a:pt x="258" y="87"/>
                    </a:lnTo>
                    <a:lnTo>
                      <a:pt x="258" y="85"/>
                    </a:lnTo>
                    <a:lnTo>
                      <a:pt x="260" y="85"/>
                    </a:lnTo>
                    <a:lnTo>
                      <a:pt x="258" y="84"/>
                    </a:lnTo>
                    <a:lnTo>
                      <a:pt x="260" y="84"/>
                    </a:lnTo>
                    <a:lnTo>
                      <a:pt x="258" y="82"/>
                    </a:lnTo>
                    <a:lnTo>
                      <a:pt x="260" y="80"/>
                    </a:lnTo>
                    <a:lnTo>
                      <a:pt x="260" y="82"/>
                    </a:lnTo>
                    <a:lnTo>
                      <a:pt x="260" y="84"/>
                    </a:lnTo>
                    <a:lnTo>
                      <a:pt x="261" y="84"/>
                    </a:lnTo>
                    <a:lnTo>
                      <a:pt x="261" y="82"/>
                    </a:lnTo>
                    <a:lnTo>
                      <a:pt x="261" y="84"/>
                    </a:lnTo>
                    <a:lnTo>
                      <a:pt x="261" y="82"/>
                    </a:lnTo>
                    <a:lnTo>
                      <a:pt x="261" y="80"/>
                    </a:lnTo>
                    <a:lnTo>
                      <a:pt x="263" y="80"/>
                    </a:lnTo>
                    <a:lnTo>
                      <a:pt x="263" y="82"/>
                    </a:lnTo>
                    <a:lnTo>
                      <a:pt x="265" y="82"/>
                    </a:lnTo>
                    <a:lnTo>
                      <a:pt x="263" y="82"/>
                    </a:lnTo>
                    <a:lnTo>
                      <a:pt x="265" y="80"/>
                    </a:lnTo>
                    <a:lnTo>
                      <a:pt x="267" y="80"/>
                    </a:lnTo>
                    <a:lnTo>
                      <a:pt x="267" y="82"/>
                    </a:lnTo>
                    <a:lnTo>
                      <a:pt x="267" y="80"/>
                    </a:lnTo>
                    <a:lnTo>
                      <a:pt x="268" y="82"/>
                    </a:lnTo>
                    <a:lnTo>
                      <a:pt x="268" y="80"/>
                    </a:lnTo>
                    <a:lnTo>
                      <a:pt x="270" y="80"/>
                    </a:lnTo>
                    <a:lnTo>
                      <a:pt x="268" y="80"/>
                    </a:lnTo>
                    <a:lnTo>
                      <a:pt x="267" y="75"/>
                    </a:lnTo>
                    <a:lnTo>
                      <a:pt x="265" y="72"/>
                    </a:lnTo>
                    <a:lnTo>
                      <a:pt x="272" y="77"/>
                    </a:lnTo>
                    <a:lnTo>
                      <a:pt x="275" y="77"/>
                    </a:lnTo>
                    <a:lnTo>
                      <a:pt x="275" y="75"/>
                    </a:lnTo>
                    <a:lnTo>
                      <a:pt x="275" y="77"/>
                    </a:lnTo>
                    <a:lnTo>
                      <a:pt x="278" y="75"/>
                    </a:lnTo>
                    <a:lnTo>
                      <a:pt x="282" y="72"/>
                    </a:lnTo>
                    <a:lnTo>
                      <a:pt x="282" y="70"/>
                    </a:lnTo>
                    <a:lnTo>
                      <a:pt x="280" y="70"/>
                    </a:lnTo>
                    <a:lnTo>
                      <a:pt x="282" y="67"/>
                    </a:lnTo>
                    <a:lnTo>
                      <a:pt x="284" y="67"/>
                    </a:lnTo>
                    <a:lnTo>
                      <a:pt x="282" y="67"/>
                    </a:lnTo>
                    <a:lnTo>
                      <a:pt x="284" y="65"/>
                    </a:lnTo>
                    <a:lnTo>
                      <a:pt x="282" y="63"/>
                    </a:lnTo>
                    <a:lnTo>
                      <a:pt x="284" y="63"/>
                    </a:lnTo>
                    <a:lnTo>
                      <a:pt x="282" y="62"/>
                    </a:lnTo>
                    <a:lnTo>
                      <a:pt x="284" y="62"/>
                    </a:lnTo>
                    <a:lnTo>
                      <a:pt x="282" y="62"/>
                    </a:lnTo>
                    <a:lnTo>
                      <a:pt x="284" y="62"/>
                    </a:lnTo>
                    <a:lnTo>
                      <a:pt x="282" y="60"/>
                    </a:lnTo>
                    <a:lnTo>
                      <a:pt x="284" y="60"/>
                    </a:lnTo>
                    <a:lnTo>
                      <a:pt x="284" y="58"/>
                    </a:lnTo>
                    <a:lnTo>
                      <a:pt x="284" y="56"/>
                    </a:lnTo>
                    <a:lnTo>
                      <a:pt x="285" y="55"/>
                    </a:lnTo>
                    <a:lnTo>
                      <a:pt x="285" y="53"/>
                    </a:lnTo>
                    <a:lnTo>
                      <a:pt x="287" y="53"/>
                    </a:lnTo>
                    <a:lnTo>
                      <a:pt x="289" y="51"/>
                    </a:lnTo>
                    <a:lnTo>
                      <a:pt x="287" y="51"/>
                    </a:lnTo>
                    <a:lnTo>
                      <a:pt x="289" y="50"/>
                    </a:lnTo>
                    <a:lnTo>
                      <a:pt x="289" y="48"/>
                    </a:lnTo>
                    <a:lnTo>
                      <a:pt x="290" y="48"/>
                    </a:lnTo>
                    <a:lnTo>
                      <a:pt x="289" y="45"/>
                    </a:lnTo>
                    <a:lnTo>
                      <a:pt x="289" y="43"/>
                    </a:lnTo>
                    <a:lnTo>
                      <a:pt x="287" y="41"/>
                    </a:lnTo>
                    <a:lnTo>
                      <a:pt x="287" y="36"/>
                    </a:lnTo>
                    <a:lnTo>
                      <a:pt x="285" y="36"/>
                    </a:lnTo>
                    <a:lnTo>
                      <a:pt x="285" y="34"/>
                    </a:lnTo>
                    <a:lnTo>
                      <a:pt x="287" y="31"/>
                    </a:lnTo>
                    <a:lnTo>
                      <a:pt x="285" y="31"/>
                    </a:lnTo>
                    <a:lnTo>
                      <a:pt x="284" y="31"/>
                    </a:lnTo>
                    <a:lnTo>
                      <a:pt x="284" y="29"/>
                    </a:lnTo>
                    <a:lnTo>
                      <a:pt x="280" y="28"/>
                    </a:lnTo>
                    <a:lnTo>
                      <a:pt x="280" y="26"/>
                    </a:lnTo>
                    <a:lnTo>
                      <a:pt x="278" y="26"/>
                    </a:lnTo>
                    <a:lnTo>
                      <a:pt x="280" y="22"/>
                    </a:lnTo>
                    <a:lnTo>
                      <a:pt x="282" y="24"/>
                    </a:lnTo>
                    <a:lnTo>
                      <a:pt x="285" y="24"/>
                    </a:lnTo>
                    <a:lnTo>
                      <a:pt x="287" y="29"/>
                    </a:lnTo>
                    <a:lnTo>
                      <a:pt x="289" y="28"/>
                    </a:lnTo>
                    <a:lnTo>
                      <a:pt x="290" y="22"/>
                    </a:lnTo>
                    <a:lnTo>
                      <a:pt x="290" y="21"/>
                    </a:lnTo>
                    <a:lnTo>
                      <a:pt x="292" y="19"/>
                    </a:lnTo>
                    <a:lnTo>
                      <a:pt x="294" y="19"/>
                    </a:lnTo>
                    <a:lnTo>
                      <a:pt x="295" y="17"/>
                    </a:lnTo>
                    <a:lnTo>
                      <a:pt x="295" y="19"/>
                    </a:lnTo>
                    <a:lnTo>
                      <a:pt x="297" y="19"/>
                    </a:lnTo>
                    <a:lnTo>
                      <a:pt x="297" y="16"/>
                    </a:lnTo>
                    <a:lnTo>
                      <a:pt x="299" y="16"/>
                    </a:lnTo>
                    <a:lnTo>
                      <a:pt x="300" y="14"/>
                    </a:lnTo>
                    <a:lnTo>
                      <a:pt x="299" y="14"/>
                    </a:lnTo>
                    <a:lnTo>
                      <a:pt x="300" y="12"/>
                    </a:lnTo>
                    <a:lnTo>
                      <a:pt x="300" y="10"/>
                    </a:lnTo>
                    <a:lnTo>
                      <a:pt x="300" y="12"/>
                    </a:lnTo>
                    <a:lnTo>
                      <a:pt x="302" y="10"/>
                    </a:lnTo>
                    <a:lnTo>
                      <a:pt x="300" y="9"/>
                    </a:lnTo>
                    <a:lnTo>
                      <a:pt x="300" y="10"/>
                    </a:lnTo>
                    <a:lnTo>
                      <a:pt x="300" y="9"/>
                    </a:lnTo>
                    <a:lnTo>
                      <a:pt x="299" y="7"/>
                    </a:lnTo>
                    <a:lnTo>
                      <a:pt x="299" y="9"/>
                    </a:lnTo>
                    <a:lnTo>
                      <a:pt x="297" y="7"/>
                    </a:lnTo>
                    <a:lnTo>
                      <a:pt x="299" y="7"/>
                    </a:lnTo>
                    <a:lnTo>
                      <a:pt x="299" y="5"/>
                    </a:lnTo>
                    <a:lnTo>
                      <a:pt x="302" y="9"/>
                    </a:lnTo>
                    <a:lnTo>
                      <a:pt x="302" y="7"/>
                    </a:lnTo>
                    <a:lnTo>
                      <a:pt x="304" y="9"/>
                    </a:lnTo>
                    <a:lnTo>
                      <a:pt x="302" y="7"/>
                    </a:lnTo>
                    <a:lnTo>
                      <a:pt x="302" y="5"/>
                    </a:lnTo>
                    <a:lnTo>
                      <a:pt x="300" y="5"/>
                    </a:lnTo>
                    <a:lnTo>
                      <a:pt x="300" y="4"/>
                    </a:lnTo>
                    <a:lnTo>
                      <a:pt x="302" y="4"/>
                    </a:lnTo>
                    <a:lnTo>
                      <a:pt x="302" y="2"/>
                    </a:lnTo>
                    <a:lnTo>
                      <a:pt x="304" y="4"/>
                    </a:lnTo>
                    <a:lnTo>
                      <a:pt x="304" y="2"/>
                    </a:lnTo>
                    <a:lnTo>
                      <a:pt x="302" y="2"/>
                    </a:lnTo>
                    <a:lnTo>
                      <a:pt x="304" y="0"/>
                    </a:lnTo>
                    <a:lnTo>
                      <a:pt x="306" y="0"/>
                    </a:lnTo>
                    <a:close/>
                    <a:moveTo>
                      <a:pt x="256" y="63"/>
                    </a:moveTo>
                    <a:lnTo>
                      <a:pt x="258" y="65"/>
                    </a:lnTo>
                    <a:lnTo>
                      <a:pt x="256" y="67"/>
                    </a:lnTo>
                    <a:lnTo>
                      <a:pt x="258" y="67"/>
                    </a:lnTo>
                    <a:lnTo>
                      <a:pt x="258" y="68"/>
                    </a:lnTo>
                    <a:lnTo>
                      <a:pt x="260" y="70"/>
                    </a:lnTo>
                    <a:lnTo>
                      <a:pt x="260" y="72"/>
                    </a:lnTo>
                    <a:lnTo>
                      <a:pt x="258" y="70"/>
                    </a:lnTo>
                    <a:lnTo>
                      <a:pt x="258" y="72"/>
                    </a:lnTo>
                    <a:lnTo>
                      <a:pt x="258" y="73"/>
                    </a:lnTo>
                    <a:lnTo>
                      <a:pt x="260" y="73"/>
                    </a:lnTo>
                    <a:lnTo>
                      <a:pt x="258" y="75"/>
                    </a:lnTo>
                    <a:lnTo>
                      <a:pt x="256" y="73"/>
                    </a:lnTo>
                    <a:lnTo>
                      <a:pt x="255" y="75"/>
                    </a:lnTo>
                    <a:lnTo>
                      <a:pt x="253" y="73"/>
                    </a:lnTo>
                    <a:lnTo>
                      <a:pt x="251" y="72"/>
                    </a:lnTo>
                    <a:lnTo>
                      <a:pt x="251" y="70"/>
                    </a:lnTo>
                    <a:lnTo>
                      <a:pt x="251" y="68"/>
                    </a:lnTo>
                    <a:lnTo>
                      <a:pt x="250" y="67"/>
                    </a:lnTo>
                    <a:lnTo>
                      <a:pt x="251" y="67"/>
                    </a:lnTo>
                    <a:lnTo>
                      <a:pt x="253" y="67"/>
                    </a:lnTo>
                    <a:lnTo>
                      <a:pt x="255" y="67"/>
                    </a:lnTo>
                    <a:lnTo>
                      <a:pt x="255" y="65"/>
                    </a:lnTo>
                    <a:lnTo>
                      <a:pt x="255" y="63"/>
                    </a:lnTo>
                    <a:lnTo>
                      <a:pt x="256" y="63"/>
                    </a:lnTo>
                    <a:close/>
                    <a:moveTo>
                      <a:pt x="345" y="242"/>
                    </a:moveTo>
                    <a:lnTo>
                      <a:pt x="340" y="250"/>
                    </a:lnTo>
                    <a:lnTo>
                      <a:pt x="338" y="254"/>
                    </a:lnTo>
                    <a:lnTo>
                      <a:pt x="340" y="250"/>
                    </a:lnTo>
                    <a:lnTo>
                      <a:pt x="333" y="261"/>
                    </a:lnTo>
                    <a:lnTo>
                      <a:pt x="334" y="257"/>
                    </a:lnTo>
                    <a:lnTo>
                      <a:pt x="336" y="257"/>
                    </a:lnTo>
                    <a:lnTo>
                      <a:pt x="336" y="252"/>
                    </a:lnTo>
                    <a:lnTo>
                      <a:pt x="338" y="249"/>
                    </a:lnTo>
                    <a:lnTo>
                      <a:pt x="340" y="247"/>
                    </a:lnTo>
                    <a:lnTo>
                      <a:pt x="341" y="245"/>
                    </a:lnTo>
                    <a:lnTo>
                      <a:pt x="341" y="244"/>
                    </a:lnTo>
                    <a:lnTo>
                      <a:pt x="343" y="240"/>
                    </a:lnTo>
                    <a:lnTo>
                      <a:pt x="345" y="242"/>
                    </a:lnTo>
                    <a:close/>
                    <a:moveTo>
                      <a:pt x="170" y="208"/>
                    </a:moveTo>
                    <a:lnTo>
                      <a:pt x="166" y="206"/>
                    </a:lnTo>
                    <a:lnTo>
                      <a:pt x="163" y="203"/>
                    </a:lnTo>
                    <a:lnTo>
                      <a:pt x="161" y="199"/>
                    </a:lnTo>
                    <a:lnTo>
                      <a:pt x="166" y="203"/>
                    </a:lnTo>
                    <a:lnTo>
                      <a:pt x="166" y="204"/>
                    </a:lnTo>
                    <a:lnTo>
                      <a:pt x="168" y="204"/>
                    </a:lnTo>
                    <a:lnTo>
                      <a:pt x="170" y="206"/>
                    </a:lnTo>
                    <a:lnTo>
                      <a:pt x="171" y="206"/>
                    </a:lnTo>
                    <a:lnTo>
                      <a:pt x="173" y="208"/>
                    </a:lnTo>
                    <a:lnTo>
                      <a:pt x="171" y="210"/>
                    </a:lnTo>
                    <a:lnTo>
                      <a:pt x="171" y="211"/>
                    </a:lnTo>
                    <a:lnTo>
                      <a:pt x="170" y="208"/>
                    </a:lnTo>
                    <a:close/>
                    <a:moveTo>
                      <a:pt x="166" y="208"/>
                    </a:moveTo>
                    <a:lnTo>
                      <a:pt x="168" y="206"/>
                    </a:lnTo>
                    <a:lnTo>
                      <a:pt x="170" y="208"/>
                    </a:lnTo>
                    <a:lnTo>
                      <a:pt x="168" y="208"/>
                    </a:lnTo>
                    <a:lnTo>
                      <a:pt x="161" y="206"/>
                    </a:lnTo>
                    <a:lnTo>
                      <a:pt x="158" y="204"/>
                    </a:lnTo>
                    <a:lnTo>
                      <a:pt x="156" y="203"/>
                    </a:lnTo>
                    <a:lnTo>
                      <a:pt x="166" y="208"/>
                    </a:lnTo>
                    <a:close/>
                    <a:moveTo>
                      <a:pt x="222" y="131"/>
                    </a:moveTo>
                    <a:lnTo>
                      <a:pt x="222" y="133"/>
                    </a:lnTo>
                    <a:lnTo>
                      <a:pt x="221" y="133"/>
                    </a:lnTo>
                    <a:lnTo>
                      <a:pt x="219" y="131"/>
                    </a:lnTo>
                    <a:lnTo>
                      <a:pt x="221" y="131"/>
                    </a:lnTo>
                    <a:lnTo>
                      <a:pt x="221" y="130"/>
                    </a:lnTo>
                    <a:lnTo>
                      <a:pt x="222" y="130"/>
                    </a:lnTo>
                    <a:lnTo>
                      <a:pt x="221" y="131"/>
                    </a:lnTo>
                    <a:lnTo>
                      <a:pt x="222" y="131"/>
                    </a:lnTo>
                    <a:close/>
                    <a:moveTo>
                      <a:pt x="273" y="46"/>
                    </a:moveTo>
                    <a:lnTo>
                      <a:pt x="272" y="46"/>
                    </a:lnTo>
                    <a:lnTo>
                      <a:pt x="273" y="50"/>
                    </a:lnTo>
                    <a:lnTo>
                      <a:pt x="272" y="50"/>
                    </a:lnTo>
                    <a:lnTo>
                      <a:pt x="268" y="48"/>
                    </a:lnTo>
                    <a:lnTo>
                      <a:pt x="270" y="48"/>
                    </a:lnTo>
                    <a:lnTo>
                      <a:pt x="272" y="50"/>
                    </a:lnTo>
                    <a:lnTo>
                      <a:pt x="272" y="48"/>
                    </a:lnTo>
                    <a:lnTo>
                      <a:pt x="272" y="46"/>
                    </a:lnTo>
                    <a:lnTo>
                      <a:pt x="273" y="45"/>
                    </a:lnTo>
                    <a:lnTo>
                      <a:pt x="273" y="46"/>
                    </a:lnTo>
                    <a:close/>
                    <a:moveTo>
                      <a:pt x="166" y="208"/>
                    </a:moveTo>
                    <a:lnTo>
                      <a:pt x="161" y="204"/>
                    </a:lnTo>
                    <a:lnTo>
                      <a:pt x="163" y="204"/>
                    </a:lnTo>
                    <a:lnTo>
                      <a:pt x="166" y="206"/>
                    </a:lnTo>
                    <a:lnTo>
                      <a:pt x="168" y="206"/>
                    </a:lnTo>
                    <a:lnTo>
                      <a:pt x="166" y="208"/>
                    </a:lnTo>
                    <a:close/>
                    <a:moveTo>
                      <a:pt x="158" y="206"/>
                    </a:moveTo>
                    <a:lnTo>
                      <a:pt x="156" y="203"/>
                    </a:lnTo>
                    <a:lnTo>
                      <a:pt x="158" y="204"/>
                    </a:lnTo>
                    <a:lnTo>
                      <a:pt x="161" y="206"/>
                    </a:lnTo>
                    <a:lnTo>
                      <a:pt x="158" y="206"/>
                    </a:lnTo>
                    <a:close/>
                    <a:moveTo>
                      <a:pt x="258" y="75"/>
                    </a:moveTo>
                    <a:lnTo>
                      <a:pt x="260" y="75"/>
                    </a:lnTo>
                    <a:lnTo>
                      <a:pt x="260" y="79"/>
                    </a:lnTo>
                    <a:lnTo>
                      <a:pt x="258" y="79"/>
                    </a:lnTo>
                    <a:lnTo>
                      <a:pt x="258" y="75"/>
                    </a:lnTo>
                    <a:close/>
                    <a:moveTo>
                      <a:pt x="233" y="107"/>
                    </a:moveTo>
                    <a:lnTo>
                      <a:pt x="231" y="106"/>
                    </a:lnTo>
                    <a:lnTo>
                      <a:pt x="231" y="104"/>
                    </a:lnTo>
                    <a:lnTo>
                      <a:pt x="231" y="102"/>
                    </a:lnTo>
                    <a:lnTo>
                      <a:pt x="233" y="107"/>
                    </a:lnTo>
                    <a:close/>
                    <a:moveTo>
                      <a:pt x="267" y="70"/>
                    </a:moveTo>
                    <a:lnTo>
                      <a:pt x="268" y="72"/>
                    </a:lnTo>
                    <a:lnTo>
                      <a:pt x="267" y="72"/>
                    </a:lnTo>
                    <a:lnTo>
                      <a:pt x="265" y="72"/>
                    </a:lnTo>
                    <a:lnTo>
                      <a:pt x="265" y="68"/>
                    </a:lnTo>
                    <a:lnTo>
                      <a:pt x="267" y="70"/>
                    </a:lnTo>
                    <a:close/>
                    <a:moveTo>
                      <a:pt x="129" y="194"/>
                    </a:moveTo>
                    <a:lnTo>
                      <a:pt x="131" y="194"/>
                    </a:lnTo>
                    <a:lnTo>
                      <a:pt x="131" y="198"/>
                    </a:lnTo>
                    <a:lnTo>
                      <a:pt x="129" y="198"/>
                    </a:lnTo>
                    <a:lnTo>
                      <a:pt x="129" y="194"/>
                    </a:lnTo>
                    <a:close/>
                    <a:moveTo>
                      <a:pt x="159" y="199"/>
                    </a:moveTo>
                    <a:lnTo>
                      <a:pt x="161" y="199"/>
                    </a:lnTo>
                    <a:lnTo>
                      <a:pt x="161" y="201"/>
                    </a:lnTo>
                    <a:lnTo>
                      <a:pt x="159" y="201"/>
                    </a:lnTo>
                    <a:lnTo>
                      <a:pt x="159" y="199"/>
                    </a:lnTo>
                    <a:close/>
                    <a:moveTo>
                      <a:pt x="159" y="201"/>
                    </a:moveTo>
                    <a:lnTo>
                      <a:pt x="163" y="201"/>
                    </a:lnTo>
                    <a:lnTo>
                      <a:pt x="163" y="204"/>
                    </a:lnTo>
                    <a:lnTo>
                      <a:pt x="159" y="204"/>
                    </a:lnTo>
                    <a:lnTo>
                      <a:pt x="159" y="201"/>
                    </a:lnTo>
                    <a:close/>
                    <a:moveTo>
                      <a:pt x="236" y="136"/>
                    </a:moveTo>
                    <a:lnTo>
                      <a:pt x="239" y="136"/>
                    </a:lnTo>
                    <a:lnTo>
                      <a:pt x="236" y="136"/>
                    </a:lnTo>
                    <a:close/>
                    <a:moveTo>
                      <a:pt x="231" y="111"/>
                    </a:moveTo>
                    <a:lnTo>
                      <a:pt x="233" y="111"/>
                    </a:lnTo>
                    <a:lnTo>
                      <a:pt x="233" y="113"/>
                    </a:lnTo>
                    <a:lnTo>
                      <a:pt x="231" y="113"/>
                    </a:lnTo>
                    <a:lnTo>
                      <a:pt x="231" y="111"/>
                    </a:lnTo>
                    <a:close/>
                    <a:moveTo>
                      <a:pt x="200" y="175"/>
                    </a:moveTo>
                    <a:lnTo>
                      <a:pt x="202" y="175"/>
                    </a:lnTo>
                    <a:lnTo>
                      <a:pt x="202" y="177"/>
                    </a:lnTo>
                    <a:lnTo>
                      <a:pt x="200" y="177"/>
                    </a:lnTo>
                    <a:lnTo>
                      <a:pt x="200" y="175"/>
                    </a:lnTo>
                    <a:close/>
                    <a:moveTo>
                      <a:pt x="129" y="194"/>
                    </a:moveTo>
                    <a:lnTo>
                      <a:pt x="131" y="194"/>
                    </a:lnTo>
                    <a:lnTo>
                      <a:pt x="131" y="196"/>
                    </a:lnTo>
                    <a:lnTo>
                      <a:pt x="129" y="196"/>
                    </a:lnTo>
                    <a:lnTo>
                      <a:pt x="129" y="194"/>
                    </a:lnTo>
                    <a:close/>
                    <a:moveTo>
                      <a:pt x="158" y="199"/>
                    </a:moveTo>
                    <a:lnTo>
                      <a:pt x="161" y="199"/>
                    </a:lnTo>
                    <a:lnTo>
                      <a:pt x="158" y="199"/>
                    </a:lnTo>
                    <a:close/>
                    <a:moveTo>
                      <a:pt x="331" y="179"/>
                    </a:moveTo>
                    <a:lnTo>
                      <a:pt x="331" y="181"/>
                    </a:lnTo>
                    <a:lnTo>
                      <a:pt x="331" y="179"/>
                    </a:lnTo>
                    <a:close/>
                    <a:moveTo>
                      <a:pt x="250" y="68"/>
                    </a:moveTo>
                    <a:lnTo>
                      <a:pt x="250" y="70"/>
                    </a:lnTo>
                    <a:lnTo>
                      <a:pt x="250" y="68"/>
                    </a:lnTo>
                    <a:close/>
                    <a:moveTo>
                      <a:pt x="154" y="201"/>
                    </a:moveTo>
                    <a:lnTo>
                      <a:pt x="156" y="201"/>
                    </a:lnTo>
                    <a:lnTo>
                      <a:pt x="156" y="203"/>
                    </a:lnTo>
                    <a:lnTo>
                      <a:pt x="154" y="203"/>
                    </a:lnTo>
                    <a:lnTo>
                      <a:pt x="154" y="201"/>
                    </a:lnTo>
                    <a:close/>
                    <a:moveTo>
                      <a:pt x="321" y="33"/>
                    </a:moveTo>
                    <a:lnTo>
                      <a:pt x="323" y="33"/>
                    </a:lnTo>
                    <a:lnTo>
                      <a:pt x="323" y="34"/>
                    </a:lnTo>
                    <a:lnTo>
                      <a:pt x="321" y="34"/>
                    </a:lnTo>
                    <a:lnTo>
                      <a:pt x="321" y="33"/>
                    </a:lnTo>
                    <a:close/>
                    <a:moveTo>
                      <a:pt x="192" y="181"/>
                    </a:moveTo>
                    <a:lnTo>
                      <a:pt x="193" y="181"/>
                    </a:lnTo>
                    <a:lnTo>
                      <a:pt x="193" y="182"/>
                    </a:lnTo>
                    <a:lnTo>
                      <a:pt x="192" y="182"/>
                    </a:lnTo>
                    <a:lnTo>
                      <a:pt x="192" y="181"/>
                    </a:lnTo>
                    <a:close/>
                    <a:moveTo>
                      <a:pt x="192" y="181"/>
                    </a:moveTo>
                    <a:lnTo>
                      <a:pt x="193" y="181"/>
                    </a:lnTo>
                    <a:lnTo>
                      <a:pt x="193" y="182"/>
                    </a:lnTo>
                    <a:lnTo>
                      <a:pt x="192" y="182"/>
                    </a:lnTo>
                    <a:lnTo>
                      <a:pt x="192" y="181"/>
                    </a:lnTo>
                    <a:close/>
                    <a:moveTo>
                      <a:pt x="187" y="184"/>
                    </a:moveTo>
                    <a:lnTo>
                      <a:pt x="188" y="184"/>
                    </a:lnTo>
                    <a:lnTo>
                      <a:pt x="187" y="184"/>
                    </a:lnTo>
                    <a:close/>
                    <a:moveTo>
                      <a:pt x="0" y="519"/>
                    </a:moveTo>
                    <a:lnTo>
                      <a:pt x="1" y="519"/>
                    </a:lnTo>
                    <a:lnTo>
                      <a:pt x="0" y="519"/>
                    </a:lnTo>
                    <a:close/>
                    <a:moveTo>
                      <a:pt x="192" y="179"/>
                    </a:moveTo>
                    <a:lnTo>
                      <a:pt x="193" y="179"/>
                    </a:lnTo>
                    <a:lnTo>
                      <a:pt x="193" y="181"/>
                    </a:lnTo>
                    <a:lnTo>
                      <a:pt x="192" y="181"/>
                    </a:lnTo>
                    <a:lnTo>
                      <a:pt x="192" y="179"/>
                    </a:lnTo>
                    <a:close/>
                    <a:moveTo>
                      <a:pt x="158" y="199"/>
                    </a:moveTo>
                    <a:lnTo>
                      <a:pt x="159" y="199"/>
                    </a:lnTo>
                    <a:lnTo>
                      <a:pt x="159" y="203"/>
                    </a:lnTo>
                    <a:lnTo>
                      <a:pt x="158" y="203"/>
                    </a:lnTo>
                    <a:lnTo>
                      <a:pt x="158" y="199"/>
                    </a:lnTo>
                    <a:close/>
                    <a:moveTo>
                      <a:pt x="275" y="39"/>
                    </a:moveTo>
                    <a:lnTo>
                      <a:pt x="277" y="39"/>
                    </a:lnTo>
                    <a:lnTo>
                      <a:pt x="277" y="41"/>
                    </a:lnTo>
                    <a:lnTo>
                      <a:pt x="275" y="41"/>
                    </a:lnTo>
                    <a:lnTo>
                      <a:pt x="275" y="39"/>
                    </a:lnTo>
                    <a:close/>
                    <a:moveTo>
                      <a:pt x="59" y="398"/>
                    </a:moveTo>
                    <a:lnTo>
                      <a:pt x="61" y="398"/>
                    </a:lnTo>
                    <a:lnTo>
                      <a:pt x="59" y="398"/>
                    </a:lnTo>
                    <a:close/>
                    <a:moveTo>
                      <a:pt x="159" y="203"/>
                    </a:moveTo>
                    <a:lnTo>
                      <a:pt x="161" y="203"/>
                    </a:lnTo>
                    <a:lnTo>
                      <a:pt x="159" y="203"/>
                    </a:lnTo>
                    <a:close/>
                    <a:moveTo>
                      <a:pt x="158" y="201"/>
                    </a:moveTo>
                    <a:lnTo>
                      <a:pt x="159" y="201"/>
                    </a:lnTo>
                    <a:lnTo>
                      <a:pt x="159" y="203"/>
                    </a:lnTo>
                    <a:lnTo>
                      <a:pt x="158" y="203"/>
                    </a:lnTo>
                    <a:lnTo>
                      <a:pt x="158" y="201"/>
                    </a:lnTo>
                    <a:close/>
                    <a:moveTo>
                      <a:pt x="229" y="101"/>
                    </a:moveTo>
                    <a:lnTo>
                      <a:pt x="231" y="101"/>
                    </a:lnTo>
                    <a:lnTo>
                      <a:pt x="231" y="102"/>
                    </a:lnTo>
                    <a:lnTo>
                      <a:pt x="229" y="102"/>
                    </a:lnTo>
                    <a:lnTo>
                      <a:pt x="229" y="101"/>
                    </a:lnTo>
                    <a:close/>
                    <a:moveTo>
                      <a:pt x="333" y="43"/>
                    </a:moveTo>
                    <a:lnTo>
                      <a:pt x="334" y="43"/>
                    </a:lnTo>
                    <a:lnTo>
                      <a:pt x="334" y="45"/>
                    </a:lnTo>
                    <a:lnTo>
                      <a:pt x="333" y="45"/>
                    </a:lnTo>
                    <a:lnTo>
                      <a:pt x="333" y="43"/>
                    </a:lnTo>
                    <a:close/>
                    <a:moveTo>
                      <a:pt x="158" y="201"/>
                    </a:moveTo>
                    <a:lnTo>
                      <a:pt x="159" y="201"/>
                    </a:lnTo>
                    <a:lnTo>
                      <a:pt x="159" y="203"/>
                    </a:lnTo>
                    <a:lnTo>
                      <a:pt x="158" y="203"/>
                    </a:lnTo>
                    <a:lnTo>
                      <a:pt x="158" y="201"/>
                    </a:lnTo>
                    <a:close/>
                    <a:moveTo>
                      <a:pt x="324" y="36"/>
                    </a:moveTo>
                    <a:lnTo>
                      <a:pt x="326" y="36"/>
                    </a:lnTo>
                    <a:lnTo>
                      <a:pt x="326" y="38"/>
                    </a:lnTo>
                    <a:lnTo>
                      <a:pt x="324" y="38"/>
                    </a:lnTo>
                    <a:lnTo>
                      <a:pt x="324" y="36"/>
                    </a:lnTo>
                    <a:close/>
                    <a:moveTo>
                      <a:pt x="156" y="199"/>
                    </a:moveTo>
                    <a:lnTo>
                      <a:pt x="159" y="199"/>
                    </a:lnTo>
                    <a:lnTo>
                      <a:pt x="159" y="201"/>
                    </a:lnTo>
                    <a:lnTo>
                      <a:pt x="156" y="201"/>
                    </a:lnTo>
                    <a:lnTo>
                      <a:pt x="156" y="199"/>
                    </a:lnTo>
                    <a:close/>
                    <a:moveTo>
                      <a:pt x="193" y="179"/>
                    </a:moveTo>
                    <a:lnTo>
                      <a:pt x="195" y="179"/>
                    </a:lnTo>
                    <a:lnTo>
                      <a:pt x="193" y="179"/>
                    </a:lnTo>
                    <a:close/>
                    <a:moveTo>
                      <a:pt x="321" y="34"/>
                    </a:moveTo>
                    <a:lnTo>
                      <a:pt x="323" y="34"/>
                    </a:lnTo>
                    <a:lnTo>
                      <a:pt x="321" y="34"/>
                    </a:lnTo>
                    <a:close/>
                    <a:moveTo>
                      <a:pt x="161" y="199"/>
                    </a:moveTo>
                    <a:lnTo>
                      <a:pt x="163" y="199"/>
                    </a:lnTo>
                    <a:lnTo>
                      <a:pt x="163" y="201"/>
                    </a:lnTo>
                    <a:lnTo>
                      <a:pt x="161" y="201"/>
                    </a:lnTo>
                    <a:lnTo>
                      <a:pt x="161" y="199"/>
                    </a:lnTo>
                    <a:close/>
                    <a:moveTo>
                      <a:pt x="227" y="109"/>
                    </a:moveTo>
                    <a:lnTo>
                      <a:pt x="229" y="109"/>
                    </a:lnTo>
                    <a:lnTo>
                      <a:pt x="229" y="111"/>
                    </a:lnTo>
                    <a:lnTo>
                      <a:pt x="227" y="111"/>
                    </a:lnTo>
                    <a:lnTo>
                      <a:pt x="227" y="109"/>
                    </a:lnTo>
                    <a:close/>
                    <a:moveTo>
                      <a:pt x="193" y="179"/>
                    </a:moveTo>
                    <a:lnTo>
                      <a:pt x="193" y="181"/>
                    </a:lnTo>
                    <a:lnTo>
                      <a:pt x="193" y="179"/>
                    </a:lnTo>
                    <a:close/>
                    <a:moveTo>
                      <a:pt x="292" y="14"/>
                    </a:moveTo>
                    <a:lnTo>
                      <a:pt x="294" y="14"/>
                    </a:lnTo>
                    <a:lnTo>
                      <a:pt x="294" y="16"/>
                    </a:lnTo>
                    <a:lnTo>
                      <a:pt x="292" y="16"/>
                    </a:lnTo>
                    <a:lnTo>
                      <a:pt x="292" y="14"/>
                    </a:lnTo>
                    <a:close/>
                    <a:moveTo>
                      <a:pt x="319" y="22"/>
                    </a:moveTo>
                    <a:lnTo>
                      <a:pt x="321" y="22"/>
                    </a:lnTo>
                    <a:lnTo>
                      <a:pt x="321" y="24"/>
                    </a:lnTo>
                    <a:lnTo>
                      <a:pt x="319" y="24"/>
                    </a:lnTo>
                    <a:lnTo>
                      <a:pt x="319" y="22"/>
                    </a:lnTo>
                    <a:close/>
                    <a:moveTo>
                      <a:pt x="199" y="179"/>
                    </a:moveTo>
                    <a:lnTo>
                      <a:pt x="200" y="179"/>
                    </a:lnTo>
                    <a:lnTo>
                      <a:pt x="199" y="179"/>
                    </a:lnTo>
                    <a:close/>
                    <a:moveTo>
                      <a:pt x="333" y="261"/>
                    </a:moveTo>
                    <a:lnTo>
                      <a:pt x="333" y="262"/>
                    </a:lnTo>
                    <a:lnTo>
                      <a:pt x="333" y="261"/>
                    </a:lnTo>
                    <a:close/>
                    <a:moveTo>
                      <a:pt x="331" y="41"/>
                    </a:moveTo>
                    <a:lnTo>
                      <a:pt x="331" y="43"/>
                    </a:lnTo>
                    <a:lnTo>
                      <a:pt x="331" y="41"/>
                    </a:lnTo>
                    <a:close/>
                    <a:moveTo>
                      <a:pt x="156" y="201"/>
                    </a:moveTo>
                    <a:lnTo>
                      <a:pt x="158" y="201"/>
                    </a:lnTo>
                    <a:lnTo>
                      <a:pt x="158" y="203"/>
                    </a:lnTo>
                    <a:lnTo>
                      <a:pt x="156" y="203"/>
                    </a:lnTo>
                    <a:lnTo>
                      <a:pt x="156" y="201"/>
                    </a:lnTo>
                    <a:close/>
                    <a:moveTo>
                      <a:pt x="61" y="400"/>
                    </a:moveTo>
                    <a:lnTo>
                      <a:pt x="63" y="400"/>
                    </a:lnTo>
                    <a:lnTo>
                      <a:pt x="61" y="400"/>
                    </a:lnTo>
                    <a:close/>
                    <a:moveTo>
                      <a:pt x="107" y="211"/>
                    </a:moveTo>
                    <a:lnTo>
                      <a:pt x="108" y="211"/>
                    </a:lnTo>
                    <a:lnTo>
                      <a:pt x="107" y="211"/>
                    </a:lnTo>
                    <a:close/>
                    <a:moveTo>
                      <a:pt x="61" y="400"/>
                    </a:moveTo>
                    <a:lnTo>
                      <a:pt x="63" y="400"/>
                    </a:lnTo>
                    <a:lnTo>
                      <a:pt x="63" y="402"/>
                    </a:lnTo>
                    <a:lnTo>
                      <a:pt x="61" y="402"/>
                    </a:lnTo>
                    <a:lnTo>
                      <a:pt x="61" y="400"/>
                    </a:lnTo>
                    <a:close/>
                    <a:moveTo>
                      <a:pt x="142" y="198"/>
                    </a:moveTo>
                    <a:lnTo>
                      <a:pt x="144" y="198"/>
                    </a:lnTo>
                    <a:lnTo>
                      <a:pt x="142" y="198"/>
                    </a:lnTo>
                    <a:close/>
                    <a:moveTo>
                      <a:pt x="241" y="116"/>
                    </a:moveTo>
                    <a:lnTo>
                      <a:pt x="243" y="116"/>
                    </a:lnTo>
                    <a:lnTo>
                      <a:pt x="241" y="116"/>
                    </a:lnTo>
                    <a:close/>
                    <a:moveTo>
                      <a:pt x="161" y="201"/>
                    </a:moveTo>
                    <a:lnTo>
                      <a:pt x="163" y="201"/>
                    </a:lnTo>
                    <a:lnTo>
                      <a:pt x="163" y="203"/>
                    </a:lnTo>
                    <a:lnTo>
                      <a:pt x="161" y="203"/>
                    </a:lnTo>
                    <a:lnTo>
                      <a:pt x="161" y="201"/>
                    </a:lnTo>
                    <a:close/>
                    <a:moveTo>
                      <a:pt x="193" y="179"/>
                    </a:moveTo>
                    <a:lnTo>
                      <a:pt x="195" y="179"/>
                    </a:lnTo>
                    <a:lnTo>
                      <a:pt x="193" y="179"/>
                    </a:lnTo>
                    <a:close/>
                    <a:moveTo>
                      <a:pt x="51" y="352"/>
                    </a:moveTo>
                    <a:lnTo>
                      <a:pt x="51" y="354"/>
                    </a:lnTo>
                    <a:lnTo>
                      <a:pt x="51" y="352"/>
                    </a:lnTo>
                    <a:close/>
                    <a:moveTo>
                      <a:pt x="35" y="279"/>
                    </a:moveTo>
                    <a:lnTo>
                      <a:pt x="37" y="279"/>
                    </a:lnTo>
                    <a:lnTo>
                      <a:pt x="37" y="281"/>
                    </a:lnTo>
                    <a:lnTo>
                      <a:pt x="35" y="281"/>
                    </a:lnTo>
                    <a:lnTo>
                      <a:pt x="35" y="279"/>
                    </a:lnTo>
                    <a:close/>
                    <a:moveTo>
                      <a:pt x="231" y="84"/>
                    </a:moveTo>
                    <a:lnTo>
                      <a:pt x="233" y="84"/>
                    </a:lnTo>
                    <a:lnTo>
                      <a:pt x="231" y="84"/>
                    </a:lnTo>
                    <a:close/>
                    <a:moveTo>
                      <a:pt x="158" y="206"/>
                    </a:moveTo>
                    <a:lnTo>
                      <a:pt x="159" y="206"/>
                    </a:lnTo>
                    <a:lnTo>
                      <a:pt x="158" y="206"/>
                    </a:lnTo>
                    <a:close/>
                    <a:moveTo>
                      <a:pt x="311" y="9"/>
                    </a:moveTo>
                    <a:lnTo>
                      <a:pt x="311" y="10"/>
                    </a:lnTo>
                    <a:lnTo>
                      <a:pt x="311" y="9"/>
                    </a:lnTo>
                    <a:close/>
                    <a:moveTo>
                      <a:pt x="59" y="395"/>
                    </a:moveTo>
                    <a:lnTo>
                      <a:pt x="59" y="397"/>
                    </a:lnTo>
                    <a:lnTo>
                      <a:pt x="59" y="395"/>
                    </a:lnTo>
                    <a:close/>
                    <a:moveTo>
                      <a:pt x="200" y="177"/>
                    </a:moveTo>
                    <a:lnTo>
                      <a:pt x="202" y="177"/>
                    </a:lnTo>
                    <a:lnTo>
                      <a:pt x="200" y="177"/>
                    </a:lnTo>
                    <a:close/>
                    <a:moveTo>
                      <a:pt x="199" y="177"/>
                    </a:moveTo>
                    <a:lnTo>
                      <a:pt x="200" y="177"/>
                    </a:lnTo>
                    <a:lnTo>
                      <a:pt x="200" y="179"/>
                    </a:lnTo>
                    <a:lnTo>
                      <a:pt x="199" y="179"/>
                    </a:lnTo>
                    <a:lnTo>
                      <a:pt x="199" y="177"/>
                    </a:lnTo>
                    <a:close/>
                    <a:moveTo>
                      <a:pt x="334" y="233"/>
                    </a:moveTo>
                    <a:lnTo>
                      <a:pt x="334" y="235"/>
                    </a:lnTo>
                    <a:lnTo>
                      <a:pt x="334" y="233"/>
                    </a:lnTo>
                    <a:close/>
                    <a:moveTo>
                      <a:pt x="158" y="193"/>
                    </a:moveTo>
                    <a:lnTo>
                      <a:pt x="159" y="193"/>
                    </a:lnTo>
                    <a:lnTo>
                      <a:pt x="158" y="193"/>
                    </a:lnTo>
                    <a:close/>
                    <a:moveTo>
                      <a:pt x="139" y="194"/>
                    </a:moveTo>
                    <a:lnTo>
                      <a:pt x="139" y="196"/>
                    </a:lnTo>
                    <a:lnTo>
                      <a:pt x="139" y="194"/>
                    </a:lnTo>
                    <a:close/>
                    <a:moveTo>
                      <a:pt x="54" y="676"/>
                    </a:moveTo>
                    <a:lnTo>
                      <a:pt x="56" y="676"/>
                    </a:lnTo>
                    <a:lnTo>
                      <a:pt x="54" y="676"/>
                    </a:lnTo>
                    <a:close/>
                    <a:moveTo>
                      <a:pt x="139" y="198"/>
                    </a:moveTo>
                    <a:lnTo>
                      <a:pt x="141" y="198"/>
                    </a:lnTo>
                    <a:lnTo>
                      <a:pt x="139" y="198"/>
                    </a:lnTo>
                    <a:close/>
                    <a:moveTo>
                      <a:pt x="334" y="221"/>
                    </a:moveTo>
                    <a:lnTo>
                      <a:pt x="336" y="221"/>
                    </a:lnTo>
                    <a:lnTo>
                      <a:pt x="334" y="221"/>
                    </a:lnTo>
                    <a:close/>
                    <a:moveTo>
                      <a:pt x="63" y="407"/>
                    </a:moveTo>
                    <a:lnTo>
                      <a:pt x="63" y="409"/>
                    </a:lnTo>
                    <a:lnTo>
                      <a:pt x="63" y="407"/>
                    </a:lnTo>
                    <a:close/>
                    <a:moveTo>
                      <a:pt x="166" y="204"/>
                    </a:moveTo>
                    <a:lnTo>
                      <a:pt x="168" y="204"/>
                    </a:lnTo>
                    <a:lnTo>
                      <a:pt x="166" y="204"/>
                    </a:lnTo>
                    <a:close/>
                    <a:moveTo>
                      <a:pt x="334" y="230"/>
                    </a:moveTo>
                    <a:lnTo>
                      <a:pt x="334" y="232"/>
                    </a:lnTo>
                    <a:lnTo>
                      <a:pt x="334" y="230"/>
                    </a:lnTo>
                    <a:close/>
                    <a:moveTo>
                      <a:pt x="336" y="227"/>
                    </a:moveTo>
                    <a:lnTo>
                      <a:pt x="338" y="227"/>
                    </a:lnTo>
                    <a:lnTo>
                      <a:pt x="338" y="228"/>
                    </a:lnTo>
                    <a:lnTo>
                      <a:pt x="336" y="228"/>
                    </a:lnTo>
                    <a:lnTo>
                      <a:pt x="336" y="227"/>
                    </a:lnTo>
                    <a:close/>
                    <a:moveTo>
                      <a:pt x="336" y="228"/>
                    </a:moveTo>
                    <a:lnTo>
                      <a:pt x="338" y="228"/>
                    </a:lnTo>
                    <a:lnTo>
                      <a:pt x="336" y="228"/>
                    </a:lnTo>
                    <a:close/>
                    <a:moveTo>
                      <a:pt x="334" y="218"/>
                    </a:moveTo>
                    <a:lnTo>
                      <a:pt x="334" y="220"/>
                    </a:lnTo>
                    <a:lnTo>
                      <a:pt x="334" y="218"/>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47">
                <a:extLst>
                  <a:ext uri="{FF2B5EF4-FFF2-40B4-BE49-F238E27FC236}">
                    <a16:creationId xmlns:a16="http://schemas.microsoft.com/office/drawing/2014/main" id="{B4970B68-B531-40CA-ABD1-37FB339EA954}"/>
                  </a:ext>
                </a:extLst>
              </p:cNvPr>
              <p:cNvSpPr>
                <a:spLocks/>
              </p:cNvSpPr>
              <p:nvPr/>
            </p:nvSpPr>
            <p:spPr bwMode="gray">
              <a:xfrm>
                <a:off x="2358669" y="7898556"/>
                <a:ext cx="70591" cy="61767"/>
              </a:xfrm>
              <a:custGeom>
                <a:avLst/>
                <a:gdLst>
                  <a:gd name="T0" fmla="*/ 82 w 104"/>
                  <a:gd name="T1" fmla="*/ 65 h 91"/>
                  <a:gd name="T2" fmla="*/ 77 w 104"/>
                  <a:gd name="T3" fmla="*/ 65 h 91"/>
                  <a:gd name="T4" fmla="*/ 71 w 104"/>
                  <a:gd name="T5" fmla="*/ 68 h 91"/>
                  <a:gd name="T6" fmla="*/ 65 w 104"/>
                  <a:gd name="T7" fmla="*/ 72 h 91"/>
                  <a:gd name="T8" fmla="*/ 56 w 104"/>
                  <a:gd name="T9" fmla="*/ 65 h 91"/>
                  <a:gd name="T10" fmla="*/ 54 w 104"/>
                  <a:gd name="T11" fmla="*/ 77 h 91"/>
                  <a:gd name="T12" fmla="*/ 53 w 104"/>
                  <a:gd name="T13" fmla="*/ 87 h 91"/>
                  <a:gd name="T14" fmla="*/ 46 w 104"/>
                  <a:gd name="T15" fmla="*/ 87 h 91"/>
                  <a:gd name="T16" fmla="*/ 41 w 104"/>
                  <a:gd name="T17" fmla="*/ 89 h 91"/>
                  <a:gd name="T18" fmla="*/ 34 w 104"/>
                  <a:gd name="T19" fmla="*/ 91 h 91"/>
                  <a:gd name="T20" fmla="*/ 29 w 104"/>
                  <a:gd name="T21" fmla="*/ 89 h 91"/>
                  <a:gd name="T22" fmla="*/ 26 w 104"/>
                  <a:gd name="T23" fmla="*/ 87 h 91"/>
                  <a:gd name="T24" fmla="*/ 20 w 104"/>
                  <a:gd name="T25" fmla="*/ 80 h 91"/>
                  <a:gd name="T26" fmla="*/ 14 w 104"/>
                  <a:gd name="T27" fmla="*/ 80 h 91"/>
                  <a:gd name="T28" fmla="*/ 10 w 104"/>
                  <a:gd name="T29" fmla="*/ 87 h 91"/>
                  <a:gd name="T30" fmla="*/ 2 w 104"/>
                  <a:gd name="T31" fmla="*/ 82 h 91"/>
                  <a:gd name="T32" fmla="*/ 2 w 104"/>
                  <a:gd name="T33" fmla="*/ 74 h 91"/>
                  <a:gd name="T34" fmla="*/ 2 w 104"/>
                  <a:gd name="T35" fmla="*/ 67 h 91"/>
                  <a:gd name="T36" fmla="*/ 10 w 104"/>
                  <a:gd name="T37" fmla="*/ 63 h 91"/>
                  <a:gd name="T38" fmla="*/ 19 w 104"/>
                  <a:gd name="T39" fmla="*/ 36 h 91"/>
                  <a:gd name="T40" fmla="*/ 24 w 104"/>
                  <a:gd name="T41" fmla="*/ 28 h 91"/>
                  <a:gd name="T42" fmla="*/ 32 w 104"/>
                  <a:gd name="T43" fmla="*/ 23 h 91"/>
                  <a:gd name="T44" fmla="*/ 37 w 104"/>
                  <a:gd name="T45" fmla="*/ 17 h 91"/>
                  <a:gd name="T46" fmla="*/ 48 w 104"/>
                  <a:gd name="T47" fmla="*/ 17 h 91"/>
                  <a:gd name="T48" fmla="*/ 51 w 104"/>
                  <a:gd name="T49" fmla="*/ 16 h 91"/>
                  <a:gd name="T50" fmla="*/ 54 w 104"/>
                  <a:gd name="T51" fmla="*/ 23 h 91"/>
                  <a:gd name="T52" fmla="*/ 61 w 104"/>
                  <a:gd name="T53" fmla="*/ 21 h 91"/>
                  <a:gd name="T54" fmla="*/ 66 w 104"/>
                  <a:gd name="T55" fmla="*/ 16 h 91"/>
                  <a:gd name="T56" fmla="*/ 71 w 104"/>
                  <a:gd name="T57" fmla="*/ 9 h 91"/>
                  <a:gd name="T58" fmla="*/ 77 w 104"/>
                  <a:gd name="T59" fmla="*/ 2 h 91"/>
                  <a:gd name="T60" fmla="*/ 82 w 104"/>
                  <a:gd name="T61" fmla="*/ 0 h 91"/>
                  <a:gd name="T62" fmla="*/ 82 w 104"/>
                  <a:gd name="T63" fmla="*/ 6 h 91"/>
                  <a:gd name="T64" fmla="*/ 87 w 104"/>
                  <a:gd name="T65" fmla="*/ 16 h 91"/>
                  <a:gd name="T66" fmla="*/ 92 w 104"/>
                  <a:gd name="T67" fmla="*/ 17 h 91"/>
                  <a:gd name="T68" fmla="*/ 95 w 104"/>
                  <a:gd name="T69" fmla="*/ 23 h 91"/>
                  <a:gd name="T70" fmla="*/ 97 w 104"/>
                  <a:gd name="T71" fmla="*/ 28 h 91"/>
                  <a:gd name="T72" fmla="*/ 100 w 104"/>
                  <a:gd name="T73" fmla="*/ 33 h 91"/>
                  <a:gd name="T74" fmla="*/ 100 w 104"/>
                  <a:gd name="T75" fmla="*/ 36 h 91"/>
                  <a:gd name="T76" fmla="*/ 100 w 104"/>
                  <a:gd name="T77" fmla="*/ 41 h 91"/>
                  <a:gd name="T78" fmla="*/ 100 w 104"/>
                  <a:gd name="T79" fmla="*/ 50 h 91"/>
                  <a:gd name="T80" fmla="*/ 102 w 104"/>
                  <a:gd name="T81" fmla="*/ 65 h 91"/>
                  <a:gd name="T82" fmla="*/ 97 w 104"/>
                  <a:gd name="T83" fmla="*/ 68 h 91"/>
                  <a:gd name="T84" fmla="*/ 88 w 104"/>
                  <a:gd name="T85" fmla="*/ 6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91">
                    <a:moveTo>
                      <a:pt x="85" y="70"/>
                    </a:moveTo>
                    <a:lnTo>
                      <a:pt x="82" y="67"/>
                    </a:lnTo>
                    <a:lnTo>
                      <a:pt x="82" y="65"/>
                    </a:lnTo>
                    <a:lnTo>
                      <a:pt x="80" y="65"/>
                    </a:lnTo>
                    <a:lnTo>
                      <a:pt x="78" y="65"/>
                    </a:lnTo>
                    <a:lnTo>
                      <a:pt x="77" y="65"/>
                    </a:lnTo>
                    <a:lnTo>
                      <a:pt x="77" y="67"/>
                    </a:lnTo>
                    <a:lnTo>
                      <a:pt x="73" y="68"/>
                    </a:lnTo>
                    <a:lnTo>
                      <a:pt x="71" y="68"/>
                    </a:lnTo>
                    <a:lnTo>
                      <a:pt x="70" y="67"/>
                    </a:lnTo>
                    <a:lnTo>
                      <a:pt x="68" y="70"/>
                    </a:lnTo>
                    <a:lnTo>
                      <a:pt x="65" y="72"/>
                    </a:lnTo>
                    <a:lnTo>
                      <a:pt x="61" y="68"/>
                    </a:lnTo>
                    <a:lnTo>
                      <a:pt x="60" y="67"/>
                    </a:lnTo>
                    <a:lnTo>
                      <a:pt x="56" y="65"/>
                    </a:lnTo>
                    <a:lnTo>
                      <a:pt x="54" y="68"/>
                    </a:lnTo>
                    <a:lnTo>
                      <a:pt x="56" y="72"/>
                    </a:lnTo>
                    <a:lnTo>
                      <a:pt x="54" y="77"/>
                    </a:lnTo>
                    <a:lnTo>
                      <a:pt x="54" y="82"/>
                    </a:lnTo>
                    <a:lnTo>
                      <a:pt x="54" y="84"/>
                    </a:lnTo>
                    <a:lnTo>
                      <a:pt x="53" y="87"/>
                    </a:lnTo>
                    <a:lnTo>
                      <a:pt x="49" y="89"/>
                    </a:lnTo>
                    <a:lnTo>
                      <a:pt x="48" y="87"/>
                    </a:lnTo>
                    <a:lnTo>
                      <a:pt x="46" y="87"/>
                    </a:lnTo>
                    <a:lnTo>
                      <a:pt x="46" y="91"/>
                    </a:lnTo>
                    <a:lnTo>
                      <a:pt x="43" y="91"/>
                    </a:lnTo>
                    <a:lnTo>
                      <a:pt x="41" y="89"/>
                    </a:lnTo>
                    <a:lnTo>
                      <a:pt x="39" y="91"/>
                    </a:lnTo>
                    <a:lnTo>
                      <a:pt x="37" y="89"/>
                    </a:lnTo>
                    <a:lnTo>
                      <a:pt x="34" y="91"/>
                    </a:lnTo>
                    <a:lnTo>
                      <a:pt x="32" y="89"/>
                    </a:lnTo>
                    <a:lnTo>
                      <a:pt x="31" y="91"/>
                    </a:lnTo>
                    <a:lnTo>
                      <a:pt x="29" y="89"/>
                    </a:lnTo>
                    <a:lnTo>
                      <a:pt x="26" y="91"/>
                    </a:lnTo>
                    <a:lnTo>
                      <a:pt x="24" y="87"/>
                    </a:lnTo>
                    <a:lnTo>
                      <a:pt x="26" y="87"/>
                    </a:lnTo>
                    <a:lnTo>
                      <a:pt x="24" y="84"/>
                    </a:lnTo>
                    <a:lnTo>
                      <a:pt x="24" y="82"/>
                    </a:lnTo>
                    <a:lnTo>
                      <a:pt x="20" y="80"/>
                    </a:lnTo>
                    <a:lnTo>
                      <a:pt x="15" y="80"/>
                    </a:lnTo>
                    <a:lnTo>
                      <a:pt x="15" y="79"/>
                    </a:lnTo>
                    <a:lnTo>
                      <a:pt x="14" y="80"/>
                    </a:lnTo>
                    <a:lnTo>
                      <a:pt x="12" y="79"/>
                    </a:lnTo>
                    <a:lnTo>
                      <a:pt x="10" y="80"/>
                    </a:lnTo>
                    <a:lnTo>
                      <a:pt x="10" y="87"/>
                    </a:lnTo>
                    <a:lnTo>
                      <a:pt x="7" y="84"/>
                    </a:lnTo>
                    <a:lnTo>
                      <a:pt x="5" y="84"/>
                    </a:lnTo>
                    <a:lnTo>
                      <a:pt x="2" y="82"/>
                    </a:lnTo>
                    <a:lnTo>
                      <a:pt x="2" y="79"/>
                    </a:lnTo>
                    <a:lnTo>
                      <a:pt x="0" y="75"/>
                    </a:lnTo>
                    <a:lnTo>
                      <a:pt x="2" y="74"/>
                    </a:lnTo>
                    <a:lnTo>
                      <a:pt x="0" y="72"/>
                    </a:lnTo>
                    <a:lnTo>
                      <a:pt x="0" y="68"/>
                    </a:lnTo>
                    <a:lnTo>
                      <a:pt x="2" y="67"/>
                    </a:lnTo>
                    <a:lnTo>
                      <a:pt x="7" y="65"/>
                    </a:lnTo>
                    <a:lnTo>
                      <a:pt x="7" y="63"/>
                    </a:lnTo>
                    <a:lnTo>
                      <a:pt x="10" y="63"/>
                    </a:lnTo>
                    <a:lnTo>
                      <a:pt x="12" y="62"/>
                    </a:lnTo>
                    <a:lnTo>
                      <a:pt x="15" y="55"/>
                    </a:lnTo>
                    <a:lnTo>
                      <a:pt x="19" y="36"/>
                    </a:lnTo>
                    <a:lnTo>
                      <a:pt x="20" y="34"/>
                    </a:lnTo>
                    <a:lnTo>
                      <a:pt x="20" y="31"/>
                    </a:lnTo>
                    <a:lnTo>
                      <a:pt x="24" y="28"/>
                    </a:lnTo>
                    <a:lnTo>
                      <a:pt x="26" y="26"/>
                    </a:lnTo>
                    <a:lnTo>
                      <a:pt x="29" y="24"/>
                    </a:lnTo>
                    <a:lnTo>
                      <a:pt x="32" y="23"/>
                    </a:lnTo>
                    <a:lnTo>
                      <a:pt x="34" y="19"/>
                    </a:lnTo>
                    <a:lnTo>
                      <a:pt x="36" y="17"/>
                    </a:lnTo>
                    <a:lnTo>
                      <a:pt x="37" y="17"/>
                    </a:lnTo>
                    <a:lnTo>
                      <a:pt x="41" y="17"/>
                    </a:lnTo>
                    <a:lnTo>
                      <a:pt x="44" y="16"/>
                    </a:lnTo>
                    <a:lnTo>
                      <a:pt x="48" y="17"/>
                    </a:lnTo>
                    <a:lnTo>
                      <a:pt x="49" y="16"/>
                    </a:lnTo>
                    <a:lnTo>
                      <a:pt x="49" y="14"/>
                    </a:lnTo>
                    <a:lnTo>
                      <a:pt x="51" y="16"/>
                    </a:lnTo>
                    <a:lnTo>
                      <a:pt x="51" y="17"/>
                    </a:lnTo>
                    <a:lnTo>
                      <a:pt x="53" y="21"/>
                    </a:lnTo>
                    <a:lnTo>
                      <a:pt x="54" y="23"/>
                    </a:lnTo>
                    <a:lnTo>
                      <a:pt x="58" y="21"/>
                    </a:lnTo>
                    <a:lnTo>
                      <a:pt x="60" y="19"/>
                    </a:lnTo>
                    <a:lnTo>
                      <a:pt x="61" y="21"/>
                    </a:lnTo>
                    <a:lnTo>
                      <a:pt x="61" y="17"/>
                    </a:lnTo>
                    <a:lnTo>
                      <a:pt x="65" y="17"/>
                    </a:lnTo>
                    <a:lnTo>
                      <a:pt x="66" y="16"/>
                    </a:lnTo>
                    <a:lnTo>
                      <a:pt x="66" y="12"/>
                    </a:lnTo>
                    <a:lnTo>
                      <a:pt x="68" y="12"/>
                    </a:lnTo>
                    <a:lnTo>
                      <a:pt x="71" y="9"/>
                    </a:lnTo>
                    <a:lnTo>
                      <a:pt x="73" y="6"/>
                    </a:lnTo>
                    <a:lnTo>
                      <a:pt x="75" y="4"/>
                    </a:lnTo>
                    <a:lnTo>
                      <a:pt x="77" y="2"/>
                    </a:lnTo>
                    <a:lnTo>
                      <a:pt x="80" y="2"/>
                    </a:lnTo>
                    <a:lnTo>
                      <a:pt x="80" y="0"/>
                    </a:lnTo>
                    <a:lnTo>
                      <a:pt x="82" y="0"/>
                    </a:lnTo>
                    <a:lnTo>
                      <a:pt x="82" y="2"/>
                    </a:lnTo>
                    <a:lnTo>
                      <a:pt x="82" y="4"/>
                    </a:lnTo>
                    <a:lnTo>
                      <a:pt x="82" y="6"/>
                    </a:lnTo>
                    <a:lnTo>
                      <a:pt x="83" y="7"/>
                    </a:lnTo>
                    <a:lnTo>
                      <a:pt x="87" y="11"/>
                    </a:lnTo>
                    <a:lnTo>
                      <a:pt x="87" y="16"/>
                    </a:lnTo>
                    <a:lnTo>
                      <a:pt x="88" y="16"/>
                    </a:lnTo>
                    <a:lnTo>
                      <a:pt x="90" y="17"/>
                    </a:lnTo>
                    <a:lnTo>
                      <a:pt x="92" y="17"/>
                    </a:lnTo>
                    <a:lnTo>
                      <a:pt x="94" y="19"/>
                    </a:lnTo>
                    <a:lnTo>
                      <a:pt x="95" y="19"/>
                    </a:lnTo>
                    <a:lnTo>
                      <a:pt x="95" y="23"/>
                    </a:lnTo>
                    <a:lnTo>
                      <a:pt x="95" y="24"/>
                    </a:lnTo>
                    <a:lnTo>
                      <a:pt x="97" y="26"/>
                    </a:lnTo>
                    <a:lnTo>
                      <a:pt x="97" y="28"/>
                    </a:lnTo>
                    <a:lnTo>
                      <a:pt x="100" y="29"/>
                    </a:lnTo>
                    <a:lnTo>
                      <a:pt x="100" y="31"/>
                    </a:lnTo>
                    <a:lnTo>
                      <a:pt x="100" y="33"/>
                    </a:lnTo>
                    <a:lnTo>
                      <a:pt x="100" y="34"/>
                    </a:lnTo>
                    <a:lnTo>
                      <a:pt x="99" y="36"/>
                    </a:lnTo>
                    <a:lnTo>
                      <a:pt x="100" y="36"/>
                    </a:lnTo>
                    <a:lnTo>
                      <a:pt x="100" y="40"/>
                    </a:lnTo>
                    <a:lnTo>
                      <a:pt x="99" y="41"/>
                    </a:lnTo>
                    <a:lnTo>
                      <a:pt x="100" y="41"/>
                    </a:lnTo>
                    <a:lnTo>
                      <a:pt x="97" y="46"/>
                    </a:lnTo>
                    <a:lnTo>
                      <a:pt x="99" y="46"/>
                    </a:lnTo>
                    <a:lnTo>
                      <a:pt x="100" y="50"/>
                    </a:lnTo>
                    <a:lnTo>
                      <a:pt x="104" y="53"/>
                    </a:lnTo>
                    <a:lnTo>
                      <a:pt x="100" y="60"/>
                    </a:lnTo>
                    <a:lnTo>
                      <a:pt x="102" y="65"/>
                    </a:lnTo>
                    <a:lnTo>
                      <a:pt x="100" y="67"/>
                    </a:lnTo>
                    <a:lnTo>
                      <a:pt x="99" y="67"/>
                    </a:lnTo>
                    <a:lnTo>
                      <a:pt x="97" y="68"/>
                    </a:lnTo>
                    <a:lnTo>
                      <a:pt x="94" y="67"/>
                    </a:lnTo>
                    <a:lnTo>
                      <a:pt x="92" y="70"/>
                    </a:lnTo>
                    <a:lnTo>
                      <a:pt x="88" y="68"/>
                    </a:lnTo>
                    <a:lnTo>
                      <a:pt x="87" y="70"/>
                    </a:lnTo>
                    <a:lnTo>
                      <a:pt x="85" y="70"/>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52">
                <a:extLst>
                  <a:ext uri="{FF2B5EF4-FFF2-40B4-BE49-F238E27FC236}">
                    <a16:creationId xmlns:a16="http://schemas.microsoft.com/office/drawing/2014/main" id="{04FBEAEA-14BB-423B-9B98-80568F8E64B9}"/>
                  </a:ext>
                </a:extLst>
              </p:cNvPr>
              <p:cNvSpPr>
                <a:spLocks noEditPoints="1"/>
              </p:cNvSpPr>
              <p:nvPr/>
            </p:nvSpPr>
            <p:spPr bwMode="gray">
              <a:xfrm>
                <a:off x="2776106" y="7450575"/>
                <a:ext cx="357705" cy="469022"/>
              </a:xfrm>
              <a:custGeom>
                <a:avLst/>
                <a:gdLst>
                  <a:gd name="T0" fmla="*/ 0 w 527"/>
                  <a:gd name="T1" fmla="*/ 647 h 691"/>
                  <a:gd name="T2" fmla="*/ 0 w 527"/>
                  <a:gd name="T3" fmla="*/ 557 h 691"/>
                  <a:gd name="T4" fmla="*/ 0 w 527"/>
                  <a:gd name="T5" fmla="*/ 490 h 691"/>
                  <a:gd name="T6" fmla="*/ 43 w 527"/>
                  <a:gd name="T7" fmla="*/ 409 h 691"/>
                  <a:gd name="T8" fmla="*/ 55 w 527"/>
                  <a:gd name="T9" fmla="*/ 395 h 691"/>
                  <a:gd name="T10" fmla="*/ 79 w 527"/>
                  <a:gd name="T11" fmla="*/ 395 h 691"/>
                  <a:gd name="T12" fmla="*/ 106 w 527"/>
                  <a:gd name="T13" fmla="*/ 373 h 691"/>
                  <a:gd name="T14" fmla="*/ 201 w 527"/>
                  <a:gd name="T15" fmla="*/ 358 h 691"/>
                  <a:gd name="T16" fmla="*/ 269 w 527"/>
                  <a:gd name="T17" fmla="*/ 290 h 691"/>
                  <a:gd name="T18" fmla="*/ 332 w 527"/>
                  <a:gd name="T19" fmla="*/ 225 h 691"/>
                  <a:gd name="T20" fmla="*/ 266 w 527"/>
                  <a:gd name="T21" fmla="*/ 189 h 691"/>
                  <a:gd name="T22" fmla="*/ 193 w 527"/>
                  <a:gd name="T23" fmla="*/ 165 h 691"/>
                  <a:gd name="T24" fmla="*/ 143 w 527"/>
                  <a:gd name="T25" fmla="*/ 142 h 691"/>
                  <a:gd name="T26" fmla="*/ 116 w 527"/>
                  <a:gd name="T27" fmla="*/ 121 h 691"/>
                  <a:gd name="T28" fmla="*/ 94 w 527"/>
                  <a:gd name="T29" fmla="*/ 89 h 691"/>
                  <a:gd name="T30" fmla="*/ 102 w 527"/>
                  <a:gd name="T31" fmla="*/ 46 h 691"/>
                  <a:gd name="T32" fmla="*/ 123 w 527"/>
                  <a:gd name="T33" fmla="*/ 31 h 691"/>
                  <a:gd name="T34" fmla="*/ 136 w 527"/>
                  <a:gd name="T35" fmla="*/ 53 h 691"/>
                  <a:gd name="T36" fmla="*/ 172 w 527"/>
                  <a:gd name="T37" fmla="*/ 80 h 691"/>
                  <a:gd name="T38" fmla="*/ 203 w 527"/>
                  <a:gd name="T39" fmla="*/ 79 h 691"/>
                  <a:gd name="T40" fmla="*/ 220 w 527"/>
                  <a:gd name="T41" fmla="*/ 67 h 691"/>
                  <a:gd name="T42" fmla="*/ 242 w 527"/>
                  <a:gd name="T43" fmla="*/ 57 h 691"/>
                  <a:gd name="T44" fmla="*/ 276 w 527"/>
                  <a:gd name="T45" fmla="*/ 67 h 691"/>
                  <a:gd name="T46" fmla="*/ 308 w 527"/>
                  <a:gd name="T47" fmla="*/ 51 h 691"/>
                  <a:gd name="T48" fmla="*/ 344 w 527"/>
                  <a:gd name="T49" fmla="*/ 45 h 691"/>
                  <a:gd name="T50" fmla="*/ 369 w 527"/>
                  <a:gd name="T51" fmla="*/ 40 h 691"/>
                  <a:gd name="T52" fmla="*/ 400 w 527"/>
                  <a:gd name="T53" fmla="*/ 38 h 691"/>
                  <a:gd name="T54" fmla="*/ 430 w 527"/>
                  <a:gd name="T55" fmla="*/ 31 h 691"/>
                  <a:gd name="T56" fmla="*/ 453 w 527"/>
                  <a:gd name="T57" fmla="*/ 24 h 691"/>
                  <a:gd name="T58" fmla="*/ 480 w 527"/>
                  <a:gd name="T59" fmla="*/ 14 h 691"/>
                  <a:gd name="T60" fmla="*/ 497 w 527"/>
                  <a:gd name="T61" fmla="*/ 0 h 691"/>
                  <a:gd name="T62" fmla="*/ 521 w 527"/>
                  <a:gd name="T63" fmla="*/ 7 h 691"/>
                  <a:gd name="T64" fmla="*/ 510 w 527"/>
                  <a:gd name="T65" fmla="*/ 38 h 691"/>
                  <a:gd name="T66" fmla="*/ 515 w 527"/>
                  <a:gd name="T67" fmla="*/ 72 h 691"/>
                  <a:gd name="T68" fmla="*/ 514 w 527"/>
                  <a:gd name="T69" fmla="*/ 79 h 691"/>
                  <a:gd name="T70" fmla="*/ 527 w 527"/>
                  <a:gd name="T71" fmla="*/ 79 h 691"/>
                  <a:gd name="T72" fmla="*/ 515 w 527"/>
                  <a:gd name="T73" fmla="*/ 79 h 691"/>
                  <a:gd name="T74" fmla="*/ 500 w 527"/>
                  <a:gd name="T75" fmla="*/ 108 h 691"/>
                  <a:gd name="T76" fmla="*/ 498 w 527"/>
                  <a:gd name="T77" fmla="*/ 130 h 691"/>
                  <a:gd name="T78" fmla="*/ 476 w 527"/>
                  <a:gd name="T79" fmla="*/ 159 h 691"/>
                  <a:gd name="T80" fmla="*/ 463 w 527"/>
                  <a:gd name="T81" fmla="*/ 193 h 691"/>
                  <a:gd name="T82" fmla="*/ 447 w 527"/>
                  <a:gd name="T83" fmla="*/ 213 h 691"/>
                  <a:gd name="T84" fmla="*/ 425 w 527"/>
                  <a:gd name="T85" fmla="*/ 250 h 691"/>
                  <a:gd name="T86" fmla="*/ 400 w 527"/>
                  <a:gd name="T87" fmla="*/ 308 h 691"/>
                  <a:gd name="T88" fmla="*/ 359 w 527"/>
                  <a:gd name="T89" fmla="*/ 371 h 691"/>
                  <a:gd name="T90" fmla="*/ 300 w 527"/>
                  <a:gd name="T91" fmla="*/ 438 h 691"/>
                  <a:gd name="T92" fmla="*/ 254 w 527"/>
                  <a:gd name="T93" fmla="*/ 485 h 691"/>
                  <a:gd name="T94" fmla="*/ 191 w 527"/>
                  <a:gd name="T95" fmla="*/ 521 h 691"/>
                  <a:gd name="T96" fmla="*/ 155 w 527"/>
                  <a:gd name="T97" fmla="*/ 550 h 691"/>
                  <a:gd name="T98" fmla="*/ 121 w 527"/>
                  <a:gd name="T99" fmla="*/ 580 h 691"/>
                  <a:gd name="T100" fmla="*/ 79 w 527"/>
                  <a:gd name="T101" fmla="*/ 626 h 691"/>
                  <a:gd name="T102" fmla="*/ 72 w 527"/>
                  <a:gd name="T103" fmla="*/ 633 h 691"/>
                  <a:gd name="T104" fmla="*/ 51 w 527"/>
                  <a:gd name="T105" fmla="*/ 649 h 691"/>
                  <a:gd name="T106" fmla="*/ 55 w 527"/>
                  <a:gd name="T107" fmla="*/ 652 h 691"/>
                  <a:gd name="T108" fmla="*/ 50 w 527"/>
                  <a:gd name="T109" fmla="*/ 657 h 691"/>
                  <a:gd name="T110" fmla="*/ 48 w 527"/>
                  <a:gd name="T111" fmla="*/ 657 h 691"/>
                  <a:gd name="T112" fmla="*/ 45 w 527"/>
                  <a:gd name="T113" fmla="*/ 667 h 691"/>
                  <a:gd name="T114" fmla="*/ 41 w 527"/>
                  <a:gd name="T115" fmla="*/ 667 h 691"/>
                  <a:gd name="T116" fmla="*/ 34 w 527"/>
                  <a:gd name="T117" fmla="*/ 669 h 691"/>
                  <a:gd name="T118" fmla="*/ 28 w 527"/>
                  <a:gd name="T119" fmla="*/ 691 h 691"/>
                  <a:gd name="T120" fmla="*/ 125 w 527"/>
                  <a:gd name="T121" fmla="*/ 2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7" h="691">
                    <a:moveTo>
                      <a:pt x="28" y="691"/>
                    </a:moveTo>
                    <a:lnTo>
                      <a:pt x="28" y="688"/>
                    </a:lnTo>
                    <a:lnTo>
                      <a:pt x="11" y="666"/>
                    </a:lnTo>
                    <a:lnTo>
                      <a:pt x="6" y="659"/>
                    </a:lnTo>
                    <a:lnTo>
                      <a:pt x="0" y="650"/>
                    </a:lnTo>
                    <a:lnTo>
                      <a:pt x="0" y="647"/>
                    </a:lnTo>
                    <a:lnTo>
                      <a:pt x="0" y="618"/>
                    </a:lnTo>
                    <a:lnTo>
                      <a:pt x="0" y="608"/>
                    </a:lnTo>
                    <a:lnTo>
                      <a:pt x="0" y="587"/>
                    </a:lnTo>
                    <a:lnTo>
                      <a:pt x="0" y="574"/>
                    </a:lnTo>
                    <a:lnTo>
                      <a:pt x="0" y="560"/>
                    </a:lnTo>
                    <a:lnTo>
                      <a:pt x="0" y="557"/>
                    </a:lnTo>
                    <a:lnTo>
                      <a:pt x="0" y="545"/>
                    </a:lnTo>
                    <a:lnTo>
                      <a:pt x="0" y="536"/>
                    </a:lnTo>
                    <a:lnTo>
                      <a:pt x="0" y="521"/>
                    </a:lnTo>
                    <a:lnTo>
                      <a:pt x="0" y="507"/>
                    </a:lnTo>
                    <a:lnTo>
                      <a:pt x="0" y="497"/>
                    </a:lnTo>
                    <a:lnTo>
                      <a:pt x="0" y="490"/>
                    </a:lnTo>
                    <a:lnTo>
                      <a:pt x="0" y="489"/>
                    </a:lnTo>
                    <a:lnTo>
                      <a:pt x="0" y="473"/>
                    </a:lnTo>
                    <a:lnTo>
                      <a:pt x="0" y="465"/>
                    </a:lnTo>
                    <a:lnTo>
                      <a:pt x="2" y="461"/>
                    </a:lnTo>
                    <a:lnTo>
                      <a:pt x="17" y="448"/>
                    </a:lnTo>
                    <a:lnTo>
                      <a:pt x="43" y="409"/>
                    </a:lnTo>
                    <a:lnTo>
                      <a:pt x="46" y="405"/>
                    </a:lnTo>
                    <a:lnTo>
                      <a:pt x="48" y="404"/>
                    </a:lnTo>
                    <a:lnTo>
                      <a:pt x="48" y="402"/>
                    </a:lnTo>
                    <a:lnTo>
                      <a:pt x="50" y="400"/>
                    </a:lnTo>
                    <a:lnTo>
                      <a:pt x="51" y="398"/>
                    </a:lnTo>
                    <a:lnTo>
                      <a:pt x="55" y="395"/>
                    </a:lnTo>
                    <a:lnTo>
                      <a:pt x="55" y="397"/>
                    </a:lnTo>
                    <a:lnTo>
                      <a:pt x="57" y="395"/>
                    </a:lnTo>
                    <a:lnTo>
                      <a:pt x="58" y="397"/>
                    </a:lnTo>
                    <a:lnTo>
                      <a:pt x="60" y="397"/>
                    </a:lnTo>
                    <a:lnTo>
                      <a:pt x="60" y="395"/>
                    </a:lnTo>
                    <a:lnTo>
                      <a:pt x="79" y="395"/>
                    </a:lnTo>
                    <a:lnTo>
                      <a:pt x="87" y="392"/>
                    </a:lnTo>
                    <a:lnTo>
                      <a:pt x="92" y="392"/>
                    </a:lnTo>
                    <a:lnTo>
                      <a:pt x="99" y="387"/>
                    </a:lnTo>
                    <a:lnTo>
                      <a:pt x="102" y="381"/>
                    </a:lnTo>
                    <a:lnTo>
                      <a:pt x="102" y="378"/>
                    </a:lnTo>
                    <a:lnTo>
                      <a:pt x="106" y="373"/>
                    </a:lnTo>
                    <a:lnTo>
                      <a:pt x="125" y="364"/>
                    </a:lnTo>
                    <a:lnTo>
                      <a:pt x="135" y="361"/>
                    </a:lnTo>
                    <a:lnTo>
                      <a:pt x="152" y="356"/>
                    </a:lnTo>
                    <a:lnTo>
                      <a:pt x="182" y="358"/>
                    </a:lnTo>
                    <a:lnTo>
                      <a:pt x="198" y="358"/>
                    </a:lnTo>
                    <a:lnTo>
                      <a:pt x="201" y="358"/>
                    </a:lnTo>
                    <a:lnTo>
                      <a:pt x="210" y="351"/>
                    </a:lnTo>
                    <a:lnTo>
                      <a:pt x="230" y="330"/>
                    </a:lnTo>
                    <a:lnTo>
                      <a:pt x="237" y="322"/>
                    </a:lnTo>
                    <a:lnTo>
                      <a:pt x="250" y="308"/>
                    </a:lnTo>
                    <a:lnTo>
                      <a:pt x="259" y="300"/>
                    </a:lnTo>
                    <a:lnTo>
                      <a:pt x="269" y="290"/>
                    </a:lnTo>
                    <a:lnTo>
                      <a:pt x="279" y="278"/>
                    </a:lnTo>
                    <a:lnTo>
                      <a:pt x="295" y="262"/>
                    </a:lnTo>
                    <a:lnTo>
                      <a:pt x="300" y="259"/>
                    </a:lnTo>
                    <a:lnTo>
                      <a:pt x="322" y="235"/>
                    </a:lnTo>
                    <a:lnTo>
                      <a:pt x="329" y="228"/>
                    </a:lnTo>
                    <a:lnTo>
                      <a:pt x="332" y="225"/>
                    </a:lnTo>
                    <a:lnTo>
                      <a:pt x="354" y="203"/>
                    </a:lnTo>
                    <a:lnTo>
                      <a:pt x="351" y="203"/>
                    </a:lnTo>
                    <a:lnTo>
                      <a:pt x="305" y="203"/>
                    </a:lnTo>
                    <a:lnTo>
                      <a:pt x="303" y="203"/>
                    </a:lnTo>
                    <a:lnTo>
                      <a:pt x="267" y="189"/>
                    </a:lnTo>
                    <a:lnTo>
                      <a:pt x="266" y="189"/>
                    </a:lnTo>
                    <a:lnTo>
                      <a:pt x="235" y="179"/>
                    </a:lnTo>
                    <a:lnTo>
                      <a:pt x="227" y="177"/>
                    </a:lnTo>
                    <a:lnTo>
                      <a:pt x="213" y="172"/>
                    </a:lnTo>
                    <a:lnTo>
                      <a:pt x="204" y="169"/>
                    </a:lnTo>
                    <a:lnTo>
                      <a:pt x="198" y="167"/>
                    </a:lnTo>
                    <a:lnTo>
                      <a:pt x="193" y="165"/>
                    </a:lnTo>
                    <a:lnTo>
                      <a:pt x="187" y="164"/>
                    </a:lnTo>
                    <a:lnTo>
                      <a:pt x="172" y="159"/>
                    </a:lnTo>
                    <a:lnTo>
                      <a:pt x="164" y="155"/>
                    </a:lnTo>
                    <a:lnTo>
                      <a:pt x="153" y="152"/>
                    </a:lnTo>
                    <a:lnTo>
                      <a:pt x="150" y="150"/>
                    </a:lnTo>
                    <a:lnTo>
                      <a:pt x="143" y="142"/>
                    </a:lnTo>
                    <a:lnTo>
                      <a:pt x="135" y="133"/>
                    </a:lnTo>
                    <a:lnTo>
                      <a:pt x="128" y="131"/>
                    </a:lnTo>
                    <a:lnTo>
                      <a:pt x="125" y="130"/>
                    </a:lnTo>
                    <a:lnTo>
                      <a:pt x="121" y="123"/>
                    </a:lnTo>
                    <a:lnTo>
                      <a:pt x="118" y="121"/>
                    </a:lnTo>
                    <a:lnTo>
                      <a:pt x="116" y="121"/>
                    </a:lnTo>
                    <a:lnTo>
                      <a:pt x="114" y="109"/>
                    </a:lnTo>
                    <a:lnTo>
                      <a:pt x="109" y="106"/>
                    </a:lnTo>
                    <a:lnTo>
                      <a:pt x="108" y="106"/>
                    </a:lnTo>
                    <a:lnTo>
                      <a:pt x="106" y="106"/>
                    </a:lnTo>
                    <a:lnTo>
                      <a:pt x="102" y="96"/>
                    </a:lnTo>
                    <a:lnTo>
                      <a:pt x="94" y="89"/>
                    </a:lnTo>
                    <a:lnTo>
                      <a:pt x="89" y="75"/>
                    </a:lnTo>
                    <a:lnTo>
                      <a:pt x="85" y="74"/>
                    </a:lnTo>
                    <a:lnTo>
                      <a:pt x="85" y="70"/>
                    </a:lnTo>
                    <a:lnTo>
                      <a:pt x="87" y="68"/>
                    </a:lnTo>
                    <a:lnTo>
                      <a:pt x="99" y="51"/>
                    </a:lnTo>
                    <a:lnTo>
                      <a:pt x="102" y="46"/>
                    </a:lnTo>
                    <a:lnTo>
                      <a:pt x="114" y="28"/>
                    </a:lnTo>
                    <a:lnTo>
                      <a:pt x="118" y="26"/>
                    </a:lnTo>
                    <a:lnTo>
                      <a:pt x="118" y="29"/>
                    </a:lnTo>
                    <a:lnTo>
                      <a:pt x="119" y="28"/>
                    </a:lnTo>
                    <a:lnTo>
                      <a:pt x="119" y="29"/>
                    </a:lnTo>
                    <a:lnTo>
                      <a:pt x="123" y="31"/>
                    </a:lnTo>
                    <a:lnTo>
                      <a:pt x="125" y="33"/>
                    </a:lnTo>
                    <a:lnTo>
                      <a:pt x="126" y="31"/>
                    </a:lnTo>
                    <a:lnTo>
                      <a:pt x="126" y="33"/>
                    </a:lnTo>
                    <a:lnTo>
                      <a:pt x="128" y="40"/>
                    </a:lnTo>
                    <a:lnTo>
                      <a:pt x="130" y="41"/>
                    </a:lnTo>
                    <a:lnTo>
                      <a:pt x="136" y="53"/>
                    </a:lnTo>
                    <a:lnTo>
                      <a:pt x="147" y="65"/>
                    </a:lnTo>
                    <a:lnTo>
                      <a:pt x="155" y="70"/>
                    </a:lnTo>
                    <a:lnTo>
                      <a:pt x="157" y="72"/>
                    </a:lnTo>
                    <a:lnTo>
                      <a:pt x="160" y="74"/>
                    </a:lnTo>
                    <a:lnTo>
                      <a:pt x="167" y="79"/>
                    </a:lnTo>
                    <a:lnTo>
                      <a:pt x="172" y="80"/>
                    </a:lnTo>
                    <a:lnTo>
                      <a:pt x="176" y="80"/>
                    </a:lnTo>
                    <a:lnTo>
                      <a:pt x="182" y="82"/>
                    </a:lnTo>
                    <a:lnTo>
                      <a:pt x="189" y="80"/>
                    </a:lnTo>
                    <a:lnTo>
                      <a:pt x="196" y="80"/>
                    </a:lnTo>
                    <a:lnTo>
                      <a:pt x="199" y="80"/>
                    </a:lnTo>
                    <a:lnTo>
                      <a:pt x="203" y="79"/>
                    </a:lnTo>
                    <a:lnTo>
                      <a:pt x="201" y="79"/>
                    </a:lnTo>
                    <a:lnTo>
                      <a:pt x="206" y="77"/>
                    </a:lnTo>
                    <a:lnTo>
                      <a:pt x="206" y="75"/>
                    </a:lnTo>
                    <a:lnTo>
                      <a:pt x="210" y="75"/>
                    </a:lnTo>
                    <a:lnTo>
                      <a:pt x="215" y="72"/>
                    </a:lnTo>
                    <a:lnTo>
                      <a:pt x="220" y="67"/>
                    </a:lnTo>
                    <a:lnTo>
                      <a:pt x="227" y="67"/>
                    </a:lnTo>
                    <a:lnTo>
                      <a:pt x="232" y="63"/>
                    </a:lnTo>
                    <a:lnTo>
                      <a:pt x="233" y="62"/>
                    </a:lnTo>
                    <a:lnTo>
                      <a:pt x="237" y="62"/>
                    </a:lnTo>
                    <a:lnTo>
                      <a:pt x="240" y="58"/>
                    </a:lnTo>
                    <a:lnTo>
                      <a:pt x="242" y="57"/>
                    </a:lnTo>
                    <a:lnTo>
                      <a:pt x="244" y="57"/>
                    </a:lnTo>
                    <a:lnTo>
                      <a:pt x="252" y="62"/>
                    </a:lnTo>
                    <a:lnTo>
                      <a:pt x="259" y="62"/>
                    </a:lnTo>
                    <a:lnTo>
                      <a:pt x="266" y="62"/>
                    </a:lnTo>
                    <a:lnTo>
                      <a:pt x="271" y="65"/>
                    </a:lnTo>
                    <a:lnTo>
                      <a:pt x="276" y="67"/>
                    </a:lnTo>
                    <a:lnTo>
                      <a:pt x="288" y="63"/>
                    </a:lnTo>
                    <a:lnTo>
                      <a:pt x="298" y="57"/>
                    </a:lnTo>
                    <a:lnTo>
                      <a:pt x="300" y="55"/>
                    </a:lnTo>
                    <a:lnTo>
                      <a:pt x="303" y="53"/>
                    </a:lnTo>
                    <a:lnTo>
                      <a:pt x="305" y="51"/>
                    </a:lnTo>
                    <a:lnTo>
                      <a:pt x="308" y="51"/>
                    </a:lnTo>
                    <a:lnTo>
                      <a:pt x="312" y="46"/>
                    </a:lnTo>
                    <a:lnTo>
                      <a:pt x="325" y="41"/>
                    </a:lnTo>
                    <a:lnTo>
                      <a:pt x="332" y="41"/>
                    </a:lnTo>
                    <a:lnTo>
                      <a:pt x="335" y="45"/>
                    </a:lnTo>
                    <a:lnTo>
                      <a:pt x="339" y="46"/>
                    </a:lnTo>
                    <a:lnTo>
                      <a:pt x="344" y="45"/>
                    </a:lnTo>
                    <a:lnTo>
                      <a:pt x="347" y="45"/>
                    </a:lnTo>
                    <a:lnTo>
                      <a:pt x="351" y="43"/>
                    </a:lnTo>
                    <a:lnTo>
                      <a:pt x="352" y="45"/>
                    </a:lnTo>
                    <a:lnTo>
                      <a:pt x="361" y="43"/>
                    </a:lnTo>
                    <a:lnTo>
                      <a:pt x="366" y="40"/>
                    </a:lnTo>
                    <a:lnTo>
                      <a:pt x="369" y="40"/>
                    </a:lnTo>
                    <a:lnTo>
                      <a:pt x="373" y="36"/>
                    </a:lnTo>
                    <a:lnTo>
                      <a:pt x="378" y="36"/>
                    </a:lnTo>
                    <a:lnTo>
                      <a:pt x="381" y="34"/>
                    </a:lnTo>
                    <a:lnTo>
                      <a:pt x="385" y="34"/>
                    </a:lnTo>
                    <a:lnTo>
                      <a:pt x="388" y="34"/>
                    </a:lnTo>
                    <a:lnTo>
                      <a:pt x="400" y="38"/>
                    </a:lnTo>
                    <a:lnTo>
                      <a:pt x="403" y="38"/>
                    </a:lnTo>
                    <a:lnTo>
                      <a:pt x="419" y="34"/>
                    </a:lnTo>
                    <a:lnTo>
                      <a:pt x="420" y="33"/>
                    </a:lnTo>
                    <a:lnTo>
                      <a:pt x="427" y="33"/>
                    </a:lnTo>
                    <a:lnTo>
                      <a:pt x="429" y="31"/>
                    </a:lnTo>
                    <a:lnTo>
                      <a:pt x="430" y="31"/>
                    </a:lnTo>
                    <a:lnTo>
                      <a:pt x="434" y="28"/>
                    </a:lnTo>
                    <a:lnTo>
                      <a:pt x="439" y="28"/>
                    </a:lnTo>
                    <a:lnTo>
                      <a:pt x="441" y="26"/>
                    </a:lnTo>
                    <a:lnTo>
                      <a:pt x="444" y="28"/>
                    </a:lnTo>
                    <a:lnTo>
                      <a:pt x="447" y="28"/>
                    </a:lnTo>
                    <a:lnTo>
                      <a:pt x="453" y="24"/>
                    </a:lnTo>
                    <a:lnTo>
                      <a:pt x="459" y="24"/>
                    </a:lnTo>
                    <a:lnTo>
                      <a:pt x="463" y="23"/>
                    </a:lnTo>
                    <a:lnTo>
                      <a:pt x="470" y="21"/>
                    </a:lnTo>
                    <a:lnTo>
                      <a:pt x="471" y="19"/>
                    </a:lnTo>
                    <a:lnTo>
                      <a:pt x="476" y="16"/>
                    </a:lnTo>
                    <a:lnTo>
                      <a:pt x="480" y="14"/>
                    </a:lnTo>
                    <a:lnTo>
                      <a:pt x="481" y="12"/>
                    </a:lnTo>
                    <a:lnTo>
                      <a:pt x="483" y="6"/>
                    </a:lnTo>
                    <a:lnTo>
                      <a:pt x="485" y="4"/>
                    </a:lnTo>
                    <a:lnTo>
                      <a:pt x="488" y="2"/>
                    </a:lnTo>
                    <a:lnTo>
                      <a:pt x="490" y="2"/>
                    </a:lnTo>
                    <a:lnTo>
                      <a:pt x="497" y="0"/>
                    </a:lnTo>
                    <a:lnTo>
                      <a:pt x="498" y="2"/>
                    </a:lnTo>
                    <a:lnTo>
                      <a:pt x="505" y="4"/>
                    </a:lnTo>
                    <a:lnTo>
                      <a:pt x="509" y="6"/>
                    </a:lnTo>
                    <a:lnTo>
                      <a:pt x="514" y="6"/>
                    </a:lnTo>
                    <a:lnTo>
                      <a:pt x="519" y="7"/>
                    </a:lnTo>
                    <a:lnTo>
                      <a:pt x="521" y="7"/>
                    </a:lnTo>
                    <a:lnTo>
                      <a:pt x="519" y="14"/>
                    </a:lnTo>
                    <a:lnTo>
                      <a:pt x="519" y="16"/>
                    </a:lnTo>
                    <a:lnTo>
                      <a:pt x="512" y="24"/>
                    </a:lnTo>
                    <a:lnTo>
                      <a:pt x="512" y="28"/>
                    </a:lnTo>
                    <a:lnTo>
                      <a:pt x="510" y="33"/>
                    </a:lnTo>
                    <a:lnTo>
                      <a:pt x="510" y="38"/>
                    </a:lnTo>
                    <a:lnTo>
                      <a:pt x="512" y="41"/>
                    </a:lnTo>
                    <a:lnTo>
                      <a:pt x="515" y="43"/>
                    </a:lnTo>
                    <a:lnTo>
                      <a:pt x="514" y="48"/>
                    </a:lnTo>
                    <a:lnTo>
                      <a:pt x="512" y="51"/>
                    </a:lnTo>
                    <a:lnTo>
                      <a:pt x="514" y="67"/>
                    </a:lnTo>
                    <a:lnTo>
                      <a:pt x="515" y="72"/>
                    </a:lnTo>
                    <a:lnTo>
                      <a:pt x="512" y="74"/>
                    </a:lnTo>
                    <a:lnTo>
                      <a:pt x="512" y="77"/>
                    </a:lnTo>
                    <a:lnTo>
                      <a:pt x="510" y="77"/>
                    </a:lnTo>
                    <a:lnTo>
                      <a:pt x="509" y="79"/>
                    </a:lnTo>
                    <a:lnTo>
                      <a:pt x="509" y="80"/>
                    </a:lnTo>
                    <a:lnTo>
                      <a:pt x="514" y="79"/>
                    </a:lnTo>
                    <a:lnTo>
                      <a:pt x="519" y="79"/>
                    </a:lnTo>
                    <a:lnTo>
                      <a:pt x="517" y="77"/>
                    </a:lnTo>
                    <a:lnTo>
                      <a:pt x="515" y="74"/>
                    </a:lnTo>
                    <a:lnTo>
                      <a:pt x="521" y="77"/>
                    </a:lnTo>
                    <a:lnTo>
                      <a:pt x="526" y="77"/>
                    </a:lnTo>
                    <a:lnTo>
                      <a:pt x="527" y="79"/>
                    </a:lnTo>
                    <a:lnTo>
                      <a:pt x="526" y="82"/>
                    </a:lnTo>
                    <a:lnTo>
                      <a:pt x="524" y="82"/>
                    </a:lnTo>
                    <a:lnTo>
                      <a:pt x="521" y="82"/>
                    </a:lnTo>
                    <a:lnTo>
                      <a:pt x="521" y="80"/>
                    </a:lnTo>
                    <a:lnTo>
                      <a:pt x="519" y="79"/>
                    </a:lnTo>
                    <a:lnTo>
                      <a:pt x="515" y="79"/>
                    </a:lnTo>
                    <a:lnTo>
                      <a:pt x="507" y="80"/>
                    </a:lnTo>
                    <a:lnTo>
                      <a:pt x="502" y="85"/>
                    </a:lnTo>
                    <a:lnTo>
                      <a:pt x="502" y="92"/>
                    </a:lnTo>
                    <a:lnTo>
                      <a:pt x="500" y="96"/>
                    </a:lnTo>
                    <a:lnTo>
                      <a:pt x="502" y="101"/>
                    </a:lnTo>
                    <a:lnTo>
                      <a:pt x="500" y="108"/>
                    </a:lnTo>
                    <a:lnTo>
                      <a:pt x="498" y="108"/>
                    </a:lnTo>
                    <a:lnTo>
                      <a:pt x="497" y="118"/>
                    </a:lnTo>
                    <a:lnTo>
                      <a:pt x="497" y="121"/>
                    </a:lnTo>
                    <a:lnTo>
                      <a:pt x="497" y="125"/>
                    </a:lnTo>
                    <a:lnTo>
                      <a:pt x="498" y="128"/>
                    </a:lnTo>
                    <a:lnTo>
                      <a:pt x="498" y="130"/>
                    </a:lnTo>
                    <a:lnTo>
                      <a:pt x="493" y="137"/>
                    </a:lnTo>
                    <a:lnTo>
                      <a:pt x="492" y="138"/>
                    </a:lnTo>
                    <a:lnTo>
                      <a:pt x="488" y="142"/>
                    </a:lnTo>
                    <a:lnTo>
                      <a:pt x="488" y="148"/>
                    </a:lnTo>
                    <a:lnTo>
                      <a:pt x="478" y="157"/>
                    </a:lnTo>
                    <a:lnTo>
                      <a:pt x="476" y="159"/>
                    </a:lnTo>
                    <a:lnTo>
                      <a:pt x="475" y="167"/>
                    </a:lnTo>
                    <a:lnTo>
                      <a:pt x="473" y="171"/>
                    </a:lnTo>
                    <a:lnTo>
                      <a:pt x="473" y="176"/>
                    </a:lnTo>
                    <a:lnTo>
                      <a:pt x="466" y="182"/>
                    </a:lnTo>
                    <a:lnTo>
                      <a:pt x="463" y="188"/>
                    </a:lnTo>
                    <a:lnTo>
                      <a:pt x="463" y="193"/>
                    </a:lnTo>
                    <a:lnTo>
                      <a:pt x="459" y="194"/>
                    </a:lnTo>
                    <a:lnTo>
                      <a:pt x="454" y="198"/>
                    </a:lnTo>
                    <a:lnTo>
                      <a:pt x="447" y="206"/>
                    </a:lnTo>
                    <a:lnTo>
                      <a:pt x="446" y="211"/>
                    </a:lnTo>
                    <a:lnTo>
                      <a:pt x="446" y="213"/>
                    </a:lnTo>
                    <a:lnTo>
                      <a:pt x="447" y="213"/>
                    </a:lnTo>
                    <a:lnTo>
                      <a:pt x="447" y="215"/>
                    </a:lnTo>
                    <a:lnTo>
                      <a:pt x="444" y="220"/>
                    </a:lnTo>
                    <a:lnTo>
                      <a:pt x="444" y="222"/>
                    </a:lnTo>
                    <a:lnTo>
                      <a:pt x="439" y="230"/>
                    </a:lnTo>
                    <a:lnTo>
                      <a:pt x="425" y="249"/>
                    </a:lnTo>
                    <a:lnTo>
                      <a:pt x="425" y="250"/>
                    </a:lnTo>
                    <a:lnTo>
                      <a:pt x="415" y="266"/>
                    </a:lnTo>
                    <a:lnTo>
                      <a:pt x="410" y="281"/>
                    </a:lnTo>
                    <a:lnTo>
                      <a:pt x="408" y="290"/>
                    </a:lnTo>
                    <a:lnTo>
                      <a:pt x="408" y="293"/>
                    </a:lnTo>
                    <a:lnTo>
                      <a:pt x="402" y="305"/>
                    </a:lnTo>
                    <a:lnTo>
                      <a:pt x="400" y="308"/>
                    </a:lnTo>
                    <a:lnTo>
                      <a:pt x="390" y="324"/>
                    </a:lnTo>
                    <a:lnTo>
                      <a:pt x="386" y="330"/>
                    </a:lnTo>
                    <a:lnTo>
                      <a:pt x="381" y="337"/>
                    </a:lnTo>
                    <a:lnTo>
                      <a:pt x="369" y="353"/>
                    </a:lnTo>
                    <a:lnTo>
                      <a:pt x="366" y="358"/>
                    </a:lnTo>
                    <a:lnTo>
                      <a:pt x="359" y="371"/>
                    </a:lnTo>
                    <a:lnTo>
                      <a:pt x="351" y="381"/>
                    </a:lnTo>
                    <a:lnTo>
                      <a:pt x="342" y="393"/>
                    </a:lnTo>
                    <a:lnTo>
                      <a:pt x="335" y="398"/>
                    </a:lnTo>
                    <a:lnTo>
                      <a:pt x="327" y="409"/>
                    </a:lnTo>
                    <a:lnTo>
                      <a:pt x="313" y="422"/>
                    </a:lnTo>
                    <a:lnTo>
                      <a:pt x="300" y="438"/>
                    </a:lnTo>
                    <a:lnTo>
                      <a:pt x="288" y="451"/>
                    </a:lnTo>
                    <a:lnTo>
                      <a:pt x="271" y="467"/>
                    </a:lnTo>
                    <a:lnTo>
                      <a:pt x="269" y="470"/>
                    </a:lnTo>
                    <a:lnTo>
                      <a:pt x="264" y="473"/>
                    </a:lnTo>
                    <a:lnTo>
                      <a:pt x="259" y="480"/>
                    </a:lnTo>
                    <a:lnTo>
                      <a:pt x="254" y="485"/>
                    </a:lnTo>
                    <a:lnTo>
                      <a:pt x="249" y="489"/>
                    </a:lnTo>
                    <a:lnTo>
                      <a:pt x="244" y="490"/>
                    </a:lnTo>
                    <a:lnTo>
                      <a:pt x="225" y="502"/>
                    </a:lnTo>
                    <a:lnTo>
                      <a:pt x="223" y="504"/>
                    </a:lnTo>
                    <a:lnTo>
                      <a:pt x="204" y="512"/>
                    </a:lnTo>
                    <a:lnTo>
                      <a:pt x="191" y="521"/>
                    </a:lnTo>
                    <a:lnTo>
                      <a:pt x="184" y="526"/>
                    </a:lnTo>
                    <a:lnTo>
                      <a:pt x="182" y="526"/>
                    </a:lnTo>
                    <a:lnTo>
                      <a:pt x="169" y="538"/>
                    </a:lnTo>
                    <a:lnTo>
                      <a:pt x="160" y="545"/>
                    </a:lnTo>
                    <a:lnTo>
                      <a:pt x="159" y="548"/>
                    </a:lnTo>
                    <a:lnTo>
                      <a:pt x="155" y="550"/>
                    </a:lnTo>
                    <a:lnTo>
                      <a:pt x="153" y="552"/>
                    </a:lnTo>
                    <a:lnTo>
                      <a:pt x="150" y="555"/>
                    </a:lnTo>
                    <a:lnTo>
                      <a:pt x="148" y="555"/>
                    </a:lnTo>
                    <a:lnTo>
                      <a:pt x="142" y="562"/>
                    </a:lnTo>
                    <a:lnTo>
                      <a:pt x="126" y="574"/>
                    </a:lnTo>
                    <a:lnTo>
                      <a:pt x="121" y="580"/>
                    </a:lnTo>
                    <a:lnTo>
                      <a:pt x="106" y="596"/>
                    </a:lnTo>
                    <a:lnTo>
                      <a:pt x="96" y="608"/>
                    </a:lnTo>
                    <a:lnTo>
                      <a:pt x="82" y="621"/>
                    </a:lnTo>
                    <a:lnTo>
                      <a:pt x="79" y="626"/>
                    </a:lnTo>
                    <a:lnTo>
                      <a:pt x="79" y="628"/>
                    </a:lnTo>
                    <a:lnTo>
                      <a:pt x="79" y="626"/>
                    </a:lnTo>
                    <a:lnTo>
                      <a:pt x="77" y="626"/>
                    </a:lnTo>
                    <a:lnTo>
                      <a:pt x="77" y="628"/>
                    </a:lnTo>
                    <a:lnTo>
                      <a:pt x="75" y="630"/>
                    </a:lnTo>
                    <a:lnTo>
                      <a:pt x="75" y="632"/>
                    </a:lnTo>
                    <a:lnTo>
                      <a:pt x="74" y="630"/>
                    </a:lnTo>
                    <a:lnTo>
                      <a:pt x="72" y="633"/>
                    </a:lnTo>
                    <a:lnTo>
                      <a:pt x="60" y="649"/>
                    </a:lnTo>
                    <a:lnTo>
                      <a:pt x="57" y="650"/>
                    </a:lnTo>
                    <a:lnTo>
                      <a:pt x="55" y="650"/>
                    </a:lnTo>
                    <a:lnTo>
                      <a:pt x="53" y="652"/>
                    </a:lnTo>
                    <a:lnTo>
                      <a:pt x="53" y="649"/>
                    </a:lnTo>
                    <a:lnTo>
                      <a:pt x="51" y="649"/>
                    </a:lnTo>
                    <a:lnTo>
                      <a:pt x="50" y="647"/>
                    </a:lnTo>
                    <a:lnTo>
                      <a:pt x="50" y="649"/>
                    </a:lnTo>
                    <a:lnTo>
                      <a:pt x="51" y="649"/>
                    </a:lnTo>
                    <a:lnTo>
                      <a:pt x="53" y="649"/>
                    </a:lnTo>
                    <a:lnTo>
                      <a:pt x="53" y="652"/>
                    </a:lnTo>
                    <a:lnTo>
                      <a:pt x="55" y="652"/>
                    </a:lnTo>
                    <a:lnTo>
                      <a:pt x="55" y="650"/>
                    </a:lnTo>
                    <a:lnTo>
                      <a:pt x="57" y="652"/>
                    </a:lnTo>
                    <a:lnTo>
                      <a:pt x="51" y="655"/>
                    </a:lnTo>
                    <a:lnTo>
                      <a:pt x="53" y="657"/>
                    </a:lnTo>
                    <a:lnTo>
                      <a:pt x="50" y="659"/>
                    </a:lnTo>
                    <a:lnTo>
                      <a:pt x="50" y="657"/>
                    </a:lnTo>
                    <a:lnTo>
                      <a:pt x="48" y="657"/>
                    </a:lnTo>
                    <a:lnTo>
                      <a:pt x="50" y="654"/>
                    </a:lnTo>
                    <a:lnTo>
                      <a:pt x="48" y="652"/>
                    </a:lnTo>
                    <a:lnTo>
                      <a:pt x="46" y="652"/>
                    </a:lnTo>
                    <a:lnTo>
                      <a:pt x="50" y="654"/>
                    </a:lnTo>
                    <a:lnTo>
                      <a:pt x="48" y="657"/>
                    </a:lnTo>
                    <a:lnTo>
                      <a:pt x="50" y="659"/>
                    </a:lnTo>
                    <a:lnTo>
                      <a:pt x="48" y="659"/>
                    </a:lnTo>
                    <a:lnTo>
                      <a:pt x="50" y="660"/>
                    </a:lnTo>
                    <a:lnTo>
                      <a:pt x="46" y="666"/>
                    </a:lnTo>
                    <a:lnTo>
                      <a:pt x="48" y="666"/>
                    </a:lnTo>
                    <a:lnTo>
                      <a:pt x="45" y="667"/>
                    </a:lnTo>
                    <a:lnTo>
                      <a:pt x="45" y="669"/>
                    </a:lnTo>
                    <a:lnTo>
                      <a:pt x="46" y="667"/>
                    </a:lnTo>
                    <a:lnTo>
                      <a:pt x="45" y="669"/>
                    </a:lnTo>
                    <a:lnTo>
                      <a:pt x="43" y="669"/>
                    </a:lnTo>
                    <a:lnTo>
                      <a:pt x="43" y="667"/>
                    </a:lnTo>
                    <a:lnTo>
                      <a:pt x="41" y="667"/>
                    </a:lnTo>
                    <a:lnTo>
                      <a:pt x="41" y="666"/>
                    </a:lnTo>
                    <a:lnTo>
                      <a:pt x="40" y="666"/>
                    </a:lnTo>
                    <a:lnTo>
                      <a:pt x="38" y="664"/>
                    </a:lnTo>
                    <a:lnTo>
                      <a:pt x="40" y="666"/>
                    </a:lnTo>
                    <a:lnTo>
                      <a:pt x="38" y="666"/>
                    </a:lnTo>
                    <a:lnTo>
                      <a:pt x="34" y="669"/>
                    </a:lnTo>
                    <a:lnTo>
                      <a:pt x="40" y="666"/>
                    </a:lnTo>
                    <a:lnTo>
                      <a:pt x="41" y="667"/>
                    </a:lnTo>
                    <a:lnTo>
                      <a:pt x="43" y="671"/>
                    </a:lnTo>
                    <a:lnTo>
                      <a:pt x="29" y="689"/>
                    </a:lnTo>
                    <a:lnTo>
                      <a:pt x="29" y="691"/>
                    </a:lnTo>
                    <a:lnTo>
                      <a:pt x="28" y="691"/>
                    </a:lnTo>
                    <a:close/>
                    <a:moveTo>
                      <a:pt x="125" y="28"/>
                    </a:moveTo>
                    <a:lnTo>
                      <a:pt x="125" y="29"/>
                    </a:lnTo>
                    <a:lnTo>
                      <a:pt x="125" y="28"/>
                    </a:lnTo>
                    <a:close/>
                    <a:moveTo>
                      <a:pt x="125" y="24"/>
                    </a:moveTo>
                    <a:lnTo>
                      <a:pt x="125" y="26"/>
                    </a:lnTo>
                    <a:lnTo>
                      <a:pt x="125" y="24"/>
                    </a:lnTo>
                    <a:close/>
                    <a:moveTo>
                      <a:pt x="315" y="38"/>
                    </a:moveTo>
                    <a:lnTo>
                      <a:pt x="317" y="38"/>
                    </a:lnTo>
                    <a:lnTo>
                      <a:pt x="317" y="40"/>
                    </a:lnTo>
                    <a:lnTo>
                      <a:pt x="315" y="40"/>
                    </a:lnTo>
                    <a:lnTo>
                      <a:pt x="315" y="38"/>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54">
                <a:extLst>
                  <a:ext uri="{FF2B5EF4-FFF2-40B4-BE49-F238E27FC236}">
                    <a16:creationId xmlns:a16="http://schemas.microsoft.com/office/drawing/2014/main" id="{6E7A459B-246E-445E-96A9-BB267146B9C5}"/>
                  </a:ext>
                </a:extLst>
              </p:cNvPr>
              <p:cNvSpPr>
                <a:spLocks/>
              </p:cNvSpPr>
              <p:nvPr/>
            </p:nvSpPr>
            <p:spPr bwMode="gray">
              <a:xfrm>
                <a:off x="2197125" y="7443109"/>
                <a:ext cx="382820" cy="300011"/>
              </a:xfrm>
              <a:custGeom>
                <a:avLst/>
                <a:gdLst>
                  <a:gd name="T0" fmla="*/ 493 w 564"/>
                  <a:gd name="T1" fmla="*/ 188 h 442"/>
                  <a:gd name="T2" fmla="*/ 476 w 564"/>
                  <a:gd name="T3" fmla="*/ 188 h 442"/>
                  <a:gd name="T4" fmla="*/ 461 w 564"/>
                  <a:gd name="T5" fmla="*/ 190 h 442"/>
                  <a:gd name="T6" fmla="*/ 459 w 564"/>
                  <a:gd name="T7" fmla="*/ 202 h 442"/>
                  <a:gd name="T8" fmla="*/ 452 w 564"/>
                  <a:gd name="T9" fmla="*/ 212 h 442"/>
                  <a:gd name="T10" fmla="*/ 454 w 564"/>
                  <a:gd name="T11" fmla="*/ 224 h 442"/>
                  <a:gd name="T12" fmla="*/ 468 w 564"/>
                  <a:gd name="T13" fmla="*/ 226 h 442"/>
                  <a:gd name="T14" fmla="*/ 478 w 564"/>
                  <a:gd name="T15" fmla="*/ 227 h 442"/>
                  <a:gd name="T16" fmla="*/ 496 w 564"/>
                  <a:gd name="T17" fmla="*/ 238 h 442"/>
                  <a:gd name="T18" fmla="*/ 503 w 564"/>
                  <a:gd name="T19" fmla="*/ 255 h 442"/>
                  <a:gd name="T20" fmla="*/ 519 w 564"/>
                  <a:gd name="T21" fmla="*/ 268 h 442"/>
                  <a:gd name="T22" fmla="*/ 530 w 564"/>
                  <a:gd name="T23" fmla="*/ 277 h 442"/>
                  <a:gd name="T24" fmla="*/ 546 w 564"/>
                  <a:gd name="T25" fmla="*/ 285 h 442"/>
                  <a:gd name="T26" fmla="*/ 547 w 564"/>
                  <a:gd name="T27" fmla="*/ 301 h 442"/>
                  <a:gd name="T28" fmla="*/ 563 w 564"/>
                  <a:gd name="T29" fmla="*/ 341 h 442"/>
                  <a:gd name="T30" fmla="*/ 474 w 564"/>
                  <a:gd name="T31" fmla="*/ 428 h 442"/>
                  <a:gd name="T32" fmla="*/ 401 w 564"/>
                  <a:gd name="T33" fmla="*/ 440 h 442"/>
                  <a:gd name="T34" fmla="*/ 372 w 564"/>
                  <a:gd name="T35" fmla="*/ 435 h 442"/>
                  <a:gd name="T36" fmla="*/ 340 w 564"/>
                  <a:gd name="T37" fmla="*/ 438 h 442"/>
                  <a:gd name="T38" fmla="*/ 330 w 564"/>
                  <a:gd name="T39" fmla="*/ 433 h 442"/>
                  <a:gd name="T40" fmla="*/ 309 w 564"/>
                  <a:gd name="T41" fmla="*/ 418 h 442"/>
                  <a:gd name="T42" fmla="*/ 294 w 564"/>
                  <a:gd name="T43" fmla="*/ 399 h 442"/>
                  <a:gd name="T44" fmla="*/ 275 w 564"/>
                  <a:gd name="T45" fmla="*/ 384 h 442"/>
                  <a:gd name="T46" fmla="*/ 253 w 564"/>
                  <a:gd name="T47" fmla="*/ 398 h 442"/>
                  <a:gd name="T48" fmla="*/ 228 w 564"/>
                  <a:gd name="T49" fmla="*/ 396 h 442"/>
                  <a:gd name="T50" fmla="*/ 204 w 564"/>
                  <a:gd name="T51" fmla="*/ 398 h 442"/>
                  <a:gd name="T52" fmla="*/ 182 w 564"/>
                  <a:gd name="T53" fmla="*/ 384 h 442"/>
                  <a:gd name="T54" fmla="*/ 167 w 564"/>
                  <a:gd name="T55" fmla="*/ 365 h 442"/>
                  <a:gd name="T56" fmla="*/ 156 w 564"/>
                  <a:gd name="T57" fmla="*/ 343 h 442"/>
                  <a:gd name="T58" fmla="*/ 150 w 564"/>
                  <a:gd name="T59" fmla="*/ 324 h 442"/>
                  <a:gd name="T60" fmla="*/ 122 w 564"/>
                  <a:gd name="T61" fmla="*/ 314 h 442"/>
                  <a:gd name="T62" fmla="*/ 117 w 564"/>
                  <a:gd name="T63" fmla="*/ 301 h 442"/>
                  <a:gd name="T64" fmla="*/ 114 w 564"/>
                  <a:gd name="T65" fmla="*/ 282 h 442"/>
                  <a:gd name="T66" fmla="*/ 95 w 564"/>
                  <a:gd name="T67" fmla="*/ 268 h 442"/>
                  <a:gd name="T68" fmla="*/ 83 w 564"/>
                  <a:gd name="T69" fmla="*/ 256 h 442"/>
                  <a:gd name="T70" fmla="*/ 70 w 564"/>
                  <a:gd name="T71" fmla="*/ 250 h 442"/>
                  <a:gd name="T72" fmla="*/ 51 w 564"/>
                  <a:gd name="T73" fmla="*/ 234 h 442"/>
                  <a:gd name="T74" fmla="*/ 51 w 564"/>
                  <a:gd name="T75" fmla="*/ 219 h 442"/>
                  <a:gd name="T76" fmla="*/ 26 w 564"/>
                  <a:gd name="T77" fmla="*/ 202 h 442"/>
                  <a:gd name="T78" fmla="*/ 2 w 564"/>
                  <a:gd name="T79" fmla="*/ 188 h 442"/>
                  <a:gd name="T80" fmla="*/ 22 w 564"/>
                  <a:gd name="T81" fmla="*/ 153 h 442"/>
                  <a:gd name="T82" fmla="*/ 37 w 564"/>
                  <a:gd name="T83" fmla="*/ 120 h 442"/>
                  <a:gd name="T84" fmla="*/ 44 w 564"/>
                  <a:gd name="T85" fmla="*/ 113 h 442"/>
                  <a:gd name="T86" fmla="*/ 46 w 564"/>
                  <a:gd name="T87" fmla="*/ 103 h 442"/>
                  <a:gd name="T88" fmla="*/ 53 w 564"/>
                  <a:gd name="T89" fmla="*/ 96 h 442"/>
                  <a:gd name="T90" fmla="*/ 63 w 564"/>
                  <a:gd name="T91" fmla="*/ 91 h 442"/>
                  <a:gd name="T92" fmla="*/ 70 w 564"/>
                  <a:gd name="T93" fmla="*/ 93 h 442"/>
                  <a:gd name="T94" fmla="*/ 82 w 564"/>
                  <a:gd name="T95" fmla="*/ 90 h 442"/>
                  <a:gd name="T96" fmla="*/ 90 w 564"/>
                  <a:gd name="T97" fmla="*/ 103 h 442"/>
                  <a:gd name="T98" fmla="*/ 145 w 564"/>
                  <a:gd name="T99" fmla="*/ 132 h 442"/>
                  <a:gd name="T100" fmla="*/ 230 w 564"/>
                  <a:gd name="T101" fmla="*/ 144 h 442"/>
                  <a:gd name="T102" fmla="*/ 274 w 564"/>
                  <a:gd name="T103" fmla="*/ 108 h 442"/>
                  <a:gd name="T104" fmla="*/ 362 w 564"/>
                  <a:gd name="T105" fmla="*/ 124 h 442"/>
                  <a:gd name="T106" fmla="*/ 417 w 564"/>
                  <a:gd name="T107" fmla="*/ 27 h 442"/>
                  <a:gd name="T108" fmla="*/ 437 w 564"/>
                  <a:gd name="T109" fmla="*/ 0 h 442"/>
                  <a:gd name="T110" fmla="*/ 462 w 564"/>
                  <a:gd name="T111" fmla="*/ 71 h 442"/>
                  <a:gd name="T112" fmla="*/ 498 w 564"/>
                  <a:gd name="T113" fmla="*/ 11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4" h="442">
                    <a:moveTo>
                      <a:pt x="505" y="137"/>
                    </a:moveTo>
                    <a:lnTo>
                      <a:pt x="507" y="161"/>
                    </a:lnTo>
                    <a:lnTo>
                      <a:pt x="505" y="183"/>
                    </a:lnTo>
                    <a:lnTo>
                      <a:pt x="503" y="185"/>
                    </a:lnTo>
                    <a:lnTo>
                      <a:pt x="502" y="187"/>
                    </a:lnTo>
                    <a:lnTo>
                      <a:pt x="500" y="188"/>
                    </a:lnTo>
                    <a:lnTo>
                      <a:pt x="498" y="188"/>
                    </a:lnTo>
                    <a:lnTo>
                      <a:pt x="496" y="188"/>
                    </a:lnTo>
                    <a:lnTo>
                      <a:pt x="493" y="188"/>
                    </a:lnTo>
                    <a:lnTo>
                      <a:pt x="493" y="192"/>
                    </a:lnTo>
                    <a:lnTo>
                      <a:pt x="490" y="192"/>
                    </a:lnTo>
                    <a:lnTo>
                      <a:pt x="486" y="195"/>
                    </a:lnTo>
                    <a:lnTo>
                      <a:pt x="483" y="193"/>
                    </a:lnTo>
                    <a:lnTo>
                      <a:pt x="483" y="190"/>
                    </a:lnTo>
                    <a:lnTo>
                      <a:pt x="479" y="190"/>
                    </a:lnTo>
                    <a:lnTo>
                      <a:pt x="478" y="190"/>
                    </a:lnTo>
                    <a:lnTo>
                      <a:pt x="476" y="190"/>
                    </a:lnTo>
                    <a:lnTo>
                      <a:pt x="476" y="188"/>
                    </a:lnTo>
                    <a:lnTo>
                      <a:pt x="474" y="190"/>
                    </a:lnTo>
                    <a:lnTo>
                      <a:pt x="473" y="188"/>
                    </a:lnTo>
                    <a:lnTo>
                      <a:pt x="473" y="190"/>
                    </a:lnTo>
                    <a:lnTo>
                      <a:pt x="471" y="190"/>
                    </a:lnTo>
                    <a:lnTo>
                      <a:pt x="469" y="190"/>
                    </a:lnTo>
                    <a:lnTo>
                      <a:pt x="468" y="192"/>
                    </a:lnTo>
                    <a:lnTo>
                      <a:pt x="464" y="190"/>
                    </a:lnTo>
                    <a:lnTo>
                      <a:pt x="462" y="190"/>
                    </a:lnTo>
                    <a:lnTo>
                      <a:pt x="461" y="190"/>
                    </a:lnTo>
                    <a:lnTo>
                      <a:pt x="459" y="192"/>
                    </a:lnTo>
                    <a:lnTo>
                      <a:pt x="457" y="192"/>
                    </a:lnTo>
                    <a:lnTo>
                      <a:pt x="457" y="193"/>
                    </a:lnTo>
                    <a:lnTo>
                      <a:pt x="457" y="195"/>
                    </a:lnTo>
                    <a:lnTo>
                      <a:pt x="459" y="195"/>
                    </a:lnTo>
                    <a:lnTo>
                      <a:pt x="457" y="197"/>
                    </a:lnTo>
                    <a:lnTo>
                      <a:pt x="457" y="199"/>
                    </a:lnTo>
                    <a:lnTo>
                      <a:pt x="457" y="200"/>
                    </a:lnTo>
                    <a:lnTo>
                      <a:pt x="459" y="202"/>
                    </a:lnTo>
                    <a:lnTo>
                      <a:pt x="457" y="202"/>
                    </a:lnTo>
                    <a:lnTo>
                      <a:pt x="456" y="204"/>
                    </a:lnTo>
                    <a:lnTo>
                      <a:pt x="457" y="205"/>
                    </a:lnTo>
                    <a:lnTo>
                      <a:pt x="457" y="207"/>
                    </a:lnTo>
                    <a:lnTo>
                      <a:pt x="454" y="207"/>
                    </a:lnTo>
                    <a:lnTo>
                      <a:pt x="454" y="210"/>
                    </a:lnTo>
                    <a:lnTo>
                      <a:pt x="454" y="209"/>
                    </a:lnTo>
                    <a:lnTo>
                      <a:pt x="452" y="209"/>
                    </a:lnTo>
                    <a:lnTo>
                      <a:pt x="452" y="212"/>
                    </a:lnTo>
                    <a:lnTo>
                      <a:pt x="451" y="212"/>
                    </a:lnTo>
                    <a:lnTo>
                      <a:pt x="451" y="216"/>
                    </a:lnTo>
                    <a:lnTo>
                      <a:pt x="447" y="216"/>
                    </a:lnTo>
                    <a:lnTo>
                      <a:pt x="449" y="219"/>
                    </a:lnTo>
                    <a:lnTo>
                      <a:pt x="447" y="219"/>
                    </a:lnTo>
                    <a:lnTo>
                      <a:pt x="451" y="222"/>
                    </a:lnTo>
                    <a:lnTo>
                      <a:pt x="451" y="224"/>
                    </a:lnTo>
                    <a:lnTo>
                      <a:pt x="452" y="222"/>
                    </a:lnTo>
                    <a:lnTo>
                      <a:pt x="454" y="224"/>
                    </a:lnTo>
                    <a:lnTo>
                      <a:pt x="456" y="224"/>
                    </a:lnTo>
                    <a:lnTo>
                      <a:pt x="456" y="222"/>
                    </a:lnTo>
                    <a:lnTo>
                      <a:pt x="459" y="224"/>
                    </a:lnTo>
                    <a:lnTo>
                      <a:pt x="461" y="224"/>
                    </a:lnTo>
                    <a:lnTo>
                      <a:pt x="462" y="226"/>
                    </a:lnTo>
                    <a:lnTo>
                      <a:pt x="462" y="227"/>
                    </a:lnTo>
                    <a:lnTo>
                      <a:pt x="464" y="227"/>
                    </a:lnTo>
                    <a:lnTo>
                      <a:pt x="466" y="227"/>
                    </a:lnTo>
                    <a:lnTo>
                      <a:pt x="468" y="226"/>
                    </a:lnTo>
                    <a:lnTo>
                      <a:pt x="468" y="227"/>
                    </a:lnTo>
                    <a:lnTo>
                      <a:pt x="469" y="226"/>
                    </a:lnTo>
                    <a:lnTo>
                      <a:pt x="471" y="226"/>
                    </a:lnTo>
                    <a:lnTo>
                      <a:pt x="473" y="226"/>
                    </a:lnTo>
                    <a:lnTo>
                      <a:pt x="473" y="227"/>
                    </a:lnTo>
                    <a:lnTo>
                      <a:pt x="474" y="226"/>
                    </a:lnTo>
                    <a:lnTo>
                      <a:pt x="474" y="227"/>
                    </a:lnTo>
                    <a:lnTo>
                      <a:pt x="478" y="229"/>
                    </a:lnTo>
                    <a:lnTo>
                      <a:pt x="478" y="227"/>
                    </a:lnTo>
                    <a:lnTo>
                      <a:pt x="479" y="227"/>
                    </a:lnTo>
                    <a:lnTo>
                      <a:pt x="479" y="229"/>
                    </a:lnTo>
                    <a:lnTo>
                      <a:pt x="483" y="229"/>
                    </a:lnTo>
                    <a:lnTo>
                      <a:pt x="486" y="233"/>
                    </a:lnTo>
                    <a:lnTo>
                      <a:pt x="488" y="233"/>
                    </a:lnTo>
                    <a:lnTo>
                      <a:pt x="488" y="234"/>
                    </a:lnTo>
                    <a:lnTo>
                      <a:pt x="491" y="234"/>
                    </a:lnTo>
                    <a:lnTo>
                      <a:pt x="491" y="238"/>
                    </a:lnTo>
                    <a:lnTo>
                      <a:pt x="496" y="238"/>
                    </a:lnTo>
                    <a:lnTo>
                      <a:pt x="496" y="239"/>
                    </a:lnTo>
                    <a:lnTo>
                      <a:pt x="498" y="243"/>
                    </a:lnTo>
                    <a:lnTo>
                      <a:pt x="498" y="244"/>
                    </a:lnTo>
                    <a:lnTo>
                      <a:pt x="500" y="246"/>
                    </a:lnTo>
                    <a:lnTo>
                      <a:pt x="500" y="250"/>
                    </a:lnTo>
                    <a:lnTo>
                      <a:pt x="500" y="251"/>
                    </a:lnTo>
                    <a:lnTo>
                      <a:pt x="500" y="253"/>
                    </a:lnTo>
                    <a:lnTo>
                      <a:pt x="502" y="253"/>
                    </a:lnTo>
                    <a:lnTo>
                      <a:pt x="503" y="255"/>
                    </a:lnTo>
                    <a:lnTo>
                      <a:pt x="508" y="258"/>
                    </a:lnTo>
                    <a:lnTo>
                      <a:pt x="508" y="263"/>
                    </a:lnTo>
                    <a:lnTo>
                      <a:pt x="510" y="265"/>
                    </a:lnTo>
                    <a:lnTo>
                      <a:pt x="512" y="263"/>
                    </a:lnTo>
                    <a:lnTo>
                      <a:pt x="513" y="265"/>
                    </a:lnTo>
                    <a:lnTo>
                      <a:pt x="513" y="267"/>
                    </a:lnTo>
                    <a:lnTo>
                      <a:pt x="515" y="267"/>
                    </a:lnTo>
                    <a:lnTo>
                      <a:pt x="515" y="268"/>
                    </a:lnTo>
                    <a:lnTo>
                      <a:pt x="519" y="268"/>
                    </a:lnTo>
                    <a:lnTo>
                      <a:pt x="520" y="268"/>
                    </a:lnTo>
                    <a:lnTo>
                      <a:pt x="522" y="268"/>
                    </a:lnTo>
                    <a:lnTo>
                      <a:pt x="524" y="270"/>
                    </a:lnTo>
                    <a:lnTo>
                      <a:pt x="524" y="272"/>
                    </a:lnTo>
                    <a:lnTo>
                      <a:pt x="525" y="272"/>
                    </a:lnTo>
                    <a:lnTo>
                      <a:pt x="525" y="273"/>
                    </a:lnTo>
                    <a:lnTo>
                      <a:pt x="525" y="277"/>
                    </a:lnTo>
                    <a:lnTo>
                      <a:pt x="530" y="278"/>
                    </a:lnTo>
                    <a:lnTo>
                      <a:pt x="530" y="277"/>
                    </a:lnTo>
                    <a:lnTo>
                      <a:pt x="534" y="280"/>
                    </a:lnTo>
                    <a:lnTo>
                      <a:pt x="536" y="282"/>
                    </a:lnTo>
                    <a:lnTo>
                      <a:pt x="537" y="284"/>
                    </a:lnTo>
                    <a:lnTo>
                      <a:pt x="539" y="285"/>
                    </a:lnTo>
                    <a:lnTo>
                      <a:pt x="541" y="284"/>
                    </a:lnTo>
                    <a:lnTo>
                      <a:pt x="542" y="284"/>
                    </a:lnTo>
                    <a:lnTo>
                      <a:pt x="544" y="284"/>
                    </a:lnTo>
                    <a:lnTo>
                      <a:pt x="544" y="285"/>
                    </a:lnTo>
                    <a:lnTo>
                      <a:pt x="546" y="285"/>
                    </a:lnTo>
                    <a:lnTo>
                      <a:pt x="546" y="287"/>
                    </a:lnTo>
                    <a:lnTo>
                      <a:pt x="547" y="289"/>
                    </a:lnTo>
                    <a:lnTo>
                      <a:pt x="549" y="290"/>
                    </a:lnTo>
                    <a:lnTo>
                      <a:pt x="551" y="292"/>
                    </a:lnTo>
                    <a:lnTo>
                      <a:pt x="549" y="294"/>
                    </a:lnTo>
                    <a:lnTo>
                      <a:pt x="549" y="296"/>
                    </a:lnTo>
                    <a:lnTo>
                      <a:pt x="549" y="297"/>
                    </a:lnTo>
                    <a:lnTo>
                      <a:pt x="549" y="299"/>
                    </a:lnTo>
                    <a:lnTo>
                      <a:pt x="547" y="301"/>
                    </a:lnTo>
                    <a:lnTo>
                      <a:pt x="547" y="302"/>
                    </a:lnTo>
                    <a:lnTo>
                      <a:pt x="547" y="306"/>
                    </a:lnTo>
                    <a:lnTo>
                      <a:pt x="547" y="309"/>
                    </a:lnTo>
                    <a:lnTo>
                      <a:pt x="549" y="311"/>
                    </a:lnTo>
                    <a:lnTo>
                      <a:pt x="549" y="319"/>
                    </a:lnTo>
                    <a:lnTo>
                      <a:pt x="556" y="330"/>
                    </a:lnTo>
                    <a:lnTo>
                      <a:pt x="556" y="333"/>
                    </a:lnTo>
                    <a:lnTo>
                      <a:pt x="564" y="340"/>
                    </a:lnTo>
                    <a:lnTo>
                      <a:pt x="563" y="341"/>
                    </a:lnTo>
                    <a:lnTo>
                      <a:pt x="556" y="352"/>
                    </a:lnTo>
                    <a:lnTo>
                      <a:pt x="553" y="355"/>
                    </a:lnTo>
                    <a:lnTo>
                      <a:pt x="544" y="362"/>
                    </a:lnTo>
                    <a:lnTo>
                      <a:pt x="529" y="375"/>
                    </a:lnTo>
                    <a:lnTo>
                      <a:pt x="520" y="382"/>
                    </a:lnTo>
                    <a:lnTo>
                      <a:pt x="505" y="398"/>
                    </a:lnTo>
                    <a:lnTo>
                      <a:pt x="498" y="404"/>
                    </a:lnTo>
                    <a:lnTo>
                      <a:pt x="490" y="413"/>
                    </a:lnTo>
                    <a:lnTo>
                      <a:pt x="474" y="428"/>
                    </a:lnTo>
                    <a:lnTo>
                      <a:pt x="457" y="426"/>
                    </a:lnTo>
                    <a:lnTo>
                      <a:pt x="449" y="421"/>
                    </a:lnTo>
                    <a:lnTo>
                      <a:pt x="444" y="425"/>
                    </a:lnTo>
                    <a:lnTo>
                      <a:pt x="434" y="428"/>
                    </a:lnTo>
                    <a:lnTo>
                      <a:pt x="418" y="430"/>
                    </a:lnTo>
                    <a:lnTo>
                      <a:pt x="408" y="437"/>
                    </a:lnTo>
                    <a:lnTo>
                      <a:pt x="408" y="438"/>
                    </a:lnTo>
                    <a:lnTo>
                      <a:pt x="408" y="442"/>
                    </a:lnTo>
                    <a:lnTo>
                      <a:pt x="401" y="440"/>
                    </a:lnTo>
                    <a:lnTo>
                      <a:pt x="400" y="437"/>
                    </a:lnTo>
                    <a:lnTo>
                      <a:pt x="394" y="437"/>
                    </a:lnTo>
                    <a:lnTo>
                      <a:pt x="394" y="433"/>
                    </a:lnTo>
                    <a:lnTo>
                      <a:pt x="391" y="426"/>
                    </a:lnTo>
                    <a:lnTo>
                      <a:pt x="388" y="425"/>
                    </a:lnTo>
                    <a:lnTo>
                      <a:pt x="388" y="426"/>
                    </a:lnTo>
                    <a:lnTo>
                      <a:pt x="383" y="430"/>
                    </a:lnTo>
                    <a:lnTo>
                      <a:pt x="376" y="432"/>
                    </a:lnTo>
                    <a:lnTo>
                      <a:pt x="372" y="435"/>
                    </a:lnTo>
                    <a:lnTo>
                      <a:pt x="372" y="433"/>
                    </a:lnTo>
                    <a:lnTo>
                      <a:pt x="362" y="426"/>
                    </a:lnTo>
                    <a:lnTo>
                      <a:pt x="355" y="426"/>
                    </a:lnTo>
                    <a:lnTo>
                      <a:pt x="352" y="430"/>
                    </a:lnTo>
                    <a:lnTo>
                      <a:pt x="350" y="430"/>
                    </a:lnTo>
                    <a:lnTo>
                      <a:pt x="349" y="432"/>
                    </a:lnTo>
                    <a:lnTo>
                      <a:pt x="347" y="430"/>
                    </a:lnTo>
                    <a:lnTo>
                      <a:pt x="345" y="432"/>
                    </a:lnTo>
                    <a:lnTo>
                      <a:pt x="340" y="438"/>
                    </a:lnTo>
                    <a:lnTo>
                      <a:pt x="340" y="442"/>
                    </a:lnTo>
                    <a:lnTo>
                      <a:pt x="338" y="440"/>
                    </a:lnTo>
                    <a:lnTo>
                      <a:pt x="340" y="437"/>
                    </a:lnTo>
                    <a:lnTo>
                      <a:pt x="337" y="437"/>
                    </a:lnTo>
                    <a:lnTo>
                      <a:pt x="337" y="432"/>
                    </a:lnTo>
                    <a:lnTo>
                      <a:pt x="335" y="432"/>
                    </a:lnTo>
                    <a:lnTo>
                      <a:pt x="333" y="432"/>
                    </a:lnTo>
                    <a:lnTo>
                      <a:pt x="333" y="433"/>
                    </a:lnTo>
                    <a:lnTo>
                      <a:pt x="330" y="433"/>
                    </a:lnTo>
                    <a:lnTo>
                      <a:pt x="326" y="437"/>
                    </a:lnTo>
                    <a:lnTo>
                      <a:pt x="323" y="435"/>
                    </a:lnTo>
                    <a:lnTo>
                      <a:pt x="325" y="433"/>
                    </a:lnTo>
                    <a:lnTo>
                      <a:pt x="325" y="428"/>
                    </a:lnTo>
                    <a:lnTo>
                      <a:pt x="325" y="425"/>
                    </a:lnTo>
                    <a:lnTo>
                      <a:pt x="323" y="423"/>
                    </a:lnTo>
                    <a:lnTo>
                      <a:pt x="320" y="423"/>
                    </a:lnTo>
                    <a:lnTo>
                      <a:pt x="318" y="421"/>
                    </a:lnTo>
                    <a:lnTo>
                      <a:pt x="309" y="418"/>
                    </a:lnTo>
                    <a:lnTo>
                      <a:pt x="306" y="420"/>
                    </a:lnTo>
                    <a:lnTo>
                      <a:pt x="306" y="415"/>
                    </a:lnTo>
                    <a:lnTo>
                      <a:pt x="304" y="415"/>
                    </a:lnTo>
                    <a:lnTo>
                      <a:pt x="304" y="409"/>
                    </a:lnTo>
                    <a:lnTo>
                      <a:pt x="298" y="408"/>
                    </a:lnTo>
                    <a:lnTo>
                      <a:pt x="296" y="404"/>
                    </a:lnTo>
                    <a:lnTo>
                      <a:pt x="294" y="404"/>
                    </a:lnTo>
                    <a:lnTo>
                      <a:pt x="294" y="401"/>
                    </a:lnTo>
                    <a:lnTo>
                      <a:pt x="294" y="399"/>
                    </a:lnTo>
                    <a:lnTo>
                      <a:pt x="291" y="398"/>
                    </a:lnTo>
                    <a:lnTo>
                      <a:pt x="289" y="398"/>
                    </a:lnTo>
                    <a:lnTo>
                      <a:pt x="286" y="396"/>
                    </a:lnTo>
                    <a:lnTo>
                      <a:pt x="286" y="391"/>
                    </a:lnTo>
                    <a:lnTo>
                      <a:pt x="287" y="389"/>
                    </a:lnTo>
                    <a:lnTo>
                      <a:pt x="284" y="386"/>
                    </a:lnTo>
                    <a:lnTo>
                      <a:pt x="281" y="386"/>
                    </a:lnTo>
                    <a:lnTo>
                      <a:pt x="277" y="382"/>
                    </a:lnTo>
                    <a:lnTo>
                      <a:pt x="275" y="384"/>
                    </a:lnTo>
                    <a:lnTo>
                      <a:pt x="274" y="382"/>
                    </a:lnTo>
                    <a:lnTo>
                      <a:pt x="270" y="381"/>
                    </a:lnTo>
                    <a:lnTo>
                      <a:pt x="269" y="389"/>
                    </a:lnTo>
                    <a:lnTo>
                      <a:pt x="267" y="389"/>
                    </a:lnTo>
                    <a:lnTo>
                      <a:pt x="265" y="392"/>
                    </a:lnTo>
                    <a:lnTo>
                      <a:pt x="264" y="392"/>
                    </a:lnTo>
                    <a:lnTo>
                      <a:pt x="260" y="398"/>
                    </a:lnTo>
                    <a:lnTo>
                      <a:pt x="257" y="398"/>
                    </a:lnTo>
                    <a:lnTo>
                      <a:pt x="253" y="398"/>
                    </a:lnTo>
                    <a:lnTo>
                      <a:pt x="252" y="396"/>
                    </a:lnTo>
                    <a:lnTo>
                      <a:pt x="247" y="391"/>
                    </a:lnTo>
                    <a:lnTo>
                      <a:pt x="245" y="391"/>
                    </a:lnTo>
                    <a:lnTo>
                      <a:pt x="243" y="392"/>
                    </a:lnTo>
                    <a:lnTo>
                      <a:pt x="236" y="392"/>
                    </a:lnTo>
                    <a:lnTo>
                      <a:pt x="236" y="387"/>
                    </a:lnTo>
                    <a:lnTo>
                      <a:pt x="235" y="387"/>
                    </a:lnTo>
                    <a:lnTo>
                      <a:pt x="231" y="389"/>
                    </a:lnTo>
                    <a:lnTo>
                      <a:pt x="228" y="396"/>
                    </a:lnTo>
                    <a:lnTo>
                      <a:pt x="224" y="396"/>
                    </a:lnTo>
                    <a:lnTo>
                      <a:pt x="223" y="398"/>
                    </a:lnTo>
                    <a:lnTo>
                      <a:pt x="221" y="398"/>
                    </a:lnTo>
                    <a:lnTo>
                      <a:pt x="219" y="401"/>
                    </a:lnTo>
                    <a:lnTo>
                      <a:pt x="216" y="403"/>
                    </a:lnTo>
                    <a:lnTo>
                      <a:pt x="214" y="401"/>
                    </a:lnTo>
                    <a:lnTo>
                      <a:pt x="213" y="399"/>
                    </a:lnTo>
                    <a:lnTo>
                      <a:pt x="206" y="399"/>
                    </a:lnTo>
                    <a:lnTo>
                      <a:pt x="204" y="398"/>
                    </a:lnTo>
                    <a:lnTo>
                      <a:pt x="202" y="394"/>
                    </a:lnTo>
                    <a:lnTo>
                      <a:pt x="199" y="394"/>
                    </a:lnTo>
                    <a:lnTo>
                      <a:pt x="197" y="392"/>
                    </a:lnTo>
                    <a:lnTo>
                      <a:pt x="196" y="389"/>
                    </a:lnTo>
                    <a:lnTo>
                      <a:pt x="190" y="387"/>
                    </a:lnTo>
                    <a:lnTo>
                      <a:pt x="189" y="389"/>
                    </a:lnTo>
                    <a:lnTo>
                      <a:pt x="187" y="387"/>
                    </a:lnTo>
                    <a:lnTo>
                      <a:pt x="184" y="387"/>
                    </a:lnTo>
                    <a:lnTo>
                      <a:pt x="182" y="384"/>
                    </a:lnTo>
                    <a:lnTo>
                      <a:pt x="184" y="382"/>
                    </a:lnTo>
                    <a:lnTo>
                      <a:pt x="184" y="377"/>
                    </a:lnTo>
                    <a:lnTo>
                      <a:pt x="182" y="377"/>
                    </a:lnTo>
                    <a:lnTo>
                      <a:pt x="180" y="377"/>
                    </a:lnTo>
                    <a:lnTo>
                      <a:pt x="179" y="374"/>
                    </a:lnTo>
                    <a:lnTo>
                      <a:pt x="179" y="372"/>
                    </a:lnTo>
                    <a:lnTo>
                      <a:pt x="173" y="372"/>
                    </a:lnTo>
                    <a:lnTo>
                      <a:pt x="172" y="370"/>
                    </a:lnTo>
                    <a:lnTo>
                      <a:pt x="167" y="365"/>
                    </a:lnTo>
                    <a:lnTo>
                      <a:pt x="167" y="362"/>
                    </a:lnTo>
                    <a:lnTo>
                      <a:pt x="167" y="360"/>
                    </a:lnTo>
                    <a:lnTo>
                      <a:pt x="165" y="360"/>
                    </a:lnTo>
                    <a:lnTo>
                      <a:pt x="165" y="357"/>
                    </a:lnTo>
                    <a:lnTo>
                      <a:pt x="160" y="353"/>
                    </a:lnTo>
                    <a:lnTo>
                      <a:pt x="160" y="352"/>
                    </a:lnTo>
                    <a:lnTo>
                      <a:pt x="156" y="348"/>
                    </a:lnTo>
                    <a:lnTo>
                      <a:pt x="156" y="347"/>
                    </a:lnTo>
                    <a:lnTo>
                      <a:pt x="156" y="343"/>
                    </a:lnTo>
                    <a:lnTo>
                      <a:pt x="158" y="338"/>
                    </a:lnTo>
                    <a:lnTo>
                      <a:pt x="158" y="335"/>
                    </a:lnTo>
                    <a:lnTo>
                      <a:pt x="156" y="335"/>
                    </a:lnTo>
                    <a:lnTo>
                      <a:pt x="156" y="333"/>
                    </a:lnTo>
                    <a:lnTo>
                      <a:pt x="155" y="331"/>
                    </a:lnTo>
                    <a:lnTo>
                      <a:pt x="155" y="328"/>
                    </a:lnTo>
                    <a:lnTo>
                      <a:pt x="151" y="328"/>
                    </a:lnTo>
                    <a:lnTo>
                      <a:pt x="153" y="326"/>
                    </a:lnTo>
                    <a:lnTo>
                      <a:pt x="150" y="324"/>
                    </a:lnTo>
                    <a:lnTo>
                      <a:pt x="146" y="324"/>
                    </a:lnTo>
                    <a:lnTo>
                      <a:pt x="145" y="323"/>
                    </a:lnTo>
                    <a:lnTo>
                      <a:pt x="143" y="323"/>
                    </a:lnTo>
                    <a:lnTo>
                      <a:pt x="139" y="319"/>
                    </a:lnTo>
                    <a:lnTo>
                      <a:pt x="136" y="319"/>
                    </a:lnTo>
                    <a:lnTo>
                      <a:pt x="134" y="316"/>
                    </a:lnTo>
                    <a:lnTo>
                      <a:pt x="131" y="314"/>
                    </a:lnTo>
                    <a:lnTo>
                      <a:pt x="128" y="314"/>
                    </a:lnTo>
                    <a:lnTo>
                      <a:pt x="122" y="314"/>
                    </a:lnTo>
                    <a:lnTo>
                      <a:pt x="121" y="311"/>
                    </a:lnTo>
                    <a:lnTo>
                      <a:pt x="119" y="309"/>
                    </a:lnTo>
                    <a:lnTo>
                      <a:pt x="116" y="311"/>
                    </a:lnTo>
                    <a:lnTo>
                      <a:pt x="117" y="309"/>
                    </a:lnTo>
                    <a:lnTo>
                      <a:pt x="119" y="306"/>
                    </a:lnTo>
                    <a:lnTo>
                      <a:pt x="121" y="302"/>
                    </a:lnTo>
                    <a:lnTo>
                      <a:pt x="119" y="302"/>
                    </a:lnTo>
                    <a:lnTo>
                      <a:pt x="117" y="304"/>
                    </a:lnTo>
                    <a:lnTo>
                      <a:pt x="117" y="301"/>
                    </a:lnTo>
                    <a:lnTo>
                      <a:pt x="114" y="299"/>
                    </a:lnTo>
                    <a:lnTo>
                      <a:pt x="109" y="294"/>
                    </a:lnTo>
                    <a:lnTo>
                      <a:pt x="109" y="290"/>
                    </a:lnTo>
                    <a:lnTo>
                      <a:pt x="107" y="290"/>
                    </a:lnTo>
                    <a:lnTo>
                      <a:pt x="109" y="289"/>
                    </a:lnTo>
                    <a:lnTo>
                      <a:pt x="111" y="289"/>
                    </a:lnTo>
                    <a:lnTo>
                      <a:pt x="111" y="287"/>
                    </a:lnTo>
                    <a:lnTo>
                      <a:pt x="114" y="284"/>
                    </a:lnTo>
                    <a:lnTo>
                      <a:pt x="114" y="282"/>
                    </a:lnTo>
                    <a:lnTo>
                      <a:pt x="112" y="280"/>
                    </a:lnTo>
                    <a:lnTo>
                      <a:pt x="107" y="278"/>
                    </a:lnTo>
                    <a:lnTo>
                      <a:pt x="105" y="277"/>
                    </a:lnTo>
                    <a:lnTo>
                      <a:pt x="104" y="277"/>
                    </a:lnTo>
                    <a:lnTo>
                      <a:pt x="102" y="273"/>
                    </a:lnTo>
                    <a:lnTo>
                      <a:pt x="99" y="272"/>
                    </a:lnTo>
                    <a:lnTo>
                      <a:pt x="99" y="268"/>
                    </a:lnTo>
                    <a:lnTo>
                      <a:pt x="97" y="268"/>
                    </a:lnTo>
                    <a:lnTo>
                      <a:pt x="95" y="268"/>
                    </a:lnTo>
                    <a:lnTo>
                      <a:pt x="97" y="267"/>
                    </a:lnTo>
                    <a:lnTo>
                      <a:pt x="95" y="263"/>
                    </a:lnTo>
                    <a:lnTo>
                      <a:pt x="94" y="263"/>
                    </a:lnTo>
                    <a:lnTo>
                      <a:pt x="92" y="261"/>
                    </a:lnTo>
                    <a:lnTo>
                      <a:pt x="90" y="261"/>
                    </a:lnTo>
                    <a:lnTo>
                      <a:pt x="88" y="260"/>
                    </a:lnTo>
                    <a:lnTo>
                      <a:pt x="88" y="258"/>
                    </a:lnTo>
                    <a:lnTo>
                      <a:pt x="83" y="258"/>
                    </a:lnTo>
                    <a:lnTo>
                      <a:pt x="83" y="256"/>
                    </a:lnTo>
                    <a:lnTo>
                      <a:pt x="80" y="256"/>
                    </a:lnTo>
                    <a:lnTo>
                      <a:pt x="80" y="255"/>
                    </a:lnTo>
                    <a:lnTo>
                      <a:pt x="78" y="255"/>
                    </a:lnTo>
                    <a:lnTo>
                      <a:pt x="73" y="253"/>
                    </a:lnTo>
                    <a:lnTo>
                      <a:pt x="73" y="251"/>
                    </a:lnTo>
                    <a:lnTo>
                      <a:pt x="71" y="253"/>
                    </a:lnTo>
                    <a:lnTo>
                      <a:pt x="71" y="251"/>
                    </a:lnTo>
                    <a:lnTo>
                      <a:pt x="70" y="251"/>
                    </a:lnTo>
                    <a:lnTo>
                      <a:pt x="70" y="250"/>
                    </a:lnTo>
                    <a:lnTo>
                      <a:pt x="66" y="250"/>
                    </a:lnTo>
                    <a:lnTo>
                      <a:pt x="66" y="248"/>
                    </a:lnTo>
                    <a:lnTo>
                      <a:pt x="63" y="246"/>
                    </a:lnTo>
                    <a:lnTo>
                      <a:pt x="63" y="248"/>
                    </a:lnTo>
                    <a:lnTo>
                      <a:pt x="61" y="246"/>
                    </a:lnTo>
                    <a:lnTo>
                      <a:pt x="60" y="243"/>
                    </a:lnTo>
                    <a:lnTo>
                      <a:pt x="53" y="239"/>
                    </a:lnTo>
                    <a:lnTo>
                      <a:pt x="53" y="236"/>
                    </a:lnTo>
                    <a:lnTo>
                      <a:pt x="51" y="234"/>
                    </a:lnTo>
                    <a:lnTo>
                      <a:pt x="54" y="233"/>
                    </a:lnTo>
                    <a:lnTo>
                      <a:pt x="58" y="231"/>
                    </a:lnTo>
                    <a:lnTo>
                      <a:pt x="58" y="229"/>
                    </a:lnTo>
                    <a:lnTo>
                      <a:pt x="58" y="227"/>
                    </a:lnTo>
                    <a:lnTo>
                      <a:pt x="58" y="226"/>
                    </a:lnTo>
                    <a:lnTo>
                      <a:pt x="58" y="224"/>
                    </a:lnTo>
                    <a:lnTo>
                      <a:pt x="56" y="224"/>
                    </a:lnTo>
                    <a:lnTo>
                      <a:pt x="54" y="221"/>
                    </a:lnTo>
                    <a:lnTo>
                      <a:pt x="51" y="219"/>
                    </a:lnTo>
                    <a:lnTo>
                      <a:pt x="48" y="219"/>
                    </a:lnTo>
                    <a:lnTo>
                      <a:pt x="41" y="214"/>
                    </a:lnTo>
                    <a:lnTo>
                      <a:pt x="37" y="210"/>
                    </a:lnTo>
                    <a:lnTo>
                      <a:pt x="37" y="207"/>
                    </a:lnTo>
                    <a:lnTo>
                      <a:pt x="36" y="204"/>
                    </a:lnTo>
                    <a:lnTo>
                      <a:pt x="32" y="204"/>
                    </a:lnTo>
                    <a:lnTo>
                      <a:pt x="31" y="204"/>
                    </a:lnTo>
                    <a:lnTo>
                      <a:pt x="29" y="202"/>
                    </a:lnTo>
                    <a:lnTo>
                      <a:pt x="26" y="202"/>
                    </a:lnTo>
                    <a:lnTo>
                      <a:pt x="19" y="202"/>
                    </a:lnTo>
                    <a:lnTo>
                      <a:pt x="15" y="199"/>
                    </a:lnTo>
                    <a:lnTo>
                      <a:pt x="14" y="199"/>
                    </a:lnTo>
                    <a:lnTo>
                      <a:pt x="10" y="200"/>
                    </a:lnTo>
                    <a:lnTo>
                      <a:pt x="3" y="199"/>
                    </a:lnTo>
                    <a:lnTo>
                      <a:pt x="2" y="197"/>
                    </a:lnTo>
                    <a:lnTo>
                      <a:pt x="0" y="193"/>
                    </a:lnTo>
                    <a:lnTo>
                      <a:pt x="0" y="192"/>
                    </a:lnTo>
                    <a:lnTo>
                      <a:pt x="2" y="188"/>
                    </a:lnTo>
                    <a:lnTo>
                      <a:pt x="5" y="183"/>
                    </a:lnTo>
                    <a:lnTo>
                      <a:pt x="3" y="182"/>
                    </a:lnTo>
                    <a:lnTo>
                      <a:pt x="5" y="178"/>
                    </a:lnTo>
                    <a:lnTo>
                      <a:pt x="9" y="176"/>
                    </a:lnTo>
                    <a:lnTo>
                      <a:pt x="12" y="173"/>
                    </a:lnTo>
                    <a:lnTo>
                      <a:pt x="19" y="171"/>
                    </a:lnTo>
                    <a:lnTo>
                      <a:pt x="22" y="166"/>
                    </a:lnTo>
                    <a:lnTo>
                      <a:pt x="20" y="159"/>
                    </a:lnTo>
                    <a:lnTo>
                      <a:pt x="22" y="153"/>
                    </a:lnTo>
                    <a:lnTo>
                      <a:pt x="26" y="146"/>
                    </a:lnTo>
                    <a:lnTo>
                      <a:pt x="24" y="144"/>
                    </a:lnTo>
                    <a:lnTo>
                      <a:pt x="31" y="137"/>
                    </a:lnTo>
                    <a:lnTo>
                      <a:pt x="31" y="134"/>
                    </a:lnTo>
                    <a:lnTo>
                      <a:pt x="31" y="130"/>
                    </a:lnTo>
                    <a:lnTo>
                      <a:pt x="31" y="125"/>
                    </a:lnTo>
                    <a:lnTo>
                      <a:pt x="32" y="124"/>
                    </a:lnTo>
                    <a:lnTo>
                      <a:pt x="36" y="120"/>
                    </a:lnTo>
                    <a:lnTo>
                      <a:pt x="37" y="120"/>
                    </a:lnTo>
                    <a:lnTo>
                      <a:pt x="37" y="119"/>
                    </a:lnTo>
                    <a:lnTo>
                      <a:pt x="39" y="119"/>
                    </a:lnTo>
                    <a:lnTo>
                      <a:pt x="37" y="119"/>
                    </a:lnTo>
                    <a:lnTo>
                      <a:pt x="39" y="119"/>
                    </a:lnTo>
                    <a:lnTo>
                      <a:pt x="41" y="117"/>
                    </a:lnTo>
                    <a:lnTo>
                      <a:pt x="43" y="117"/>
                    </a:lnTo>
                    <a:lnTo>
                      <a:pt x="41" y="117"/>
                    </a:lnTo>
                    <a:lnTo>
                      <a:pt x="43" y="113"/>
                    </a:lnTo>
                    <a:lnTo>
                      <a:pt x="44" y="113"/>
                    </a:lnTo>
                    <a:lnTo>
                      <a:pt x="44" y="112"/>
                    </a:lnTo>
                    <a:lnTo>
                      <a:pt x="46" y="110"/>
                    </a:lnTo>
                    <a:lnTo>
                      <a:pt x="44" y="110"/>
                    </a:lnTo>
                    <a:lnTo>
                      <a:pt x="44" y="108"/>
                    </a:lnTo>
                    <a:lnTo>
                      <a:pt x="46" y="108"/>
                    </a:lnTo>
                    <a:lnTo>
                      <a:pt x="48" y="107"/>
                    </a:lnTo>
                    <a:lnTo>
                      <a:pt x="46" y="105"/>
                    </a:lnTo>
                    <a:lnTo>
                      <a:pt x="44" y="103"/>
                    </a:lnTo>
                    <a:lnTo>
                      <a:pt x="46" y="103"/>
                    </a:lnTo>
                    <a:lnTo>
                      <a:pt x="44" y="102"/>
                    </a:lnTo>
                    <a:lnTo>
                      <a:pt x="46" y="102"/>
                    </a:lnTo>
                    <a:lnTo>
                      <a:pt x="46" y="100"/>
                    </a:lnTo>
                    <a:lnTo>
                      <a:pt x="46" y="98"/>
                    </a:lnTo>
                    <a:lnTo>
                      <a:pt x="48" y="98"/>
                    </a:lnTo>
                    <a:lnTo>
                      <a:pt x="48" y="96"/>
                    </a:lnTo>
                    <a:lnTo>
                      <a:pt x="49" y="96"/>
                    </a:lnTo>
                    <a:lnTo>
                      <a:pt x="49" y="95"/>
                    </a:lnTo>
                    <a:lnTo>
                      <a:pt x="53" y="96"/>
                    </a:lnTo>
                    <a:lnTo>
                      <a:pt x="51" y="95"/>
                    </a:lnTo>
                    <a:lnTo>
                      <a:pt x="53" y="95"/>
                    </a:lnTo>
                    <a:lnTo>
                      <a:pt x="54" y="93"/>
                    </a:lnTo>
                    <a:lnTo>
                      <a:pt x="56" y="95"/>
                    </a:lnTo>
                    <a:lnTo>
                      <a:pt x="56" y="93"/>
                    </a:lnTo>
                    <a:lnTo>
                      <a:pt x="60" y="95"/>
                    </a:lnTo>
                    <a:lnTo>
                      <a:pt x="60" y="93"/>
                    </a:lnTo>
                    <a:lnTo>
                      <a:pt x="61" y="93"/>
                    </a:lnTo>
                    <a:lnTo>
                      <a:pt x="63" y="91"/>
                    </a:lnTo>
                    <a:lnTo>
                      <a:pt x="63" y="93"/>
                    </a:lnTo>
                    <a:lnTo>
                      <a:pt x="63" y="91"/>
                    </a:lnTo>
                    <a:lnTo>
                      <a:pt x="65" y="93"/>
                    </a:lnTo>
                    <a:lnTo>
                      <a:pt x="65" y="91"/>
                    </a:lnTo>
                    <a:lnTo>
                      <a:pt x="66" y="93"/>
                    </a:lnTo>
                    <a:lnTo>
                      <a:pt x="66" y="91"/>
                    </a:lnTo>
                    <a:lnTo>
                      <a:pt x="68" y="93"/>
                    </a:lnTo>
                    <a:lnTo>
                      <a:pt x="68" y="91"/>
                    </a:lnTo>
                    <a:lnTo>
                      <a:pt x="70" y="93"/>
                    </a:lnTo>
                    <a:lnTo>
                      <a:pt x="71" y="91"/>
                    </a:lnTo>
                    <a:lnTo>
                      <a:pt x="75" y="91"/>
                    </a:lnTo>
                    <a:lnTo>
                      <a:pt x="77" y="90"/>
                    </a:lnTo>
                    <a:lnTo>
                      <a:pt x="77" y="91"/>
                    </a:lnTo>
                    <a:lnTo>
                      <a:pt x="78" y="91"/>
                    </a:lnTo>
                    <a:lnTo>
                      <a:pt x="80" y="91"/>
                    </a:lnTo>
                    <a:lnTo>
                      <a:pt x="82" y="90"/>
                    </a:lnTo>
                    <a:lnTo>
                      <a:pt x="82" y="91"/>
                    </a:lnTo>
                    <a:lnTo>
                      <a:pt x="82" y="90"/>
                    </a:lnTo>
                    <a:lnTo>
                      <a:pt x="83" y="91"/>
                    </a:lnTo>
                    <a:lnTo>
                      <a:pt x="83" y="90"/>
                    </a:lnTo>
                    <a:lnTo>
                      <a:pt x="85" y="91"/>
                    </a:lnTo>
                    <a:lnTo>
                      <a:pt x="85" y="90"/>
                    </a:lnTo>
                    <a:lnTo>
                      <a:pt x="87" y="91"/>
                    </a:lnTo>
                    <a:lnTo>
                      <a:pt x="88" y="91"/>
                    </a:lnTo>
                    <a:lnTo>
                      <a:pt x="88" y="93"/>
                    </a:lnTo>
                    <a:lnTo>
                      <a:pt x="90" y="93"/>
                    </a:lnTo>
                    <a:lnTo>
                      <a:pt x="90" y="103"/>
                    </a:lnTo>
                    <a:lnTo>
                      <a:pt x="97" y="105"/>
                    </a:lnTo>
                    <a:lnTo>
                      <a:pt x="100" y="112"/>
                    </a:lnTo>
                    <a:lnTo>
                      <a:pt x="105" y="117"/>
                    </a:lnTo>
                    <a:lnTo>
                      <a:pt x="107" y="124"/>
                    </a:lnTo>
                    <a:lnTo>
                      <a:pt x="111" y="130"/>
                    </a:lnTo>
                    <a:lnTo>
                      <a:pt x="112" y="132"/>
                    </a:lnTo>
                    <a:lnTo>
                      <a:pt x="116" y="136"/>
                    </a:lnTo>
                    <a:lnTo>
                      <a:pt x="131" y="137"/>
                    </a:lnTo>
                    <a:lnTo>
                      <a:pt x="145" y="132"/>
                    </a:lnTo>
                    <a:lnTo>
                      <a:pt x="151" y="130"/>
                    </a:lnTo>
                    <a:lnTo>
                      <a:pt x="162" y="130"/>
                    </a:lnTo>
                    <a:lnTo>
                      <a:pt x="179" y="132"/>
                    </a:lnTo>
                    <a:lnTo>
                      <a:pt x="187" y="132"/>
                    </a:lnTo>
                    <a:lnTo>
                      <a:pt x="190" y="132"/>
                    </a:lnTo>
                    <a:lnTo>
                      <a:pt x="197" y="146"/>
                    </a:lnTo>
                    <a:lnTo>
                      <a:pt x="201" y="146"/>
                    </a:lnTo>
                    <a:lnTo>
                      <a:pt x="228" y="146"/>
                    </a:lnTo>
                    <a:lnTo>
                      <a:pt x="230" y="144"/>
                    </a:lnTo>
                    <a:lnTo>
                      <a:pt x="233" y="144"/>
                    </a:lnTo>
                    <a:lnTo>
                      <a:pt x="235" y="144"/>
                    </a:lnTo>
                    <a:lnTo>
                      <a:pt x="235" y="142"/>
                    </a:lnTo>
                    <a:lnTo>
                      <a:pt x="236" y="142"/>
                    </a:lnTo>
                    <a:lnTo>
                      <a:pt x="238" y="139"/>
                    </a:lnTo>
                    <a:lnTo>
                      <a:pt x="241" y="134"/>
                    </a:lnTo>
                    <a:lnTo>
                      <a:pt x="250" y="125"/>
                    </a:lnTo>
                    <a:lnTo>
                      <a:pt x="274" y="125"/>
                    </a:lnTo>
                    <a:lnTo>
                      <a:pt x="274" y="108"/>
                    </a:lnTo>
                    <a:lnTo>
                      <a:pt x="292" y="98"/>
                    </a:lnTo>
                    <a:lnTo>
                      <a:pt x="296" y="98"/>
                    </a:lnTo>
                    <a:lnTo>
                      <a:pt x="298" y="98"/>
                    </a:lnTo>
                    <a:lnTo>
                      <a:pt x="304" y="103"/>
                    </a:lnTo>
                    <a:lnTo>
                      <a:pt x="323" y="113"/>
                    </a:lnTo>
                    <a:lnTo>
                      <a:pt x="338" y="125"/>
                    </a:lnTo>
                    <a:lnTo>
                      <a:pt x="342" y="125"/>
                    </a:lnTo>
                    <a:lnTo>
                      <a:pt x="355" y="125"/>
                    </a:lnTo>
                    <a:lnTo>
                      <a:pt x="362" y="124"/>
                    </a:lnTo>
                    <a:lnTo>
                      <a:pt x="366" y="122"/>
                    </a:lnTo>
                    <a:lnTo>
                      <a:pt x="372" y="113"/>
                    </a:lnTo>
                    <a:lnTo>
                      <a:pt x="388" y="96"/>
                    </a:lnTo>
                    <a:lnTo>
                      <a:pt x="398" y="79"/>
                    </a:lnTo>
                    <a:lnTo>
                      <a:pt x="405" y="74"/>
                    </a:lnTo>
                    <a:lnTo>
                      <a:pt x="422" y="59"/>
                    </a:lnTo>
                    <a:lnTo>
                      <a:pt x="418" y="52"/>
                    </a:lnTo>
                    <a:lnTo>
                      <a:pt x="418" y="32"/>
                    </a:lnTo>
                    <a:lnTo>
                      <a:pt x="417" y="27"/>
                    </a:lnTo>
                    <a:lnTo>
                      <a:pt x="417" y="25"/>
                    </a:lnTo>
                    <a:lnTo>
                      <a:pt x="403" y="13"/>
                    </a:lnTo>
                    <a:lnTo>
                      <a:pt x="432" y="13"/>
                    </a:lnTo>
                    <a:lnTo>
                      <a:pt x="435" y="15"/>
                    </a:lnTo>
                    <a:lnTo>
                      <a:pt x="435" y="10"/>
                    </a:lnTo>
                    <a:lnTo>
                      <a:pt x="435" y="3"/>
                    </a:lnTo>
                    <a:lnTo>
                      <a:pt x="435" y="1"/>
                    </a:lnTo>
                    <a:lnTo>
                      <a:pt x="434" y="0"/>
                    </a:lnTo>
                    <a:lnTo>
                      <a:pt x="437" y="0"/>
                    </a:lnTo>
                    <a:lnTo>
                      <a:pt x="461" y="1"/>
                    </a:lnTo>
                    <a:lnTo>
                      <a:pt x="461" y="0"/>
                    </a:lnTo>
                    <a:lnTo>
                      <a:pt x="462" y="1"/>
                    </a:lnTo>
                    <a:lnTo>
                      <a:pt x="461" y="3"/>
                    </a:lnTo>
                    <a:lnTo>
                      <a:pt x="457" y="23"/>
                    </a:lnTo>
                    <a:lnTo>
                      <a:pt x="456" y="30"/>
                    </a:lnTo>
                    <a:lnTo>
                      <a:pt x="459" y="49"/>
                    </a:lnTo>
                    <a:lnTo>
                      <a:pt x="461" y="57"/>
                    </a:lnTo>
                    <a:lnTo>
                      <a:pt x="462" y="71"/>
                    </a:lnTo>
                    <a:lnTo>
                      <a:pt x="459" y="74"/>
                    </a:lnTo>
                    <a:lnTo>
                      <a:pt x="461" y="76"/>
                    </a:lnTo>
                    <a:lnTo>
                      <a:pt x="473" y="79"/>
                    </a:lnTo>
                    <a:lnTo>
                      <a:pt x="481" y="90"/>
                    </a:lnTo>
                    <a:lnTo>
                      <a:pt x="488" y="95"/>
                    </a:lnTo>
                    <a:lnTo>
                      <a:pt x="493" y="103"/>
                    </a:lnTo>
                    <a:lnTo>
                      <a:pt x="496" y="105"/>
                    </a:lnTo>
                    <a:lnTo>
                      <a:pt x="498" y="108"/>
                    </a:lnTo>
                    <a:lnTo>
                      <a:pt x="498" y="110"/>
                    </a:lnTo>
                    <a:lnTo>
                      <a:pt x="498" y="117"/>
                    </a:lnTo>
                    <a:lnTo>
                      <a:pt x="496" y="122"/>
                    </a:lnTo>
                    <a:lnTo>
                      <a:pt x="495" y="125"/>
                    </a:lnTo>
                    <a:lnTo>
                      <a:pt x="493" y="129"/>
                    </a:lnTo>
                    <a:lnTo>
                      <a:pt x="493" y="132"/>
                    </a:lnTo>
                    <a:lnTo>
                      <a:pt x="493" y="137"/>
                    </a:lnTo>
                    <a:lnTo>
                      <a:pt x="505" y="137"/>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55">
                <a:extLst>
                  <a:ext uri="{FF2B5EF4-FFF2-40B4-BE49-F238E27FC236}">
                    <a16:creationId xmlns:a16="http://schemas.microsoft.com/office/drawing/2014/main" id="{FD500A83-C934-4145-A6D8-CFA85876769D}"/>
                  </a:ext>
                </a:extLst>
              </p:cNvPr>
              <p:cNvSpPr>
                <a:spLocks noEditPoints="1"/>
              </p:cNvSpPr>
              <p:nvPr/>
            </p:nvSpPr>
            <p:spPr bwMode="gray">
              <a:xfrm>
                <a:off x="2116353" y="7105766"/>
                <a:ext cx="578980" cy="458162"/>
              </a:xfrm>
              <a:custGeom>
                <a:avLst/>
                <a:gdLst>
                  <a:gd name="T0" fmla="*/ 782 w 853"/>
                  <a:gd name="T1" fmla="*/ 42 h 675"/>
                  <a:gd name="T2" fmla="*/ 779 w 853"/>
                  <a:gd name="T3" fmla="*/ 44 h 675"/>
                  <a:gd name="T4" fmla="*/ 775 w 853"/>
                  <a:gd name="T5" fmla="*/ 47 h 675"/>
                  <a:gd name="T6" fmla="*/ 779 w 853"/>
                  <a:gd name="T7" fmla="*/ 80 h 675"/>
                  <a:gd name="T8" fmla="*/ 779 w 853"/>
                  <a:gd name="T9" fmla="*/ 100 h 675"/>
                  <a:gd name="T10" fmla="*/ 780 w 853"/>
                  <a:gd name="T11" fmla="*/ 122 h 675"/>
                  <a:gd name="T12" fmla="*/ 787 w 853"/>
                  <a:gd name="T13" fmla="*/ 146 h 675"/>
                  <a:gd name="T14" fmla="*/ 794 w 853"/>
                  <a:gd name="T15" fmla="*/ 165 h 675"/>
                  <a:gd name="T16" fmla="*/ 821 w 853"/>
                  <a:gd name="T17" fmla="*/ 178 h 675"/>
                  <a:gd name="T18" fmla="*/ 833 w 853"/>
                  <a:gd name="T19" fmla="*/ 189 h 675"/>
                  <a:gd name="T20" fmla="*/ 840 w 853"/>
                  <a:gd name="T21" fmla="*/ 197 h 675"/>
                  <a:gd name="T22" fmla="*/ 848 w 853"/>
                  <a:gd name="T23" fmla="*/ 199 h 675"/>
                  <a:gd name="T24" fmla="*/ 830 w 853"/>
                  <a:gd name="T25" fmla="*/ 226 h 675"/>
                  <a:gd name="T26" fmla="*/ 818 w 853"/>
                  <a:gd name="T27" fmla="*/ 229 h 675"/>
                  <a:gd name="T28" fmla="*/ 796 w 853"/>
                  <a:gd name="T29" fmla="*/ 245 h 675"/>
                  <a:gd name="T30" fmla="*/ 768 w 853"/>
                  <a:gd name="T31" fmla="*/ 250 h 675"/>
                  <a:gd name="T32" fmla="*/ 763 w 853"/>
                  <a:gd name="T33" fmla="*/ 272 h 675"/>
                  <a:gd name="T34" fmla="*/ 750 w 853"/>
                  <a:gd name="T35" fmla="*/ 332 h 675"/>
                  <a:gd name="T36" fmla="*/ 745 w 853"/>
                  <a:gd name="T37" fmla="*/ 415 h 675"/>
                  <a:gd name="T38" fmla="*/ 724 w 853"/>
                  <a:gd name="T39" fmla="*/ 473 h 675"/>
                  <a:gd name="T40" fmla="*/ 690 w 853"/>
                  <a:gd name="T41" fmla="*/ 495 h 675"/>
                  <a:gd name="T42" fmla="*/ 673 w 853"/>
                  <a:gd name="T43" fmla="*/ 525 h 675"/>
                  <a:gd name="T44" fmla="*/ 661 w 853"/>
                  <a:gd name="T45" fmla="*/ 571 h 675"/>
                  <a:gd name="T46" fmla="*/ 632 w 853"/>
                  <a:gd name="T47" fmla="*/ 583 h 675"/>
                  <a:gd name="T48" fmla="*/ 612 w 853"/>
                  <a:gd name="T49" fmla="*/ 634 h 675"/>
                  <a:gd name="T50" fmla="*/ 607 w 853"/>
                  <a:gd name="T51" fmla="*/ 592 h 675"/>
                  <a:gd name="T52" fmla="*/ 580 w 853"/>
                  <a:gd name="T53" fmla="*/ 500 h 675"/>
                  <a:gd name="T54" fmla="*/ 551 w 853"/>
                  <a:gd name="T55" fmla="*/ 510 h 675"/>
                  <a:gd name="T56" fmla="*/ 491 w 853"/>
                  <a:gd name="T57" fmla="*/ 610 h 675"/>
                  <a:gd name="T58" fmla="*/ 411 w 853"/>
                  <a:gd name="T59" fmla="*/ 595 h 675"/>
                  <a:gd name="T60" fmla="*/ 349 w 853"/>
                  <a:gd name="T61" fmla="*/ 641 h 675"/>
                  <a:gd name="T62" fmla="*/ 250 w 853"/>
                  <a:gd name="T63" fmla="*/ 634 h 675"/>
                  <a:gd name="T64" fmla="*/ 207 w 853"/>
                  <a:gd name="T65" fmla="*/ 590 h 675"/>
                  <a:gd name="T66" fmla="*/ 199 w 853"/>
                  <a:gd name="T67" fmla="*/ 588 h 675"/>
                  <a:gd name="T68" fmla="*/ 185 w 853"/>
                  <a:gd name="T69" fmla="*/ 590 h 675"/>
                  <a:gd name="T70" fmla="*/ 175 w 853"/>
                  <a:gd name="T71" fmla="*/ 592 h 675"/>
                  <a:gd name="T72" fmla="*/ 165 w 853"/>
                  <a:gd name="T73" fmla="*/ 597 h 675"/>
                  <a:gd name="T74" fmla="*/ 165 w 853"/>
                  <a:gd name="T75" fmla="*/ 607 h 675"/>
                  <a:gd name="T76" fmla="*/ 156 w 853"/>
                  <a:gd name="T77" fmla="*/ 616 h 675"/>
                  <a:gd name="T78" fmla="*/ 141 w 853"/>
                  <a:gd name="T79" fmla="*/ 650 h 675"/>
                  <a:gd name="T80" fmla="*/ 117 w 853"/>
                  <a:gd name="T81" fmla="*/ 675 h 675"/>
                  <a:gd name="T82" fmla="*/ 90 w 853"/>
                  <a:gd name="T83" fmla="*/ 672 h 675"/>
                  <a:gd name="T84" fmla="*/ 83 w 853"/>
                  <a:gd name="T85" fmla="*/ 660 h 675"/>
                  <a:gd name="T86" fmla="*/ 92 w 853"/>
                  <a:gd name="T87" fmla="*/ 643 h 675"/>
                  <a:gd name="T88" fmla="*/ 83 w 853"/>
                  <a:gd name="T89" fmla="*/ 597 h 675"/>
                  <a:gd name="T90" fmla="*/ 60 w 853"/>
                  <a:gd name="T91" fmla="*/ 542 h 675"/>
                  <a:gd name="T92" fmla="*/ 37 w 853"/>
                  <a:gd name="T93" fmla="*/ 505 h 675"/>
                  <a:gd name="T94" fmla="*/ 32 w 853"/>
                  <a:gd name="T95" fmla="*/ 476 h 675"/>
                  <a:gd name="T96" fmla="*/ 2 w 853"/>
                  <a:gd name="T97" fmla="*/ 466 h 675"/>
                  <a:gd name="T98" fmla="*/ 24 w 853"/>
                  <a:gd name="T99" fmla="*/ 437 h 675"/>
                  <a:gd name="T100" fmla="*/ 32 w 853"/>
                  <a:gd name="T101" fmla="*/ 403 h 675"/>
                  <a:gd name="T102" fmla="*/ 32 w 853"/>
                  <a:gd name="T103" fmla="*/ 381 h 675"/>
                  <a:gd name="T104" fmla="*/ 53 w 853"/>
                  <a:gd name="T105" fmla="*/ 354 h 675"/>
                  <a:gd name="T106" fmla="*/ 58 w 853"/>
                  <a:gd name="T107" fmla="*/ 326 h 675"/>
                  <a:gd name="T108" fmla="*/ 111 w 853"/>
                  <a:gd name="T109" fmla="*/ 294 h 675"/>
                  <a:gd name="T110" fmla="*/ 162 w 853"/>
                  <a:gd name="T111" fmla="*/ 47 h 675"/>
                  <a:gd name="T112" fmla="*/ 622 w 853"/>
                  <a:gd name="T113" fmla="*/ 0 h 675"/>
                  <a:gd name="T114" fmla="*/ 843 w 853"/>
                  <a:gd name="T115" fmla="*/ 194 h 675"/>
                  <a:gd name="T116" fmla="*/ 819 w 853"/>
                  <a:gd name="T117" fmla="*/ 165 h 675"/>
                  <a:gd name="T118" fmla="*/ 835 w 853"/>
                  <a:gd name="T119" fmla="*/ 189 h 675"/>
                  <a:gd name="T120" fmla="*/ 853 w 853"/>
                  <a:gd name="T121" fmla="*/ 175 h 675"/>
                  <a:gd name="T122" fmla="*/ 845 w 853"/>
                  <a:gd name="T123" fmla="*/ 167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675">
                    <a:moveTo>
                      <a:pt x="763" y="2"/>
                    </a:moveTo>
                    <a:lnTo>
                      <a:pt x="762" y="2"/>
                    </a:lnTo>
                    <a:lnTo>
                      <a:pt x="763" y="5"/>
                    </a:lnTo>
                    <a:lnTo>
                      <a:pt x="763" y="8"/>
                    </a:lnTo>
                    <a:lnTo>
                      <a:pt x="763" y="10"/>
                    </a:lnTo>
                    <a:lnTo>
                      <a:pt x="763" y="12"/>
                    </a:lnTo>
                    <a:lnTo>
                      <a:pt x="765" y="22"/>
                    </a:lnTo>
                    <a:lnTo>
                      <a:pt x="772" y="34"/>
                    </a:lnTo>
                    <a:lnTo>
                      <a:pt x="777" y="37"/>
                    </a:lnTo>
                    <a:lnTo>
                      <a:pt x="782" y="42"/>
                    </a:lnTo>
                    <a:lnTo>
                      <a:pt x="784" y="47"/>
                    </a:lnTo>
                    <a:lnTo>
                      <a:pt x="785" y="47"/>
                    </a:lnTo>
                    <a:lnTo>
                      <a:pt x="785" y="51"/>
                    </a:lnTo>
                    <a:lnTo>
                      <a:pt x="782" y="51"/>
                    </a:lnTo>
                    <a:lnTo>
                      <a:pt x="779" y="46"/>
                    </a:lnTo>
                    <a:lnTo>
                      <a:pt x="782" y="47"/>
                    </a:lnTo>
                    <a:lnTo>
                      <a:pt x="784" y="49"/>
                    </a:lnTo>
                    <a:lnTo>
                      <a:pt x="782" y="47"/>
                    </a:lnTo>
                    <a:lnTo>
                      <a:pt x="782" y="44"/>
                    </a:lnTo>
                    <a:lnTo>
                      <a:pt x="779" y="44"/>
                    </a:lnTo>
                    <a:lnTo>
                      <a:pt x="780" y="44"/>
                    </a:lnTo>
                    <a:lnTo>
                      <a:pt x="779" y="44"/>
                    </a:lnTo>
                    <a:lnTo>
                      <a:pt x="779" y="41"/>
                    </a:lnTo>
                    <a:lnTo>
                      <a:pt x="777" y="41"/>
                    </a:lnTo>
                    <a:lnTo>
                      <a:pt x="774" y="42"/>
                    </a:lnTo>
                    <a:lnTo>
                      <a:pt x="775" y="44"/>
                    </a:lnTo>
                    <a:lnTo>
                      <a:pt x="777" y="44"/>
                    </a:lnTo>
                    <a:lnTo>
                      <a:pt x="775" y="46"/>
                    </a:lnTo>
                    <a:lnTo>
                      <a:pt x="777" y="47"/>
                    </a:lnTo>
                    <a:lnTo>
                      <a:pt x="775" y="47"/>
                    </a:lnTo>
                    <a:lnTo>
                      <a:pt x="774" y="49"/>
                    </a:lnTo>
                    <a:lnTo>
                      <a:pt x="777" y="56"/>
                    </a:lnTo>
                    <a:lnTo>
                      <a:pt x="779" y="68"/>
                    </a:lnTo>
                    <a:lnTo>
                      <a:pt x="780" y="70"/>
                    </a:lnTo>
                    <a:lnTo>
                      <a:pt x="780" y="71"/>
                    </a:lnTo>
                    <a:lnTo>
                      <a:pt x="782" y="75"/>
                    </a:lnTo>
                    <a:lnTo>
                      <a:pt x="782" y="78"/>
                    </a:lnTo>
                    <a:lnTo>
                      <a:pt x="780" y="80"/>
                    </a:lnTo>
                    <a:lnTo>
                      <a:pt x="780" y="78"/>
                    </a:lnTo>
                    <a:lnTo>
                      <a:pt x="779" y="80"/>
                    </a:lnTo>
                    <a:lnTo>
                      <a:pt x="780" y="81"/>
                    </a:lnTo>
                    <a:lnTo>
                      <a:pt x="779" y="83"/>
                    </a:lnTo>
                    <a:lnTo>
                      <a:pt x="780" y="88"/>
                    </a:lnTo>
                    <a:lnTo>
                      <a:pt x="779" y="92"/>
                    </a:lnTo>
                    <a:lnTo>
                      <a:pt x="780" y="90"/>
                    </a:lnTo>
                    <a:lnTo>
                      <a:pt x="780" y="93"/>
                    </a:lnTo>
                    <a:lnTo>
                      <a:pt x="780" y="98"/>
                    </a:lnTo>
                    <a:lnTo>
                      <a:pt x="780" y="100"/>
                    </a:lnTo>
                    <a:lnTo>
                      <a:pt x="780" y="98"/>
                    </a:lnTo>
                    <a:lnTo>
                      <a:pt x="779" y="100"/>
                    </a:lnTo>
                    <a:lnTo>
                      <a:pt x="779" y="102"/>
                    </a:lnTo>
                    <a:lnTo>
                      <a:pt x="780" y="105"/>
                    </a:lnTo>
                    <a:lnTo>
                      <a:pt x="780" y="107"/>
                    </a:lnTo>
                    <a:lnTo>
                      <a:pt x="782" y="109"/>
                    </a:lnTo>
                    <a:lnTo>
                      <a:pt x="782" y="110"/>
                    </a:lnTo>
                    <a:lnTo>
                      <a:pt x="784" y="110"/>
                    </a:lnTo>
                    <a:lnTo>
                      <a:pt x="784" y="114"/>
                    </a:lnTo>
                    <a:lnTo>
                      <a:pt x="782" y="119"/>
                    </a:lnTo>
                    <a:lnTo>
                      <a:pt x="782" y="122"/>
                    </a:lnTo>
                    <a:lnTo>
                      <a:pt x="780" y="122"/>
                    </a:lnTo>
                    <a:lnTo>
                      <a:pt x="780" y="121"/>
                    </a:lnTo>
                    <a:lnTo>
                      <a:pt x="780" y="122"/>
                    </a:lnTo>
                    <a:lnTo>
                      <a:pt x="782" y="122"/>
                    </a:lnTo>
                    <a:lnTo>
                      <a:pt x="782" y="124"/>
                    </a:lnTo>
                    <a:lnTo>
                      <a:pt x="784" y="127"/>
                    </a:lnTo>
                    <a:lnTo>
                      <a:pt x="784" y="129"/>
                    </a:lnTo>
                    <a:lnTo>
                      <a:pt x="785" y="134"/>
                    </a:lnTo>
                    <a:lnTo>
                      <a:pt x="785" y="136"/>
                    </a:lnTo>
                    <a:lnTo>
                      <a:pt x="785" y="138"/>
                    </a:lnTo>
                    <a:lnTo>
                      <a:pt x="787" y="146"/>
                    </a:lnTo>
                    <a:lnTo>
                      <a:pt x="785" y="148"/>
                    </a:lnTo>
                    <a:lnTo>
                      <a:pt x="787" y="148"/>
                    </a:lnTo>
                    <a:lnTo>
                      <a:pt x="787" y="146"/>
                    </a:lnTo>
                    <a:lnTo>
                      <a:pt x="789" y="149"/>
                    </a:lnTo>
                    <a:lnTo>
                      <a:pt x="789" y="153"/>
                    </a:lnTo>
                    <a:lnTo>
                      <a:pt x="791" y="153"/>
                    </a:lnTo>
                    <a:lnTo>
                      <a:pt x="789" y="155"/>
                    </a:lnTo>
                    <a:lnTo>
                      <a:pt x="791" y="156"/>
                    </a:lnTo>
                    <a:lnTo>
                      <a:pt x="791" y="160"/>
                    </a:lnTo>
                    <a:lnTo>
                      <a:pt x="794" y="165"/>
                    </a:lnTo>
                    <a:lnTo>
                      <a:pt x="797" y="167"/>
                    </a:lnTo>
                    <a:lnTo>
                      <a:pt x="799" y="168"/>
                    </a:lnTo>
                    <a:lnTo>
                      <a:pt x="802" y="167"/>
                    </a:lnTo>
                    <a:lnTo>
                      <a:pt x="804" y="167"/>
                    </a:lnTo>
                    <a:lnTo>
                      <a:pt x="804" y="168"/>
                    </a:lnTo>
                    <a:lnTo>
                      <a:pt x="808" y="168"/>
                    </a:lnTo>
                    <a:lnTo>
                      <a:pt x="809" y="170"/>
                    </a:lnTo>
                    <a:lnTo>
                      <a:pt x="809" y="172"/>
                    </a:lnTo>
                    <a:lnTo>
                      <a:pt x="818" y="175"/>
                    </a:lnTo>
                    <a:lnTo>
                      <a:pt x="821" y="178"/>
                    </a:lnTo>
                    <a:lnTo>
                      <a:pt x="826" y="182"/>
                    </a:lnTo>
                    <a:lnTo>
                      <a:pt x="825" y="184"/>
                    </a:lnTo>
                    <a:lnTo>
                      <a:pt x="825" y="187"/>
                    </a:lnTo>
                    <a:lnTo>
                      <a:pt x="825" y="189"/>
                    </a:lnTo>
                    <a:lnTo>
                      <a:pt x="826" y="190"/>
                    </a:lnTo>
                    <a:lnTo>
                      <a:pt x="828" y="190"/>
                    </a:lnTo>
                    <a:lnTo>
                      <a:pt x="828" y="192"/>
                    </a:lnTo>
                    <a:lnTo>
                      <a:pt x="831" y="192"/>
                    </a:lnTo>
                    <a:lnTo>
                      <a:pt x="833" y="192"/>
                    </a:lnTo>
                    <a:lnTo>
                      <a:pt x="833" y="189"/>
                    </a:lnTo>
                    <a:lnTo>
                      <a:pt x="835" y="190"/>
                    </a:lnTo>
                    <a:lnTo>
                      <a:pt x="833" y="190"/>
                    </a:lnTo>
                    <a:lnTo>
                      <a:pt x="835" y="190"/>
                    </a:lnTo>
                    <a:lnTo>
                      <a:pt x="833" y="194"/>
                    </a:lnTo>
                    <a:lnTo>
                      <a:pt x="838" y="195"/>
                    </a:lnTo>
                    <a:lnTo>
                      <a:pt x="838" y="194"/>
                    </a:lnTo>
                    <a:lnTo>
                      <a:pt x="840" y="194"/>
                    </a:lnTo>
                    <a:lnTo>
                      <a:pt x="842" y="195"/>
                    </a:lnTo>
                    <a:lnTo>
                      <a:pt x="840" y="195"/>
                    </a:lnTo>
                    <a:lnTo>
                      <a:pt x="840" y="197"/>
                    </a:lnTo>
                    <a:lnTo>
                      <a:pt x="842" y="199"/>
                    </a:lnTo>
                    <a:lnTo>
                      <a:pt x="843" y="197"/>
                    </a:lnTo>
                    <a:lnTo>
                      <a:pt x="845" y="199"/>
                    </a:lnTo>
                    <a:lnTo>
                      <a:pt x="843" y="199"/>
                    </a:lnTo>
                    <a:lnTo>
                      <a:pt x="845" y="199"/>
                    </a:lnTo>
                    <a:lnTo>
                      <a:pt x="845" y="201"/>
                    </a:lnTo>
                    <a:lnTo>
                      <a:pt x="847" y="199"/>
                    </a:lnTo>
                    <a:lnTo>
                      <a:pt x="845" y="199"/>
                    </a:lnTo>
                    <a:lnTo>
                      <a:pt x="847" y="197"/>
                    </a:lnTo>
                    <a:lnTo>
                      <a:pt x="848" y="199"/>
                    </a:lnTo>
                    <a:lnTo>
                      <a:pt x="848" y="202"/>
                    </a:lnTo>
                    <a:lnTo>
                      <a:pt x="850" y="202"/>
                    </a:lnTo>
                    <a:lnTo>
                      <a:pt x="848" y="204"/>
                    </a:lnTo>
                    <a:lnTo>
                      <a:pt x="843" y="209"/>
                    </a:lnTo>
                    <a:lnTo>
                      <a:pt x="838" y="218"/>
                    </a:lnTo>
                    <a:lnTo>
                      <a:pt x="838" y="221"/>
                    </a:lnTo>
                    <a:lnTo>
                      <a:pt x="835" y="223"/>
                    </a:lnTo>
                    <a:lnTo>
                      <a:pt x="833" y="226"/>
                    </a:lnTo>
                    <a:lnTo>
                      <a:pt x="831" y="226"/>
                    </a:lnTo>
                    <a:lnTo>
                      <a:pt x="830" y="226"/>
                    </a:lnTo>
                    <a:lnTo>
                      <a:pt x="828" y="224"/>
                    </a:lnTo>
                    <a:lnTo>
                      <a:pt x="826" y="226"/>
                    </a:lnTo>
                    <a:lnTo>
                      <a:pt x="826" y="224"/>
                    </a:lnTo>
                    <a:lnTo>
                      <a:pt x="825" y="226"/>
                    </a:lnTo>
                    <a:lnTo>
                      <a:pt x="825" y="228"/>
                    </a:lnTo>
                    <a:lnTo>
                      <a:pt x="823" y="228"/>
                    </a:lnTo>
                    <a:lnTo>
                      <a:pt x="823" y="226"/>
                    </a:lnTo>
                    <a:lnTo>
                      <a:pt x="821" y="226"/>
                    </a:lnTo>
                    <a:lnTo>
                      <a:pt x="819" y="226"/>
                    </a:lnTo>
                    <a:lnTo>
                      <a:pt x="818" y="229"/>
                    </a:lnTo>
                    <a:lnTo>
                      <a:pt x="818" y="231"/>
                    </a:lnTo>
                    <a:lnTo>
                      <a:pt x="814" y="231"/>
                    </a:lnTo>
                    <a:lnTo>
                      <a:pt x="813" y="229"/>
                    </a:lnTo>
                    <a:lnTo>
                      <a:pt x="809" y="229"/>
                    </a:lnTo>
                    <a:lnTo>
                      <a:pt x="808" y="235"/>
                    </a:lnTo>
                    <a:lnTo>
                      <a:pt x="801" y="236"/>
                    </a:lnTo>
                    <a:lnTo>
                      <a:pt x="794" y="238"/>
                    </a:lnTo>
                    <a:lnTo>
                      <a:pt x="796" y="241"/>
                    </a:lnTo>
                    <a:lnTo>
                      <a:pt x="794" y="241"/>
                    </a:lnTo>
                    <a:lnTo>
                      <a:pt x="796" y="245"/>
                    </a:lnTo>
                    <a:lnTo>
                      <a:pt x="794" y="245"/>
                    </a:lnTo>
                    <a:lnTo>
                      <a:pt x="792" y="248"/>
                    </a:lnTo>
                    <a:lnTo>
                      <a:pt x="791" y="250"/>
                    </a:lnTo>
                    <a:lnTo>
                      <a:pt x="789" y="252"/>
                    </a:lnTo>
                    <a:lnTo>
                      <a:pt x="784" y="250"/>
                    </a:lnTo>
                    <a:lnTo>
                      <a:pt x="777" y="252"/>
                    </a:lnTo>
                    <a:lnTo>
                      <a:pt x="774" y="250"/>
                    </a:lnTo>
                    <a:lnTo>
                      <a:pt x="772" y="250"/>
                    </a:lnTo>
                    <a:lnTo>
                      <a:pt x="770" y="250"/>
                    </a:lnTo>
                    <a:lnTo>
                      <a:pt x="768" y="250"/>
                    </a:lnTo>
                    <a:lnTo>
                      <a:pt x="770" y="253"/>
                    </a:lnTo>
                    <a:lnTo>
                      <a:pt x="767" y="257"/>
                    </a:lnTo>
                    <a:lnTo>
                      <a:pt x="770" y="260"/>
                    </a:lnTo>
                    <a:lnTo>
                      <a:pt x="768" y="262"/>
                    </a:lnTo>
                    <a:lnTo>
                      <a:pt x="770" y="263"/>
                    </a:lnTo>
                    <a:lnTo>
                      <a:pt x="768" y="267"/>
                    </a:lnTo>
                    <a:lnTo>
                      <a:pt x="768" y="269"/>
                    </a:lnTo>
                    <a:lnTo>
                      <a:pt x="767" y="270"/>
                    </a:lnTo>
                    <a:lnTo>
                      <a:pt x="767" y="272"/>
                    </a:lnTo>
                    <a:lnTo>
                      <a:pt x="763" y="272"/>
                    </a:lnTo>
                    <a:lnTo>
                      <a:pt x="763" y="275"/>
                    </a:lnTo>
                    <a:lnTo>
                      <a:pt x="763" y="279"/>
                    </a:lnTo>
                    <a:lnTo>
                      <a:pt x="765" y="282"/>
                    </a:lnTo>
                    <a:lnTo>
                      <a:pt x="767" y="284"/>
                    </a:lnTo>
                    <a:lnTo>
                      <a:pt x="765" y="289"/>
                    </a:lnTo>
                    <a:lnTo>
                      <a:pt x="767" y="291"/>
                    </a:lnTo>
                    <a:lnTo>
                      <a:pt x="763" y="294"/>
                    </a:lnTo>
                    <a:lnTo>
                      <a:pt x="757" y="313"/>
                    </a:lnTo>
                    <a:lnTo>
                      <a:pt x="753" y="318"/>
                    </a:lnTo>
                    <a:lnTo>
                      <a:pt x="750" y="332"/>
                    </a:lnTo>
                    <a:lnTo>
                      <a:pt x="751" y="332"/>
                    </a:lnTo>
                    <a:lnTo>
                      <a:pt x="746" y="343"/>
                    </a:lnTo>
                    <a:lnTo>
                      <a:pt x="741" y="347"/>
                    </a:lnTo>
                    <a:lnTo>
                      <a:pt x="743" y="367"/>
                    </a:lnTo>
                    <a:lnTo>
                      <a:pt x="745" y="379"/>
                    </a:lnTo>
                    <a:lnTo>
                      <a:pt x="745" y="389"/>
                    </a:lnTo>
                    <a:lnTo>
                      <a:pt x="746" y="393"/>
                    </a:lnTo>
                    <a:lnTo>
                      <a:pt x="745" y="403"/>
                    </a:lnTo>
                    <a:lnTo>
                      <a:pt x="741" y="408"/>
                    </a:lnTo>
                    <a:lnTo>
                      <a:pt x="745" y="415"/>
                    </a:lnTo>
                    <a:lnTo>
                      <a:pt x="740" y="420"/>
                    </a:lnTo>
                    <a:lnTo>
                      <a:pt x="738" y="427"/>
                    </a:lnTo>
                    <a:lnTo>
                      <a:pt x="738" y="430"/>
                    </a:lnTo>
                    <a:lnTo>
                      <a:pt x="733" y="440"/>
                    </a:lnTo>
                    <a:lnTo>
                      <a:pt x="731" y="442"/>
                    </a:lnTo>
                    <a:lnTo>
                      <a:pt x="726" y="459"/>
                    </a:lnTo>
                    <a:lnTo>
                      <a:pt x="728" y="462"/>
                    </a:lnTo>
                    <a:lnTo>
                      <a:pt x="728" y="469"/>
                    </a:lnTo>
                    <a:lnTo>
                      <a:pt x="728" y="473"/>
                    </a:lnTo>
                    <a:lnTo>
                      <a:pt x="724" y="473"/>
                    </a:lnTo>
                    <a:lnTo>
                      <a:pt x="724" y="471"/>
                    </a:lnTo>
                    <a:lnTo>
                      <a:pt x="719" y="471"/>
                    </a:lnTo>
                    <a:lnTo>
                      <a:pt x="707" y="474"/>
                    </a:lnTo>
                    <a:lnTo>
                      <a:pt x="707" y="473"/>
                    </a:lnTo>
                    <a:lnTo>
                      <a:pt x="706" y="474"/>
                    </a:lnTo>
                    <a:lnTo>
                      <a:pt x="704" y="473"/>
                    </a:lnTo>
                    <a:lnTo>
                      <a:pt x="704" y="474"/>
                    </a:lnTo>
                    <a:lnTo>
                      <a:pt x="704" y="476"/>
                    </a:lnTo>
                    <a:lnTo>
                      <a:pt x="700" y="476"/>
                    </a:lnTo>
                    <a:lnTo>
                      <a:pt x="690" y="495"/>
                    </a:lnTo>
                    <a:lnTo>
                      <a:pt x="690" y="497"/>
                    </a:lnTo>
                    <a:lnTo>
                      <a:pt x="689" y="498"/>
                    </a:lnTo>
                    <a:lnTo>
                      <a:pt x="687" y="502"/>
                    </a:lnTo>
                    <a:lnTo>
                      <a:pt x="685" y="503"/>
                    </a:lnTo>
                    <a:lnTo>
                      <a:pt x="685" y="505"/>
                    </a:lnTo>
                    <a:lnTo>
                      <a:pt x="683" y="507"/>
                    </a:lnTo>
                    <a:lnTo>
                      <a:pt x="682" y="510"/>
                    </a:lnTo>
                    <a:lnTo>
                      <a:pt x="673" y="517"/>
                    </a:lnTo>
                    <a:lnTo>
                      <a:pt x="672" y="520"/>
                    </a:lnTo>
                    <a:lnTo>
                      <a:pt x="673" y="525"/>
                    </a:lnTo>
                    <a:lnTo>
                      <a:pt x="673" y="531"/>
                    </a:lnTo>
                    <a:lnTo>
                      <a:pt x="672" y="534"/>
                    </a:lnTo>
                    <a:lnTo>
                      <a:pt x="672" y="536"/>
                    </a:lnTo>
                    <a:lnTo>
                      <a:pt x="668" y="541"/>
                    </a:lnTo>
                    <a:lnTo>
                      <a:pt x="668" y="542"/>
                    </a:lnTo>
                    <a:lnTo>
                      <a:pt x="666" y="546"/>
                    </a:lnTo>
                    <a:lnTo>
                      <a:pt x="668" y="549"/>
                    </a:lnTo>
                    <a:lnTo>
                      <a:pt x="666" y="559"/>
                    </a:lnTo>
                    <a:lnTo>
                      <a:pt x="666" y="563"/>
                    </a:lnTo>
                    <a:lnTo>
                      <a:pt x="661" y="571"/>
                    </a:lnTo>
                    <a:lnTo>
                      <a:pt x="660" y="571"/>
                    </a:lnTo>
                    <a:lnTo>
                      <a:pt x="658" y="573"/>
                    </a:lnTo>
                    <a:lnTo>
                      <a:pt x="656" y="573"/>
                    </a:lnTo>
                    <a:lnTo>
                      <a:pt x="656" y="570"/>
                    </a:lnTo>
                    <a:lnTo>
                      <a:pt x="653" y="566"/>
                    </a:lnTo>
                    <a:lnTo>
                      <a:pt x="648" y="563"/>
                    </a:lnTo>
                    <a:lnTo>
                      <a:pt x="641" y="568"/>
                    </a:lnTo>
                    <a:lnTo>
                      <a:pt x="638" y="575"/>
                    </a:lnTo>
                    <a:lnTo>
                      <a:pt x="632" y="578"/>
                    </a:lnTo>
                    <a:lnTo>
                      <a:pt x="632" y="583"/>
                    </a:lnTo>
                    <a:lnTo>
                      <a:pt x="634" y="585"/>
                    </a:lnTo>
                    <a:lnTo>
                      <a:pt x="632" y="588"/>
                    </a:lnTo>
                    <a:lnTo>
                      <a:pt x="636" y="599"/>
                    </a:lnTo>
                    <a:lnTo>
                      <a:pt x="636" y="600"/>
                    </a:lnTo>
                    <a:lnTo>
                      <a:pt x="634" y="602"/>
                    </a:lnTo>
                    <a:lnTo>
                      <a:pt x="629" y="607"/>
                    </a:lnTo>
                    <a:lnTo>
                      <a:pt x="629" y="614"/>
                    </a:lnTo>
                    <a:lnTo>
                      <a:pt x="624" y="629"/>
                    </a:lnTo>
                    <a:lnTo>
                      <a:pt x="624" y="634"/>
                    </a:lnTo>
                    <a:lnTo>
                      <a:pt x="612" y="634"/>
                    </a:lnTo>
                    <a:lnTo>
                      <a:pt x="612" y="629"/>
                    </a:lnTo>
                    <a:lnTo>
                      <a:pt x="612" y="626"/>
                    </a:lnTo>
                    <a:lnTo>
                      <a:pt x="614" y="622"/>
                    </a:lnTo>
                    <a:lnTo>
                      <a:pt x="615" y="619"/>
                    </a:lnTo>
                    <a:lnTo>
                      <a:pt x="617" y="614"/>
                    </a:lnTo>
                    <a:lnTo>
                      <a:pt x="617" y="607"/>
                    </a:lnTo>
                    <a:lnTo>
                      <a:pt x="617" y="605"/>
                    </a:lnTo>
                    <a:lnTo>
                      <a:pt x="615" y="602"/>
                    </a:lnTo>
                    <a:lnTo>
                      <a:pt x="612" y="600"/>
                    </a:lnTo>
                    <a:lnTo>
                      <a:pt x="607" y="592"/>
                    </a:lnTo>
                    <a:lnTo>
                      <a:pt x="600" y="587"/>
                    </a:lnTo>
                    <a:lnTo>
                      <a:pt x="592" y="576"/>
                    </a:lnTo>
                    <a:lnTo>
                      <a:pt x="580" y="573"/>
                    </a:lnTo>
                    <a:lnTo>
                      <a:pt x="578" y="571"/>
                    </a:lnTo>
                    <a:lnTo>
                      <a:pt x="581" y="568"/>
                    </a:lnTo>
                    <a:lnTo>
                      <a:pt x="580" y="554"/>
                    </a:lnTo>
                    <a:lnTo>
                      <a:pt x="578" y="546"/>
                    </a:lnTo>
                    <a:lnTo>
                      <a:pt x="575" y="527"/>
                    </a:lnTo>
                    <a:lnTo>
                      <a:pt x="576" y="520"/>
                    </a:lnTo>
                    <a:lnTo>
                      <a:pt x="580" y="500"/>
                    </a:lnTo>
                    <a:lnTo>
                      <a:pt x="581" y="498"/>
                    </a:lnTo>
                    <a:lnTo>
                      <a:pt x="580" y="497"/>
                    </a:lnTo>
                    <a:lnTo>
                      <a:pt x="580" y="498"/>
                    </a:lnTo>
                    <a:lnTo>
                      <a:pt x="556" y="497"/>
                    </a:lnTo>
                    <a:lnTo>
                      <a:pt x="553" y="497"/>
                    </a:lnTo>
                    <a:lnTo>
                      <a:pt x="554" y="498"/>
                    </a:lnTo>
                    <a:lnTo>
                      <a:pt x="554" y="500"/>
                    </a:lnTo>
                    <a:lnTo>
                      <a:pt x="554" y="507"/>
                    </a:lnTo>
                    <a:lnTo>
                      <a:pt x="554" y="512"/>
                    </a:lnTo>
                    <a:lnTo>
                      <a:pt x="551" y="510"/>
                    </a:lnTo>
                    <a:lnTo>
                      <a:pt x="522" y="510"/>
                    </a:lnTo>
                    <a:lnTo>
                      <a:pt x="536" y="522"/>
                    </a:lnTo>
                    <a:lnTo>
                      <a:pt x="536" y="524"/>
                    </a:lnTo>
                    <a:lnTo>
                      <a:pt x="537" y="529"/>
                    </a:lnTo>
                    <a:lnTo>
                      <a:pt x="537" y="549"/>
                    </a:lnTo>
                    <a:lnTo>
                      <a:pt x="541" y="556"/>
                    </a:lnTo>
                    <a:lnTo>
                      <a:pt x="524" y="571"/>
                    </a:lnTo>
                    <a:lnTo>
                      <a:pt x="517" y="576"/>
                    </a:lnTo>
                    <a:lnTo>
                      <a:pt x="507" y="593"/>
                    </a:lnTo>
                    <a:lnTo>
                      <a:pt x="491" y="610"/>
                    </a:lnTo>
                    <a:lnTo>
                      <a:pt x="485" y="619"/>
                    </a:lnTo>
                    <a:lnTo>
                      <a:pt x="481" y="621"/>
                    </a:lnTo>
                    <a:lnTo>
                      <a:pt x="474" y="622"/>
                    </a:lnTo>
                    <a:lnTo>
                      <a:pt x="461" y="622"/>
                    </a:lnTo>
                    <a:lnTo>
                      <a:pt x="457" y="622"/>
                    </a:lnTo>
                    <a:lnTo>
                      <a:pt x="442" y="610"/>
                    </a:lnTo>
                    <a:lnTo>
                      <a:pt x="423" y="600"/>
                    </a:lnTo>
                    <a:lnTo>
                      <a:pt x="417" y="595"/>
                    </a:lnTo>
                    <a:lnTo>
                      <a:pt x="415" y="595"/>
                    </a:lnTo>
                    <a:lnTo>
                      <a:pt x="411" y="595"/>
                    </a:lnTo>
                    <a:lnTo>
                      <a:pt x="393" y="605"/>
                    </a:lnTo>
                    <a:lnTo>
                      <a:pt x="393" y="622"/>
                    </a:lnTo>
                    <a:lnTo>
                      <a:pt x="369" y="622"/>
                    </a:lnTo>
                    <a:lnTo>
                      <a:pt x="360" y="631"/>
                    </a:lnTo>
                    <a:lnTo>
                      <a:pt x="357" y="636"/>
                    </a:lnTo>
                    <a:lnTo>
                      <a:pt x="355" y="639"/>
                    </a:lnTo>
                    <a:lnTo>
                      <a:pt x="354" y="639"/>
                    </a:lnTo>
                    <a:lnTo>
                      <a:pt x="354" y="641"/>
                    </a:lnTo>
                    <a:lnTo>
                      <a:pt x="352" y="641"/>
                    </a:lnTo>
                    <a:lnTo>
                      <a:pt x="349" y="641"/>
                    </a:lnTo>
                    <a:lnTo>
                      <a:pt x="347" y="643"/>
                    </a:lnTo>
                    <a:lnTo>
                      <a:pt x="320" y="643"/>
                    </a:lnTo>
                    <a:lnTo>
                      <a:pt x="316" y="643"/>
                    </a:lnTo>
                    <a:lnTo>
                      <a:pt x="309" y="629"/>
                    </a:lnTo>
                    <a:lnTo>
                      <a:pt x="306" y="629"/>
                    </a:lnTo>
                    <a:lnTo>
                      <a:pt x="298" y="629"/>
                    </a:lnTo>
                    <a:lnTo>
                      <a:pt x="281" y="627"/>
                    </a:lnTo>
                    <a:lnTo>
                      <a:pt x="270" y="627"/>
                    </a:lnTo>
                    <a:lnTo>
                      <a:pt x="264" y="629"/>
                    </a:lnTo>
                    <a:lnTo>
                      <a:pt x="250" y="634"/>
                    </a:lnTo>
                    <a:lnTo>
                      <a:pt x="235" y="633"/>
                    </a:lnTo>
                    <a:lnTo>
                      <a:pt x="231" y="629"/>
                    </a:lnTo>
                    <a:lnTo>
                      <a:pt x="230" y="627"/>
                    </a:lnTo>
                    <a:lnTo>
                      <a:pt x="226" y="621"/>
                    </a:lnTo>
                    <a:lnTo>
                      <a:pt x="224" y="614"/>
                    </a:lnTo>
                    <a:lnTo>
                      <a:pt x="219" y="609"/>
                    </a:lnTo>
                    <a:lnTo>
                      <a:pt x="216" y="602"/>
                    </a:lnTo>
                    <a:lnTo>
                      <a:pt x="209" y="600"/>
                    </a:lnTo>
                    <a:lnTo>
                      <a:pt x="209" y="590"/>
                    </a:lnTo>
                    <a:lnTo>
                      <a:pt x="207" y="590"/>
                    </a:lnTo>
                    <a:lnTo>
                      <a:pt x="207" y="588"/>
                    </a:lnTo>
                    <a:lnTo>
                      <a:pt x="206" y="588"/>
                    </a:lnTo>
                    <a:lnTo>
                      <a:pt x="204" y="587"/>
                    </a:lnTo>
                    <a:lnTo>
                      <a:pt x="204" y="588"/>
                    </a:lnTo>
                    <a:lnTo>
                      <a:pt x="202" y="587"/>
                    </a:lnTo>
                    <a:lnTo>
                      <a:pt x="202" y="588"/>
                    </a:lnTo>
                    <a:lnTo>
                      <a:pt x="201" y="587"/>
                    </a:lnTo>
                    <a:lnTo>
                      <a:pt x="201" y="588"/>
                    </a:lnTo>
                    <a:lnTo>
                      <a:pt x="201" y="587"/>
                    </a:lnTo>
                    <a:lnTo>
                      <a:pt x="199" y="588"/>
                    </a:lnTo>
                    <a:lnTo>
                      <a:pt x="197" y="588"/>
                    </a:lnTo>
                    <a:lnTo>
                      <a:pt x="196" y="588"/>
                    </a:lnTo>
                    <a:lnTo>
                      <a:pt x="196" y="587"/>
                    </a:lnTo>
                    <a:lnTo>
                      <a:pt x="194" y="588"/>
                    </a:lnTo>
                    <a:lnTo>
                      <a:pt x="190" y="588"/>
                    </a:lnTo>
                    <a:lnTo>
                      <a:pt x="189" y="590"/>
                    </a:lnTo>
                    <a:lnTo>
                      <a:pt x="187" y="588"/>
                    </a:lnTo>
                    <a:lnTo>
                      <a:pt x="187" y="590"/>
                    </a:lnTo>
                    <a:lnTo>
                      <a:pt x="185" y="588"/>
                    </a:lnTo>
                    <a:lnTo>
                      <a:pt x="185" y="590"/>
                    </a:lnTo>
                    <a:lnTo>
                      <a:pt x="184" y="588"/>
                    </a:lnTo>
                    <a:lnTo>
                      <a:pt x="184" y="590"/>
                    </a:lnTo>
                    <a:lnTo>
                      <a:pt x="182" y="588"/>
                    </a:lnTo>
                    <a:lnTo>
                      <a:pt x="182" y="590"/>
                    </a:lnTo>
                    <a:lnTo>
                      <a:pt x="182" y="588"/>
                    </a:lnTo>
                    <a:lnTo>
                      <a:pt x="180" y="590"/>
                    </a:lnTo>
                    <a:lnTo>
                      <a:pt x="179" y="590"/>
                    </a:lnTo>
                    <a:lnTo>
                      <a:pt x="179" y="592"/>
                    </a:lnTo>
                    <a:lnTo>
                      <a:pt x="175" y="590"/>
                    </a:lnTo>
                    <a:lnTo>
                      <a:pt x="175" y="592"/>
                    </a:lnTo>
                    <a:lnTo>
                      <a:pt x="173" y="590"/>
                    </a:lnTo>
                    <a:lnTo>
                      <a:pt x="172" y="592"/>
                    </a:lnTo>
                    <a:lnTo>
                      <a:pt x="170" y="592"/>
                    </a:lnTo>
                    <a:lnTo>
                      <a:pt x="172" y="593"/>
                    </a:lnTo>
                    <a:lnTo>
                      <a:pt x="168" y="592"/>
                    </a:lnTo>
                    <a:lnTo>
                      <a:pt x="168" y="593"/>
                    </a:lnTo>
                    <a:lnTo>
                      <a:pt x="167" y="593"/>
                    </a:lnTo>
                    <a:lnTo>
                      <a:pt x="167" y="595"/>
                    </a:lnTo>
                    <a:lnTo>
                      <a:pt x="165" y="595"/>
                    </a:lnTo>
                    <a:lnTo>
                      <a:pt x="165" y="597"/>
                    </a:lnTo>
                    <a:lnTo>
                      <a:pt x="165" y="599"/>
                    </a:lnTo>
                    <a:lnTo>
                      <a:pt x="163" y="599"/>
                    </a:lnTo>
                    <a:lnTo>
                      <a:pt x="165" y="600"/>
                    </a:lnTo>
                    <a:lnTo>
                      <a:pt x="163" y="600"/>
                    </a:lnTo>
                    <a:lnTo>
                      <a:pt x="165" y="602"/>
                    </a:lnTo>
                    <a:lnTo>
                      <a:pt x="167" y="604"/>
                    </a:lnTo>
                    <a:lnTo>
                      <a:pt x="165" y="605"/>
                    </a:lnTo>
                    <a:lnTo>
                      <a:pt x="163" y="605"/>
                    </a:lnTo>
                    <a:lnTo>
                      <a:pt x="163" y="607"/>
                    </a:lnTo>
                    <a:lnTo>
                      <a:pt x="165" y="607"/>
                    </a:lnTo>
                    <a:lnTo>
                      <a:pt x="163" y="609"/>
                    </a:lnTo>
                    <a:lnTo>
                      <a:pt x="163" y="610"/>
                    </a:lnTo>
                    <a:lnTo>
                      <a:pt x="162" y="610"/>
                    </a:lnTo>
                    <a:lnTo>
                      <a:pt x="160" y="614"/>
                    </a:lnTo>
                    <a:lnTo>
                      <a:pt x="162" y="614"/>
                    </a:lnTo>
                    <a:lnTo>
                      <a:pt x="160" y="614"/>
                    </a:lnTo>
                    <a:lnTo>
                      <a:pt x="158" y="616"/>
                    </a:lnTo>
                    <a:lnTo>
                      <a:pt x="156" y="616"/>
                    </a:lnTo>
                    <a:lnTo>
                      <a:pt x="158" y="616"/>
                    </a:lnTo>
                    <a:lnTo>
                      <a:pt x="156" y="616"/>
                    </a:lnTo>
                    <a:lnTo>
                      <a:pt x="156" y="617"/>
                    </a:lnTo>
                    <a:lnTo>
                      <a:pt x="155" y="617"/>
                    </a:lnTo>
                    <a:lnTo>
                      <a:pt x="151" y="621"/>
                    </a:lnTo>
                    <a:lnTo>
                      <a:pt x="150" y="622"/>
                    </a:lnTo>
                    <a:lnTo>
                      <a:pt x="150" y="627"/>
                    </a:lnTo>
                    <a:lnTo>
                      <a:pt x="150" y="631"/>
                    </a:lnTo>
                    <a:lnTo>
                      <a:pt x="150" y="634"/>
                    </a:lnTo>
                    <a:lnTo>
                      <a:pt x="143" y="641"/>
                    </a:lnTo>
                    <a:lnTo>
                      <a:pt x="145" y="643"/>
                    </a:lnTo>
                    <a:lnTo>
                      <a:pt x="141" y="650"/>
                    </a:lnTo>
                    <a:lnTo>
                      <a:pt x="139" y="656"/>
                    </a:lnTo>
                    <a:lnTo>
                      <a:pt x="141" y="663"/>
                    </a:lnTo>
                    <a:lnTo>
                      <a:pt x="138" y="668"/>
                    </a:lnTo>
                    <a:lnTo>
                      <a:pt x="131" y="670"/>
                    </a:lnTo>
                    <a:lnTo>
                      <a:pt x="128" y="673"/>
                    </a:lnTo>
                    <a:lnTo>
                      <a:pt x="124" y="675"/>
                    </a:lnTo>
                    <a:lnTo>
                      <a:pt x="122" y="675"/>
                    </a:lnTo>
                    <a:lnTo>
                      <a:pt x="121" y="675"/>
                    </a:lnTo>
                    <a:lnTo>
                      <a:pt x="119" y="675"/>
                    </a:lnTo>
                    <a:lnTo>
                      <a:pt x="117" y="675"/>
                    </a:lnTo>
                    <a:lnTo>
                      <a:pt x="112" y="673"/>
                    </a:lnTo>
                    <a:lnTo>
                      <a:pt x="111" y="675"/>
                    </a:lnTo>
                    <a:lnTo>
                      <a:pt x="109" y="673"/>
                    </a:lnTo>
                    <a:lnTo>
                      <a:pt x="105" y="673"/>
                    </a:lnTo>
                    <a:lnTo>
                      <a:pt x="104" y="673"/>
                    </a:lnTo>
                    <a:lnTo>
                      <a:pt x="100" y="675"/>
                    </a:lnTo>
                    <a:lnTo>
                      <a:pt x="99" y="673"/>
                    </a:lnTo>
                    <a:lnTo>
                      <a:pt x="94" y="673"/>
                    </a:lnTo>
                    <a:lnTo>
                      <a:pt x="92" y="672"/>
                    </a:lnTo>
                    <a:lnTo>
                      <a:pt x="90" y="672"/>
                    </a:lnTo>
                    <a:lnTo>
                      <a:pt x="88" y="673"/>
                    </a:lnTo>
                    <a:lnTo>
                      <a:pt x="87" y="673"/>
                    </a:lnTo>
                    <a:lnTo>
                      <a:pt x="87" y="672"/>
                    </a:lnTo>
                    <a:lnTo>
                      <a:pt x="87" y="668"/>
                    </a:lnTo>
                    <a:lnTo>
                      <a:pt x="90" y="667"/>
                    </a:lnTo>
                    <a:lnTo>
                      <a:pt x="90" y="660"/>
                    </a:lnTo>
                    <a:lnTo>
                      <a:pt x="90" y="658"/>
                    </a:lnTo>
                    <a:lnTo>
                      <a:pt x="88" y="658"/>
                    </a:lnTo>
                    <a:lnTo>
                      <a:pt x="87" y="662"/>
                    </a:lnTo>
                    <a:lnTo>
                      <a:pt x="83" y="660"/>
                    </a:lnTo>
                    <a:lnTo>
                      <a:pt x="83" y="658"/>
                    </a:lnTo>
                    <a:lnTo>
                      <a:pt x="85" y="655"/>
                    </a:lnTo>
                    <a:lnTo>
                      <a:pt x="85" y="653"/>
                    </a:lnTo>
                    <a:lnTo>
                      <a:pt x="85" y="650"/>
                    </a:lnTo>
                    <a:lnTo>
                      <a:pt x="88" y="650"/>
                    </a:lnTo>
                    <a:lnTo>
                      <a:pt x="92" y="648"/>
                    </a:lnTo>
                    <a:lnTo>
                      <a:pt x="92" y="646"/>
                    </a:lnTo>
                    <a:lnTo>
                      <a:pt x="94" y="646"/>
                    </a:lnTo>
                    <a:lnTo>
                      <a:pt x="94" y="645"/>
                    </a:lnTo>
                    <a:lnTo>
                      <a:pt x="92" y="643"/>
                    </a:lnTo>
                    <a:lnTo>
                      <a:pt x="94" y="641"/>
                    </a:lnTo>
                    <a:lnTo>
                      <a:pt x="95" y="638"/>
                    </a:lnTo>
                    <a:lnTo>
                      <a:pt x="95" y="636"/>
                    </a:lnTo>
                    <a:lnTo>
                      <a:pt x="94" y="638"/>
                    </a:lnTo>
                    <a:lnTo>
                      <a:pt x="92" y="634"/>
                    </a:lnTo>
                    <a:lnTo>
                      <a:pt x="94" y="633"/>
                    </a:lnTo>
                    <a:lnTo>
                      <a:pt x="92" y="631"/>
                    </a:lnTo>
                    <a:lnTo>
                      <a:pt x="95" y="626"/>
                    </a:lnTo>
                    <a:lnTo>
                      <a:pt x="95" y="614"/>
                    </a:lnTo>
                    <a:lnTo>
                      <a:pt x="83" y="597"/>
                    </a:lnTo>
                    <a:lnTo>
                      <a:pt x="77" y="585"/>
                    </a:lnTo>
                    <a:lnTo>
                      <a:pt x="75" y="585"/>
                    </a:lnTo>
                    <a:lnTo>
                      <a:pt x="70" y="580"/>
                    </a:lnTo>
                    <a:lnTo>
                      <a:pt x="68" y="576"/>
                    </a:lnTo>
                    <a:lnTo>
                      <a:pt x="61" y="573"/>
                    </a:lnTo>
                    <a:lnTo>
                      <a:pt x="58" y="565"/>
                    </a:lnTo>
                    <a:lnTo>
                      <a:pt x="54" y="561"/>
                    </a:lnTo>
                    <a:lnTo>
                      <a:pt x="60" y="551"/>
                    </a:lnTo>
                    <a:lnTo>
                      <a:pt x="60" y="546"/>
                    </a:lnTo>
                    <a:lnTo>
                      <a:pt x="60" y="542"/>
                    </a:lnTo>
                    <a:lnTo>
                      <a:pt x="58" y="542"/>
                    </a:lnTo>
                    <a:lnTo>
                      <a:pt x="58" y="537"/>
                    </a:lnTo>
                    <a:lnTo>
                      <a:pt x="49" y="537"/>
                    </a:lnTo>
                    <a:lnTo>
                      <a:pt x="49" y="536"/>
                    </a:lnTo>
                    <a:lnTo>
                      <a:pt x="48" y="534"/>
                    </a:lnTo>
                    <a:lnTo>
                      <a:pt x="43" y="532"/>
                    </a:lnTo>
                    <a:lnTo>
                      <a:pt x="39" y="527"/>
                    </a:lnTo>
                    <a:lnTo>
                      <a:pt x="37" y="522"/>
                    </a:lnTo>
                    <a:lnTo>
                      <a:pt x="43" y="505"/>
                    </a:lnTo>
                    <a:lnTo>
                      <a:pt x="37" y="505"/>
                    </a:lnTo>
                    <a:lnTo>
                      <a:pt x="36" y="507"/>
                    </a:lnTo>
                    <a:lnTo>
                      <a:pt x="34" y="505"/>
                    </a:lnTo>
                    <a:lnTo>
                      <a:pt x="34" y="498"/>
                    </a:lnTo>
                    <a:lnTo>
                      <a:pt x="32" y="493"/>
                    </a:lnTo>
                    <a:lnTo>
                      <a:pt x="32" y="491"/>
                    </a:lnTo>
                    <a:lnTo>
                      <a:pt x="31" y="490"/>
                    </a:lnTo>
                    <a:lnTo>
                      <a:pt x="32" y="488"/>
                    </a:lnTo>
                    <a:lnTo>
                      <a:pt x="29" y="485"/>
                    </a:lnTo>
                    <a:lnTo>
                      <a:pt x="32" y="481"/>
                    </a:lnTo>
                    <a:lnTo>
                      <a:pt x="32" y="476"/>
                    </a:lnTo>
                    <a:lnTo>
                      <a:pt x="29" y="474"/>
                    </a:lnTo>
                    <a:lnTo>
                      <a:pt x="20" y="469"/>
                    </a:lnTo>
                    <a:lnTo>
                      <a:pt x="19" y="473"/>
                    </a:lnTo>
                    <a:lnTo>
                      <a:pt x="17" y="474"/>
                    </a:lnTo>
                    <a:lnTo>
                      <a:pt x="12" y="474"/>
                    </a:lnTo>
                    <a:lnTo>
                      <a:pt x="7" y="474"/>
                    </a:lnTo>
                    <a:lnTo>
                      <a:pt x="2" y="471"/>
                    </a:lnTo>
                    <a:lnTo>
                      <a:pt x="2" y="468"/>
                    </a:lnTo>
                    <a:lnTo>
                      <a:pt x="0" y="466"/>
                    </a:lnTo>
                    <a:lnTo>
                      <a:pt x="2" y="466"/>
                    </a:lnTo>
                    <a:lnTo>
                      <a:pt x="5" y="457"/>
                    </a:lnTo>
                    <a:lnTo>
                      <a:pt x="7" y="456"/>
                    </a:lnTo>
                    <a:lnTo>
                      <a:pt x="7" y="454"/>
                    </a:lnTo>
                    <a:lnTo>
                      <a:pt x="9" y="452"/>
                    </a:lnTo>
                    <a:lnTo>
                      <a:pt x="10" y="449"/>
                    </a:lnTo>
                    <a:lnTo>
                      <a:pt x="14" y="449"/>
                    </a:lnTo>
                    <a:lnTo>
                      <a:pt x="17" y="449"/>
                    </a:lnTo>
                    <a:lnTo>
                      <a:pt x="19" y="444"/>
                    </a:lnTo>
                    <a:lnTo>
                      <a:pt x="24" y="439"/>
                    </a:lnTo>
                    <a:lnTo>
                      <a:pt x="24" y="437"/>
                    </a:lnTo>
                    <a:lnTo>
                      <a:pt x="22" y="435"/>
                    </a:lnTo>
                    <a:lnTo>
                      <a:pt x="20" y="434"/>
                    </a:lnTo>
                    <a:lnTo>
                      <a:pt x="22" y="428"/>
                    </a:lnTo>
                    <a:lnTo>
                      <a:pt x="17" y="425"/>
                    </a:lnTo>
                    <a:lnTo>
                      <a:pt x="15" y="422"/>
                    </a:lnTo>
                    <a:lnTo>
                      <a:pt x="17" y="420"/>
                    </a:lnTo>
                    <a:lnTo>
                      <a:pt x="15" y="418"/>
                    </a:lnTo>
                    <a:lnTo>
                      <a:pt x="22" y="408"/>
                    </a:lnTo>
                    <a:lnTo>
                      <a:pt x="29" y="403"/>
                    </a:lnTo>
                    <a:lnTo>
                      <a:pt x="32" y="403"/>
                    </a:lnTo>
                    <a:lnTo>
                      <a:pt x="36" y="401"/>
                    </a:lnTo>
                    <a:lnTo>
                      <a:pt x="37" y="400"/>
                    </a:lnTo>
                    <a:lnTo>
                      <a:pt x="39" y="398"/>
                    </a:lnTo>
                    <a:lnTo>
                      <a:pt x="37" y="394"/>
                    </a:lnTo>
                    <a:lnTo>
                      <a:pt x="36" y="394"/>
                    </a:lnTo>
                    <a:lnTo>
                      <a:pt x="34" y="394"/>
                    </a:lnTo>
                    <a:lnTo>
                      <a:pt x="32" y="391"/>
                    </a:lnTo>
                    <a:lnTo>
                      <a:pt x="34" y="389"/>
                    </a:lnTo>
                    <a:lnTo>
                      <a:pt x="32" y="388"/>
                    </a:lnTo>
                    <a:lnTo>
                      <a:pt x="32" y="381"/>
                    </a:lnTo>
                    <a:lnTo>
                      <a:pt x="29" y="381"/>
                    </a:lnTo>
                    <a:lnTo>
                      <a:pt x="31" y="376"/>
                    </a:lnTo>
                    <a:lnTo>
                      <a:pt x="34" y="374"/>
                    </a:lnTo>
                    <a:lnTo>
                      <a:pt x="46" y="371"/>
                    </a:lnTo>
                    <a:lnTo>
                      <a:pt x="44" y="362"/>
                    </a:lnTo>
                    <a:lnTo>
                      <a:pt x="46" y="360"/>
                    </a:lnTo>
                    <a:lnTo>
                      <a:pt x="48" y="360"/>
                    </a:lnTo>
                    <a:lnTo>
                      <a:pt x="48" y="357"/>
                    </a:lnTo>
                    <a:lnTo>
                      <a:pt x="51" y="354"/>
                    </a:lnTo>
                    <a:lnTo>
                      <a:pt x="53" y="354"/>
                    </a:lnTo>
                    <a:lnTo>
                      <a:pt x="54" y="352"/>
                    </a:lnTo>
                    <a:lnTo>
                      <a:pt x="58" y="350"/>
                    </a:lnTo>
                    <a:lnTo>
                      <a:pt x="58" y="347"/>
                    </a:lnTo>
                    <a:lnTo>
                      <a:pt x="60" y="345"/>
                    </a:lnTo>
                    <a:lnTo>
                      <a:pt x="61" y="343"/>
                    </a:lnTo>
                    <a:lnTo>
                      <a:pt x="60" y="342"/>
                    </a:lnTo>
                    <a:lnTo>
                      <a:pt x="61" y="340"/>
                    </a:lnTo>
                    <a:lnTo>
                      <a:pt x="60" y="335"/>
                    </a:lnTo>
                    <a:lnTo>
                      <a:pt x="56" y="332"/>
                    </a:lnTo>
                    <a:lnTo>
                      <a:pt x="58" y="326"/>
                    </a:lnTo>
                    <a:lnTo>
                      <a:pt x="61" y="325"/>
                    </a:lnTo>
                    <a:lnTo>
                      <a:pt x="66" y="320"/>
                    </a:lnTo>
                    <a:lnTo>
                      <a:pt x="71" y="320"/>
                    </a:lnTo>
                    <a:lnTo>
                      <a:pt x="73" y="320"/>
                    </a:lnTo>
                    <a:lnTo>
                      <a:pt x="78" y="321"/>
                    </a:lnTo>
                    <a:lnTo>
                      <a:pt x="82" y="320"/>
                    </a:lnTo>
                    <a:lnTo>
                      <a:pt x="88" y="316"/>
                    </a:lnTo>
                    <a:lnTo>
                      <a:pt x="94" y="316"/>
                    </a:lnTo>
                    <a:lnTo>
                      <a:pt x="111" y="320"/>
                    </a:lnTo>
                    <a:lnTo>
                      <a:pt x="111" y="294"/>
                    </a:lnTo>
                    <a:lnTo>
                      <a:pt x="111" y="280"/>
                    </a:lnTo>
                    <a:lnTo>
                      <a:pt x="111" y="275"/>
                    </a:lnTo>
                    <a:lnTo>
                      <a:pt x="111" y="253"/>
                    </a:lnTo>
                    <a:lnTo>
                      <a:pt x="111" y="212"/>
                    </a:lnTo>
                    <a:lnTo>
                      <a:pt x="111" y="175"/>
                    </a:lnTo>
                    <a:lnTo>
                      <a:pt x="111" y="143"/>
                    </a:lnTo>
                    <a:lnTo>
                      <a:pt x="111" y="127"/>
                    </a:lnTo>
                    <a:lnTo>
                      <a:pt x="111" y="102"/>
                    </a:lnTo>
                    <a:lnTo>
                      <a:pt x="162" y="102"/>
                    </a:lnTo>
                    <a:lnTo>
                      <a:pt x="162" y="47"/>
                    </a:lnTo>
                    <a:lnTo>
                      <a:pt x="162" y="2"/>
                    </a:lnTo>
                    <a:lnTo>
                      <a:pt x="410" y="2"/>
                    </a:lnTo>
                    <a:lnTo>
                      <a:pt x="473" y="2"/>
                    </a:lnTo>
                    <a:lnTo>
                      <a:pt x="483" y="2"/>
                    </a:lnTo>
                    <a:lnTo>
                      <a:pt x="490" y="2"/>
                    </a:lnTo>
                    <a:lnTo>
                      <a:pt x="539" y="2"/>
                    </a:lnTo>
                    <a:lnTo>
                      <a:pt x="541" y="2"/>
                    </a:lnTo>
                    <a:lnTo>
                      <a:pt x="576" y="0"/>
                    </a:lnTo>
                    <a:lnTo>
                      <a:pt x="588" y="0"/>
                    </a:lnTo>
                    <a:lnTo>
                      <a:pt x="622" y="0"/>
                    </a:lnTo>
                    <a:lnTo>
                      <a:pt x="646" y="2"/>
                    </a:lnTo>
                    <a:lnTo>
                      <a:pt x="755" y="0"/>
                    </a:lnTo>
                    <a:lnTo>
                      <a:pt x="755" y="2"/>
                    </a:lnTo>
                    <a:lnTo>
                      <a:pt x="763" y="2"/>
                    </a:lnTo>
                    <a:close/>
                    <a:moveTo>
                      <a:pt x="782" y="64"/>
                    </a:moveTo>
                    <a:lnTo>
                      <a:pt x="782" y="61"/>
                    </a:lnTo>
                    <a:lnTo>
                      <a:pt x="784" y="59"/>
                    </a:lnTo>
                    <a:lnTo>
                      <a:pt x="784" y="63"/>
                    </a:lnTo>
                    <a:lnTo>
                      <a:pt x="782" y="64"/>
                    </a:lnTo>
                    <a:close/>
                    <a:moveTo>
                      <a:pt x="843" y="194"/>
                    </a:moveTo>
                    <a:lnTo>
                      <a:pt x="843" y="195"/>
                    </a:lnTo>
                    <a:lnTo>
                      <a:pt x="845" y="197"/>
                    </a:lnTo>
                    <a:lnTo>
                      <a:pt x="843" y="195"/>
                    </a:lnTo>
                    <a:lnTo>
                      <a:pt x="842" y="195"/>
                    </a:lnTo>
                    <a:lnTo>
                      <a:pt x="842" y="194"/>
                    </a:lnTo>
                    <a:lnTo>
                      <a:pt x="843" y="194"/>
                    </a:lnTo>
                    <a:close/>
                    <a:moveTo>
                      <a:pt x="819" y="163"/>
                    </a:moveTo>
                    <a:lnTo>
                      <a:pt x="821" y="163"/>
                    </a:lnTo>
                    <a:lnTo>
                      <a:pt x="821" y="165"/>
                    </a:lnTo>
                    <a:lnTo>
                      <a:pt x="819" y="165"/>
                    </a:lnTo>
                    <a:lnTo>
                      <a:pt x="819" y="163"/>
                    </a:lnTo>
                    <a:close/>
                    <a:moveTo>
                      <a:pt x="835" y="192"/>
                    </a:moveTo>
                    <a:lnTo>
                      <a:pt x="838" y="192"/>
                    </a:lnTo>
                    <a:lnTo>
                      <a:pt x="835" y="192"/>
                    </a:lnTo>
                    <a:close/>
                    <a:moveTo>
                      <a:pt x="836" y="190"/>
                    </a:moveTo>
                    <a:lnTo>
                      <a:pt x="840" y="190"/>
                    </a:lnTo>
                    <a:lnTo>
                      <a:pt x="840" y="192"/>
                    </a:lnTo>
                    <a:lnTo>
                      <a:pt x="836" y="192"/>
                    </a:lnTo>
                    <a:lnTo>
                      <a:pt x="836" y="190"/>
                    </a:lnTo>
                    <a:close/>
                    <a:moveTo>
                      <a:pt x="835" y="189"/>
                    </a:moveTo>
                    <a:lnTo>
                      <a:pt x="836" y="189"/>
                    </a:lnTo>
                    <a:lnTo>
                      <a:pt x="836" y="190"/>
                    </a:lnTo>
                    <a:lnTo>
                      <a:pt x="835" y="190"/>
                    </a:lnTo>
                    <a:lnTo>
                      <a:pt x="835" y="189"/>
                    </a:lnTo>
                    <a:close/>
                    <a:moveTo>
                      <a:pt x="828" y="161"/>
                    </a:moveTo>
                    <a:lnTo>
                      <a:pt x="830" y="161"/>
                    </a:lnTo>
                    <a:lnTo>
                      <a:pt x="828" y="161"/>
                    </a:lnTo>
                    <a:close/>
                    <a:moveTo>
                      <a:pt x="853" y="175"/>
                    </a:moveTo>
                    <a:lnTo>
                      <a:pt x="853" y="177"/>
                    </a:lnTo>
                    <a:lnTo>
                      <a:pt x="853" y="175"/>
                    </a:lnTo>
                    <a:close/>
                    <a:moveTo>
                      <a:pt x="836" y="189"/>
                    </a:moveTo>
                    <a:lnTo>
                      <a:pt x="838" y="189"/>
                    </a:lnTo>
                    <a:lnTo>
                      <a:pt x="838" y="190"/>
                    </a:lnTo>
                    <a:lnTo>
                      <a:pt x="836" y="190"/>
                    </a:lnTo>
                    <a:lnTo>
                      <a:pt x="836" y="189"/>
                    </a:lnTo>
                    <a:close/>
                    <a:moveTo>
                      <a:pt x="838" y="192"/>
                    </a:moveTo>
                    <a:lnTo>
                      <a:pt x="840" y="192"/>
                    </a:lnTo>
                    <a:lnTo>
                      <a:pt x="838" y="192"/>
                    </a:lnTo>
                    <a:close/>
                    <a:moveTo>
                      <a:pt x="845" y="165"/>
                    </a:moveTo>
                    <a:lnTo>
                      <a:pt x="845" y="167"/>
                    </a:lnTo>
                    <a:lnTo>
                      <a:pt x="845" y="165"/>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57">
                <a:extLst>
                  <a:ext uri="{FF2B5EF4-FFF2-40B4-BE49-F238E27FC236}">
                    <a16:creationId xmlns:a16="http://schemas.microsoft.com/office/drawing/2014/main" id="{786EDDFA-4E98-43FB-A7DF-937690924E24}"/>
                  </a:ext>
                </a:extLst>
              </p:cNvPr>
              <p:cNvSpPr>
                <a:spLocks noEditPoints="1"/>
              </p:cNvSpPr>
              <p:nvPr/>
            </p:nvSpPr>
            <p:spPr bwMode="gray">
              <a:xfrm>
                <a:off x="2376996" y="7896520"/>
                <a:ext cx="380104" cy="370602"/>
              </a:xfrm>
              <a:custGeom>
                <a:avLst/>
                <a:gdLst>
                  <a:gd name="T0" fmla="*/ 299 w 560"/>
                  <a:gd name="T1" fmla="*/ 37 h 546"/>
                  <a:gd name="T2" fmla="*/ 417 w 560"/>
                  <a:gd name="T3" fmla="*/ 129 h 546"/>
                  <a:gd name="T4" fmla="*/ 498 w 560"/>
                  <a:gd name="T5" fmla="*/ 187 h 546"/>
                  <a:gd name="T6" fmla="*/ 493 w 560"/>
                  <a:gd name="T7" fmla="*/ 204 h 546"/>
                  <a:gd name="T8" fmla="*/ 485 w 560"/>
                  <a:gd name="T9" fmla="*/ 231 h 546"/>
                  <a:gd name="T10" fmla="*/ 486 w 560"/>
                  <a:gd name="T11" fmla="*/ 277 h 546"/>
                  <a:gd name="T12" fmla="*/ 502 w 560"/>
                  <a:gd name="T13" fmla="*/ 299 h 546"/>
                  <a:gd name="T14" fmla="*/ 510 w 560"/>
                  <a:gd name="T15" fmla="*/ 313 h 546"/>
                  <a:gd name="T16" fmla="*/ 505 w 560"/>
                  <a:gd name="T17" fmla="*/ 344 h 546"/>
                  <a:gd name="T18" fmla="*/ 500 w 560"/>
                  <a:gd name="T19" fmla="*/ 371 h 546"/>
                  <a:gd name="T20" fmla="*/ 507 w 560"/>
                  <a:gd name="T21" fmla="*/ 393 h 546"/>
                  <a:gd name="T22" fmla="*/ 509 w 560"/>
                  <a:gd name="T23" fmla="*/ 401 h 546"/>
                  <a:gd name="T24" fmla="*/ 517 w 560"/>
                  <a:gd name="T25" fmla="*/ 413 h 546"/>
                  <a:gd name="T26" fmla="*/ 515 w 560"/>
                  <a:gd name="T27" fmla="*/ 429 h 546"/>
                  <a:gd name="T28" fmla="*/ 526 w 560"/>
                  <a:gd name="T29" fmla="*/ 446 h 546"/>
                  <a:gd name="T30" fmla="*/ 532 w 560"/>
                  <a:gd name="T31" fmla="*/ 459 h 546"/>
                  <a:gd name="T32" fmla="*/ 548 w 560"/>
                  <a:gd name="T33" fmla="*/ 471 h 546"/>
                  <a:gd name="T34" fmla="*/ 560 w 560"/>
                  <a:gd name="T35" fmla="*/ 475 h 546"/>
                  <a:gd name="T36" fmla="*/ 524 w 560"/>
                  <a:gd name="T37" fmla="*/ 505 h 546"/>
                  <a:gd name="T38" fmla="*/ 497 w 560"/>
                  <a:gd name="T39" fmla="*/ 517 h 546"/>
                  <a:gd name="T40" fmla="*/ 452 w 560"/>
                  <a:gd name="T41" fmla="*/ 524 h 546"/>
                  <a:gd name="T42" fmla="*/ 424 w 560"/>
                  <a:gd name="T43" fmla="*/ 536 h 546"/>
                  <a:gd name="T44" fmla="*/ 384 w 560"/>
                  <a:gd name="T45" fmla="*/ 538 h 546"/>
                  <a:gd name="T46" fmla="*/ 352 w 560"/>
                  <a:gd name="T47" fmla="*/ 544 h 546"/>
                  <a:gd name="T48" fmla="*/ 335 w 560"/>
                  <a:gd name="T49" fmla="*/ 532 h 546"/>
                  <a:gd name="T50" fmla="*/ 311 w 560"/>
                  <a:gd name="T51" fmla="*/ 538 h 546"/>
                  <a:gd name="T52" fmla="*/ 281 w 560"/>
                  <a:gd name="T53" fmla="*/ 529 h 546"/>
                  <a:gd name="T54" fmla="*/ 267 w 560"/>
                  <a:gd name="T55" fmla="*/ 493 h 546"/>
                  <a:gd name="T56" fmla="*/ 260 w 560"/>
                  <a:gd name="T57" fmla="*/ 463 h 546"/>
                  <a:gd name="T58" fmla="*/ 220 w 560"/>
                  <a:gd name="T59" fmla="*/ 436 h 546"/>
                  <a:gd name="T60" fmla="*/ 196 w 560"/>
                  <a:gd name="T61" fmla="*/ 432 h 546"/>
                  <a:gd name="T62" fmla="*/ 163 w 560"/>
                  <a:gd name="T63" fmla="*/ 420 h 546"/>
                  <a:gd name="T64" fmla="*/ 129 w 560"/>
                  <a:gd name="T65" fmla="*/ 405 h 546"/>
                  <a:gd name="T66" fmla="*/ 107 w 560"/>
                  <a:gd name="T67" fmla="*/ 391 h 546"/>
                  <a:gd name="T68" fmla="*/ 63 w 560"/>
                  <a:gd name="T69" fmla="*/ 354 h 546"/>
                  <a:gd name="T70" fmla="*/ 12 w 560"/>
                  <a:gd name="T71" fmla="*/ 247 h 546"/>
                  <a:gd name="T72" fmla="*/ 29 w 560"/>
                  <a:gd name="T73" fmla="*/ 170 h 546"/>
                  <a:gd name="T74" fmla="*/ 48 w 560"/>
                  <a:gd name="T75" fmla="*/ 143 h 546"/>
                  <a:gd name="T76" fmla="*/ 68 w 560"/>
                  <a:gd name="T77" fmla="*/ 116 h 546"/>
                  <a:gd name="T78" fmla="*/ 63 w 560"/>
                  <a:gd name="T79" fmla="*/ 100 h 546"/>
                  <a:gd name="T80" fmla="*/ 56 w 560"/>
                  <a:gd name="T81" fmla="*/ 78 h 546"/>
                  <a:gd name="T82" fmla="*/ 73 w 560"/>
                  <a:gd name="T83" fmla="*/ 53 h 546"/>
                  <a:gd name="T84" fmla="*/ 70 w 560"/>
                  <a:gd name="T85" fmla="*/ 29 h 546"/>
                  <a:gd name="T86" fmla="*/ 55 w 560"/>
                  <a:gd name="T87" fmla="*/ 5 h 546"/>
                  <a:gd name="T88" fmla="*/ 209 w 560"/>
                  <a:gd name="T89" fmla="*/ 2 h 546"/>
                  <a:gd name="T90" fmla="*/ 512 w 560"/>
                  <a:gd name="T91" fmla="*/ 262 h 546"/>
                  <a:gd name="T92" fmla="*/ 505 w 560"/>
                  <a:gd name="T93" fmla="*/ 271 h 546"/>
                  <a:gd name="T94" fmla="*/ 500 w 560"/>
                  <a:gd name="T95" fmla="*/ 248 h 546"/>
                  <a:gd name="T96" fmla="*/ 531 w 560"/>
                  <a:gd name="T97" fmla="*/ 206 h 546"/>
                  <a:gd name="T98" fmla="*/ 524 w 560"/>
                  <a:gd name="T99" fmla="*/ 226 h 546"/>
                  <a:gd name="T100" fmla="*/ 522 w 560"/>
                  <a:gd name="T101" fmla="*/ 214 h 546"/>
                  <a:gd name="T102" fmla="*/ 522 w 560"/>
                  <a:gd name="T103" fmla="*/ 209 h 546"/>
                  <a:gd name="T104" fmla="*/ 531 w 560"/>
                  <a:gd name="T105" fmla="*/ 349 h 546"/>
                  <a:gd name="T106" fmla="*/ 526 w 560"/>
                  <a:gd name="T107" fmla="*/ 345 h 546"/>
                  <a:gd name="T108" fmla="*/ 527 w 560"/>
                  <a:gd name="T109" fmla="*/ 354 h 546"/>
                  <a:gd name="T110" fmla="*/ 498 w 560"/>
                  <a:gd name="T111" fmla="*/ 247 h 546"/>
                  <a:gd name="T112" fmla="*/ 520 w 560"/>
                  <a:gd name="T113" fmla="*/ 204 h 546"/>
                  <a:gd name="T114" fmla="*/ 522 w 560"/>
                  <a:gd name="T115" fmla="*/ 359 h 546"/>
                  <a:gd name="T116" fmla="*/ 526 w 560"/>
                  <a:gd name="T117" fmla="*/ 354 h 546"/>
                  <a:gd name="T118" fmla="*/ 507 w 560"/>
                  <a:gd name="T119" fmla="*/ 400 h 546"/>
                  <a:gd name="T120" fmla="*/ 514 w 560"/>
                  <a:gd name="T121" fmla="*/ 35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 h="546">
                    <a:moveTo>
                      <a:pt x="230" y="2"/>
                    </a:moveTo>
                    <a:lnTo>
                      <a:pt x="235" y="2"/>
                    </a:lnTo>
                    <a:lnTo>
                      <a:pt x="235" y="3"/>
                    </a:lnTo>
                    <a:lnTo>
                      <a:pt x="238" y="2"/>
                    </a:lnTo>
                    <a:lnTo>
                      <a:pt x="240" y="3"/>
                    </a:lnTo>
                    <a:lnTo>
                      <a:pt x="247" y="7"/>
                    </a:lnTo>
                    <a:lnTo>
                      <a:pt x="247" y="9"/>
                    </a:lnTo>
                    <a:lnTo>
                      <a:pt x="250" y="9"/>
                    </a:lnTo>
                    <a:lnTo>
                      <a:pt x="257" y="14"/>
                    </a:lnTo>
                    <a:lnTo>
                      <a:pt x="271" y="20"/>
                    </a:lnTo>
                    <a:lnTo>
                      <a:pt x="279" y="26"/>
                    </a:lnTo>
                    <a:lnTo>
                      <a:pt x="286" y="29"/>
                    </a:lnTo>
                    <a:lnTo>
                      <a:pt x="299" y="37"/>
                    </a:lnTo>
                    <a:lnTo>
                      <a:pt x="335" y="56"/>
                    </a:lnTo>
                    <a:lnTo>
                      <a:pt x="335" y="58"/>
                    </a:lnTo>
                    <a:lnTo>
                      <a:pt x="345" y="63"/>
                    </a:lnTo>
                    <a:lnTo>
                      <a:pt x="374" y="80"/>
                    </a:lnTo>
                    <a:lnTo>
                      <a:pt x="401" y="94"/>
                    </a:lnTo>
                    <a:lnTo>
                      <a:pt x="420" y="106"/>
                    </a:lnTo>
                    <a:lnTo>
                      <a:pt x="422" y="117"/>
                    </a:lnTo>
                    <a:lnTo>
                      <a:pt x="420" y="119"/>
                    </a:lnTo>
                    <a:lnTo>
                      <a:pt x="420" y="121"/>
                    </a:lnTo>
                    <a:lnTo>
                      <a:pt x="415" y="124"/>
                    </a:lnTo>
                    <a:lnTo>
                      <a:pt x="415" y="126"/>
                    </a:lnTo>
                    <a:lnTo>
                      <a:pt x="417" y="126"/>
                    </a:lnTo>
                    <a:lnTo>
                      <a:pt x="417" y="129"/>
                    </a:lnTo>
                    <a:lnTo>
                      <a:pt x="418" y="129"/>
                    </a:lnTo>
                    <a:lnTo>
                      <a:pt x="420" y="128"/>
                    </a:lnTo>
                    <a:lnTo>
                      <a:pt x="422" y="129"/>
                    </a:lnTo>
                    <a:lnTo>
                      <a:pt x="424" y="129"/>
                    </a:lnTo>
                    <a:lnTo>
                      <a:pt x="425" y="136"/>
                    </a:lnTo>
                    <a:lnTo>
                      <a:pt x="435" y="143"/>
                    </a:lnTo>
                    <a:lnTo>
                      <a:pt x="458" y="158"/>
                    </a:lnTo>
                    <a:lnTo>
                      <a:pt x="461" y="160"/>
                    </a:lnTo>
                    <a:lnTo>
                      <a:pt x="478" y="172"/>
                    </a:lnTo>
                    <a:lnTo>
                      <a:pt x="493" y="182"/>
                    </a:lnTo>
                    <a:lnTo>
                      <a:pt x="497" y="185"/>
                    </a:lnTo>
                    <a:lnTo>
                      <a:pt x="498" y="185"/>
                    </a:lnTo>
                    <a:lnTo>
                      <a:pt x="498" y="187"/>
                    </a:lnTo>
                    <a:lnTo>
                      <a:pt x="497" y="189"/>
                    </a:lnTo>
                    <a:lnTo>
                      <a:pt x="497" y="192"/>
                    </a:lnTo>
                    <a:lnTo>
                      <a:pt x="495" y="192"/>
                    </a:lnTo>
                    <a:lnTo>
                      <a:pt x="497" y="194"/>
                    </a:lnTo>
                    <a:lnTo>
                      <a:pt x="498" y="194"/>
                    </a:lnTo>
                    <a:lnTo>
                      <a:pt x="497" y="197"/>
                    </a:lnTo>
                    <a:lnTo>
                      <a:pt x="495" y="201"/>
                    </a:lnTo>
                    <a:lnTo>
                      <a:pt x="495" y="199"/>
                    </a:lnTo>
                    <a:lnTo>
                      <a:pt x="495" y="197"/>
                    </a:lnTo>
                    <a:lnTo>
                      <a:pt x="493" y="199"/>
                    </a:lnTo>
                    <a:lnTo>
                      <a:pt x="493" y="201"/>
                    </a:lnTo>
                    <a:lnTo>
                      <a:pt x="493" y="202"/>
                    </a:lnTo>
                    <a:lnTo>
                      <a:pt x="493" y="204"/>
                    </a:lnTo>
                    <a:lnTo>
                      <a:pt x="495" y="204"/>
                    </a:lnTo>
                    <a:lnTo>
                      <a:pt x="493" y="206"/>
                    </a:lnTo>
                    <a:lnTo>
                      <a:pt x="492" y="206"/>
                    </a:lnTo>
                    <a:lnTo>
                      <a:pt x="492" y="208"/>
                    </a:lnTo>
                    <a:lnTo>
                      <a:pt x="493" y="206"/>
                    </a:lnTo>
                    <a:lnTo>
                      <a:pt x="493" y="209"/>
                    </a:lnTo>
                    <a:lnTo>
                      <a:pt x="492" y="211"/>
                    </a:lnTo>
                    <a:lnTo>
                      <a:pt x="492" y="213"/>
                    </a:lnTo>
                    <a:lnTo>
                      <a:pt x="490" y="214"/>
                    </a:lnTo>
                    <a:lnTo>
                      <a:pt x="492" y="216"/>
                    </a:lnTo>
                    <a:lnTo>
                      <a:pt x="488" y="225"/>
                    </a:lnTo>
                    <a:lnTo>
                      <a:pt x="486" y="226"/>
                    </a:lnTo>
                    <a:lnTo>
                      <a:pt x="485" y="231"/>
                    </a:lnTo>
                    <a:lnTo>
                      <a:pt x="481" y="236"/>
                    </a:lnTo>
                    <a:lnTo>
                      <a:pt x="481" y="240"/>
                    </a:lnTo>
                    <a:lnTo>
                      <a:pt x="478" y="247"/>
                    </a:lnTo>
                    <a:lnTo>
                      <a:pt x="478" y="252"/>
                    </a:lnTo>
                    <a:lnTo>
                      <a:pt x="476" y="255"/>
                    </a:lnTo>
                    <a:lnTo>
                      <a:pt x="476" y="257"/>
                    </a:lnTo>
                    <a:lnTo>
                      <a:pt x="478" y="262"/>
                    </a:lnTo>
                    <a:lnTo>
                      <a:pt x="480" y="262"/>
                    </a:lnTo>
                    <a:lnTo>
                      <a:pt x="480" y="265"/>
                    </a:lnTo>
                    <a:lnTo>
                      <a:pt x="478" y="271"/>
                    </a:lnTo>
                    <a:lnTo>
                      <a:pt x="483" y="277"/>
                    </a:lnTo>
                    <a:lnTo>
                      <a:pt x="488" y="279"/>
                    </a:lnTo>
                    <a:lnTo>
                      <a:pt x="486" y="277"/>
                    </a:lnTo>
                    <a:lnTo>
                      <a:pt x="488" y="279"/>
                    </a:lnTo>
                    <a:lnTo>
                      <a:pt x="492" y="281"/>
                    </a:lnTo>
                    <a:lnTo>
                      <a:pt x="493" y="282"/>
                    </a:lnTo>
                    <a:lnTo>
                      <a:pt x="495" y="284"/>
                    </a:lnTo>
                    <a:lnTo>
                      <a:pt x="498" y="288"/>
                    </a:lnTo>
                    <a:lnTo>
                      <a:pt x="498" y="293"/>
                    </a:lnTo>
                    <a:lnTo>
                      <a:pt x="500" y="293"/>
                    </a:lnTo>
                    <a:lnTo>
                      <a:pt x="500" y="291"/>
                    </a:lnTo>
                    <a:lnTo>
                      <a:pt x="502" y="293"/>
                    </a:lnTo>
                    <a:lnTo>
                      <a:pt x="502" y="294"/>
                    </a:lnTo>
                    <a:lnTo>
                      <a:pt x="502" y="296"/>
                    </a:lnTo>
                    <a:lnTo>
                      <a:pt x="502" y="298"/>
                    </a:lnTo>
                    <a:lnTo>
                      <a:pt x="502" y="299"/>
                    </a:lnTo>
                    <a:lnTo>
                      <a:pt x="502" y="298"/>
                    </a:lnTo>
                    <a:lnTo>
                      <a:pt x="502" y="296"/>
                    </a:lnTo>
                    <a:lnTo>
                      <a:pt x="503" y="296"/>
                    </a:lnTo>
                    <a:lnTo>
                      <a:pt x="505" y="298"/>
                    </a:lnTo>
                    <a:lnTo>
                      <a:pt x="507" y="298"/>
                    </a:lnTo>
                    <a:lnTo>
                      <a:pt x="509" y="298"/>
                    </a:lnTo>
                    <a:lnTo>
                      <a:pt x="510" y="298"/>
                    </a:lnTo>
                    <a:lnTo>
                      <a:pt x="514" y="305"/>
                    </a:lnTo>
                    <a:lnTo>
                      <a:pt x="514" y="310"/>
                    </a:lnTo>
                    <a:lnTo>
                      <a:pt x="515" y="311"/>
                    </a:lnTo>
                    <a:lnTo>
                      <a:pt x="514" y="311"/>
                    </a:lnTo>
                    <a:lnTo>
                      <a:pt x="512" y="315"/>
                    </a:lnTo>
                    <a:lnTo>
                      <a:pt x="510" y="313"/>
                    </a:lnTo>
                    <a:lnTo>
                      <a:pt x="509" y="315"/>
                    </a:lnTo>
                    <a:lnTo>
                      <a:pt x="509" y="318"/>
                    </a:lnTo>
                    <a:lnTo>
                      <a:pt x="505" y="320"/>
                    </a:lnTo>
                    <a:lnTo>
                      <a:pt x="505" y="325"/>
                    </a:lnTo>
                    <a:lnTo>
                      <a:pt x="502" y="328"/>
                    </a:lnTo>
                    <a:lnTo>
                      <a:pt x="500" y="335"/>
                    </a:lnTo>
                    <a:lnTo>
                      <a:pt x="502" y="337"/>
                    </a:lnTo>
                    <a:lnTo>
                      <a:pt x="502" y="339"/>
                    </a:lnTo>
                    <a:lnTo>
                      <a:pt x="502" y="342"/>
                    </a:lnTo>
                    <a:lnTo>
                      <a:pt x="502" y="344"/>
                    </a:lnTo>
                    <a:lnTo>
                      <a:pt x="503" y="344"/>
                    </a:lnTo>
                    <a:lnTo>
                      <a:pt x="503" y="342"/>
                    </a:lnTo>
                    <a:lnTo>
                      <a:pt x="505" y="344"/>
                    </a:lnTo>
                    <a:lnTo>
                      <a:pt x="510" y="347"/>
                    </a:lnTo>
                    <a:lnTo>
                      <a:pt x="509" y="349"/>
                    </a:lnTo>
                    <a:lnTo>
                      <a:pt x="509" y="350"/>
                    </a:lnTo>
                    <a:lnTo>
                      <a:pt x="510" y="356"/>
                    </a:lnTo>
                    <a:lnTo>
                      <a:pt x="505" y="367"/>
                    </a:lnTo>
                    <a:lnTo>
                      <a:pt x="503" y="366"/>
                    </a:lnTo>
                    <a:lnTo>
                      <a:pt x="503" y="367"/>
                    </a:lnTo>
                    <a:lnTo>
                      <a:pt x="503" y="369"/>
                    </a:lnTo>
                    <a:lnTo>
                      <a:pt x="505" y="369"/>
                    </a:lnTo>
                    <a:lnTo>
                      <a:pt x="503" y="371"/>
                    </a:lnTo>
                    <a:lnTo>
                      <a:pt x="502" y="369"/>
                    </a:lnTo>
                    <a:lnTo>
                      <a:pt x="502" y="371"/>
                    </a:lnTo>
                    <a:lnTo>
                      <a:pt x="500" y="371"/>
                    </a:lnTo>
                    <a:lnTo>
                      <a:pt x="502" y="374"/>
                    </a:lnTo>
                    <a:lnTo>
                      <a:pt x="502" y="376"/>
                    </a:lnTo>
                    <a:lnTo>
                      <a:pt x="502" y="378"/>
                    </a:lnTo>
                    <a:lnTo>
                      <a:pt x="502" y="379"/>
                    </a:lnTo>
                    <a:lnTo>
                      <a:pt x="502" y="381"/>
                    </a:lnTo>
                    <a:lnTo>
                      <a:pt x="503" y="383"/>
                    </a:lnTo>
                    <a:lnTo>
                      <a:pt x="503" y="384"/>
                    </a:lnTo>
                    <a:lnTo>
                      <a:pt x="505" y="384"/>
                    </a:lnTo>
                    <a:lnTo>
                      <a:pt x="503" y="386"/>
                    </a:lnTo>
                    <a:lnTo>
                      <a:pt x="505" y="388"/>
                    </a:lnTo>
                    <a:lnTo>
                      <a:pt x="505" y="390"/>
                    </a:lnTo>
                    <a:lnTo>
                      <a:pt x="505" y="393"/>
                    </a:lnTo>
                    <a:lnTo>
                      <a:pt x="507" y="393"/>
                    </a:lnTo>
                    <a:lnTo>
                      <a:pt x="509" y="393"/>
                    </a:lnTo>
                    <a:lnTo>
                      <a:pt x="510" y="396"/>
                    </a:lnTo>
                    <a:lnTo>
                      <a:pt x="512" y="398"/>
                    </a:lnTo>
                    <a:lnTo>
                      <a:pt x="512" y="396"/>
                    </a:lnTo>
                    <a:lnTo>
                      <a:pt x="514" y="401"/>
                    </a:lnTo>
                    <a:lnTo>
                      <a:pt x="515" y="403"/>
                    </a:lnTo>
                    <a:lnTo>
                      <a:pt x="514" y="403"/>
                    </a:lnTo>
                    <a:lnTo>
                      <a:pt x="512" y="403"/>
                    </a:lnTo>
                    <a:lnTo>
                      <a:pt x="512" y="401"/>
                    </a:lnTo>
                    <a:lnTo>
                      <a:pt x="510" y="400"/>
                    </a:lnTo>
                    <a:lnTo>
                      <a:pt x="507" y="400"/>
                    </a:lnTo>
                    <a:lnTo>
                      <a:pt x="507" y="401"/>
                    </a:lnTo>
                    <a:lnTo>
                      <a:pt x="509" y="401"/>
                    </a:lnTo>
                    <a:lnTo>
                      <a:pt x="510" y="401"/>
                    </a:lnTo>
                    <a:lnTo>
                      <a:pt x="510" y="403"/>
                    </a:lnTo>
                    <a:lnTo>
                      <a:pt x="512" y="403"/>
                    </a:lnTo>
                    <a:lnTo>
                      <a:pt x="512" y="405"/>
                    </a:lnTo>
                    <a:lnTo>
                      <a:pt x="512" y="407"/>
                    </a:lnTo>
                    <a:lnTo>
                      <a:pt x="512" y="410"/>
                    </a:lnTo>
                    <a:lnTo>
                      <a:pt x="510" y="412"/>
                    </a:lnTo>
                    <a:lnTo>
                      <a:pt x="512" y="412"/>
                    </a:lnTo>
                    <a:lnTo>
                      <a:pt x="512" y="415"/>
                    </a:lnTo>
                    <a:lnTo>
                      <a:pt x="514" y="415"/>
                    </a:lnTo>
                    <a:lnTo>
                      <a:pt x="512" y="413"/>
                    </a:lnTo>
                    <a:lnTo>
                      <a:pt x="515" y="412"/>
                    </a:lnTo>
                    <a:lnTo>
                      <a:pt x="517" y="413"/>
                    </a:lnTo>
                    <a:lnTo>
                      <a:pt x="517" y="412"/>
                    </a:lnTo>
                    <a:lnTo>
                      <a:pt x="515" y="412"/>
                    </a:lnTo>
                    <a:lnTo>
                      <a:pt x="515" y="408"/>
                    </a:lnTo>
                    <a:lnTo>
                      <a:pt x="519" y="410"/>
                    </a:lnTo>
                    <a:lnTo>
                      <a:pt x="517" y="413"/>
                    </a:lnTo>
                    <a:lnTo>
                      <a:pt x="519" y="415"/>
                    </a:lnTo>
                    <a:lnTo>
                      <a:pt x="519" y="419"/>
                    </a:lnTo>
                    <a:lnTo>
                      <a:pt x="519" y="420"/>
                    </a:lnTo>
                    <a:lnTo>
                      <a:pt x="520" y="420"/>
                    </a:lnTo>
                    <a:lnTo>
                      <a:pt x="520" y="425"/>
                    </a:lnTo>
                    <a:lnTo>
                      <a:pt x="517" y="427"/>
                    </a:lnTo>
                    <a:lnTo>
                      <a:pt x="515" y="427"/>
                    </a:lnTo>
                    <a:lnTo>
                      <a:pt x="515" y="429"/>
                    </a:lnTo>
                    <a:lnTo>
                      <a:pt x="517" y="429"/>
                    </a:lnTo>
                    <a:lnTo>
                      <a:pt x="519" y="429"/>
                    </a:lnTo>
                    <a:lnTo>
                      <a:pt x="520" y="430"/>
                    </a:lnTo>
                    <a:lnTo>
                      <a:pt x="520" y="432"/>
                    </a:lnTo>
                    <a:lnTo>
                      <a:pt x="522" y="434"/>
                    </a:lnTo>
                    <a:lnTo>
                      <a:pt x="524" y="437"/>
                    </a:lnTo>
                    <a:lnTo>
                      <a:pt x="524" y="439"/>
                    </a:lnTo>
                    <a:lnTo>
                      <a:pt x="524" y="441"/>
                    </a:lnTo>
                    <a:lnTo>
                      <a:pt x="524" y="442"/>
                    </a:lnTo>
                    <a:lnTo>
                      <a:pt x="526" y="442"/>
                    </a:lnTo>
                    <a:lnTo>
                      <a:pt x="524" y="444"/>
                    </a:lnTo>
                    <a:lnTo>
                      <a:pt x="526" y="444"/>
                    </a:lnTo>
                    <a:lnTo>
                      <a:pt x="526" y="446"/>
                    </a:lnTo>
                    <a:lnTo>
                      <a:pt x="527" y="449"/>
                    </a:lnTo>
                    <a:lnTo>
                      <a:pt x="527" y="451"/>
                    </a:lnTo>
                    <a:lnTo>
                      <a:pt x="526" y="453"/>
                    </a:lnTo>
                    <a:lnTo>
                      <a:pt x="527" y="454"/>
                    </a:lnTo>
                    <a:lnTo>
                      <a:pt x="522" y="456"/>
                    </a:lnTo>
                    <a:lnTo>
                      <a:pt x="522" y="458"/>
                    </a:lnTo>
                    <a:lnTo>
                      <a:pt x="520" y="459"/>
                    </a:lnTo>
                    <a:lnTo>
                      <a:pt x="522" y="459"/>
                    </a:lnTo>
                    <a:lnTo>
                      <a:pt x="524" y="456"/>
                    </a:lnTo>
                    <a:lnTo>
                      <a:pt x="529" y="456"/>
                    </a:lnTo>
                    <a:lnTo>
                      <a:pt x="529" y="458"/>
                    </a:lnTo>
                    <a:lnTo>
                      <a:pt x="531" y="458"/>
                    </a:lnTo>
                    <a:lnTo>
                      <a:pt x="532" y="459"/>
                    </a:lnTo>
                    <a:lnTo>
                      <a:pt x="536" y="464"/>
                    </a:lnTo>
                    <a:lnTo>
                      <a:pt x="536" y="466"/>
                    </a:lnTo>
                    <a:lnTo>
                      <a:pt x="536" y="468"/>
                    </a:lnTo>
                    <a:lnTo>
                      <a:pt x="537" y="468"/>
                    </a:lnTo>
                    <a:lnTo>
                      <a:pt x="537" y="466"/>
                    </a:lnTo>
                    <a:lnTo>
                      <a:pt x="536" y="464"/>
                    </a:lnTo>
                    <a:lnTo>
                      <a:pt x="537" y="464"/>
                    </a:lnTo>
                    <a:lnTo>
                      <a:pt x="544" y="466"/>
                    </a:lnTo>
                    <a:lnTo>
                      <a:pt x="544" y="470"/>
                    </a:lnTo>
                    <a:lnTo>
                      <a:pt x="543" y="471"/>
                    </a:lnTo>
                    <a:lnTo>
                      <a:pt x="544" y="471"/>
                    </a:lnTo>
                    <a:lnTo>
                      <a:pt x="548" y="470"/>
                    </a:lnTo>
                    <a:lnTo>
                      <a:pt x="548" y="471"/>
                    </a:lnTo>
                    <a:lnTo>
                      <a:pt x="549" y="471"/>
                    </a:lnTo>
                    <a:lnTo>
                      <a:pt x="551" y="471"/>
                    </a:lnTo>
                    <a:lnTo>
                      <a:pt x="549" y="470"/>
                    </a:lnTo>
                    <a:lnTo>
                      <a:pt x="548" y="471"/>
                    </a:lnTo>
                    <a:lnTo>
                      <a:pt x="549" y="468"/>
                    </a:lnTo>
                    <a:lnTo>
                      <a:pt x="549" y="470"/>
                    </a:lnTo>
                    <a:lnTo>
                      <a:pt x="553" y="471"/>
                    </a:lnTo>
                    <a:lnTo>
                      <a:pt x="554" y="475"/>
                    </a:lnTo>
                    <a:lnTo>
                      <a:pt x="558" y="476"/>
                    </a:lnTo>
                    <a:lnTo>
                      <a:pt x="558" y="475"/>
                    </a:lnTo>
                    <a:lnTo>
                      <a:pt x="556" y="475"/>
                    </a:lnTo>
                    <a:lnTo>
                      <a:pt x="558" y="473"/>
                    </a:lnTo>
                    <a:lnTo>
                      <a:pt x="560" y="475"/>
                    </a:lnTo>
                    <a:lnTo>
                      <a:pt x="558" y="476"/>
                    </a:lnTo>
                    <a:lnTo>
                      <a:pt x="560" y="481"/>
                    </a:lnTo>
                    <a:lnTo>
                      <a:pt x="556" y="483"/>
                    </a:lnTo>
                    <a:lnTo>
                      <a:pt x="556" y="487"/>
                    </a:lnTo>
                    <a:lnTo>
                      <a:pt x="553" y="487"/>
                    </a:lnTo>
                    <a:lnTo>
                      <a:pt x="549" y="488"/>
                    </a:lnTo>
                    <a:lnTo>
                      <a:pt x="544" y="493"/>
                    </a:lnTo>
                    <a:lnTo>
                      <a:pt x="541" y="495"/>
                    </a:lnTo>
                    <a:lnTo>
                      <a:pt x="537" y="498"/>
                    </a:lnTo>
                    <a:lnTo>
                      <a:pt x="532" y="500"/>
                    </a:lnTo>
                    <a:lnTo>
                      <a:pt x="527" y="504"/>
                    </a:lnTo>
                    <a:lnTo>
                      <a:pt x="526" y="504"/>
                    </a:lnTo>
                    <a:lnTo>
                      <a:pt x="524" y="505"/>
                    </a:lnTo>
                    <a:lnTo>
                      <a:pt x="517" y="505"/>
                    </a:lnTo>
                    <a:lnTo>
                      <a:pt x="515" y="507"/>
                    </a:lnTo>
                    <a:lnTo>
                      <a:pt x="514" y="507"/>
                    </a:lnTo>
                    <a:lnTo>
                      <a:pt x="514" y="509"/>
                    </a:lnTo>
                    <a:lnTo>
                      <a:pt x="510" y="509"/>
                    </a:lnTo>
                    <a:lnTo>
                      <a:pt x="510" y="510"/>
                    </a:lnTo>
                    <a:lnTo>
                      <a:pt x="509" y="510"/>
                    </a:lnTo>
                    <a:lnTo>
                      <a:pt x="505" y="512"/>
                    </a:lnTo>
                    <a:lnTo>
                      <a:pt x="503" y="512"/>
                    </a:lnTo>
                    <a:lnTo>
                      <a:pt x="503" y="515"/>
                    </a:lnTo>
                    <a:lnTo>
                      <a:pt x="502" y="515"/>
                    </a:lnTo>
                    <a:lnTo>
                      <a:pt x="500" y="517"/>
                    </a:lnTo>
                    <a:lnTo>
                      <a:pt x="497" y="517"/>
                    </a:lnTo>
                    <a:lnTo>
                      <a:pt x="495" y="515"/>
                    </a:lnTo>
                    <a:lnTo>
                      <a:pt x="490" y="517"/>
                    </a:lnTo>
                    <a:lnTo>
                      <a:pt x="480" y="517"/>
                    </a:lnTo>
                    <a:lnTo>
                      <a:pt x="478" y="519"/>
                    </a:lnTo>
                    <a:lnTo>
                      <a:pt x="475" y="521"/>
                    </a:lnTo>
                    <a:lnTo>
                      <a:pt x="475" y="522"/>
                    </a:lnTo>
                    <a:lnTo>
                      <a:pt x="473" y="522"/>
                    </a:lnTo>
                    <a:lnTo>
                      <a:pt x="468" y="522"/>
                    </a:lnTo>
                    <a:lnTo>
                      <a:pt x="461" y="529"/>
                    </a:lnTo>
                    <a:lnTo>
                      <a:pt x="459" y="529"/>
                    </a:lnTo>
                    <a:lnTo>
                      <a:pt x="458" y="527"/>
                    </a:lnTo>
                    <a:lnTo>
                      <a:pt x="454" y="527"/>
                    </a:lnTo>
                    <a:lnTo>
                      <a:pt x="452" y="524"/>
                    </a:lnTo>
                    <a:lnTo>
                      <a:pt x="451" y="524"/>
                    </a:lnTo>
                    <a:lnTo>
                      <a:pt x="449" y="522"/>
                    </a:lnTo>
                    <a:lnTo>
                      <a:pt x="444" y="522"/>
                    </a:lnTo>
                    <a:lnTo>
                      <a:pt x="442" y="521"/>
                    </a:lnTo>
                    <a:lnTo>
                      <a:pt x="439" y="522"/>
                    </a:lnTo>
                    <a:lnTo>
                      <a:pt x="432" y="521"/>
                    </a:lnTo>
                    <a:lnTo>
                      <a:pt x="429" y="524"/>
                    </a:lnTo>
                    <a:lnTo>
                      <a:pt x="427" y="524"/>
                    </a:lnTo>
                    <a:lnTo>
                      <a:pt x="427" y="527"/>
                    </a:lnTo>
                    <a:lnTo>
                      <a:pt x="425" y="531"/>
                    </a:lnTo>
                    <a:lnTo>
                      <a:pt x="425" y="532"/>
                    </a:lnTo>
                    <a:lnTo>
                      <a:pt x="425" y="534"/>
                    </a:lnTo>
                    <a:lnTo>
                      <a:pt x="424" y="536"/>
                    </a:lnTo>
                    <a:lnTo>
                      <a:pt x="418" y="538"/>
                    </a:lnTo>
                    <a:lnTo>
                      <a:pt x="415" y="539"/>
                    </a:lnTo>
                    <a:lnTo>
                      <a:pt x="412" y="539"/>
                    </a:lnTo>
                    <a:lnTo>
                      <a:pt x="410" y="539"/>
                    </a:lnTo>
                    <a:lnTo>
                      <a:pt x="408" y="541"/>
                    </a:lnTo>
                    <a:lnTo>
                      <a:pt x="407" y="543"/>
                    </a:lnTo>
                    <a:lnTo>
                      <a:pt x="405" y="543"/>
                    </a:lnTo>
                    <a:lnTo>
                      <a:pt x="401" y="543"/>
                    </a:lnTo>
                    <a:lnTo>
                      <a:pt x="400" y="541"/>
                    </a:lnTo>
                    <a:lnTo>
                      <a:pt x="396" y="541"/>
                    </a:lnTo>
                    <a:lnTo>
                      <a:pt x="390" y="539"/>
                    </a:lnTo>
                    <a:lnTo>
                      <a:pt x="386" y="538"/>
                    </a:lnTo>
                    <a:lnTo>
                      <a:pt x="384" y="538"/>
                    </a:lnTo>
                    <a:lnTo>
                      <a:pt x="381" y="539"/>
                    </a:lnTo>
                    <a:lnTo>
                      <a:pt x="381" y="538"/>
                    </a:lnTo>
                    <a:lnTo>
                      <a:pt x="379" y="538"/>
                    </a:lnTo>
                    <a:lnTo>
                      <a:pt x="376" y="536"/>
                    </a:lnTo>
                    <a:lnTo>
                      <a:pt x="374" y="541"/>
                    </a:lnTo>
                    <a:lnTo>
                      <a:pt x="367" y="544"/>
                    </a:lnTo>
                    <a:lnTo>
                      <a:pt x="364" y="543"/>
                    </a:lnTo>
                    <a:lnTo>
                      <a:pt x="361" y="546"/>
                    </a:lnTo>
                    <a:lnTo>
                      <a:pt x="361" y="544"/>
                    </a:lnTo>
                    <a:lnTo>
                      <a:pt x="361" y="543"/>
                    </a:lnTo>
                    <a:lnTo>
                      <a:pt x="359" y="543"/>
                    </a:lnTo>
                    <a:lnTo>
                      <a:pt x="354" y="543"/>
                    </a:lnTo>
                    <a:lnTo>
                      <a:pt x="352" y="544"/>
                    </a:lnTo>
                    <a:lnTo>
                      <a:pt x="350" y="544"/>
                    </a:lnTo>
                    <a:lnTo>
                      <a:pt x="349" y="544"/>
                    </a:lnTo>
                    <a:lnTo>
                      <a:pt x="349" y="543"/>
                    </a:lnTo>
                    <a:lnTo>
                      <a:pt x="345" y="544"/>
                    </a:lnTo>
                    <a:lnTo>
                      <a:pt x="344" y="541"/>
                    </a:lnTo>
                    <a:lnTo>
                      <a:pt x="345" y="538"/>
                    </a:lnTo>
                    <a:lnTo>
                      <a:pt x="344" y="536"/>
                    </a:lnTo>
                    <a:lnTo>
                      <a:pt x="342" y="538"/>
                    </a:lnTo>
                    <a:lnTo>
                      <a:pt x="342" y="536"/>
                    </a:lnTo>
                    <a:lnTo>
                      <a:pt x="340" y="534"/>
                    </a:lnTo>
                    <a:lnTo>
                      <a:pt x="339" y="536"/>
                    </a:lnTo>
                    <a:lnTo>
                      <a:pt x="337" y="532"/>
                    </a:lnTo>
                    <a:lnTo>
                      <a:pt x="335" y="532"/>
                    </a:lnTo>
                    <a:lnTo>
                      <a:pt x="333" y="531"/>
                    </a:lnTo>
                    <a:lnTo>
                      <a:pt x="332" y="529"/>
                    </a:lnTo>
                    <a:lnTo>
                      <a:pt x="330" y="531"/>
                    </a:lnTo>
                    <a:lnTo>
                      <a:pt x="327" y="529"/>
                    </a:lnTo>
                    <a:lnTo>
                      <a:pt x="325" y="529"/>
                    </a:lnTo>
                    <a:lnTo>
                      <a:pt x="323" y="532"/>
                    </a:lnTo>
                    <a:lnTo>
                      <a:pt x="323" y="531"/>
                    </a:lnTo>
                    <a:lnTo>
                      <a:pt x="323" y="532"/>
                    </a:lnTo>
                    <a:lnTo>
                      <a:pt x="320" y="532"/>
                    </a:lnTo>
                    <a:lnTo>
                      <a:pt x="320" y="534"/>
                    </a:lnTo>
                    <a:lnTo>
                      <a:pt x="316" y="536"/>
                    </a:lnTo>
                    <a:lnTo>
                      <a:pt x="313" y="536"/>
                    </a:lnTo>
                    <a:lnTo>
                      <a:pt x="311" y="538"/>
                    </a:lnTo>
                    <a:lnTo>
                      <a:pt x="311" y="536"/>
                    </a:lnTo>
                    <a:lnTo>
                      <a:pt x="310" y="538"/>
                    </a:lnTo>
                    <a:lnTo>
                      <a:pt x="310" y="536"/>
                    </a:lnTo>
                    <a:lnTo>
                      <a:pt x="308" y="536"/>
                    </a:lnTo>
                    <a:lnTo>
                      <a:pt x="308" y="538"/>
                    </a:lnTo>
                    <a:lnTo>
                      <a:pt x="306" y="538"/>
                    </a:lnTo>
                    <a:lnTo>
                      <a:pt x="305" y="536"/>
                    </a:lnTo>
                    <a:lnTo>
                      <a:pt x="305" y="538"/>
                    </a:lnTo>
                    <a:lnTo>
                      <a:pt x="301" y="536"/>
                    </a:lnTo>
                    <a:lnTo>
                      <a:pt x="282" y="538"/>
                    </a:lnTo>
                    <a:lnTo>
                      <a:pt x="282" y="532"/>
                    </a:lnTo>
                    <a:lnTo>
                      <a:pt x="281" y="531"/>
                    </a:lnTo>
                    <a:lnTo>
                      <a:pt x="281" y="529"/>
                    </a:lnTo>
                    <a:lnTo>
                      <a:pt x="281" y="527"/>
                    </a:lnTo>
                    <a:lnTo>
                      <a:pt x="274" y="524"/>
                    </a:lnTo>
                    <a:lnTo>
                      <a:pt x="274" y="522"/>
                    </a:lnTo>
                    <a:lnTo>
                      <a:pt x="272" y="521"/>
                    </a:lnTo>
                    <a:lnTo>
                      <a:pt x="272" y="519"/>
                    </a:lnTo>
                    <a:lnTo>
                      <a:pt x="269" y="517"/>
                    </a:lnTo>
                    <a:lnTo>
                      <a:pt x="269" y="515"/>
                    </a:lnTo>
                    <a:lnTo>
                      <a:pt x="265" y="514"/>
                    </a:lnTo>
                    <a:lnTo>
                      <a:pt x="265" y="510"/>
                    </a:lnTo>
                    <a:lnTo>
                      <a:pt x="264" y="509"/>
                    </a:lnTo>
                    <a:lnTo>
                      <a:pt x="267" y="505"/>
                    </a:lnTo>
                    <a:lnTo>
                      <a:pt x="269" y="495"/>
                    </a:lnTo>
                    <a:lnTo>
                      <a:pt x="267" y="493"/>
                    </a:lnTo>
                    <a:lnTo>
                      <a:pt x="267" y="492"/>
                    </a:lnTo>
                    <a:lnTo>
                      <a:pt x="265" y="490"/>
                    </a:lnTo>
                    <a:lnTo>
                      <a:pt x="265" y="488"/>
                    </a:lnTo>
                    <a:lnTo>
                      <a:pt x="264" y="487"/>
                    </a:lnTo>
                    <a:lnTo>
                      <a:pt x="262" y="485"/>
                    </a:lnTo>
                    <a:lnTo>
                      <a:pt x="264" y="481"/>
                    </a:lnTo>
                    <a:lnTo>
                      <a:pt x="264" y="480"/>
                    </a:lnTo>
                    <a:lnTo>
                      <a:pt x="262" y="481"/>
                    </a:lnTo>
                    <a:lnTo>
                      <a:pt x="262" y="480"/>
                    </a:lnTo>
                    <a:lnTo>
                      <a:pt x="264" y="473"/>
                    </a:lnTo>
                    <a:lnTo>
                      <a:pt x="262" y="470"/>
                    </a:lnTo>
                    <a:lnTo>
                      <a:pt x="262" y="468"/>
                    </a:lnTo>
                    <a:lnTo>
                      <a:pt x="260" y="463"/>
                    </a:lnTo>
                    <a:lnTo>
                      <a:pt x="260" y="461"/>
                    </a:lnTo>
                    <a:lnTo>
                      <a:pt x="259" y="458"/>
                    </a:lnTo>
                    <a:lnTo>
                      <a:pt x="257" y="454"/>
                    </a:lnTo>
                    <a:lnTo>
                      <a:pt x="250" y="446"/>
                    </a:lnTo>
                    <a:lnTo>
                      <a:pt x="235" y="432"/>
                    </a:lnTo>
                    <a:lnTo>
                      <a:pt x="231" y="434"/>
                    </a:lnTo>
                    <a:lnTo>
                      <a:pt x="231" y="436"/>
                    </a:lnTo>
                    <a:lnTo>
                      <a:pt x="231" y="437"/>
                    </a:lnTo>
                    <a:lnTo>
                      <a:pt x="230" y="442"/>
                    </a:lnTo>
                    <a:lnTo>
                      <a:pt x="228" y="442"/>
                    </a:lnTo>
                    <a:lnTo>
                      <a:pt x="225" y="439"/>
                    </a:lnTo>
                    <a:lnTo>
                      <a:pt x="223" y="436"/>
                    </a:lnTo>
                    <a:lnTo>
                      <a:pt x="220" y="436"/>
                    </a:lnTo>
                    <a:lnTo>
                      <a:pt x="218" y="437"/>
                    </a:lnTo>
                    <a:lnTo>
                      <a:pt x="214" y="437"/>
                    </a:lnTo>
                    <a:lnTo>
                      <a:pt x="213" y="436"/>
                    </a:lnTo>
                    <a:lnTo>
                      <a:pt x="211" y="437"/>
                    </a:lnTo>
                    <a:lnTo>
                      <a:pt x="209" y="439"/>
                    </a:lnTo>
                    <a:lnTo>
                      <a:pt x="206" y="437"/>
                    </a:lnTo>
                    <a:lnTo>
                      <a:pt x="204" y="437"/>
                    </a:lnTo>
                    <a:lnTo>
                      <a:pt x="204" y="436"/>
                    </a:lnTo>
                    <a:lnTo>
                      <a:pt x="203" y="434"/>
                    </a:lnTo>
                    <a:lnTo>
                      <a:pt x="201" y="434"/>
                    </a:lnTo>
                    <a:lnTo>
                      <a:pt x="199" y="432"/>
                    </a:lnTo>
                    <a:lnTo>
                      <a:pt x="197" y="432"/>
                    </a:lnTo>
                    <a:lnTo>
                      <a:pt x="196" y="432"/>
                    </a:lnTo>
                    <a:lnTo>
                      <a:pt x="194" y="432"/>
                    </a:lnTo>
                    <a:lnTo>
                      <a:pt x="191" y="432"/>
                    </a:lnTo>
                    <a:lnTo>
                      <a:pt x="186" y="427"/>
                    </a:lnTo>
                    <a:lnTo>
                      <a:pt x="182" y="425"/>
                    </a:lnTo>
                    <a:lnTo>
                      <a:pt x="180" y="427"/>
                    </a:lnTo>
                    <a:lnTo>
                      <a:pt x="179" y="427"/>
                    </a:lnTo>
                    <a:lnTo>
                      <a:pt x="179" y="425"/>
                    </a:lnTo>
                    <a:lnTo>
                      <a:pt x="177" y="427"/>
                    </a:lnTo>
                    <a:lnTo>
                      <a:pt x="177" y="425"/>
                    </a:lnTo>
                    <a:lnTo>
                      <a:pt x="175" y="425"/>
                    </a:lnTo>
                    <a:lnTo>
                      <a:pt x="170" y="422"/>
                    </a:lnTo>
                    <a:lnTo>
                      <a:pt x="169" y="420"/>
                    </a:lnTo>
                    <a:lnTo>
                      <a:pt x="163" y="420"/>
                    </a:lnTo>
                    <a:lnTo>
                      <a:pt x="162" y="420"/>
                    </a:lnTo>
                    <a:lnTo>
                      <a:pt x="160" y="420"/>
                    </a:lnTo>
                    <a:lnTo>
                      <a:pt x="157" y="415"/>
                    </a:lnTo>
                    <a:lnTo>
                      <a:pt x="157" y="413"/>
                    </a:lnTo>
                    <a:lnTo>
                      <a:pt x="155" y="413"/>
                    </a:lnTo>
                    <a:lnTo>
                      <a:pt x="146" y="413"/>
                    </a:lnTo>
                    <a:lnTo>
                      <a:pt x="143" y="412"/>
                    </a:lnTo>
                    <a:lnTo>
                      <a:pt x="140" y="410"/>
                    </a:lnTo>
                    <a:lnTo>
                      <a:pt x="136" y="408"/>
                    </a:lnTo>
                    <a:lnTo>
                      <a:pt x="133" y="410"/>
                    </a:lnTo>
                    <a:lnTo>
                      <a:pt x="131" y="410"/>
                    </a:lnTo>
                    <a:lnTo>
                      <a:pt x="129" y="408"/>
                    </a:lnTo>
                    <a:lnTo>
                      <a:pt x="129" y="405"/>
                    </a:lnTo>
                    <a:lnTo>
                      <a:pt x="129" y="403"/>
                    </a:lnTo>
                    <a:lnTo>
                      <a:pt x="128" y="401"/>
                    </a:lnTo>
                    <a:lnTo>
                      <a:pt x="123" y="401"/>
                    </a:lnTo>
                    <a:lnTo>
                      <a:pt x="121" y="401"/>
                    </a:lnTo>
                    <a:lnTo>
                      <a:pt x="119" y="403"/>
                    </a:lnTo>
                    <a:lnTo>
                      <a:pt x="116" y="403"/>
                    </a:lnTo>
                    <a:lnTo>
                      <a:pt x="114" y="400"/>
                    </a:lnTo>
                    <a:lnTo>
                      <a:pt x="111" y="398"/>
                    </a:lnTo>
                    <a:lnTo>
                      <a:pt x="111" y="396"/>
                    </a:lnTo>
                    <a:lnTo>
                      <a:pt x="111" y="395"/>
                    </a:lnTo>
                    <a:lnTo>
                      <a:pt x="111" y="391"/>
                    </a:lnTo>
                    <a:lnTo>
                      <a:pt x="109" y="391"/>
                    </a:lnTo>
                    <a:lnTo>
                      <a:pt x="107" y="391"/>
                    </a:lnTo>
                    <a:lnTo>
                      <a:pt x="106" y="388"/>
                    </a:lnTo>
                    <a:lnTo>
                      <a:pt x="102" y="388"/>
                    </a:lnTo>
                    <a:lnTo>
                      <a:pt x="101" y="386"/>
                    </a:lnTo>
                    <a:lnTo>
                      <a:pt x="99" y="388"/>
                    </a:lnTo>
                    <a:lnTo>
                      <a:pt x="97" y="386"/>
                    </a:lnTo>
                    <a:lnTo>
                      <a:pt x="95" y="388"/>
                    </a:lnTo>
                    <a:lnTo>
                      <a:pt x="94" y="386"/>
                    </a:lnTo>
                    <a:lnTo>
                      <a:pt x="92" y="386"/>
                    </a:lnTo>
                    <a:lnTo>
                      <a:pt x="89" y="388"/>
                    </a:lnTo>
                    <a:lnTo>
                      <a:pt x="85" y="386"/>
                    </a:lnTo>
                    <a:lnTo>
                      <a:pt x="78" y="379"/>
                    </a:lnTo>
                    <a:lnTo>
                      <a:pt x="72" y="367"/>
                    </a:lnTo>
                    <a:lnTo>
                      <a:pt x="63" y="354"/>
                    </a:lnTo>
                    <a:lnTo>
                      <a:pt x="56" y="342"/>
                    </a:lnTo>
                    <a:lnTo>
                      <a:pt x="51" y="333"/>
                    </a:lnTo>
                    <a:lnTo>
                      <a:pt x="48" y="313"/>
                    </a:lnTo>
                    <a:lnTo>
                      <a:pt x="44" y="306"/>
                    </a:lnTo>
                    <a:lnTo>
                      <a:pt x="36" y="298"/>
                    </a:lnTo>
                    <a:lnTo>
                      <a:pt x="27" y="289"/>
                    </a:lnTo>
                    <a:lnTo>
                      <a:pt x="19" y="282"/>
                    </a:lnTo>
                    <a:lnTo>
                      <a:pt x="14" y="277"/>
                    </a:lnTo>
                    <a:lnTo>
                      <a:pt x="10" y="274"/>
                    </a:lnTo>
                    <a:lnTo>
                      <a:pt x="7" y="264"/>
                    </a:lnTo>
                    <a:lnTo>
                      <a:pt x="7" y="259"/>
                    </a:lnTo>
                    <a:lnTo>
                      <a:pt x="9" y="253"/>
                    </a:lnTo>
                    <a:lnTo>
                      <a:pt x="12" y="247"/>
                    </a:lnTo>
                    <a:lnTo>
                      <a:pt x="16" y="240"/>
                    </a:lnTo>
                    <a:lnTo>
                      <a:pt x="14" y="235"/>
                    </a:lnTo>
                    <a:lnTo>
                      <a:pt x="7" y="223"/>
                    </a:lnTo>
                    <a:lnTo>
                      <a:pt x="0" y="202"/>
                    </a:lnTo>
                    <a:lnTo>
                      <a:pt x="0" y="191"/>
                    </a:lnTo>
                    <a:lnTo>
                      <a:pt x="0" y="175"/>
                    </a:lnTo>
                    <a:lnTo>
                      <a:pt x="14" y="175"/>
                    </a:lnTo>
                    <a:lnTo>
                      <a:pt x="19" y="177"/>
                    </a:lnTo>
                    <a:lnTo>
                      <a:pt x="19" y="175"/>
                    </a:lnTo>
                    <a:lnTo>
                      <a:pt x="21" y="172"/>
                    </a:lnTo>
                    <a:lnTo>
                      <a:pt x="24" y="172"/>
                    </a:lnTo>
                    <a:lnTo>
                      <a:pt x="26" y="172"/>
                    </a:lnTo>
                    <a:lnTo>
                      <a:pt x="29" y="170"/>
                    </a:lnTo>
                    <a:lnTo>
                      <a:pt x="29" y="168"/>
                    </a:lnTo>
                    <a:lnTo>
                      <a:pt x="33" y="167"/>
                    </a:lnTo>
                    <a:lnTo>
                      <a:pt x="34" y="162"/>
                    </a:lnTo>
                    <a:lnTo>
                      <a:pt x="39" y="158"/>
                    </a:lnTo>
                    <a:lnTo>
                      <a:pt x="41" y="158"/>
                    </a:lnTo>
                    <a:lnTo>
                      <a:pt x="41" y="155"/>
                    </a:lnTo>
                    <a:lnTo>
                      <a:pt x="43" y="155"/>
                    </a:lnTo>
                    <a:lnTo>
                      <a:pt x="43" y="153"/>
                    </a:lnTo>
                    <a:lnTo>
                      <a:pt x="41" y="153"/>
                    </a:lnTo>
                    <a:lnTo>
                      <a:pt x="43" y="150"/>
                    </a:lnTo>
                    <a:lnTo>
                      <a:pt x="44" y="148"/>
                    </a:lnTo>
                    <a:lnTo>
                      <a:pt x="46" y="145"/>
                    </a:lnTo>
                    <a:lnTo>
                      <a:pt x="48" y="143"/>
                    </a:lnTo>
                    <a:lnTo>
                      <a:pt x="50" y="141"/>
                    </a:lnTo>
                    <a:lnTo>
                      <a:pt x="51" y="143"/>
                    </a:lnTo>
                    <a:lnTo>
                      <a:pt x="51" y="140"/>
                    </a:lnTo>
                    <a:lnTo>
                      <a:pt x="53" y="133"/>
                    </a:lnTo>
                    <a:lnTo>
                      <a:pt x="53" y="131"/>
                    </a:lnTo>
                    <a:lnTo>
                      <a:pt x="56" y="129"/>
                    </a:lnTo>
                    <a:lnTo>
                      <a:pt x="58" y="129"/>
                    </a:lnTo>
                    <a:lnTo>
                      <a:pt x="65" y="124"/>
                    </a:lnTo>
                    <a:lnTo>
                      <a:pt x="65" y="123"/>
                    </a:lnTo>
                    <a:lnTo>
                      <a:pt x="63" y="121"/>
                    </a:lnTo>
                    <a:lnTo>
                      <a:pt x="65" y="119"/>
                    </a:lnTo>
                    <a:lnTo>
                      <a:pt x="68" y="117"/>
                    </a:lnTo>
                    <a:lnTo>
                      <a:pt x="68" y="116"/>
                    </a:lnTo>
                    <a:lnTo>
                      <a:pt x="70" y="117"/>
                    </a:lnTo>
                    <a:lnTo>
                      <a:pt x="73" y="116"/>
                    </a:lnTo>
                    <a:lnTo>
                      <a:pt x="72" y="114"/>
                    </a:lnTo>
                    <a:lnTo>
                      <a:pt x="73" y="112"/>
                    </a:lnTo>
                    <a:lnTo>
                      <a:pt x="73" y="111"/>
                    </a:lnTo>
                    <a:lnTo>
                      <a:pt x="73" y="107"/>
                    </a:lnTo>
                    <a:lnTo>
                      <a:pt x="72" y="106"/>
                    </a:lnTo>
                    <a:lnTo>
                      <a:pt x="73" y="100"/>
                    </a:lnTo>
                    <a:lnTo>
                      <a:pt x="70" y="102"/>
                    </a:lnTo>
                    <a:lnTo>
                      <a:pt x="68" y="102"/>
                    </a:lnTo>
                    <a:lnTo>
                      <a:pt x="67" y="100"/>
                    </a:lnTo>
                    <a:lnTo>
                      <a:pt x="65" y="102"/>
                    </a:lnTo>
                    <a:lnTo>
                      <a:pt x="63" y="100"/>
                    </a:lnTo>
                    <a:lnTo>
                      <a:pt x="60" y="97"/>
                    </a:lnTo>
                    <a:lnTo>
                      <a:pt x="56" y="100"/>
                    </a:lnTo>
                    <a:lnTo>
                      <a:pt x="53" y="99"/>
                    </a:lnTo>
                    <a:lnTo>
                      <a:pt x="53" y="97"/>
                    </a:lnTo>
                    <a:lnTo>
                      <a:pt x="51" y="95"/>
                    </a:lnTo>
                    <a:lnTo>
                      <a:pt x="53" y="92"/>
                    </a:lnTo>
                    <a:lnTo>
                      <a:pt x="53" y="90"/>
                    </a:lnTo>
                    <a:lnTo>
                      <a:pt x="58" y="87"/>
                    </a:lnTo>
                    <a:lnTo>
                      <a:pt x="58" y="85"/>
                    </a:lnTo>
                    <a:lnTo>
                      <a:pt x="55" y="87"/>
                    </a:lnTo>
                    <a:lnTo>
                      <a:pt x="53" y="85"/>
                    </a:lnTo>
                    <a:lnTo>
                      <a:pt x="56" y="80"/>
                    </a:lnTo>
                    <a:lnTo>
                      <a:pt x="56" y="78"/>
                    </a:lnTo>
                    <a:lnTo>
                      <a:pt x="56" y="77"/>
                    </a:lnTo>
                    <a:lnTo>
                      <a:pt x="58" y="73"/>
                    </a:lnTo>
                    <a:lnTo>
                      <a:pt x="60" y="73"/>
                    </a:lnTo>
                    <a:lnTo>
                      <a:pt x="61" y="71"/>
                    </a:lnTo>
                    <a:lnTo>
                      <a:pt x="65" y="73"/>
                    </a:lnTo>
                    <a:lnTo>
                      <a:pt x="67" y="70"/>
                    </a:lnTo>
                    <a:lnTo>
                      <a:pt x="70" y="71"/>
                    </a:lnTo>
                    <a:lnTo>
                      <a:pt x="72" y="70"/>
                    </a:lnTo>
                    <a:lnTo>
                      <a:pt x="73" y="70"/>
                    </a:lnTo>
                    <a:lnTo>
                      <a:pt x="75" y="68"/>
                    </a:lnTo>
                    <a:lnTo>
                      <a:pt x="73" y="63"/>
                    </a:lnTo>
                    <a:lnTo>
                      <a:pt x="77" y="56"/>
                    </a:lnTo>
                    <a:lnTo>
                      <a:pt x="73" y="53"/>
                    </a:lnTo>
                    <a:lnTo>
                      <a:pt x="72" y="49"/>
                    </a:lnTo>
                    <a:lnTo>
                      <a:pt x="70" y="49"/>
                    </a:lnTo>
                    <a:lnTo>
                      <a:pt x="73" y="44"/>
                    </a:lnTo>
                    <a:lnTo>
                      <a:pt x="72" y="44"/>
                    </a:lnTo>
                    <a:lnTo>
                      <a:pt x="73" y="43"/>
                    </a:lnTo>
                    <a:lnTo>
                      <a:pt x="73" y="39"/>
                    </a:lnTo>
                    <a:lnTo>
                      <a:pt x="72" y="39"/>
                    </a:lnTo>
                    <a:lnTo>
                      <a:pt x="73" y="37"/>
                    </a:lnTo>
                    <a:lnTo>
                      <a:pt x="73" y="36"/>
                    </a:lnTo>
                    <a:lnTo>
                      <a:pt x="73" y="34"/>
                    </a:lnTo>
                    <a:lnTo>
                      <a:pt x="73" y="32"/>
                    </a:lnTo>
                    <a:lnTo>
                      <a:pt x="70" y="31"/>
                    </a:lnTo>
                    <a:lnTo>
                      <a:pt x="70" y="29"/>
                    </a:lnTo>
                    <a:lnTo>
                      <a:pt x="68" y="27"/>
                    </a:lnTo>
                    <a:lnTo>
                      <a:pt x="68" y="26"/>
                    </a:lnTo>
                    <a:lnTo>
                      <a:pt x="68" y="22"/>
                    </a:lnTo>
                    <a:lnTo>
                      <a:pt x="67" y="22"/>
                    </a:lnTo>
                    <a:lnTo>
                      <a:pt x="65" y="20"/>
                    </a:lnTo>
                    <a:lnTo>
                      <a:pt x="63" y="20"/>
                    </a:lnTo>
                    <a:lnTo>
                      <a:pt x="61" y="19"/>
                    </a:lnTo>
                    <a:lnTo>
                      <a:pt x="60" y="19"/>
                    </a:lnTo>
                    <a:lnTo>
                      <a:pt x="60" y="14"/>
                    </a:lnTo>
                    <a:lnTo>
                      <a:pt x="56" y="10"/>
                    </a:lnTo>
                    <a:lnTo>
                      <a:pt x="55" y="9"/>
                    </a:lnTo>
                    <a:lnTo>
                      <a:pt x="55" y="7"/>
                    </a:lnTo>
                    <a:lnTo>
                      <a:pt x="55" y="5"/>
                    </a:lnTo>
                    <a:lnTo>
                      <a:pt x="55" y="3"/>
                    </a:lnTo>
                    <a:lnTo>
                      <a:pt x="58" y="5"/>
                    </a:lnTo>
                    <a:lnTo>
                      <a:pt x="61" y="5"/>
                    </a:lnTo>
                    <a:lnTo>
                      <a:pt x="63" y="5"/>
                    </a:lnTo>
                    <a:lnTo>
                      <a:pt x="67" y="2"/>
                    </a:lnTo>
                    <a:lnTo>
                      <a:pt x="70" y="0"/>
                    </a:lnTo>
                    <a:lnTo>
                      <a:pt x="72" y="2"/>
                    </a:lnTo>
                    <a:lnTo>
                      <a:pt x="95" y="2"/>
                    </a:lnTo>
                    <a:lnTo>
                      <a:pt x="116" y="2"/>
                    </a:lnTo>
                    <a:lnTo>
                      <a:pt x="133" y="2"/>
                    </a:lnTo>
                    <a:lnTo>
                      <a:pt x="170" y="2"/>
                    </a:lnTo>
                    <a:lnTo>
                      <a:pt x="177" y="2"/>
                    </a:lnTo>
                    <a:lnTo>
                      <a:pt x="209" y="2"/>
                    </a:lnTo>
                    <a:lnTo>
                      <a:pt x="216" y="2"/>
                    </a:lnTo>
                    <a:lnTo>
                      <a:pt x="230" y="2"/>
                    </a:lnTo>
                    <a:close/>
                    <a:moveTo>
                      <a:pt x="505" y="245"/>
                    </a:moveTo>
                    <a:lnTo>
                      <a:pt x="505" y="250"/>
                    </a:lnTo>
                    <a:lnTo>
                      <a:pt x="507" y="257"/>
                    </a:lnTo>
                    <a:lnTo>
                      <a:pt x="509" y="259"/>
                    </a:lnTo>
                    <a:lnTo>
                      <a:pt x="509" y="262"/>
                    </a:lnTo>
                    <a:lnTo>
                      <a:pt x="509" y="264"/>
                    </a:lnTo>
                    <a:lnTo>
                      <a:pt x="510" y="265"/>
                    </a:lnTo>
                    <a:lnTo>
                      <a:pt x="510" y="264"/>
                    </a:lnTo>
                    <a:lnTo>
                      <a:pt x="512" y="265"/>
                    </a:lnTo>
                    <a:lnTo>
                      <a:pt x="512" y="264"/>
                    </a:lnTo>
                    <a:lnTo>
                      <a:pt x="512" y="262"/>
                    </a:lnTo>
                    <a:lnTo>
                      <a:pt x="512" y="260"/>
                    </a:lnTo>
                    <a:lnTo>
                      <a:pt x="514" y="264"/>
                    </a:lnTo>
                    <a:lnTo>
                      <a:pt x="514" y="269"/>
                    </a:lnTo>
                    <a:lnTo>
                      <a:pt x="517" y="274"/>
                    </a:lnTo>
                    <a:lnTo>
                      <a:pt x="515" y="277"/>
                    </a:lnTo>
                    <a:lnTo>
                      <a:pt x="514" y="279"/>
                    </a:lnTo>
                    <a:lnTo>
                      <a:pt x="512" y="279"/>
                    </a:lnTo>
                    <a:lnTo>
                      <a:pt x="510" y="277"/>
                    </a:lnTo>
                    <a:lnTo>
                      <a:pt x="507" y="271"/>
                    </a:lnTo>
                    <a:lnTo>
                      <a:pt x="509" y="272"/>
                    </a:lnTo>
                    <a:lnTo>
                      <a:pt x="509" y="276"/>
                    </a:lnTo>
                    <a:lnTo>
                      <a:pt x="505" y="272"/>
                    </a:lnTo>
                    <a:lnTo>
                      <a:pt x="505" y="271"/>
                    </a:lnTo>
                    <a:lnTo>
                      <a:pt x="502" y="267"/>
                    </a:lnTo>
                    <a:lnTo>
                      <a:pt x="502" y="269"/>
                    </a:lnTo>
                    <a:lnTo>
                      <a:pt x="502" y="267"/>
                    </a:lnTo>
                    <a:lnTo>
                      <a:pt x="502" y="271"/>
                    </a:lnTo>
                    <a:lnTo>
                      <a:pt x="497" y="265"/>
                    </a:lnTo>
                    <a:lnTo>
                      <a:pt x="497" y="264"/>
                    </a:lnTo>
                    <a:lnTo>
                      <a:pt x="498" y="262"/>
                    </a:lnTo>
                    <a:lnTo>
                      <a:pt x="498" y="259"/>
                    </a:lnTo>
                    <a:lnTo>
                      <a:pt x="497" y="253"/>
                    </a:lnTo>
                    <a:lnTo>
                      <a:pt x="497" y="250"/>
                    </a:lnTo>
                    <a:lnTo>
                      <a:pt x="498" y="250"/>
                    </a:lnTo>
                    <a:lnTo>
                      <a:pt x="498" y="248"/>
                    </a:lnTo>
                    <a:lnTo>
                      <a:pt x="500" y="248"/>
                    </a:lnTo>
                    <a:lnTo>
                      <a:pt x="502" y="240"/>
                    </a:lnTo>
                    <a:lnTo>
                      <a:pt x="505" y="245"/>
                    </a:lnTo>
                    <a:close/>
                    <a:moveTo>
                      <a:pt x="522" y="199"/>
                    </a:moveTo>
                    <a:lnTo>
                      <a:pt x="527" y="201"/>
                    </a:lnTo>
                    <a:lnTo>
                      <a:pt x="529" y="202"/>
                    </a:lnTo>
                    <a:lnTo>
                      <a:pt x="527" y="201"/>
                    </a:lnTo>
                    <a:lnTo>
                      <a:pt x="529" y="201"/>
                    </a:lnTo>
                    <a:lnTo>
                      <a:pt x="529" y="199"/>
                    </a:lnTo>
                    <a:lnTo>
                      <a:pt x="529" y="201"/>
                    </a:lnTo>
                    <a:lnTo>
                      <a:pt x="531" y="201"/>
                    </a:lnTo>
                    <a:lnTo>
                      <a:pt x="531" y="199"/>
                    </a:lnTo>
                    <a:lnTo>
                      <a:pt x="531" y="204"/>
                    </a:lnTo>
                    <a:lnTo>
                      <a:pt x="531" y="206"/>
                    </a:lnTo>
                    <a:lnTo>
                      <a:pt x="529" y="204"/>
                    </a:lnTo>
                    <a:lnTo>
                      <a:pt x="529" y="208"/>
                    </a:lnTo>
                    <a:lnTo>
                      <a:pt x="529" y="209"/>
                    </a:lnTo>
                    <a:lnTo>
                      <a:pt x="529" y="211"/>
                    </a:lnTo>
                    <a:lnTo>
                      <a:pt x="529" y="209"/>
                    </a:lnTo>
                    <a:lnTo>
                      <a:pt x="531" y="209"/>
                    </a:lnTo>
                    <a:lnTo>
                      <a:pt x="529" y="218"/>
                    </a:lnTo>
                    <a:lnTo>
                      <a:pt x="527" y="221"/>
                    </a:lnTo>
                    <a:lnTo>
                      <a:pt x="527" y="225"/>
                    </a:lnTo>
                    <a:lnTo>
                      <a:pt x="524" y="228"/>
                    </a:lnTo>
                    <a:lnTo>
                      <a:pt x="524" y="226"/>
                    </a:lnTo>
                    <a:lnTo>
                      <a:pt x="522" y="226"/>
                    </a:lnTo>
                    <a:lnTo>
                      <a:pt x="524" y="226"/>
                    </a:lnTo>
                    <a:lnTo>
                      <a:pt x="522" y="226"/>
                    </a:lnTo>
                    <a:lnTo>
                      <a:pt x="520" y="226"/>
                    </a:lnTo>
                    <a:lnTo>
                      <a:pt x="519" y="226"/>
                    </a:lnTo>
                    <a:lnTo>
                      <a:pt x="519" y="225"/>
                    </a:lnTo>
                    <a:lnTo>
                      <a:pt x="520" y="219"/>
                    </a:lnTo>
                    <a:lnTo>
                      <a:pt x="520" y="221"/>
                    </a:lnTo>
                    <a:lnTo>
                      <a:pt x="522" y="221"/>
                    </a:lnTo>
                    <a:lnTo>
                      <a:pt x="520" y="218"/>
                    </a:lnTo>
                    <a:lnTo>
                      <a:pt x="522" y="218"/>
                    </a:lnTo>
                    <a:lnTo>
                      <a:pt x="522" y="216"/>
                    </a:lnTo>
                    <a:lnTo>
                      <a:pt x="524" y="216"/>
                    </a:lnTo>
                    <a:lnTo>
                      <a:pt x="526" y="216"/>
                    </a:lnTo>
                    <a:lnTo>
                      <a:pt x="522" y="214"/>
                    </a:lnTo>
                    <a:lnTo>
                      <a:pt x="520" y="216"/>
                    </a:lnTo>
                    <a:lnTo>
                      <a:pt x="520" y="214"/>
                    </a:lnTo>
                    <a:lnTo>
                      <a:pt x="519" y="214"/>
                    </a:lnTo>
                    <a:lnTo>
                      <a:pt x="520" y="213"/>
                    </a:lnTo>
                    <a:lnTo>
                      <a:pt x="520" y="214"/>
                    </a:lnTo>
                    <a:lnTo>
                      <a:pt x="522" y="214"/>
                    </a:lnTo>
                    <a:lnTo>
                      <a:pt x="524" y="214"/>
                    </a:lnTo>
                    <a:lnTo>
                      <a:pt x="524" y="213"/>
                    </a:lnTo>
                    <a:lnTo>
                      <a:pt x="524" y="211"/>
                    </a:lnTo>
                    <a:lnTo>
                      <a:pt x="522" y="213"/>
                    </a:lnTo>
                    <a:lnTo>
                      <a:pt x="524" y="211"/>
                    </a:lnTo>
                    <a:lnTo>
                      <a:pt x="522" y="211"/>
                    </a:lnTo>
                    <a:lnTo>
                      <a:pt x="522" y="209"/>
                    </a:lnTo>
                    <a:lnTo>
                      <a:pt x="522" y="208"/>
                    </a:lnTo>
                    <a:lnTo>
                      <a:pt x="524" y="208"/>
                    </a:lnTo>
                    <a:lnTo>
                      <a:pt x="520" y="206"/>
                    </a:lnTo>
                    <a:lnTo>
                      <a:pt x="522" y="206"/>
                    </a:lnTo>
                    <a:lnTo>
                      <a:pt x="520" y="202"/>
                    </a:lnTo>
                    <a:lnTo>
                      <a:pt x="522" y="202"/>
                    </a:lnTo>
                    <a:lnTo>
                      <a:pt x="520" y="201"/>
                    </a:lnTo>
                    <a:lnTo>
                      <a:pt x="522" y="197"/>
                    </a:lnTo>
                    <a:lnTo>
                      <a:pt x="522" y="199"/>
                    </a:lnTo>
                    <a:close/>
                    <a:moveTo>
                      <a:pt x="532" y="337"/>
                    </a:moveTo>
                    <a:lnTo>
                      <a:pt x="532" y="344"/>
                    </a:lnTo>
                    <a:lnTo>
                      <a:pt x="531" y="347"/>
                    </a:lnTo>
                    <a:lnTo>
                      <a:pt x="531" y="349"/>
                    </a:lnTo>
                    <a:lnTo>
                      <a:pt x="529" y="352"/>
                    </a:lnTo>
                    <a:lnTo>
                      <a:pt x="527" y="350"/>
                    </a:lnTo>
                    <a:lnTo>
                      <a:pt x="526" y="350"/>
                    </a:lnTo>
                    <a:lnTo>
                      <a:pt x="524" y="354"/>
                    </a:lnTo>
                    <a:lnTo>
                      <a:pt x="526" y="356"/>
                    </a:lnTo>
                    <a:lnTo>
                      <a:pt x="522" y="356"/>
                    </a:lnTo>
                    <a:lnTo>
                      <a:pt x="519" y="356"/>
                    </a:lnTo>
                    <a:lnTo>
                      <a:pt x="517" y="354"/>
                    </a:lnTo>
                    <a:lnTo>
                      <a:pt x="520" y="350"/>
                    </a:lnTo>
                    <a:lnTo>
                      <a:pt x="524" y="349"/>
                    </a:lnTo>
                    <a:lnTo>
                      <a:pt x="522" y="347"/>
                    </a:lnTo>
                    <a:lnTo>
                      <a:pt x="527" y="345"/>
                    </a:lnTo>
                    <a:lnTo>
                      <a:pt x="526" y="345"/>
                    </a:lnTo>
                    <a:lnTo>
                      <a:pt x="527" y="344"/>
                    </a:lnTo>
                    <a:lnTo>
                      <a:pt x="529" y="344"/>
                    </a:lnTo>
                    <a:lnTo>
                      <a:pt x="531" y="340"/>
                    </a:lnTo>
                    <a:lnTo>
                      <a:pt x="532" y="337"/>
                    </a:lnTo>
                    <a:close/>
                    <a:moveTo>
                      <a:pt x="517" y="225"/>
                    </a:moveTo>
                    <a:lnTo>
                      <a:pt x="519" y="226"/>
                    </a:lnTo>
                    <a:lnTo>
                      <a:pt x="520" y="226"/>
                    </a:lnTo>
                    <a:lnTo>
                      <a:pt x="520" y="228"/>
                    </a:lnTo>
                    <a:lnTo>
                      <a:pt x="519" y="228"/>
                    </a:lnTo>
                    <a:lnTo>
                      <a:pt x="517" y="228"/>
                    </a:lnTo>
                    <a:lnTo>
                      <a:pt x="515" y="225"/>
                    </a:lnTo>
                    <a:lnTo>
                      <a:pt x="517" y="225"/>
                    </a:lnTo>
                    <a:close/>
                    <a:moveTo>
                      <a:pt x="527" y="354"/>
                    </a:moveTo>
                    <a:lnTo>
                      <a:pt x="527" y="356"/>
                    </a:lnTo>
                    <a:lnTo>
                      <a:pt x="527" y="357"/>
                    </a:lnTo>
                    <a:lnTo>
                      <a:pt x="526" y="357"/>
                    </a:lnTo>
                    <a:lnTo>
                      <a:pt x="526" y="356"/>
                    </a:lnTo>
                    <a:lnTo>
                      <a:pt x="527" y="356"/>
                    </a:lnTo>
                    <a:lnTo>
                      <a:pt x="527" y="354"/>
                    </a:lnTo>
                    <a:close/>
                    <a:moveTo>
                      <a:pt x="512" y="403"/>
                    </a:moveTo>
                    <a:lnTo>
                      <a:pt x="514" y="403"/>
                    </a:lnTo>
                    <a:lnTo>
                      <a:pt x="514" y="407"/>
                    </a:lnTo>
                    <a:lnTo>
                      <a:pt x="512" y="407"/>
                    </a:lnTo>
                    <a:lnTo>
                      <a:pt x="512" y="403"/>
                    </a:lnTo>
                    <a:close/>
                    <a:moveTo>
                      <a:pt x="498" y="245"/>
                    </a:moveTo>
                    <a:lnTo>
                      <a:pt x="498" y="247"/>
                    </a:lnTo>
                    <a:lnTo>
                      <a:pt x="498" y="248"/>
                    </a:lnTo>
                    <a:lnTo>
                      <a:pt x="497" y="247"/>
                    </a:lnTo>
                    <a:lnTo>
                      <a:pt x="498" y="242"/>
                    </a:lnTo>
                    <a:lnTo>
                      <a:pt x="498" y="245"/>
                    </a:lnTo>
                    <a:close/>
                    <a:moveTo>
                      <a:pt x="531" y="208"/>
                    </a:moveTo>
                    <a:lnTo>
                      <a:pt x="531" y="209"/>
                    </a:lnTo>
                    <a:lnTo>
                      <a:pt x="529" y="209"/>
                    </a:lnTo>
                    <a:lnTo>
                      <a:pt x="531" y="208"/>
                    </a:lnTo>
                    <a:lnTo>
                      <a:pt x="529" y="208"/>
                    </a:lnTo>
                    <a:lnTo>
                      <a:pt x="531" y="206"/>
                    </a:lnTo>
                    <a:lnTo>
                      <a:pt x="531" y="208"/>
                    </a:lnTo>
                    <a:close/>
                    <a:moveTo>
                      <a:pt x="519" y="209"/>
                    </a:moveTo>
                    <a:lnTo>
                      <a:pt x="520" y="204"/>
                    </a:lnTo>
                    <a:lnTo>
                      <a:pt x="519" y="208"/>
                    </a:lnTo>
                    <a:lnTo>
                      <a:pt x="519" y="209"/>
                    </a:lnTo>
                    <a:close/>
                    <a:moveTo>
                      <a:pt x="507" y="401"/>
                    </a:moveTo>
                    <a:lnTo>
                      <a:pt x="510" y="401"/>
                    </a:lnTo>
                    <a:lnTo>
                      <a:pt x="507" y="401"/>
                    </a:lnTo>
                    <a:close/>
                    <a:moveTo>
                      <a:pt x="512" y="381"/>
                    </a:moveTo>
                    <a:lnTo>
                      <a:pt x="514" y="381"/>
                    </a:lnTo>
                    <a:lnTo>
                      <a:pt x="514" y="383"/>
                    </a:lnTo>
                    <a:lnTo>
                      <a:pt x="512" y="383"/>
                    </a:lnTo>
                    <a:lnTo>
                      <a:pt x="512" y="381"/>
                    </a:lnTo>
                    <a:close/>
                    <a:moveTo>
                      <a:pt x="522" y="359"/>
                    </a:moveTo>
                    <a:lnTo>
                      <a:pt x="524" y="359"/>
                    </a:lnTo>
                    <a:lnTo>
                      <a:pt x="522" y="359"/>
                    </a:lnTo>
                    <a:close/>
                    <a:moveTo>
                      <a:pt x="520" y="202"/>
                    </a:moveTo>
                    <a:lnTo>
                      <a:pt x="520" y="204"/>
                    </a:lnTo>
                    <a:lnTo>
                      <a:pt x="520" y="202"/>
                    </a:lnTo>
                    <a:close/>
                    <a:moveTo>
                      <a:pt x="554" y="470"/>
                    </a:moveTo>
                    <a:lnTo>
                      <a:pt x="554" y="471"/>
                    </a:lnTo>
                    <a:lnTo>
                      <a:pt x="554" y="470"/>
                    </a:lnTo>
                    <a:close/>
                    <a:moveTo>
                      <a:pt x="517" y="223"/>
                    </a:moveTo>
                    <a:lnTo>
                      <a:pt x="519" y="223"/>
                    </a:lnTo>
                    <a:lnTo>
                      <a:pt x="517" y="223"/>
                    </a:lnTo>
                    <a:close/>
                    <a:moveTo>
                      <a:pt x="556" y="471"/>
                    </a:moveTo>
                    <a:lnTo>
                      <a:pt x="556" y="473"/>
                    </a:lnTo>
                    <a:lnTo>
                      <a:pt x="556" y="471"/>
                    </a:lnTo>
                    <a:close/>
                    <a:moveTo>
                      <a:pt x="526" y="354"/>
                    </a:moveTo>
                    <a:lnTo>
                      <a:pt x="526" y="356"/>
                    </a:lnTo>
                    <a:lnTo>
                      <a:pt x="526" y="354"/>
                    </a:lnTo>
                    <a:close/>
                    <a:moveTo>
                      <a:pt x="519" y="209"/>
                    </a:moveTo>
                    <a:lnTo>
                      <a:pt x="519" y="211"/>
                    </a:lnTo>
                    <a:lnTo>
                      <a:pt x="519" y="209"/>
                    </a:lnTo>
                    <a:close/>
                    <a:moveTo>
                      <a:pt x="503" y="276"/>
                    </a:moveTo>
                    <a:lnTo>
                      <a:pt x="503" y="277"/>
                    </a:lnTo>
                    <a:lnTo>
                      <a:pt x="503" y="276"/>
                    </a:lnTo>
                    <a:close/>
                    <a:moveTo>
                      <a:pt x="507" y="400"/>
                    </a:moveTo>
                    <a:lnTo>
                      <a:pt x="509" y="400"/>
                    </a:lnTo>
                    <a:lnTo>
                      <a:pt x="509" y="401"/>
                    </a:lnTo>
                    <a:lnTo>
                      <a:pt x="507" y="401"/>
                    </a:lnTo>
                    <a:lnTo>
                      <a:pt x="507" y="400"/>
                    </a:lnTo>
                    <a:close/>
                    <a:moveTo>
                      <a:pt x="527" y="352"/>
                    </a:moveTo>
                    <a:lnTo>
                      <a:pt x="529" y="352"/>
                    </a:lnTo>
                    <a:lnTo>
                      <a:pt x="529" y="354"/>
                    </a:lnTo>
                    <a:lnTo>
                      <a:pt x="527" y="354"/>
                    </a:lnTo>
                    <a:lnTo>
                      <a:pt x="527" y="352"/>
                    </a:lnTo>
                    <a:close/>
                    <a:moveTo>
                      <a:pt x="509" y="400"/>
                    </a:moveTo>
                    <a:lnTo>
                      <a:pt x="509" y="401"/>
                    </a:lnTo>
                    <a:lnTo>
                      <a:pt x="509" y="400"/>
                    </a:lnTo>
                    <a:close/>
                    <a:moveTo>
                      <a:pt x="500" y="289"/>
                    </a:moveTo>
                    <a:lnTo>
                      <a:pt x="500" y="291"/>
                    </a:lnTo>
                    <a:lnTo>
                      <a:pt x="500" y="289"/>
                    </a:lnTo>
                    <a:close/>
                    <a:moveTo>
                      <a:pt x="512" y="352"/>
                    </a:moveTo>
                    <a:lnTo>
                      <a:pt x="514" y="352"/>
                    </a:lnTo>
                    <a:lnTo>
                      <a:pt x="514" y="354"/>
                    </a:lnTo>
                    <a:lnTo>
                      <a:pt x="512" y="354"/>
                    </a:lnTo>
                    <a:lnTo>
                      <a:pt x="512" y="352"/>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Freeform 60">
                <a:extLst>
                  <a:ext uri="{FF2B5EF4-FFF2-40B4-BE49-F238E27FC236}">
                    <a16:creationId xmlns:a16="http://schemas.microsoft.com/office/drawing/2014/main" id="{720A40C1-4705-4520-9CCC-CF2C4CD0431E}"/>
                  </a:ext>
                </a:extLst>
              </p:cNvPr>
              <p:cNvSpPr>
                <a:spLocks/>
              </p:cNvSpPr>
              <p:nvPr/>
            </p:nvSpPr>
            <p:spPr bwMode="gray">
              <a:xfrm>
                <a:off x="2383104" y="7717327"/>
                <a:ext cx="188016" cy="196840"/>
              </a:xfrm>
              <a:custGeom>
                <a:avLst/>
                <a:gdLst>
                  <a:gd name="T0" fmla="*/ 168 w 277"/>
                  <a:gd name="T1" fmla="*/ 266 h 290"/>
                  <a:gd name="T2" fmla="*/ 86 w 277"/>
                  <a:gd name="T3" fmla="*/ 266 h 290"/>
                  <a:gd name="T4" fmla="*/ 54 w 277"/>
                  <a:gd name="T5" fmla="*/ 269 h 290"/>
                  <a:gd name="T6" fmla="*/ 44 w 277"/>
                  <a:gd name="T7" fmla="*/ 267 h 290"/>
                  <a:gd name="T8" fmla="*/ 37 w 277"/>
                  <a:gd name="T9" fmla="*/ 273 h 290"/>
                  <a:gd name="T10" fmla="*/ 30 w 277"/>
                  <a:gd name="T11" fmla="*/ 283 h 290"/>
                  <a:gd name="T12" fmla="*/ 24 w 277"/>
                  <a:gd name="T13" fmla="*/ 286 h 290"/>
                  <a:gd name="T14" fmla="*/ 15 w 277"/>
                  <a:gd name="T15" fmla="*/ 284 h 290"/>
                  <a:gd name="T16" fmla="*/ 12 w 277"/>
                  <a:gd name="T17" fmla="*/ 284 h 290"/>
                  <a:gd name="T18" fmla="*/ 0 w 277"/>
                  <a:gd name="T19" fmla="*/ 279 h 290"/>
                  <a:gd name="T20" fmla="*/ 0 w 277"/>
                  <a:gd name="T21" fmla="*/ 269 h 290"/>
                  <a:gd name="T22" fmla="*/ 1 w 277"/>
                  <a:gd name="T23" fmla="*/ 261 h 290"/>
                  <a:gd name="T24" fmla="*/ 3 w 277"/>
                  <a:gd name="T25" fmla="*/ 250 h 290"/>
                  <a:gd name="T26" fmla="*/ 1 w 277"/>
                  <a:gd name="T27" fmla="*/ 230 h 290"/>
                  <a:gd name="T28" fmla="*/ 8 w 277"/>
                  <a:gd name="T29" fmla="*/ 218 h 290"/>
                  <a:gd name="T30" fmla="*/ 10 w 277"/>
                  <a:gd name="T31" fmla="*/ 208 h 290"/>
                  <a:gd name="T32" fmla="*/ 15 w 277"/>
                  <a:gd name="T33" fmla="*/ 198 h 290"/>
                  <a:gd name="T34" fmla="*/ 18 w 277"/>
                  <a:gd name="T35" fmla="*/ 184 h 290"/>
                  <a:gd name="T36" fmla="*/ 20 w 277"/>
                  <a:gd name="T37" fmla="*/ 174 h 290"/>
                  <a:gd name="T38" fmla="*/ 27 w 277"/>
                  <a:gd name="T39" fmla="*/ 169 h 290"/>
                  <a:gd name="T40" fmla="*/ 32 w 277"/>
                  <a:gd name="T41" fmla="*/ 165 h 290"/>
                  <a:gd name="T42" fmla="*/ 34 w 277"/>
                  <a:gd name="T43" fmla="*/ 162 h 290"/>
                  <a:gd name="T44" fmla="*/ 37 w 277"/>
                  <a:gd name="T45" fmla="*/ 157 h 290"/>
                  <a:gd name="T46" fmla="*/ 47 w 277"/>
                  <a:gd name="T47" fmla="*/ 148 h 290"/>
                  <a:gd name="T48" fmla="*/ 85 w 277"/>
                  <a:gd name="T49" fmla="*/ 116 h 290"/>
                  <a:gd name="T50" fmla="*/ 78 w 277"/>
                  <a:gd name="T51" fmla="*/ 97 h 290"/>
                  <a:gd name="T52" fmla="*/ 69 w 277"/>
                  <a:gd name="T53" fmla="*/ 94 h 290"/>
                  <a:gd name="T54" fmla="*/ 64 w 277"/>
                  <a:gd name="T55" fmla="*/ 91 h 290"/>
                  <a:gd name="T56" fmla="*/ 61 w 277"/>
                  <a:gd name="T57" fmla="*/ 84 h 290"/>
                  <a:gd name="T58" fmla="*/ 68 w 277"/>
                  <a:gd name="T59" fmla="*/ 67 h 290"/>
                  <a:gd name="T60" fmla="*/ 63 w 277"/>
                  <a:gd name="T61" fmla="*/ 50 h 290"/>
                  <a:gd name="T62" fmla="*/ 69 w 277"/>
                  <a:gd name="T63" fmla="*/ 41 h 290"/>
                  <a:gd name="T64" fmla="*/ 66 w 277"/>
                  <a:gd name="T65" fmla="*/ 34 h 290"/>
                  <a:gd name="T66" fmla="*/ 76 w 277"/>
                  <a:gd name="T67" fmla="*/ 26 h 290"/>
                  <a:gd name="T68" fmla="*/ 98 w 277"/>
                  <a:gd name="T69" fmla="*/ 29 h 290"/>
                  <a:gd name="T70" fmla="*/ 114 w 277"/>
                  <a:gd name="T71" fmla="*/ 22 h 290"/>
                  <a:gd name="T72" fmla="*/ 120 w 277"/>
                  <a:gd name="T73" fmla="*/ 33 h 290"/>
                  <a:gd name="T74" fmla="*/ 134 w 277"/>
                  <a:gd name="T75" fmla="*/ 34 h 290"/>
                  <a:gd name="T76" fmla="*/ 170 w 277"/>
                  <a:gd name="T77" fmla="*/ 21 h 290"/>
                  <a:gd name="T78" fmla="*/ 216 w 277"/>
                  <a:gd name="T79" fmla="*/ 9 h 290"/>
                  <a:gd name="T80" fmla="*/ 226 w 277"/>
                  <a:gd name="T81" fmla="*/ 5 h 290"/>
                  <a:gd name="T82" fmla="*/ 231 w 277"/>
                  <a:gd name="T83" fmla="*/ 14 h 290"/>
                  <a:gd name="T84" fmla="*/ 236 w 277"/>
                  <a:gd name="T85" fmla="*/ 21 h 290"/>
                  <a:gd name="T86" fmla="*/ 233 w 277"/>
                  <a:gd name="T87" fmla="*/ 22 h 290"/>
                  <a:gd name="T88" fmla="*/ 239 w 277"/>
                  <a:gd name="T89" fmla="*/ 28 h 290"/>
                  <a:gd name="T90" fmla="*/ 248 w 277"/>
                  <a:gd name="T91" fmla="*/ 29 h 290"/>
                  <a:gd name="T92" fmla="*/ 245 w 277"/>
                  <a:gd name="T93" fmla="*/ 39 h 290"/>
                  <a:gd name="T94" fmla="*/ 250 w 277"/>
                  <a:gd name="T95" fmla="*/ 55 h 290"/>
                  <a:gd name="T96" fmla="*/ 256 w 277"/>
                  <a:gd name="T97" fmla="*/ 67 h 290"/>
                  <a:gd name="T98" fmla="*/ 263 w 277"/>
                  <a:gd name="T99" fmla="*/ 75 h 290"/>
                  <a:gd name="T100" fmla="*/ 270 w 277"/>
                  <a:gd name="T101" fmla="*/ 87 h 290"/>
                  <a:gd name="T102" fmla="*/ 273 w 277"/>
                  <a:gd name="T103" fmla="*/ 114 h 290"/>
                  <a:gd name="T104" fmla="*/ 273 w 277"/>
                  <a:gd name="T105" fmla="*/ 131 h 290"/>
                  <a:gd name="T106" fmla="*/ 268 w 277"/>
                  <a:gd name="T107" fmla="*/ 142 h 290"/>
                  <a:gd name="T108" fmla="*/ 267 w 277"/>
                  <a:gd name="T109" fmla="*/ 150 h 290"/>
                  <a:gd name="T110" fmla="*/ 258 w 277"/>
                  <a:gd name="T111" fmla="*/ 155 h 290"/>
                  <a:gd name="T112" fmla="*/ 250 w 277"/>
                  <a:gd name="T113" fmla="*/ 160 h 290"/>
                  <a:gd name="T114" fmla="*/ 245 w 277"/>
                  <a:gd name="T115" fmla="*/ 172 h 290"/>
                  <a:gd name="T116" fmla="*/ 239 w 277"/>
                  <a:gd name="T117" fmla="*/ 181 h 290"/>
                  <a:gd name="T118" fmla="*/ 231 w 277"/>
                  <a:gd name="T119" fmla="*/ 186 h 290"/>
                  <a:gd name="T120" fmla="*/ 229 w 277"/>
                  <a:gd name="T121" fmla="*/ 196 h 290"/>
                  <a:gd name="T122" fmla="*/ 221 w 277"/>
                  <a:gd name="T123" fmla="*/ 210 h 290"/>
                  <a:gd name="T124" fmla="*/ 221 w 277"/>
                  <a:gd name="T125" fmla="*/ 2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21" y="266"/>
                    </a:moveTo>
                    <a:lnTo>
                      <a:pt x="207" y="266"/>
                    </a:lnTo>
                    <a:lnTo>
                      <a:pt x="200" y="266"/>
                    </a:lnTo>
                    <a:lnTo>
                      <a:pt x="168" y="266"/>
                    </a:lnTo>
                    <a:lnTo>
                      <a:pt x="161" y="266"/>
                    </a:lnTo>
                    <a:lnTo>
                      <a:pt x="124" y="266"/>
                    </a:lnTo>
                    <a:lnTo>
                      <a:pt x="107" y="266"/>
                    </a:lnTo>
                    <a:lnTo>
                      <a:pt x="86" y="266"/>
                    </a:lnTo>
                    <a:lnTo>
                      <a:pt x="63" y="266"/>
                    </a:lnTo>
                    <a:lnTo>
                      <a:pt x="61" y="264"/>
                    </a:lnTo>
                    <a:lnTo>
                      <a:pt x="58" y="266"/>
                    </a:lnTo>
                    <a:lnTo>
                      <a:pt x="54" y="269"/>
                    </a:lnTo>
                    <a:lnTo>
                      <a:pt x="52" y="269"/>
                    </a:lnTo>
                    <a:lnTo>
                      <a:pt x="49" y="269"/>
                    </a:lnTo>
                    <a:lnTo>
                      <a:pt x="46" y="267"/>
                    </a:lnTo>
                    <a:lnTo>
                      <a:pt x="44" y="267"/>
                    </a:lnTo>
                    <a:lnTo>
                      <a:pt x="44" y="269"/>
                    </a:lnTo>
                    <a:lnTo>
                      <a:pt x="41" y="269"/>
                    </a:lnTo>
                    <a:lnTo>
                      <a:pt x="39" y="271"/>
                    </a:lnTo>
                    <a:lnTo>
                      <a:pt x="37" y="273"/>
                    </a:lnTo>
                    <a:lnTo>
                      <a:pt x="35" y="276"/>
                    </a:lnTo>
                    <a:lnTo>
                      <a:pt x="32" y="279"/>
                    </a:lnTo>
                    <a:lnTo>
                      <a:pt x="30" y="279"/>
                    </a:lnTo>
                    <a:lnTo>
                      <a:pt x="30" y="283"/>
                    </a:lnTo>
                    <a:lnTo>
                      <a:pt x="29" y="284"/>
                    </a:lnTo>
                    <a:lnTo>
                      <a:pt x="25" y="284"/>
                    </a:lnTo>
                    <a:lnTo>
                      <a:pt x="25" y="288"/>
                    </a:lnTo>
                    <a:lnTo>
                      <a:pt x="24" y="286"/>
                    </a:lnTo>
                    <a:lnTo>
                      <a:pt x="22" y="288"/>
                    </a:lnTo>
                    <a:lnTo>
                      <a:pt x="18" y="290"/>
                    </a:lnTo>
                    <a:lnTo>
                      <a:pt x="17" y="288"/>
                    </a:lnTo>
                    <a:lnTo>
                      <a:pt x="15" y="284"/>
                    </a:lnTo>
                    <a:lnTo>
                      <a:pt x="15" y="283"/>
                    </a:lnTo>
                    <a:lnTo>
                      <a:pt x="13" y="281"/>
                    </a:lnTo>
                    <a:lnTo>
                      <a:pt x="13" y="283"/>
                    </a:lnTo>
                    <a:lnTo>
                      <a:pt x="12" y="284"/>
                    </a:lnTo>
                    <a:lnTo>
                      <a:pt x="8" y="283"/>
                    </a:lnTo>
                    <a:lnTo>
                      <a:pt x="5" y="284"/>
                    </a:lnTo>
                    <a:lnTo>
                      <a:pt x="1" y="284"/>
                    </a:lnTo>
                    <a:lnTo>
                      <a:pt x="0" y="279"/>
                    </a:lnTo>
                    <a:lnTo>
                      <a:pt x="1" y="278"/>
                    </a:lnTo>
                    <a:lnTo>
                      <a:pt x="0" y="274"/>
                    </a:lnTo>
                    <a:lnTo>
                      <a:pt x="0" y="271"/>
                    </a:lnTo>
                    <a:lnTo>
                      <a:pt x="0" y="269"/>
                    </a:lnTo>
                    <a:lnTo>
                      <a:pt x="0" y="266"/>
                    </a:lnTo>
                    <a:lnTo>
                      <a:pt x="1" y="264"/>
                    </a:lnTo>
                    <a:lnTo>
                      <a:pt x="0" y="261"/>
                    </a:lnTo>
                    <a:lnTo>
                      <a:pt x="1" y="261"/>
                    </a:lnTo>
                    <a:lnTo>
                      <a:pt x="3" y="261"/>
                    </a:lnTo>
                    <a:lnTo>
                      <a:pt x="3" y="259"/>
                    </a:lnTo>
                    <a:lnTo>
                      <a:pt x="3" y="257"/>
                    </a:lnTo>
                    <a:lnTo>
                      <a:pt x="3" y="250"/>
                    </a:lnTo>
                    <a:lnTo>
                      <a:pt x="5" y="247"/>
                    </a:lnTo>
                    <a:lnTo>
                      <a:pt x="5" y="242"/>
                    </a:lnTo>
                    <a:lnTo>
                      <a:pt x="7" y="237"/>
                    </a:lnTo>
                    <a:lnTo>
                      <a:pt x="1" y="230"/>
                    </a:lnTo>
                    <a:lnTo>
                      <a:pt x="7" y="225"/>
                    </a:lnTo>
                    <a:lnTo>
                      <a:pt x="8" y="223"/>
                    </a:lnTo>
                    <a:lnTo>
                      <a:pt x="8" y="222"/>
                    </a:lnTo>
                    <a:lnTo>
                      <a:pt x="8" y="218"/>
                    </a:lnTo>
                    <a:lnTo>
                      <a:pt x="8" y="216"/>
                    </a:lnTo>
                    <a:lnTo>
                      <a:pt x="8" y="215"/>
                    </a:lnTo>
                    <a:lnTo>
                      <a:pt x="8" y="211"/>
                    </a:lnTo>
                    <a:lnTo>
                      <a:pt x="10" y="208"/>
                    </a:lnTo>
                    <a:lnTo>
                      <a:pt x="13" y="206"/>
                    </a:lnTo>
                    <a:lnTo>
                      <a:pt x="13" y="203"/>
                    </a:lnTo>
                    <a:lnTo>
                      <a:pt x="15" y="199"/>
                    </a:lnTo>
                    <a:lnTo>
                      <a:pt x="15" y="198"/>
                    </a:lnTo>
                    <a:lnTo>
                      <a:pt x="18" y="196"/>
                    </a:lnTo>
                    <a:lnTo>
                      <a:pt x="20" y="193"/>
                    </a:lnTo>
                    <a:lnTo>
                      <a:pt x="18" y="189"/>
                    </a:lnTo>
                    <a:lnTo>
                      <a:pt x="18" y="184"/>
                    </a:lnTo>
                    <a:lnTo>
                      <a:pt x="17" y="182"/>
                    </a:lnTo>
                    <a:lnTo>
                      <a:pt x="18" y="179"/>
                    </a:lnTo>
                    <a:lnTo>
                      <a:pt x="18" y="177"/>
                    </a:lnTo>
                    <a:lnTo>
                      <a:pt x="20" y="174"/>
                    </a:lnTo>
                    <a:lnTo>
                      <a:pt x="18" y="174"/>
                    </a:lnTo>
                    <a:lnTo>
                      <a:pt x="20" y="174"/>
                    </a:lnTo>
                    <a:lnTo>
                      <a:pt x="20" y="172"/>
                    </a:lnTo>
                    <a:lnTo>
                      <a:pt x="27" y="169"/>
                    </a:lnTo>
                    <a:lnTo>
                      <a:pt x="30" y="170"/>
                    </a:lnTo>
                    <a:lnTo>
                      <a:pt x="30" y="169"/>
                    </a:lnTo>
                    <a:lnTo>
                      <a:pt x="30" y="167"/>
                    </a:lnTo>
                    <a:lnTo>
                      <a:pt x="32" y="165"/>
                    </a:lnTo>
                    <a:lnTo>
                      <a:pt x="34" y="165"/>
                    </a:lnTo>
                    <a:lnTo>
                      <a:pt x="32" y="165"/>
                    </a:lnTo>
                    <a:lnTo>
                      <a:pt x="34" y="164"/>
                    </a:lnTo>
                    <a:lnTo>
                      <a:pt x="34" y="162"/>
                    </a:lnTo>
                    <a:lnTo>
                      <a:pt x="34" y="159"/>
                    </a:lnTo>
                    <a:lnTo>
                      <a:pt x="34" y="157"/>
                    </a:lnTo>
                    <a:lnTo>
                      <a:pt x="37" y="155"/>
                    </a:lnTo>
                    <a:lnTo>
                      <a:pt x="37" y="157"/>
                    </a:lnTo>
                    <a:lnTo>
                      <a:pt x="39" y="157"/>
                    </a:lnTo>
                    <a:lnTo>
                      <a:pt x="41" y="153"/>
                    </a:lnTo>
                    <a:lnTo>
                      <a:pt x="44" y="152"/>
                    </a:lnTo>
                    <a:lnTo>
                      <a:pt x="47" y="148"/>
                    </a:lnTo>
                    <a:lnTo>
                      <a:pt x="52" y="147"/>
                    </a:lnTo>
                    <a:lnTo>
                      <a:pt x="59" y="138"/>
                    </a:lnTo>
                    <a:lnTo>
                      <a:pt x="75" y="125"/>
                    </a:lnTo>
                    <a:lnTo>
                      <a:pt x="85" y="116"/>
                    </a:lnTo>
                    <a:lnTo>
                      <a:pt x="90" y="106"/>
                    </a:lnTo>
                    <a:lnTo>
                      <a:pt x="86" y="102"/>
                    </a:lnTo>
                    <a:lnTo>
                      <a:pt x="85" y="99"/>
                    </a:lnTo>
                    <a:lnTo>
                      <a:pt x="78" y="97"/>
                    </a:lnTo>
                    <a:lnTo>
                      <a:pt x="76" y="96"/>
                    </a:lnTo>
                    <a:lnTo>
                      <a:pt x="75" y="92"/>
                    </a:lnTo>
                    <a:lnTo>
                      <a:pt x="71" y="92"/>
                    </a:lnTo>
                    <a:lnTo>
                      <a:pt x="69" y="94"/>
                    </a:lnTo>
                    <a:lnTo>
                      <a:pt x="68" y="96"/>
                    </a:lnTo>
                    <a:lnTo>
                      <a:pt x="66" y="94"/>
                    </a:lnTo>
                    <a:lnTo>
                      <a:pt x="66" y="92"/>
                    </a:lnTo>
                    <a:lnTo>
                      <a:pt x="64" y="91"/>
                    </a:lnTo>
                    <a:lnTo>
                      <a:pt x="59" y="91"/>
                    </a:lnTo>
                    <a:lnTo>
                      <a:pt x="59" y="89"/>
                    </a:lnTo>
                    <a:lnTo>
                      <a:pt x="61" y="87"/>
                    </a:lnTo>
                    <a:lnTo>
                      <a:pt x="61" y="84"/>
                    </a:lnTo>
                    <a:lnTo>
                      <a:pt x="63" y="80"/>
                    </a:lnTo>
                    <a:lnTo>
                      <a:pt x="63" y="79"/>
                    </a:lnTo>
                    <a:lnTo>
                      <a:pt x="68" y="70"/>
                    </a:lnTo>
                    <a:lnTo>
                      <a:pt x="68" y="67"/>
                    </a:lnTo>
                    <a:lnTo>
                      <a:pt x="66" y="65"/>
                    </a:lnTo>
                    <a:lnTo>
                      <a:pt x="61" y="60"/>
                    </a:lnTo>
                    <a:lnTo>
                      <a:pt x="64" y="51"/>
                    </a:lnTo>
                    <a:lnTo>
                      <a:pt x="63" y="50"/>
                    </a:lnTo>
                    <a:lnTo>
                      <a:pt x="64" y="48"/>
                    </a:lnTo>
                    <a:lnTo>
                      <a:pt x="66" y="48"/>
                    </a:lnTo>
                    <a:lnTo>
                      <a:pt x="68" y="45"/>
                    </a:lnTo>
                    <a:lnTo>
                      <a:pt x="69" y="41"/>
                    </a:lnTo>
                    <a:lnTo>
                      <a:pt x="69" y="38"/>
                    </a:lnTo>
                    <a:lnTo>
                      <a:pt x="68" y="36"/>
                    </a:lnTo>
                    <a:lnTo>
                      <a:pt x="66" y="38"/>
                    </a:lnTo>
                    <a:lnTo>
                      <a:pt x="66" y="34"/>
                    </a:lnTo>
                    <a:lnTo>
                      <a:pt x="71" y="28"/>
                    </a:lnTo>
                    <a:lnTo>
                      <a:pt x="73" y="26"/>
                    </a:lnTo>
                    <a:lnTo>
                      <a:pt x="75" y="28"/>
                    </a:lnTo>
                    <a:lnTo>
                      <a:pt x="76" y="26"/>
                    </a:lnTo>
                    <a:lnTo>
                      <a:pt x="78" y="26"/>
                    </a:lnTo>
                    <a:lnTo>
                      <a:pt x="81" y="22"/>
                    </a:lnTo>
                    <a:lnTo>
                      <a:pt x="88" y="22"/>
                    </a:lnTo>
                    <a:lnTo>
                      <a:pt x="98" y="29"/>
                    </a:lnTo>
                    <a:lnTo>
                      <a:pt x="98" y="31"/>
                    </a:lnTo>
                    <a:lnTo>
                      <a:pt x="102" y="28"/>
                    </a:lnTo>
                    <a:lnTo>
                      <a:pt x="109" y="26"/>
                    </a:lnTo>
                    <a:lnTo>
                      <a:pt x="114" y="22"/>
                    </a:lnTo>
                    <a:lnTo>
                      <a:pt x="114" y="21"/>
                    </a:lnTo>
                    <a:lnTo>
                      <a:pt x="117" y="22"/>
                    </a:lnTo>
                    <a:lnTo>
                      <a:pt x="120" y="29"/>
                    </a:lnTo>
                    <a:lnTo>
                      <a:pt x="120" y="33"/>
                    </a:lnTo>
                    <a:lnTo>
                      <a:pt x="126" y="33"/>
                    </a:lnTo>
                    <a:lnTo>
                      <a:pt x="127" y="36"/>
                    </a:lnTo>
                    <a:lnTo>
                      <a:pt x="134" y="38"/>
                    </a:lnTo>
                    <a:lnTo>
                      <a:pt x="134" y="34"/>
                    </a:lnTo>
                    <a:lnTo>
                      <a:pt x="134" y="33"/>
                    </a:lnTo>
                    <a:lnTo>
                      <a:pt x="144" y="26"/>
                    </a:lnTo>
                    <a:lnTo>
                      <a:pt x="160" y="24"/>
                    </a:lnTo>
                    <a:lnTo>
                      <a:pt x="170" y="21"/>
                    </a:lnTo>
                    <a:lnTo>
                      <a:pt x="175" y="17"/>
                    </a:lnTo>
                    <a:lnTo>
                      <a:pt x="183" y="22"/>
                    </a:lnTo>
                    <a:lnTo>
                      <a:pt x="200" y="24"/>
                    </a:lnTo>
                    <a:lnTo>
                      <a:pt x="216" y="9"/>
                    </a:lnTo>
                    <a:lnTo>
                      <a:pt x="224" y="0"/>
                    </a:lnTo>
                    <a:lnTo>
                      <a:pt x="226" y="2"/>
                    </a:lnTo>
                    <a:lnTo>
                      <a:pt x="228" y="5"/>
                    </a:lnTo>
                    <a:lnTo>
                      <a:pt x="226" y="5"/>
                    </a:lnTo>
                    <a:lnTo>
                      <a:pt x="229" y="9"/>
                    </a:lnTo>
                    <a:lnTo>
                      <a:pt x="229" y="11"/>
                    </a:lnTo>
                    <a:lnTo>
                      <a:pt x="228" y="11"/>
                    </a:lnTo>
                    <a:lnTo>
                      <a:pt x="231" y="14"/>
                    </a:lnTo>
                    <a:lnTo>
                      <a:pt x="229" y="17"/>
                    </a:lnTo>
                    <a:lnTo>
                      <a:pt x="229" y="19"/>
                    </a:lnTo>
                    <a:lnTo>
                      <a:pt x="234" y="17"/>
                    </a:lnTo>
                    <a:lnTo>
                      <a:pt x="236" y="21"/>
                    </a:lnTo>
                    <a:lnTo>
                      <a:pt x="233" y="21"/>
                    </a:lnTo>
                    <a:lnTo>
                      <a:pt x="233" y="22"/>
                    </a:lnTo>
                    <a:lnTo>
                      <a:pt x="234" y="22"/>
                    </a:lnTo>
                    <a:lnTo>
                      <a:pt x="233" y="22"/>
                    </a:lnTo>
                    <a:lnTo>
                      <a:pt x="233" y="24"/>
                    </a:lnTo>
                    <a:lnTo>
                      <a:pt x="236" y="22"/>
                    </a:lnTo>
                    <a:lnTo>
                      <a:pt x="239" y="26"/>
                    </a:lnTo>
                    <a:lnTo>
                      <a:pt x="239" y="28"/>
                    </a:lnTo>
                    <a:lnTo>
                      <a:pt x="241" y="26"/>
                    </a:lnTo>
                    <a:lnTo>
                      <a:pt x="243" y="26"/>
                    </a:lnTo>
                    <a:lnTo>
                      <a:pt x="245" y="28"/>
                    </a:lnTo>
                    <a:lnTo>
                      <a:pt x="248" y="29"/>
                    </a:lnTo>
                    <a:lnTo>
                      <a:pt x="246" y="36"/>
                    </a:lnTo>
                    <a:lnTo>
                      <a:pt x="246" y="38"/>
                    </a:lnTo>
                    <a:lnTo>
                      <a:pt x="245" y="38"/>
                    </a:lnTo>
                    <a:lnTo>
                      <a:pt x="245" y="39"/>
                    </a:lnTo>
                    <a:lnTo>
                      <a:pt x="245" y="43"/>
                    </a:lnTo>
                    <a:lnTo>
                      <a:pt x="246" y="48"/>
                    </a:lnTo>
                    <a:lnTo>
                      <a:pt x="248" y="53"/>
                    </a:lnTo>
                    <a:lnTo>
                      <a:pt x="250" y="55"/>
                    </a:lnTo>
                    <a:lnTo>
                      <a:pt x="251" y="55"/>
                    </a:lnTo>
                    <a:lnTo>
                      <a:pt x="253" y="58"/>
                    </a:lnTo>
                    <a:lnTo>
                      <a:pt x="255" y="67"/>
                    </a:lnTo>
                    <a:lnTo>
                      <a:pt x="256" y="67"/>
                    </a:lnTo>
                    <a:lnTo>
                      <a:pt x="258" y="70"/>
                    </a:lnTo>
                    <a:lnTo>
                      <a:pt x="260" y="68"/>
                    </a:lnTo>
                    <a:lnTo>
                      <a:pt x="263" y="72"/>
                    </a:lnTo>
                    <a:lnTo>
                      <a:pt x="263" y="75"/>
                    </a:lnTo>
                    <a:lnTo>
                      <a:pt x="263" y="79"/>
                    </a:lnTo>
                    <a:lnTo>
                      <a:pt x="268" y="84"/>
                    </a:lnTo>
                    <a:lnTo>
                      <a:pt x="270" y="84"/>
                    </a:lnTo>
                    <a:lnTo>
                      <a:pt x="270" y="87"/>
                    </a:lnTo>
                    <a:lnTo>
                      <a:pt x="272" y="87"/>
                    </a:lnTo>
                    <a:lnTo>
                      <a:pt x="273" y="91"/>
                    </a:lnTo>
                    <a:lnTo>
                      <a:pt x="270" y="92"/>
                    </a:lnTo>
                    <a:lnTo>
                      <a:pt x="273" y="114"/>
                    </a:lnTo>
                    <a:lnTo>
                      <a:pt x="277" y="118"/>
                    </a:lnTo>
                    <a:lnTo>
                      <a:pt x="275" y="123"/>
                    </a:lnTo>
                    <a:lnTo>
                      <a:pt x="275" y="131"/>
                    </a:lnTo>
                    <a:lnTo>
                      <a:pt x="273" y="131"/>
                    </a:lnTo>
                    <a:lnTo>
                      <a:pt x="272" y="135"/>
                    </a:lnTo>
                    <a:lnTo>
                      <a:pt x="270" y="136"/>
                    </a:lnTo>
                    <a:lnTo>
                      <a:pt x="268" y="138"/>
                    </a:lnTo>
                    <a:lnTo>
                      <a:pt x="268" y="142"/>
                    </a:lnTo>
                    <a:lnTo>
                      <a:pt x="265" y="143"/>
                    </a:lnTo>
                    <a:lnTo>
                      <a:pt x="265" y="145"/>
                    </a:lnTo>
                    <a:lnTo>
                      <a:pt x="267" y="148"/>
                    </a:lnTo>
                    <a:lnTo>
                      <a:pt x="267" y="150"/>
                    </a:lnTo>
                    <a:lnTo>
                      <a:pt x="265" y="152"/>
                    </a:lnTo>
                    <a:lnTo>
                      <a:pt x="265" y="153"/>
                    </a:lnTo>
                    <a:lnTo>
                      <a:pt x="258" y="153"/>
                    </a:lnTo>
                    <a:lnTo>
                      <a:pt x="258" y="155"/>
                    </a:lnTo>
                    <a:lnTo>
                      <a:pt x="255" y="157"/>
                    </a:lnTo>
                    <a:lnTo>
                      <a:pt x="253" y="159"/>
                    </a:lnTo>
                    <a:lnTo>
                      <a:pt x="251" y="159"/>
                    </a:lnTo>
                    <a:lnTo>
                      <a:pt x="250" y="160"/>
                    </a:lnTo>
                    <a:lnTo>
                      <a:pt x="250" y="167"/>
                    </a:lnTo>
                    <a:lnTo>
                      <a:pt x="248" y="169"/>
                    </a:lnTo>
                    <a:lnTo>
                      <a:pt x="246" y="170"/>
                    </a:lnTo>
                    <a:lnTo>
                      <a:pt x="245" y="172"/>
                    </a:lnTo>
                    <a:lnTo>
                      <a:pt x="246" y="174"/>
                    </a:lnTo>
                    <a:lnTo>
                      <a:pt x="241" y="176"/>
                    </a:lnTo>
                    <a:lnTo>
                      <a:pt x="241" y="179"/>
                    </a:lnTo>
                    <a:lnTo>
                      <a:pt x="239" y="181"/>
                    </a:lnTo>
                    <a:lnTo>
                      <a:pt x="239" y="182"/>
                    </a:lnTo>
                    <a:lnTo>
                      <a:pt x="234" y="182"/>
                    </a:lnTo>
                    <a:lnTo>
                      <a:pt x="234" y="184"/>
                    </a:lnTo>
                    <a:lnTo>
                      <a:pt x="231" y="186"/>
                    </a:lnTo>
                    <a:lnTo>
                      <a:pt x="231" y="187"/>
                    </a:lnTo>
                    <a:lnTo>
                      <a:pt x="231" y="191"/>
                    </a:lnTo>
                    <a:lnTo>
                      <a:pt x="229" y="191"/>
                    </a:lnTo>
                    <a:lnTo>
                      <a:pt x="229" y="196"/>
                    </a:lnTo>
                    <a:lnTo>
                      <a:pt x="229" y="198"/>
                    </a:lnTo>
                    <a:lnTo>
                      <a:pt x="228" y="198"/>
                    </a:lnTo>
                    <a:lnTo>
                      <a:pt x="226" y="201"/>
                    </a:lnTo>
                    <a:lnTo>
                      <a:pt x="221" y="210"/>
                    </a:lnTo>
                    <a:lnTo>
                      <a:pt x="224" y="222"/>
                    </a:lnTo>
                    <a:lnTo>
                      <a:pt x="224" y="225"/>
                    </a:lnTo>
                    <a:lnTo>
                      <a:pt x="221" y="239"/>
                    </a:lnTo>
                    <a:lnTo>
                      <a:pt x="221" y="240"/>
                    </a:lnTo>
                    <a:lnTo>
                      <a:pt x="221" y="261"/>
                    </a:lnTo>
                    <a:lnTo>
                      <a:pt x="221" y="266"/>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14" name="TextBox 13">
            <a:extLst>
              <a:ext uri="{FF2B5EF4-FFF2-40B4-BE49-F238E27FC236}">
                <a16:creationId xmlns:a16="http://schemas.microsoft.com/office/drawing/2014/main" id="{C4D4EF93-6A48-400F-98F7-6856C7E683C1}"/>
              </a:ext>
            </a:extLst>
          </p:cNvPr>
          <p:cNvSpPr txBox="1">
            <a:spLocks/>
          </p:cNvSpPr>
          <p:nvPr/>
        </p:nvSpPr>
        <p:spPr>
          <a:xfrm>
            <a:off x="4806962" y="1721829"/>
            <a:ext cx="1266700" cy="19585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égion de l'Est</a:t>
            </a:r>
          </a:p>
        </p:txBody>
      </p:sp>
      <p:grpSp>
        <p:nvGrpSpPr>
          <p:cNvPr id="29" name="Group 28">
            <a:extLst>
              <a:ext uri="{FF2B5EF4-FFF2-40B4-BE49-F238E27FC236}">
                <a16:creationId xmlns:a16="http://schemas.microsoft.com/office/drawing/2014/main" id="{F725EA10-8B5C-49CA-8CA6-D4CD9C5990A1}"/>
              </a:ext>
            </a:extLst>
          </p:cNvPr>
          <p:cNvGrpSpPr/>
          <p:nvPr/>
        </p:nvGrpSpPr>
        <p:grpSpPr>
          <a:xfrm>
            <a:off x="8473808" y="1243142"/>
            <a:ext cx="467523" cy="467523"/>
            <a:chOff x="8443998" y="1144593"/>
            <a:chExt cx="914401" cy="914400"/>
          </a:xfrm>
          <a:solidFill>
            <a:schemeClr val="accent1"/>
          </a:solidFill>
        </p:grpSpPr>
        <p:sp>
          <p:nvSpPr>
            <p:cNvPr id="31" name="Oval 30">
              <a:extLst>
                <a:ext uri="{FF2B5EF4-FFF2-40B4-BE49-F238E27FC236}">
                  <a16:creationId xmlns:a16="http://schemas.microsoft.com/office/drawing/2014/main" id="{BACDC7DC-A722-4DE7-A739-0A90C77C0B8E}"/>
                </a:ext>
              </a:extLst>
            </p:cNvPr>
            <p:cNvSpPr/>
            <p:nvPr/>
          </p:nvSpPr>
          <p:spPr>
            <a:xfrm rot="5400000">
              <a:off x="8443999" y="1144592"/>
              <a:ext cx="914400" cy="914401"/>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2982BCC2-B487-469E-AD43-ECFB86275A62}"/>
                </a:ext>
              </a:extLst>
            </p:cNvPr>
            <p:cNvGrpSpPr/>
            <p:nvPr/>
          </p:nvGrpSpPr>
          <p:grpSpPr>
            <a:xfrm>
              <a:off x="8482684" y="1353443"/>
              <a:ext cx="801704" cy="496698"/>
              <a:chOff x="4178550" y="2402474"/>
              <a:chExt cx="2103930" cy="1303495"/>
            </a:xfrm>
            <a:grpFill/>
          </p:grpSpPr>
          <p:sp>
            <p:nvSpPr>
              <p:cNvPr id="33" name="Freeform 12">
                <a:extLst>
                  <a:ext uri="{FF2B5EF4-FFF2-40B4-BE49-F238E27FC236}">
                    <a16:creationId xmlns:a16="http://schemas.microsoft.com/office/drawing/2014/main" id="{EF34FB39-7A55-485D-95BB-630398186031}"/>
                  </a:ext>
                </a:extLst>
              </p:cNvPr>
              <p:cNvSpPr>
                <a:spLocks/>
              </p:cNvSpPr>
              <p:nvPr/>
            </p:nvSpPr>
            <p:spPr bwMode="gray">
              <a:xfrm>
                <a:off x="5328402" y="3192997"/>
                <a:ext cx="192054" cy="387827"/>
              </a:xfrm>
              <a:custGeom>
                <a:avLst/>
                <a:gdLst>
                  <a:gd name="T0" fmla="*/ 148 w 155"/>
                  <a:gd name="T1" fmla="*/ 70 h 313"/>
                  <a:gd name="T2" fmla="*/ 155 w 155"/>
                  <a:gd name="T3" fmla="*/ 87 h 313"/>
                  <a:gd name="T4" fmla="*/ 144 w 155"/>
                  <a:gd name="T5" fmla="*/ 101 h 313"/>
                  <a:gd name="T6" fmla="*/ 143 w 155"/>
                  <a:gd name="T7" fmla="*/ 119 h 313"/>
                  <a:gd name="T8" fmla="*/ 129 w 155"/>
                  <a:gd name="T9" fmla="*/ 133 h 313"/>
                  <a:gd name="T10" fmla="*/ 121 w 155"/>
                  <a:gd name="T11" fmla="*/ 148 h 313"/>
                  <a:gd name="T12" fmla="*/ 119 w 155"/>
                  <a:gd name="T13" fmla="*/ 160 h 313"/>
                  <a:gd name="T14" fmla="*/ 107 w 155"/>
                  <a:gd name="T15" fmla="*/ 169 h 313"/>
                  <a:gd name="T16" fmla="*/ 102 w 155"/>
                  <a:gd name="T17" fmla="*/ 172 h 313"/>
                  <a:gd name="T18" fmla="*/ 99 w 155"/>
                  <a:gd name="T19" fmla="*/ 177 h 313"/>
                  <a:gd name="T20" fmla="*/ 100 w 155"/>
                  <a:gd name="T21" fmla="*/ 182 h 313"/>
                  <a:gd name="T22" fmla="*/ 99 w 155"/>
                  <a:gd name="T23" fmla="*/ 191 h 313"/>
                  <a:gd name="T24" fmla="*/ 99 w 155"/>
                  <a:gd name="T25" fmla="*/ 199 h 313"/>
                  <a:gd name="T26" fmla="*/ 97 w 155"/>
                  <a:gd name="T27" fmla="*/ 206 h 313"/>
                  <a:gd name="T28" fmla="*/ 99 w 155"/>
                  <a:gd name="T29" fmla="*/ 216 h 313"/>
                  <a:gd name="T30" fmla="*/ 99 w 155"/>
                  <a:gd name="T31" fmla="*/ 245 h 313"/>
                  <a:gd name="T32" fmla="*/ 99 w 155"/>
                  <a:gd name="T33" fmla="*/ 254 h 313"/>
                  <a:gd name="T34" fmla="*/ 102 w 155"/>
                  <a:gd name="T35" fmla="*/ 272 h 313"/>
                  <a:gd name="T36" fmla="*/ 99 w 155"/>
                  <a:gd name="T37" fmla="*/ 284 h 313"/>
                  <a:gd name="T38" fmla="*/ 99 w 155"/>
                  <a:gd name="T39" fmla="*/ 293 h 313"/>
                  <a:gd name="T40" fmla="*/ 83 w 155"/>
                  <a:gd name="T41" fmla="*/ 308 h 313"/>
                  <a:gd name="T42" fmla="*/ 51 w 155"/>
                  <a:gd name="T43" fmla="*/ 312 h 313"/>
                  <a:gd name="T44" fmla="*/ 49 w 155"/>
                  <a:gd name="T45" fmla="*/ 303 h 313"/>
                  <a:gd name="T46" fmla="*/ 44 w 155"/>
                  <a:gd name="T47" fmla="*/ 296 h 313"/>
                  <a:gd name="T48" fmla="*/ 41 w 155"/>
                  <a:gd name="T49" fmla="*/ 289 h 313"/>
                  <a:gd name="T50" fmla="*/ 41 w 155"/>
                  <a:gd name="T51" fmla="*/ 284 h 313"/>
                  <a:gd name="T52" fmla="*/ 42 w 155"/>
                  <a:gd name="T53" fmla="*/ 254 h 313"/>
                  <a:gd name="T54" fmla="*/ 42 w 155"/>
                  <a:gd name="T55" fmla="*/ 240 h 313"/>
                  <a:gd name="T56" fmla="*/ 44 w 155"/>
                  <a:gd name="T57" fmla="*/ 199 h 313"/>
                  <a:gd name="T58" fmla="*/ 39 w 155"/>
                  <a:gd name="T59" fmla="*/ 165 h 313"/>
                  <a:gd name="T60" fmla="*/ 27 w 155"/>
                  <a:gd name="T61" fmla="*/ 147 h 313"/>
                  <a:gd name="T62" fmla="*/ 0 w 155"/>
                  <a:gd name="T63" fmla="*/ 97 h 313"/>
                  <a:gd name="T64" fmla="*/ 8 w 155"/>
                  <a:gd name="T65" fmla="*/ 70 h 313"/>
                  <a:gd name="T66" fmla="*/ 17 w 155"/>
                  <a:gd name="T67" fmla="*/ 70 h 313"/>
                  <a:gd name="T68" fmla="*/ 17 w 155"/>
                  <a:gd name="T69" fmla="*/ 63 h 313"/>
                  <a:gd name="T70" fmla="*/ 19 w 155"/>
                  <a:gd name="T71" fmla="*/ 58 h 313"/>
                  <a:gd name="T72" fmla="*/ 24 w 155"/>
                  <a:gd name="T73" fmla="*/ 55 h 313"/>
                  <a:gd name="T74" fmla="*/ 29 w 155"/>
                  <a:gd name="T75" fmla="*/ 56 h 313"/>
                  <a:gd name="T76" fmla="*/ 31 w 155"/>
                  <a:gd name="T77" fmla="*/ 51 h 313"/>
                  <a:gd name="T78" fmla="*/ 36 w 155"/>
                  <a:gd name="T79" fmla="*/ 50 h 313"/>
                  <a:gd name="T80" fmla="*/ 41 w 155"/>
                  <a:gd name="T81" fmla="*/ 50 h 313"/>
                  <a:gd name="T82" fmla="*/ 46 w 155"/>
                  <a:gd name="T83" fmla="*/ 51 h 313"/>
                  <a:gd name="T84" fmla="*/ 56 w 155"/>
                  <a:gd name="T85" fmla="*/ 50 h 313"/>
                  <a:gd name="T86" fmla="*/ 78 w 155"/>
                  <a:gd name="T87" fmla="*/ 33 h 313"/>
                  <a:gd name="T88" fmla="*/ 82 w 155"/>
                  <a:gd name="T89" fmla="*/ 26 h 313"/>
                  <a:gd name="T90" fmla="*/ 82 w 155"/>
                  <a:gd name="T91" fmla="*/ 16 h 313"/>
                  <a:gd name="T92" fmla="*/ 82 w 155"/>
                  <a:gd name="T93" fmla="*/ 11 h 313"/>
                  <a:gd name="T94" fmla="*/ 87 w 155"/>
                  <a:gd name="T95" fmla="*/ 9 h 313"/>
                  <a:gd name="T96" fmla="*/ 95 w 155"/>
                  <a:gd name="T97" fmla="*/ 7 h 313"/>
                  <a:gd name="T98" fmla="*/ 104 w 155"/>
                  <a:gd name="T99" fmla="*/ 0 h 313"/>
                  <a:gd name="T100" fmla="*/ 119 w 155"/>
                  <a:gd name="T101" fmla="*/ 14 h 313"/>
                  <a:gd name="T102" fmla="*/ 136 w 155"/>
                  <a:gd name="T103" fmla="*/ 29 h 313"/>
                  <a:gd name="T104" fmla="*/ 143 w 155"/>
                  <a:gd name="T105" fmla="*/ 3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313">
                    <a:moveTo>
                      <a:pt x="143" y="36"/>
                    </a:moveTo>
                    <a:lnTo>
                      <a:pt x="136" y="50"/>
                    </a:lnTo>
                    <a:lnTo>
                      <a:pt x="146" y="65"/>
                    </a:lnTo>
                    <a:lnTo>
                      <a:pt x="150" y="67"/>
                    </a:lnTo>
                    <a:lnTo>
                      <a:pt x="148" y="70"/>
                    </a:lnTo>
                    <a:lnTo>
                      <a:pt x="151" y="72"/>
                    </a:lnTo>
                    <a:lnTo>
                      <a:pt x="151" y="75"/>
                    </a:lnTo>
                    <a:lnTo>
                      <a:pt x="150" y="82"/>
                    </a:lnTo>
                    <a:lnTo>
                      <a:pt x="151" y="85"/>
                    </a:lnTo>
                    <a:lnTo>
                      <a:pt x="155" y="87"/>
                    </a:lnTo>
                    <a:lnTo>
                      <a:pt x="155" y="92"/>
                    </a:lnTo>
                    <a:lnTo>
                      <a:pt x="153" y="97"/>
                    </a:lnTo>
                    <a:lnTo>
                      <a:pt x="151" y="102"/>
                    </a:lnTo>
                    <a:lnTo>
                      <a:pt x="146" y="99"/>
                    </a:lnTo>
                    <a:lnTo>
                      <a:pt x="144" y="101"/>
                    </a:lnTo>
                    <a:lnTo>
                      <a:pt x="141" y="109"/>
                    </a:lnTo>
                    <a:lnTo>
                      <a:pt x="143" y="111"/>
                    </a:lnTo>
                    <a:lnTo>
                      <a:pt x="146" y="114"/>
                    </a:lnTo>
                    <a:lnTo>
                      <a:pt x="146" y="118"/>
                    </a:lnTo>
                    <a:lnTo>
                      <a:pt x="143" y="119"/>
                    </a:lnTo>
                    <a:lnTo>
                      <a:pt x="143" y="124"/>
                    </a:lnTo>
                    <a:lnTo>
                      <a:pt x="139" y="130"/>
                    </a:lnTo>
                    <a:lnTo>
                      <a:pt x="134" y="130"/>
                    </a:lnTo>
                    <a:lnTo>
                      <a:pt x="129" y="131"/>
                    </a:lnTo>
                    <a:lnTo>
                      <a:pt x="129" y="133"/>
                    </a:lnTo>
                    <a:lnTo>
                      <a:pt x="127" y="135"/>
                    </a:lnTo>
                    <a:lnTo>
                      <a:pt x="129" y="138"/>
                    </a:lnTo>
                    <a:lnTo>
                      <a:pt x="127" y="140"/>
                    </a:lnTo>
                    <a:lnTo>
                      <a:pt x="126" y="140"/>
                    </a:lnTo>
                    <a:lnTo>
                      <a:pt x="121" y="148"/>
                    </a:lnTo>
                    <a:lnTo>
                      <a:pt x="119" y="150"/>
                    </a:lnTo>
                    <a:lnTo>
                      <a:pt x="119" y="152"/>
                    </a:lnTo>
                    <a:lnTo>
                      <a:pt x="119" y="155"/>
                    </a:lnTo>
                    <a:lnTo>
                      <a:pt x="121" y="159"/>
                    </a:lnTo>
                    <a:lnTo>
                      <a:pt x="119" y="160"/>
                    </a:lnTo>
                    <a:lnTo>
                      <a:pt x="119" y="164"/>
                    </a:lnTo>
                    <a:lnTo>
                      <a:pt x="116" y="169"/>
                    </a:lnTo>
                    <a:lnTo>
                      <a:pt x="110" y="170"/>
                    </a:lnTo>
                    <a:lnTo>
                      <a:pt x="109" y="169"/>
                    </a:lnTo>
                    <a:lnTo>
                      <a:pt x="107" y="169"/>
                    </a:lnTo>
                    <a:lnTo>
                      <a:pt x="105" y="170"/>
                    </a:lnTo>
                    <a:lnTo>
                      <a:pt x="100" y="170"/>
                    </a:lnTo>
                    <a:lnTo>
                      <a:pt x="102" y="170"/>
                    </a:lnTo>
                    <a:lnTo>
                      <a:pt x="100" y="172"/>
                    </a:lnTo>
                    <a:lnTo>
                      <a:pt x="102" y="172"/>
                    </a:lnTo>
                    <a:lnTo>
                      <a:pt x="100" y="172"/>
                    </a:lnTo>
                    <a:lnTo>
                      <a:pt x="102" y="174"/>
                    </a:lnTo>
                    <a:lnTo>
                      <a:pt x="100" y="176"/>
                    </a:lnTo>
                    <a:lnTo>
                      <a:pt x="100" y="177"/>
                    </a:lnTo>
                    <a:lnTo>
                      <a:pt x="99" y="177"/>
                    </a:lnTo>
                    <a:lnTo>
                      <a:pt x="100" y="179"/>
                    </a:lnTo>
                    <a:lnTo>
                      <a:pt x="100" y="181"/>
                    </a:lnTo>
                    <a:lnTo>
                      <a:pt x="99" y="181"/>
                    </a:lnTo>
                    <a:lnTo>
                      <a:pt x="100" y="181"/>
                    </a:lnTo>
                    <a:lnTo>
                      <a:pt x="100" y="182"/>
                    </a:lnTo>
                    <a:lnTo>
                      <a:pt x="99" y="184"/>
                    </a:lnTo>
                    <a:lnTo>
                      <a:pt x="99" y="186"/>
                    </a:lnTo>
                    <a:lnTo>
                      <a:pt x="99" y="187"/>
                    </a:lnTo>
                    <a:lnTo>
                      <a:pt x="100" y="187"/>
                    </a:lnTo>
                    <a:lnTo>
                      <a:pt x="99" y="191"/>
                    </a:lnTo>
                    <a:lnTo>
                      <a:pt x="99" y="194"/>
                    </a:lnTo>
                    <a:lnTo>
                      <a:pt x="100" y="196"/>
                    </a:lnTo>
                    <a:lnTo>
                      <a:pt x="99" y="196"/>
                    </a:lnTo>
                    <a:lnTo>
                      <a:pt x="100" y="198"/>
                    </a:lnTo>
                    <a:lnTo>
                      <a:pt x="99" y="199"/>
                    </a:lnTo>
                    <a:lnTo>
                      <a:pt x="100" y="199"/>
                    </a:lnTo>
                    <a:lnTo>
                      <a:pt x="99" y="201"/>
                    </a:lnTo>
                    <a:lnTo>
                      <a:pt x="97" y="203"/>
                    </a:lnTo>
                    <a:lnTo>
                      <a:pt x="97" y="204"/>
                    </a:lnTo>
                    <a:lnTo>
                      <a:pt x="97" y="206"/>
                    </a:lnTo>
                    <a:lnTo>
                      <a:pt x="97" y="208"/>
                    </a:lnTo>
                    <a:lnTo>
                      <a:pt x="97" y="211"/>
                    </a:lnTo>
                    <a:lnTo>
                      <a:pt x="99" y="213"/>
                    </a:lnTo>
                    <a:lnTo>
                      <a:pt x="99" y="215"/>
                    </a:lnTo>
                    <a:lnTo>
                      <a:pt x="99" y="216"/>
                    </a:lnTo>
                    <a:lnTo>
                      <a:pt x="99" y="220"/>
                    </a:lnTo>
                    <a:lnTo>
                      <a:pt x="97" y="228"/>
                    </a:lnTo>
                    <a:lnTo>
                      <a:pt x="95" y="230"/>
                    </a:lnTo>
                    <a:lnTo>
                      <a:pt x="99" y="235"/>
                    </a:lnTo>
                    <a:lnTo>
                      <a:pt x="99" y="245"/>
                    </a:lnTo>
                    <a:lnTo>
                      <a:pt x="99" y="249"/>
                    </a:lnTo>
                    <a:lnTo>
                      <a:pt x="102" y="250"/>
                    </a:lnTo>
                    <a:lnTo>
                      <a:pt x="102" y="254"/>
                    </a:lnTo>
                    <a:lnTo>
                      <a:pt x="100" y="254"/>
                    </a:lnTo>
                    <a:lnTo>
                      <a:pt x="99" y="254"/>
                    </a:lnTo>
                    <a:lnTo>
                      <a:pt x="99" y="262"/>
                    </a:lnTo>
                    <a:lnTo>
                      <a:pt x="100" y="262"/>
                    </a:lnTo>
                    <a:lnTo>
                      <a:pt x="100" y="267"/>
                    </a:lnTo>
                    <a:lnTo>
                      <a:pt x="99" y="271"/>
                    </a:lnTo>
                    <a:lnTo>
                      <a:pt x="102" y="272"/>
                    </a:lnTo>
                    <a:lnTo>
                      <a:pt x="99" y="276"/>
                    </a:lnTo>
                    <a:lnTo>
                      <a:pt x="97" y="278"/>
                    </a:lnTo>
                    <a:lnTo>
                      <a:pt x="99" y="279"/>
                    </a:lnTo>
                    <a:lnTo>
                      <a:pt x="99" y="283"/>
                    </a:lnTo>
                    <a:lnTo>
                      <a:pt x="99" y="284"/>
                    </a:lnTo>
                    <a:lnTo>
                      <a:pt x="99" y="286"/>
                    </a:lnTo>
                    <a:lnTo>
                      <a:pt x="100" y="288"/>
                    </a:lnTo>
                    <a:lnTo>
                      <a:pt x="102" y="288"/>
                    </a:lnTo>
                    <a:lnTo>
                      <a:pt x="100" y="289"/>
                    </a:lnTo>
                    <a:lnTo>
                      <a:pt x="99" y="293"/>
                    </a:lnTo>
                    <a:lnTo>
                      <a:pt x="99" y="296"/>
                    </a:lnTo>
                    <a:lnTo>
                      <a:pt x="97" y="300"/>
                    </a:lnTo>
                    <a:lnTo>
                      <a:pt x="97" y="307"/>
                    </a:lnTo>
                    <a:lnTo>
                      <a:pt x="85" y="307"/>
                    </a:lnTo>
                    <a:lnTo>
                      <a:pt x="83" y="308"/>
                    </a:lnTo>
                    <a:lnTo>
                      <a:pt x="78" y="308"/>
                    </a:lnTo>
                    <a:lnTo>
                      <a:pt x="68" y="308"/>
                    </a:lnTo>
                    <a:lnTo>
                      <a:pt x="58" y="310"/>
                    </a:lnTo>
                    <a:lnTo>
                      <a:pt x="42" y="313"/>
                    </a:lnTo>
                    <a:lnTo>
                      <a:pt x="51" y="312"/>
                    </a:lnTo>
                    <a:lnTo>
                      <a:pt x="51" y="310"/>
                    </a:lnTo>
                    <a:lnTo>
                      <a:pt x="49" y="308"/>
                    </a:lnTo>
                    <a:lnTo>
                      <a:pt x="51" y="307"/>
                    </a:lnTo>
                    <a:lnTo>
                      <a:pt x="49" y="305"/>
                    </a:lnTo>
                    <a:lnTo>
                      <a:pt x="49" y="303"/>
                    </a:lnTo>
                    <a:lnTo>
                      <a:pt x="49" y="301"/>
                    </a:lnTo>
                    <a:lnTo>
                      <a:pt x="46" y="300"/>
                    </a:lnTo>
                    <a:lnTo>
                      <a:pt x="46" y="298"/>
                    </a:lnTo>
                    <a:lnTo>
                      <a:pt x="44" y="298"/>
                    </a:lnTo>
                    <a:lnTo>
                      <a:pt x="44" y="296"/>
                    </a:lnTo>
                    <a:lnTo>
                      <a:pt x="41" y="295"/>
                    </a:lnTo>
                    <a:lnTo>
                      <a:pt x="41" y="293"/>
                    </a:lnTo>
                    <a:lnTo>
                      <a:pt x="42" y="293"/>
                    </a:lnTo>
                    <a:lnTo>
                      <a:pt x="39" y="291"/>
                    </a:lnTo>
                    <a:lnTo>
                      <a:pt x="41" y="289"/>
                    </a:lnTo>
                    <a:lnTo>
                      <a:pt x="41" y="288"/>
                    </a:lnTo>
                    <a:lnTo>
                      <a:pt x="42" y="288"/>
                    </a:lnTo>
                    <a:lnTo>
                      <a:pt x="42" y="286"/>
                    </a:lnTo>
                    <a:lnTo>
                      <a:pt x="41" y="286"/>
                    </a:lnTo>
                    <a:lnTo>
                      <a:pt x="41" y="284"/>
                    </a:lnTo>
                    <a:lnTo>
                      <a:pt x="41" y="283"/>
                    </a:lnTo>
                    <a:lnTo>
                      <a:pt x="41" y="279"/>
                    </a:lnTo>
                    <a:lnTo>
                      <a:pt x="39" y="274"/>
                    </a:lnTo>
                    <a:lnTo>
                      <a:pt x="42" y="276"/>
                    </a:lnTo>
                    <a:lnTo>
                      <a:pt x="42" y="254"/>
                    </a:lnTo>
                    <a:lnTo>
                      <a:pt x="42" y="250"/>
                    </a:lnTo>
                    <a:lnTo>
                      <a:pt x="44" y="250"/>
                    </a:lnTo>
                    <a:lnTo>
                      <a:pt x="44" y="247"/>
                    </a:lnTo>
                    <a:lnTo>
                      <a:pt x="44" y="244"/>
                    </a:lnTo>
                    <a:lnTo>
                      <a:pt x="42" y="240"/>
                    </a:lnTo>
                    <a:lnTo>
                      <a:pt x="42" y="233"/>
                    </a:lnTo>
                    <a:lnTo>
                      <a:pt x="42" y="215"/>
                    </a:lnTo>
                    <a:lnTo>
                      <a:pt x="42" y="206"/>
                    </a:lnTo>
                    <a:lnTo>
                      <a:pt x="42" y="201"/>
                    </a:lnTo>
                    <a:lnTo>
                      <a:pt x="44" y="199"/>
                    </a:lnTo>
                    <a:lnTo>
                      <a:pt x="42" y="198"/>
                    </a:lnTo>
                    <a:lnTo>
                      <a:pt x="42" y="194"/>
                    </a:lnTo>
                    <a:lnTo>
                      <a:pt x="42" y="172"/>
                    </a:lnTo>
                    <a:lnTo>
                      <a:pt x="42" y="169"/>
                    </a:lnTo>
                    <a:lnTo>
                      <a:pt x="39" y="165"/>
                    </a:lnTo>
                    <a:lnTo>
                      <a:pt x="34" y="160"/>
                    </a:lnTo>
                    <a:lnTo>
                      <a:pt x="32" y="157"/>
                    </a:lnTo>
                    <a:lnTo>
                      <a:pt x="31" y="148"/>
                    </a:lnTo>
                    <a:lnTo>
                      <a:pt x="29" y="148"/>
                    </a:lnTo>
                    <a:lnTo>
                      <a:pt x="27" y="147"/>
                    </a:lnTo>
                    <a:lnTo>
                      <a:pt x="29" y="140"/>
                    </a:lnTo>
                    <a:lnTo>
                      <a:pt x="29" y="123"/>
                    </a:lnTo>
                    <a:lnTo>
                      <a:pt x="10" y="113"/>
                    </a:lnTo>
                    <a:lnTo>
                      <a:pt x="0" y="102"/>
                    </a:lnTo>
                    <a:lnTo>
                      <a:pt x="0" y="97"/>
                    </a:lnTo>
                    <a:lnTo>
                      <a:pt x="0" y="94"/>
                    </a:lnTo>
                    <a:lnTo>
                      <a:pt x="0" y="85"/>
                    </a:lnTo>
                    <a:lnTo>
                      <a:pt x="5" y="82"/>
                    </a:lnTo>
                    <a:lnTo>
                      <a:pt x="7" y="72"/>
                    </a:lnTo>
                    <a:lnTo>
                      <a:pt x="8" y="70"/>
                    </a:lnTo>
                    <a:lnTo>
                      <a:pt x="10" y="67"/>
                    </a:lnTo>
                    <a:lnTo>
                      <a:pt x="12" y="68"/>
                    </a:lnTo>
                    <a:lnTo>
                      <a:pt x="12" y="70"/>
                    </a:lnTo>
                    <a:lnTo>
                      <a:pt x="14" y="68"/>
                    </a:lnTo>
                    <a:lnTo>
                      <a:pt x="17" y="70"/>
                    </a:lnTo>
                    <a:lnTo>
                      <a:pt x="15" y="68"/>
                    </a:lnTo>
                    <a:lnTo>
                      <a:pt x="15" y="67"/>
                    </a:lnTo>
                    <a:lnTo>
                      <a:pt x="14" y="65"/>
                    </a:lnTo>
                    <a:lnTo>
                      <a:pt x="15" y="65"/>
                    </a:lnTo>
                    <a:lnTo>
                      <a:pt x="17" y="63"/>
                    </a:lnTo>
                    <a:lnTo>
                      <a:pt x="19" y="63"/>
                    </a:lnTo>
                    <a:lnTo>
                      <a:pt x="19" y="60"/>
                    </a:lnTo>
                    <a:lnTo>
                      <a:pt x="17" y="60"/>
                    </a:lnTo>
                    <a:lnTo>
                      <a:pt x="17" y="58"/>
                    </a:lnTo>
                    <a:lnTo>
                      <a:pt x="19" y="58"/>
                    </a:lnTo>
                    <a:lnTo>
                      <a:pt x="22" y="58"/>
                    </a:lnTo>
                    <a:lnTo>
                      <a:pt x="24" y="60"/>
                    </a:lnTo>
                    <a:lnTo>
                      <a:pt x="25" y="58"/>
                    </a:lnTo>
                    <a:lnTo>
                      <a:pt x="24" y="56"/>
                    </a:lnTo>
                    <a:lnTo>
                      <a:pt x="24" y="55"/>
                    </a:lnTo>
                    <a:lnTo>
                      <a:pt x="25" y="56"/>
                    </a:lnTo>
                    <a:lnTo>
                      <a:pt x="27" y="56"/>
                    </a:lnTo>
                    <a:lnTo>
                      <a:pt x="27" y="58"/>
                    </a:lnTo>
                    <a:lnTo>
                      <a:pt x="27" y="56"/>
                    </a:lnTo>
                    <a:lnTo>
                      <a:pt x="29" y="56"/>
                    </a:lnTo>
                    <a:lnTo>
                      <a:pt x="27" y="53"/>
                    </a:lnTo>
                    <a:lnTo>
                      <a:pt x="29" y="53"/>
                    </a:lnTo>
                    <a:lnTo>
                      <a:pt x="29" y="51"/>
                    </a:lnTo>
                    <a:lnTo>
                      <a:pt x="31" y="53"/>
                    </a:lnTo>
                    <a:lnTo>
                      <a:pt x="31" y="51"/>
                    </a:lnTo>
                    <a:lnTo>
                      <a:pt x="31" y="50"/>
                    </a:lnTo>
                    <a:lnTo>
                      <a:pt x="32" y="50"/>
                    </a:lnTo>
                    <a:lnTo>
                      <a:pt x="32" y="48"/>
                    </a:lnTo>
                    <a:lnTo>
                      <a:pt x="34" y="48"/>
                    </a:lnTo>
                    <a:lnTo>
                      <a:pt x="36" y="50"/>
                    </a:lnTo>
                    <a:lnTo>
                      <a:pt x="36" y="48"/>
                    </a:lnTo>
                    <a:lnTo>
                      <a:pt x="36" y="50"/>
                    </a:lnTo>
                    <a:lnTo>
                      <a:pt x="37" y="50"/>
                    </a:lnTo>
                    <a:lnTo>
                      <a:pt x="39" y="48"/>
                    </a:lnTo>
                    <a:lnTo>
                      <a:pt x="41" y="50"/>
                    </a:lnTo>
                    <a:lnTo>
                      <a:pt x="41" y="51"/>
                    </a:lnTo>
                    <a:lnTo>
                      <a:pt x="42" y="53"/>
                    </a:lnTo>
                    <a:lnTo>
                      <a:pt x="42" y="51"/>
                    </a:lnTo>
                    <a:lnTo>
                      <a:pt x="44" y="51"/>
                    </a:lnTo>
                    <a:lnTo>
                      <a:pt x="46" y="51"/>
                    </a:lnTo>
                    <a:lnTo>
                      <a:pt x="46" y="50"/>
                    </a:lnTo>
                    <a:lnTo>
                      <a:pt x="49" y="51"/>
                    </a:lnTo>
                    <a:lnTo>
                      <a:pt x="51" y="50"/>
                    </a:lnTo>
                    <a:lnTo>
                      <a:pt x="54" y="50"/>
                    </a:lnTo>
                    <a:lnTo>
                      <a:pt x="56" y="50"/>
                    </a:lnTo>
                    <a:lnTo>
                      <a:pt x="63" y="50"/>
                    </a:lnTo>
                    <a:lnTo>
                      <a:pt x="71" y="41"/>
                    </a:lnTo>
                    <a:lnTo>
                      <a:pt x="76" y="38"/>
                    </a:lnTo>
                    <a:lnTo>
                      <a:pt x="76" y="36"/>
                    </a:lnTo>
                    <a:lnTo>
                      <a:pt x="78" y="33"/>
                    </a:lnTo>
                    <a:lnTo>
                      <a:pt x="80" y="33"/>
                    </a:lnTo>
                    <a:lnTo>
                      <a:pt x="80" y="31"/>
                    </a:lnTo>
                    <a:lnTo>
                      <a:pt x="80" y="29"/>
                    </a:lnTo>
                    <a:lnTo>
                      <a:pt x="82" y="28"/>
                    </a:lnTo>
                    <a:lnTo>
                      <a:pt x="82" y="26"/>
                    </a:lnTo>
                    <a:lnTo>
                      <a:pt x="82" y="24"/>
                    </a:lnTo>
                    <a:lnTo>
                      <a:pt x="83" y="24"/>
                    </a:lnTo>
                    <a:lnTo>
                      <a:pt x="83" y="22"/>
                    </a:lnTo>
                    <a:lnTo>
                      <a:pt x="85" y="22"/>
                    </a:lnTo>
                    <a:lnTo>
                      <a:pt x="82" y="16"/>
                    </a:lnTo>
                    <a:lnTo>
                      <a:pt x="82" y="14"/>
                    </a:lnTo>
                    <a:lnTo>
                      <a:pt x="80" y="12"/>
                    </a:lnTo>
                    <a:lnTo>
                      <a:pt x="82" y="12"/>
                    </a:lnTo>
                    <a:lnTo>
                      <a:pt x="80" y="11"/>
                    </a:lnTo>
                    <a:lnTo>
                      <a:pt x="82" y="11"/>
                    </a:lnTo>
                    <a:lnTo>
                      <a:pt x="80" y="9"/>
                    </a:lnTo>
                    <a:lnTo>
                      <a:pt x="83" y="9"/>
                    </a:lnTo>
                    <a:lnTo>
                      <a:pt x="85" y="9"/>
                    </a:lnTo>
                    <a:lnTo>
                      <a:pt x="85" y="7"/>
                    </a:lnTo>
                    <a:lnTo>
                      <a:pt x="87" y="9"/>
                    </a:lnTo>
                    <a:lnTo>
                      <a:pt x="88" y="7"/>
                    </a:lnTo>
                    <a:lnTo>
                      <a:pt x="90" y="7"/>
                    </a:lnTo>
                    <a:lnTo>
                      <a:pt x="92" y="5"/>
                    </a:lnTo>
                    <a:lnTo>
                      <a:pt x="95" y="5"/>
                    </a:lnTo>
                    <a:lnTo>
                      <a:pt x="95" y="7"/>
                    </a:lnTo>
                    <a:lnTo>
                      <a:pt x="99" y="4"/>
                    </a:lnTo>
                    <a:lnTo>
                      <a:pt x="100" y="4"/>
                    </a:lnTo>
                    <a:lnTo>
                      <a:pt x="100" y="2"/>
                    </a:lnTo>
                    <a:lnTo>
                      <a:pt x="104" y="2"/>
                    </a:lnTo>
                    <a:lnTo>
                      <a:pt x="104" y="0"/>
                    </a:lnTo>
                    <a:lnTo>
                      <a:pt x="105" y="2"/>
                    </a:lnTo>
                    <a:lnTo>
                      <a:pt x="110" y="7"/>
                    </a:lnTo>
                    <a:lnTo>
                      <a:pt x="112" y="7"/>
                    </a:lnTo>
                    <a:lnTo>
                      <a:pt x="116" y="12"/>
                    </a:lnTo>
                    <a:lnTo>
                      <a:pt x="119" y="14"/>
                    </a:lnTo>
                    <a:lnTo>
                      <a:pt x="126" y="21"/>
                    </a:lnTo>
                    <a:lnTo>
                      <a:pt x="124" y="22"/>
                    </a:lnTo>
                    <a:lnTo>
                      <a:pt x="127" y="28"/>
                    </a:lnTo>
                    <a:lnTo>
                      <a:pt x="134" y="28"/>
                    </a:lnTo>
                    <a:lnTo>
                      <a:pt x="136" y="29"/>
                    </a:lnTo>
                    <a:lnTo>
                      <a:pt x="138" y="31"/>
                    </a:lnTo>
                    <a:lnTo>
                      <a:pt x="139" y="33"/>
                    </a:lnTo>
                    <a:lnTo>
                      <a:pt x="141" y="33"/>
                    </a:lnTo>
                    <a:lnTo>
                      <a:pt x="139" y="36"/>
                    </a:lnTo>
                    <a:lnTo>
                      <a:pt x="143" y="36"/>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14">
                <a:extLst>
                  <a:ext uri="{FF2B5EF4-FFF2-40B4-BE49-F238E27FC236}">
                    <a16:creationId xmlns:a16="http://schemas.microsoft.com/office/drawing/2014/main" id="{45C12A1B-F578-4FD8-B88F-08AE885687C6}"/>
                  </a:ext>
                </a:extLst>
              </p:cNvPr>
              <p:cNvSpPr>
                <a:spLocks/>
              </p:cNvSpPr>
              <p:nvPr/>
            </p:nvSpPr>
            <p:spPr bwMode="gray">
              <a:xfrm>
                <a:off x="4931900" y="3026961"/>
                <a:ext cx="498105" cy="355610"/>
              </a:xfrm>
              <a:custGeom>
                <a:avLst/>
                <a:gdLst>
                  <a:gd name="T0" fmla="*/ 289 w 402"/>
                  <a:gd name="T1" fmla="*/ 31 h 287"/>
                  <a:gd name="T2" fmla="*/ 298 w 402"/>
                  <a:gd name="T3" fmla="*/ 48 h 287"/>
                  <a:gd name="T4" fmla="*/ 310 w 402"/>
                  <a:gd name="T5" fmla="*/ 65 h 287"/>
                  <a:gd name="T6" fmla="*/ 322 w 402"/>
                  <a:gd name="T7" fmla="*/ 73 h 287"/>
                  <a:gd name="T8" fmla="*/ 344 w 402"/>
                  <a:gd name="T9" fmla="*/ 85 h 287"/>
                  <a:gd name="T10" fmla="*/ 330 w 402"/>
                  <a:gd name="T11" fmla="*/ 87 h 287"/>
                  <a:gd name="T12" fmla="*/ 378 w 402"/>
                  <a:gd name="T13" fmla="*/ 121 h 287"/>
                  <a:gd name="T14" fmla="*/ 391 w 402"/>
                  <a:gd name="T15" fmla="*/ 124 h 287"/>
                  <a:gd name="T16" fmla="*/ 385 w 402"/>
                  <a:gd name="T17" fmla="*/ 138 h 287"/>
                  <a:gd name="T18" fmla="*/ 396 w 402"/>
                  <a:gd name="T19" fmla="*/ 170 h 287"/>
                  <a:gd name="T20" fmla="*/ 369 w 402"/>
                  <a:gd name="T21" fmla="*/ 185 h 287"/>
                  <a:gd name="T22" fmla="*/ 361 w 402"/>
                  <a:gd name="T23" fmla="*/ 184 h 287"/>
                  <a:gd name="T24" fmla="*/ 352 w 402"/>
                  <a:gd name="T25" fmla="*/ 182 h 287"/>
                  <a:gd name="T26" fmla="*/ 347 w 402"/>
                  <a:gd name="T27" fmla="*/ 187 h 287"/>
                  <a:gd name="T28" fmla="*/ 344 w 402"/>
                  <a:gd name="T29" fmla="*/ 190 h 287"/>
                  <a:gd name="T30" fmla="*/ 339 w 402"/>
                  <a:gd name="T31" fmla="*/ 194 h 287"/>
                  <a:gd name="T32" fmla="*/ 337 w 402"/>
                  <a:gd name="T33" fmla="*/ 204 h 287"/>
                  <a:gd name="T34" fmla="*/ 313 w 402"/>
                  <a:gd name="T35" fmla="*/ 206 h 287"/>
                  <a:gd name="T36" fmla="*/ 266 w 402"/>
                  <a:gd name="T37" fmla="*/ 197 h 287"/>
                  <a:gd name="T38" fmla="*/ 257 w 402"/>
                  <a:gd name="T39" fmla="*/ 204 h 287"/>
                  <a:gd name="T40" fmla="*/ 249 w 402"/>
                  <a:gd name="T41" fmla="*/ 209 h 287"/>
                  <a:gd name="T42" fmla="*/ 237 w 402"/>
                  <a:gd name="T43" fmla="*/ 206 h 287"/>
                  <a:gd name="T44" fmla="*/ 208 w 402"/>
                  <a:gd name="T45" fmla="*/ 206 h 287"/>
                  <a:gd name="T46" fmla="*/ 165 w 402"/>
                  <a:gd name="T47" fmla="*/ 206 h 287"/>
                  <a:gd name="T48" fmla="*/ 131 w 402"/>
                  <a:gd name="T49" fmla="*/ 221 h 287"/>
                  <a:gd name="T50" fmla="*/ 136 w 402"/>
                  <a:gd name="T51" fmla="*/ 238 h 287"/>
                  <a:gd name="T52" fmla="*/ 140 w 402"/>
                  <a:gd name="T53" fmla="*/ 264 h 287"/>
                  <a:gd name="T54" fmla="*/ 140 w 402"/>
                  <a:gd name="T55" fmla="*/ 279 h 287"/>
                  <a:gd name="T56" fmla="*/ 123 w 402"/>
                  <a:gd name="T57" fmla="*/ 269 h 287"/>
                  <a:gd name="T58" fmla="*/ 113 w 402"/>
                  <a:gd name="T59" fmla="*/ 264 h 287"/>
                  <a:gd name="T60" fmla="*/ 96 w 402"/>
                  <a:gd name="T61" fmla="*/ 258 h 287"/>
                  <a:gd name="T62" fmla="*/ 79 w 402"/>
                  <a:gd name="T63" fmla="*/ 265 h 287"/>
                  <a:gd name="T64" fmla="*/ 63 w 402"/>
                  <a:gd name="T65" fmla="*/ 270 h 287"/>
                  <a:gd name="T66" fmla="*/ 58 w 402"/>
                  <a:gd name="T67" fmla="*/ 277 h 287"/>
                  <a:gd name="T68" fmla="*/ 48 w 402"/>
                  <a:gd name="T69" fmla="*/ 272 h 287"/>
                  <a:gd name="T70" fmla="*/ 38 w 402"/>
                  <a:gd name="T71" fmla="*/ 270 h 287"/>
                  <a:gd name="T72" fmla="*/ 31 w 402"/>
                  <a:gd name="T73" fmla="*/ 262 h 287"/>
                  <a:gd name="T74" fmla="*/ 29 w 402"/>
                  <a:gd name="T75" fmla="*/ 255 h 287"/>
                  <a:gd name="T76" fmla="*/ 22 w 402"/>
                  <a:gd name="T77" fmla="*/ 250 h 287"/>
                  <a:gd name="T78" fmla="*/ 22 w 402"/>
                  <a:gd name="T79" fmla="*/ 245 h 287"/>
                  <a:gd name="T80" fmla="*/ 19 w 402"/>
                  <a:gd name="T81" fmla="*/ 241 h 287"/>
                  <a:gd name="T82" fmla="*/ 11 w 402"/>
                  <a:gd name="T83" fmla="*/ 241 h 287"/>
                  <a:gd name="T84" fmla="*/ 0 w 402"/>
                  <a:gd name="T85" fmla="*/ 235 h 287"/>
                  <a:gd name="T86" fmla="*/ 4 w 402"/>
                  <a:gd name="T87" fmla="*/ 211 h 287"/>
                  <a:gd name="T88" fmla="*/ 14 w 402"/>
                  <a:gd name="T89" fmla="*/ 187 h 287"/>
                  <a:gd name="T90" fmla="*/ 12 w 402"/>
                  <a:gd name="T91" fmla="*/ 172 h 287"/>
                  <a:gd name="T92" fmla="*/ 7 w 402"/>
                  <a:gd name="T93" fmla="*/ 163 h 287"/>
                  <a:gd name="T94" fmla="*/ 33 w 402"/>
                  <a:gd name="T95" fmla="*/ 155 h 287"/>
                  <a:gd name="T96" fmla="*/ 50 w 402"/>
                  <a:gd name="T97" fmla="*/ 148 h 287"/>
                  <a:gd name="T98" fmla="*/ 56 w 402"/>
                  <a:gd name="T99" fmla="*/ 131 h 287"/>
                  <a:gd name="T100" fmla="*/ 56 w 402"/>
                  <a:gd name="T101" fmla="*/ 119 h 287"/>
                  <a:gd name="T102" fmla="*/ 67 w 402"/>
                  <a:gd name="T103" fmla="*/ 107 h 287"/>
                  <a:gd name="T104" fmla="*/ 65 w 402"/>
                  <a:gd name="T105" fmla="*/ 93 h 287"/>
                  <a:gd name="T106" fmla="*/ 79 w 402"/>
                  <a:gd name="T107" fmla="*/ 83 h 287"/>
                  <a:gd name="T108" fmla="*/ 82 w 402"/>
                  <a:gd name="T109" fmla="*/ 85 h 287"/>
                  <a:gd name="T110" fmla="*/ 101 w 402"/>
                  <a:gd name="T111" fmla="*/ 95 h 287"/>
                  <a:gd name="T112" fmla="*/ 114 w 402"/>
                  <a:gd name="T113" fmla="*/ 76 h 287"/>
                  <a:gd name="T114" fmla="*/ 128 w 402"/>
                  <a:gd name="T115" fmla="*/ 71 h 287"/>
                  <a:gd name="T116" fmla="*/ 135 w 402"/>
                  <a:gd name="T117" fmla="*/ 54 h 287"/>
                  <a:gd name="T118" fmla="*/ 179 w 402"/>
                  <a:gd name="T119" fmla="*/ 31 h 287"/>
                  <a:gd name="T120" fmla="*/ 230 w 402"/>
                  <a:gd name="T121" fmla="*/ 10 h 287"/>
                  <a:gd name="T122" fmla="*/ 291 w 402"/>
                  <a:gd name="T123"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 h="287">
                    <a:moveTo>
                      <a:pt x="291" y="3"/>
                    </a:moveTo>
                    <a:lnTo>
                      <a:pt x="291" y="8"/>
                    </a:lnTo>
                    <a:lnTo>
                      <a:pt x="291" y="10"/>
                    </a:lnTo>
                    <a:lnTo>
                      <a:pt x="289" y="12"/>
                    </a:lnTo>
                    <a:lnTo>
                      <a:pt x="291" y="15"/>
                    </a:lnTo>
                    <a:lnTo>
                      <a:pt x="288" y="27"/>
                    </a:lnTo>
                    <a:lnTo>
                      <a:pt x="289" y="31"/>
                    </a:lnTo>
                    <a:lnTo>
                      <a:pt x="294" y="36"/>
                    </a:lnTo>
                    <a:lnTo>
                      <a:pt x="296" y="36"/>
                    </a:lnTo>
                    <a:lnTo>
                      <a:pt x="300" y="39"/>
                    </a:lnTo>
                    <a:lnTo>
                      <a:pt x="300" y="41"/>
                    </a:lnTo>
                    <a:lnTo>
                      <a:pt x="300" y="42"/>
                    </a:lnTo>
                    <a:lnTo>
                      <a:pt x="300" y="44"/>
                    </a:lnTo>
                    <a:lnTo>
                      <a:pt x="298" y="48"/>
                    </a:lnTo>
                    <a:lnTo>
                      <a:pt x="300" y="49"/>
                    </a:lnTo>
                    <a:lnTo>
                      <a:pt x="300" y="51"/>
                    </a:lnTo>
                    <a:lnTo>
                      <a:pt x="301" y="53"/>
                    </a:lnTo>
                    <a:lnTo>
                      <a:pt x="301" y="54"/>
                    </a:lnTo>
                    <a:lnTo>
                      <a:pt x="303" y="56"/>
                    </a:lnTo>
                    <a:lnTo>
                      <a:pt x="305" y="59"/>
                    </a:lnTo>
                    <a:lnTo>
                      <a:pt x="310" y="65"/>
                    </a:lnTo>
                    <a:lnTo>
                      <a:pt x="311" y="66"/>
                    </a:lnTo>
                    <a:lnTo>
                      <a:pt x="311" y="70"/>
                    </a:lnTo>
                    <a:lnTo>
                      <a:pt x="313" y="70"/>
                    </a:lnTo>
                    <a:lnTo>
                      <a:pt x="318" y="70"/>
                    </a:lnTo>
                    <a:lnTo>
                      <a:pt x="320" y="71"/>
                    </a:lnTo>
                    <a:lnTo>
                      <a:pt x="320" y="73"/>
                    </a:lnTo>
                    <a:lnTo>
                      <a:pt x="322" y="73"/>
                    </a:lnTo>
                    <a:lnTo>
                      <a:pt x="325" y="73"/>
                    </a:lnTo>
                    <a:lnTo>
                      <a:pt x="330" y="75"/>
                    </a:lnTo>
                    <a:lnTo>
                      <a:pt x="332" y="78"/>
                    </a:lnTo>
                    <a:lnTo>
                      <a:pt x="332" y="80"/>
                    </a:lnTo>
                    <a:lnTo>
                      <a:pt x="335" y="82"/>
                    </a:lnTo>
                    <a:lnTo>
                      <a:pt x="337" y="83"/>
                    </a:lnTo>
                    <a:lnTo>
                      <a:pt x="344" y="85"/>
                    </a:lnTo>
                    <a:lnTo>
                      <a:pt x="345" y="87"/>
                    </a:lnTo>
                    <a:lnTo>
                      <a:pt x="342" y="87"/>
                    </a:lnTo>
                    <a:lnTo>
                      <a:pt x="342" y="85"/>
                    </a:lnTo>
                    <a:lnTo>
                      <a:pt x="340" y="88"/>
                    </a:lnTo>
                    <a:lnTo>
                      <a:pt x="337" y="88"/>
                    </a:lnTo>
                    <a:lnTo>
                      <a:pt x="334" y="87"/>
                    </a:lnTo>
                    <a:lnTo>
                      <a:pt x="330" y="87"/>
                    </a:lnTo>
                    <a:lnTo>
                      <a:pt x="330" y="105"/>
                    </a:lnTo>
                    <a:lnTo>
                      <a:pt x="337" y="105"/>
                    </a:lnTo>
                    <a:lnTo>
                      <a:pt x="347" y="114"/>
                    </a:lnTo>
                    <a:lnTo>
                      <a:pt x="359" y="122"/>
                    </a:lnTo>
                    <a:lnTo>
                      <a:pt x="359" y="124"/>
                    </a:lnTo>
                    <a:lnTo>
                      <a:pt x="374" y="124"/>
                    </a:lnTo>
                    <a:lnTo>
                      <a:pt x="378" y="121"/>
                    </a:lnTo>
                    <a:lnTo>
                      <a:pt x="379" y="121"/>
                    </a:lnTo>
                    <a:lnTo>
                      <a:pt x="379" y="117"/>
                    </a:lnTo>
                    <a:lnTo>
                      <a:pt x="381" y="119"/>
                    </a:lnTo>
                    <a:lnTo>
                      <a:pt x="386" y="119"/>
                    </a:lnTo>
                    <a:lnTo>
                      <a:pt x="390" y="121"/>
                    </a:lnTo>
                    <a:lnTo>
                      <a:pt x="390" y="122"/>
                    </a:lnTo>
                    <a:lnTo>
                      <a:pt x="391" y="124"/>
                    </a:lnTo>
                    <a:lnTo>
                      <a:pt x="393" y="126"/>
                    </a:lnTo>
                    <a:lnTo>
                      <a:pt x="393" y="129"/>
                    </a:lnTo>
                    <a:lnTo>
                      <a:pt x="395" y="131"/>
                    </a:lnTo>
                    <a:lnTo>
                      <a:pt x="395" y="134"/>
                    </a:lnTo>
                    <a:lnTo>
                      <a:pt x="390" y="134"/>
                    </a:lnTo>
                    <a:lnTo>
                      <a:pt x="386" y="136"/>
                    </a:lnTo>
                    <a:lnTo>
                      <a:pt x="385" y="138"/>
                    </a:lnTo>
                    <a:lnTo>
                      <a:pt x="402" y="160"/>
                    </a:lnTo>
                    <a:lnTo>
                      <a:pt x="402" y="162"/>
                    </a:lnTo>
                    <a:lnTo>
                      <a:pt x="400" y="163"/>
                    </a:lnTo>
                    <a:lnTo>
                      <a:pt x="400" y="165"/>
                    </a:lnTo>
                    <a:lnTo>
                      <a:pt x="400" y="167"/>
                    </a:lnTo>
                    <a:lnTo>
                      <a:pt x="398" y="167"/>
                    </a:lnTo>
                    <a:lnTo>
                      <a:pt x="396" y="170"/>
                    </a:lnTo>
                    <a:lnTo>
                      <a:pt x="396" y="172"/>
                    </a:lnTo>
                    <a:lnTo>
                      <a:pt x="391" y="175"/>
                    </a:lnTo>
                    <a:lnTo>
                      <a:pt x="383" y="184"/>
                    </a:lnTo>
                    <a:lnTo>
                      <a:pt x="376" y="184"/>
                    </a:lnTo>
                    <a:lnTo>
                      <a:pt x="374" y="184"/>
                    </a:lnTo>
                    <a:lnTo>
                      <a:pt x="371" y="184"/>
                    </a:lnTo>
                    <a:lnTo>
                      <a:pt x="369" y="185"/>
                    </a:lnTo>
                    <a:lnTo>
                      <a:pt x="366" y="184"/>
                    </a:lnTo>
                    <a:lnTo>
                      <a:pt x="366" y="185"/>
                    </a:lnTo>
                    <a:lnTo>
                      <a:pt x="364" y="185"/>
                    </a:lnTo>
                    <a:lnTo>
                      <a:pt x="362" y="185"/>
                    </a:lnTo>
                    <a:lnTo>
                      <a:pt x="362" y="187"/>
                    </a:lnTo>
                    <a:lnTo>
                      <a:pt x="361" y="185"/>
                    </a:lnTo>
                    <a:lnTo>
                      <a:pt x="361" y="184"/>
                    </a:lnTo>
                    <a:lnTo>
                      <a:pt x="359" y="182"/>
                    </a:lnTo>
                    <a:lnTo>
                      <a:pt x="357" y="184"/>
                    </a:lnTo>
                    <a:lnTo>
                      <a:pt x="356" y="184"/>
                    </a:lnTo>
                    <a:lnTo>
                      <a:pt x="356" y="182"/>
                    </a:lnTo>
                    <a:lnTo>
                      <a:pt x="356" y="184"/>
                    </a:lnTo>
                    <a:lnTo>
                      <a:pt x="354" y="182"/>
                    </a:lnTo>
                    <a:lnTo>
                      <a:pt x="352" y="182"/>
                    </a:lnTo>
                    <a:lnTo>
                      <a:pt x="352" y="184"/>
                    </a:lnTo>
                    <a:lnTo>
                      <a:pt x="351" y="184"/>
                    </a:lnTo>
                    <a:lnTo>
                      <a:pt x="351" y="185"/>
                    </a:lnTo>
                    <a:lnTo>
                      <a:pt x="351" y="187"/>
                    </a:lnTo>
                    <a:lnTo>
                      <a:pt x="349" y="185"/>
                    </a:lnTo>
                    <a:lnTo>
                      <a:pt x="349" y="187"/>
                    </a:lnTo>
                    <a:lnTo>
                      <a:pt x="347" y="187"/>
                    </a:lnTo>
                    <a:lnTo>
                      <a:pt x="349" y="190"/>
                    </a:lnTo>
                    <a:lnTo>
                      <a:pt x="347" y="190"/>
                    </a:lnTo>
                    <a:lnTo>
                      <a:pt x="347" y="192"/>
                    </a:lnTo>
                    <a:lnTo>
                      <a:pt x="347" y="190"/>
                    </a:lnTo>
                    <a:lnTo>
                      <a:pt x="345" y="190"/>
                    </a:lnTo>
                    <a:lnTo>
                      <a:pt x="344" y="189"/>
                    </a:lnTo>
                    <a:lnTo>
                      <a:pt x="344" y="190"/>
                    </a:lnTo>
                    <a:lnTo>
                      <a:pt x="345" y="192"/>
                    </a:lnTo>
                    <a:lnTo>
                      <a:pt x="344" y="194"/>
                    </a:lnTo>
                    <a:lnTo>
                      <a:pt x="342" y="192"/>
                    </a:lnTo>
                    <a:lnTo>
                      <a:pt x="339" y="192"/>
                    </a:lnTo>
                    <a:lnTo>
                      <a:pt x="337" y="192"/>
                    </a:lnTo>
                    <a:lnTo>
                      <a:pt x="337" y="194"/>
                    </a:lnTo>
                    <a:lnTo>
                      <a:pt x="339" y="194"/>
                    </a:lnTo>
                    <a:lnTo>
                      <a:pt x="339" y="197"/>
                    </a:lnTo>
                    <a:lnTo>
                      <a:pt x="337" y="197"/>
                    </a:lnTo>
                    <a:lnTo>
                      <a:pt x="335" y="199"/>
                    </a:lnTo>
                    <a:lnTo>
                      <a:pt x="334" y="199"/>
                    </a:lnTo>
                    <a:lnTo>
                      <a:pt x="335" y="201"/>
                    </a:lnTo>
                    <a:lnTo>
                      <a:pt x="335" y="202"/>
                    </a:lnTo>
                    <a:lnTo>
                      <a:pt x="337" y="204"/>
                    </a:lnTo>
                    <a:lnTo>
                      <a:pt x="334" y="202"/>
                    </a:lnTo>
                    <a:lnTo>
                      <a:pt x="332" y="204"/>
                    </a:lnTo>
                    <a:lnTo>
                      <a:pt x="332" y="202"/>
                    </a:lnTo>
                    <a:lnTo>
                      <a:pt x="330" y="201"/>
                    </a:lnTo>
                    <a:lnTo>
                      <a:pt x="328" y="204"/>
                    </a:lnTo>
                    <a:lnTo>
                      <a:pt x="327" y="206"/>
                    </a:lnTo>
                    <a:lnTo>
                      <a:pt x="313" y="206"/>
                    </a:lnTo>
                    <a:lnTo>
                      <a:pt x="305" y="209"/>
                    </a:lnTo>
                    <a:lnTo>
                      <a:pt x="306" y="207"/>
                    </a:lnTo>
                    <a:lnTo>
                      <a:pt x="305" y="207"/>
                    </a:lnTo>
                    <a:lnTo>
                      <a:pt x="305" y="206"/>
                    </a:lnTo>
                    <a:lnTo>
                      <a:pt x="283" y="201"/>
                    </a:lnTo>
                    <a:lnTo>
                      <a:pt x="272" y="199"/>
                    </a:lnTo>
                    <a:lnTo>
                      <a:pt x="266" y="197"/>
                    </a:lnTo>
                    <a:lnTo>
                      <a:pt x="266" y="199"/>
                    </a:lnTo>
                    <a:lnTo>
                      <a:pt x="262" y="201"/>
                    </a:lnTo>
                    <a:lnTo>
                      <a:pt x="262" y="202"/>
                    </a:lnTo>
                    <a:lnTo>
                      <a:pt x="260" y="202"/>
                    </a:lnTo>
                    <a:lnTo>
                      <a:pt x="260" y="199"/>
                    </a:lnTo>
                    <a:lnTo>
                      <a:pt x="259" y="201"/>
                    </a:lnTo>
                    <a:lnTo>
                      <a:pt x="257" y="204"/>
                    </a:lnTo>
                    <a:lnTo>
                      <a:pt x="255" y="204"/>
                    </a:lnTo>
                    <a:lnTo>
                      <a:pt x="254" y="207"/>
                    </a:lnTo>
                    <a:lnTo>
                      <a:pt x="254" y="206"/>
                    </a:lnTo>
                    <a:lnTo>
                      <a:pt x="252" y="207"/>
                    </a:lnTo>
                    <a:lnTo>
                      <a:pt x="252" y="206"/>
                    </a:lnTo>
                    <a:lnTo>
                      <a:pt x="249" y="211"/>
                    </a:lnTo>
                    <a:lnTo>
                      <a:pt x="249" y="209"/>
                    </a:lnTo>
                    <a:lnTo>
                      <a:pt x="247" y="207"/>
                    </a:lnTo>
                    <a:lnTo>
                      <a:pt x="245" y="207"/>
                    </a:lnTo>
                    <a:lnTo>
                      <a:pt x="247" y="207"/>
                    </a:lnTo>
                    <a:lnTo>
                      <a:pt x="245" y="207"/>
                    </a:lnTo>
                    <a:lnTo>
                      <a:pt x="245" y="206"/>
                    </a:lnTo>
                    <a:lnTo>
                      <a:pt x="240" y="206"/>
                    </a:lnTo>
                    <a:lnTo>
                      <a:pt x="237" y="206"/>
                    </a:lnTo>
                    <a:lnTo>
                      <a:pt x="235" y="207"/>
                    </a:lnTo>
                    <a:lnTo>
                      <a:pt x="233" y="207"/>
                    </a:lnTo>
                    <a:lnTo>
                      <a:pt x="233" y="206"/>
                    </a:lnTo>
                    <a:lnTo>
                      <a:pt x="223" y="206"/>
                    </a:lnTo>
                    <a:lnTo>
                      <a:pt x="223" y="207"/>
                    </a:lnTo>
                    <a:lnTo>
                      <a:pt x="209" y="206"/>
                    </a:lnTo>
                    <a:lnTo>
                      <a:pt x="208" y="206"/>
                    </a:lnTo>
                    <a:lnTo>
                      <a:pt x="199" y="206"/>
                    </a:lnTo>
                    <a:lnTo>
                      <a:pt x="199" y="207"/>
                    </a:lnTo>
                    <a:lnTo>
                      <a:pt x="196" y="206"/>
                    </a:lnTo>
                    <a:lnTo>
                      <a:pt x="194" y="207"/>
                    </a:lnTo>
                    <a:lnTo>
                      <a:pt x="191" y="207"/>
                    </a:lnTo>
                    <a:lnTo>
                      <a:pt x="172" y="207"/>
                    </a:lnTo>
                    <a:lnTo>
                      <a:pt x="165" y="206"/>
                    </a:lnTo>
                    <a:lnTo>
                      <a:pt x="153" y="207"/>
                    </a:lnTo>
                    <a:lnTo>
                      <a:pt x="136" y="206"/>
                    </a:lnTo>
                    <a:lnTo>
                      <a:pt x="136" y="207"/>
                    </a:lnTo>
                    <a:lnTo>
                      <a:pt x="136" y="211"/>
                    </a:lnTo>
                    <a:lnTo>
                      <a:pt x="135" y="213"/>
                    </a:lnTo>
                    <a:lnTo>
                      <a:pt x="133" y="218"/>
                    </a:lnTo>
                    <a:lnTo>
                      <a:pt x="131" y="221"/>
                    </a:lnTo>
                    <a:lnTo>
                      <a:pt x="133" y="223"/>
                    </a:lnTo>
                    <a:lnTo>
                      <a:pt x="131" y="224"/>
                    </a:lnTo>
                    <a:lnTo>
                      <a:pt x="131" y="226"/>
                    </a:lnTo>
                    <a:lnTo>
                      <a:pt x="135" y="235"/>
                    </a:lnTo>
                    <a:lnTo>
                      <a:pt x="140" y="235"/>
                    </a:lnTo>
                    <a:lnTo>
                      <a:pt x="140" y="236"/>
                    </a:lnTo>
                    <a:lnTo>
                      <a:pt x="136" y="238"/>
                    </a:lnTo>
                    <a:lnTo>
                      <a:pt x="136" y="241"/>
                    </a:lnTo>
                    <a:lnTo>
                      <a:pt x="140" y="245"/>
                    </a:lnTo>
                    <a:lnTo>
                      <a:pt x="138" y="247"/>
                    </a:lnTo>
                    <a:lnTo>
                      <a:pt x="138" y="253"/>
                    </a:lnTo>
                    <a:lnTo>
                      <a:pt x="140" y="257"/>
                    </a:lnTo>
                    <a:lnTo>
                      <a:pt x="141" y="258"/>
                    </a:lnTo>
                    <a:lnTo>
                      <a:pt x="140" y="264"/>
                    </a:lnTo>
                    <a:lnTo>
                      <a:pt x="141" y="265"/>
                    </a:lnTo>
                    <a:lnTo>
                      <a:pt x="138" y="270"/>
                    </a:lnTo>
                    <a:lnTo>
                      <a:pt x="138" y="272"/>
                    </a:lnTo>
                    <a:lnTo>
                      <a:pt x="140" y="274"/>
                    </a:lnTo>
                    <a:lnTo>
                      <a:pt x="141" y="275"/>
                    </a:lnTo>
                    <a:lnTo>
                      <a:pt x="140" y="277"/>
                    </a:lnTo>
                    <a:lnTo>
                      <a:pt x="140" y="279"/>
                    </a:lnTo>
                    <a:lnTo>
                      <a:pt x="143" y="282"/>
                    </a:lnTo>
                    <a:lnTo>
                      <a:pt x="140" y="287"/>
                    </a:lnTo>
                    <a:lnTo>
                      <a:pt x="136" y="284"/>
                    </a:lnTo>
                    <a:lnTo>
                      <a:pt x="131" y="279"/>
                    </a:lnTo>
                    <a:lnTo>
                      <a:pt x="128" y="270"/>
                    </a:lnTo>
                    <a:lnTo>
                      <a:pt x="124" y="270"/>
                    </a:lnTo>
                    <a:lnTo>
                      <a:pt x="123" y="269"/>
                    </a:lnTo>
                    <a:lnTo>
                      <a:pt x="123" y="267"/>
                    </a:lnTo>
                    <a:lnTo>
                      <a:pt x="121" y="265"/>
                    </a:lnTo>
                    <a:lnTo>
                      <a:pt x="121" y="264"/>
                    </a:lnTo>
                    <a:lnTo>
                      <a:pt x="119" y="265"/>
                    </a:lnTo>
                    <a:lnTo>
                      <a:pt x="118" y="260"/>
                    </a:lnTo>
                    <a:lnTo>
                      <a:pt x="114" y="265"/>
                    </a:lnTo>
                    <a:lnTo>
                      <a:pt x="113" y="264"/>
                    </a:lnTo>
                    <a:lnTo>
                      <a:pt x="113" y="262"/>
                    </a:lnTo>
                    <a:lnTo>
                      <a:pt x="109" y="262"/>
                    </a:lnTo>
                    <a:lnTo>
                      <a:pt x="107" y="260"/>
                    </a:lnTo>
                    <a:lnTo>
                      <a:pt x="106" y="260"/>
                    </a:lnTo>
                    <a:lnTo>
                      <a:pt x="104" y="260"/>
                    </a:lnTo>
                    <a:lnTo>
                      <a:pt x="97" y="260"/>
                    </a:lnTo>
                    <a:lnTo>
                      <a:pt x="96" y="258"/>
                    </a:lnTo>
                    <a:lnTo>
                      <a:pt x="94" y="260"/>
                    </a:lnTo>
                    <a:lnTo>
                      <a:pt x="89" y="260"/>
                    </a:lnTo>
                    <a:lnTo>
                      <a:pt x="87" y="262"/>
                    </a:lnTo>
                    <a:lnTo>
                      <a:pt x="82" y="262"/>
                    </a:lnTo>
                    <a:lnTo>
                      <a:pt x="80" y="264"/>
                    </a:lnTo>
                    <a:lnTo>
                      <a:pt x="79" y="264"/>
                    </a:lnTo>
                    <a:lnTo>
                      <a:pt x="79" y="265"/>
                    </a:lnTo>
                    <a:lnTo>
                      <a:pt x="77" y="265"/>
                    </a:lnTo>
                    <a:lnTo>
                      <a:pt x="75" y="267"/>
                    </a:lnTo>
                    <a:lnTo>
                      <a:pt x="72" y="265"/>
                    </a:lnTo>
                    <a:lnTo>
                      <a:pt x="70" y="265"/>
                    </a:lnTo>
                    <a:lnTo>
                      <a:pt x="68" y="269"/>
                    </a:lnTo>
                    <a:lnTo>
                      <a:pt x="63" y="269"/>
                    </a:lnTo>
                    <a:lnTo>
                      <a:pt x="63" y="270"/>
                    </a:lnTo>
                    <a:lnTo>
                      <a:pt x="65" y="270"/>
                    </a:lnTo>
                    <a:lnTo>
                      <a:pt x="63" y="272"/>
                    </a:lnTo>
                    <a:lnTo>
                      <a:pt x="63" y="275"/>
                    </a:lnTo>
                    <a:lnTo>
                      <a:pt x="62" y="277"/>
                    </a:lnTo>
                    <a:lnTo>
                      <a:pt x="60" y="275"/>
                    </a:lnTo>
                    <a:lnTo>
                      <a:pt x="58" y="275"/>
                    </a:lnTo>
                    <a:lnTo>
                      <a:pt x="58" y="277"/>
                    </a:lnTo>
                    <a:lnTo>
                      <a:pt x="55" y="274"/>
                    </a:lnTo>
                    <a:lnTo>
                      <a:pt x="51" y="275"/>
                    </a:lnTo>
                    <a:lnTo>
                      <a:pt x="51" y="274"/>
                    </a:lnTo>
                    <a:lnTo>
                      <a:pt x="51" y="270"/>
                    </a:lnTo>
                    <a:lnTo>
                      <a:pt x="51" y="269"/>
                    </a:lnTo>
                    <a:lnTo>
                      <a:pt x="50" y="270"/>
                    </a:lnTo>
                    <a:lnTo>
                      <a:pt x="48" y="272"/>
                    </a:lnTo>
                    <a:lnTo>
                      <a:pt x="46" y="270"/>
                    </a:lnTo>
                    <a:lnTo>
                      <a:pt x="46" y="272"/>
                    </a:lnTo>
                    <a:lnTo>
                      <a:pt x="45" y="272"/>
                    </a:lnTo>
                    <a:lnTo>
                      <a:pt x="43" y="274"/>
                    </a:lnTo>
                    <a:lnTo>
                      <a:pt x="39" y="270"/>
                    </a:lnTo>
                    <a:lnTo>
                      <a:pt x="39" y="269"/>
                    </a:lnTo>
                    <a:lnTo>
                      <a:pt x="38" y="270"/>
                    </a:lnTo>
                    <a:lnTo>
                      <a:pt x="36" y="269"/>
                    </a:lnTo>
                    <a:lnTo>
                      <a:pt x="38" y="269"/>
                    </a:lnTo>
                    <a:lnTo>
                      <a:pt x="38" y="265"/>
                    </a:lnTo>
                    <a:lnTo>
                      <a:pt x="36" y="265"/>
                    </a:lnTo>
                    <a:lnTo>
                      <a:pt x="36" y="264"/>
                    </a:lnTo>
                    <a:lnTo>
                      <a:pt x="33" y="264"/>
                    </a:lnTo>
                    <a:lnTo>
                      <a:pt x="31" y="262"/>
                    </a:lnTo>
                    <a:lnTo>
                      <a:pt x="31" y="264"/>
                    </a:lnTo>
                    <a:lnTo>
                      <a:pt x="28" y="262"/>
                    </a:lnTo>
                    <a:lnTo>
                      <a:pt x="29" y="260"/>
                    </a:lnTo>
                    <a:lnTo>
                      <a:pt x="29" y="258"/>
                    </a:lnTo>
                    <a:lnTo>
                      <a:pt x="28" y="257"/>
                    </a:lnTo>
                    <a:lnTo>
                      <a:pt x="29" y="257"/>
                    </a:lnTo>
                    <a:lnTo>
                      <a:pt x="29" y="255"/>
                    </a:lnTo>
                    <a:lnTo>
                      <a:pt x="28" y="255"/>
                    </a:lnTo>
                    <a:lnTo>
                      <a:pt x="26" y="253"/>
                    </a:lnTo>
                    <a:lnTo>
                      <a:pt x="28" y="252"/>
                    </a:lnTo>
                    <a:lnTo>
                      <a:pt x="24" y="253"/>
                    </a:lnTo>
                    <a:lnTo>
                      <a:pt x="24" y="252"/>
                    </a:lnTo>
                    <a:lnTo>
                      <a:pt x="22" y="252"/>
                    </a:lnTo>
                    <a:lnTo>
                      <a:pt x="22" y="250"/>
                    </a:lnTo>
                    <a:lnTo>
                      <a:pt x="24" y="252"/>
                    </a:lnTo>
                    <a:lnTo>
                      <a:pt x="24" y="250"/>
                    </a:lnTo>
                    <a:lnTo>
                      <a:pt x="22" y="250"/>
                    </a:lnTo>
                    <a:lnTo>
                      <a:pt x="24" y="248"/>
                    </a:lnTo>
                    <a:lnTo>
                      <a:pt x="21" y="248"/>
                    </a:lnTo>
                    <a:lnTo>
                      <a:pt x="22" y="247"/>
                    </a:lnTo>
                    <a:lnTo>
                      <a:pt x="22" y="245"/>
                    </a:lnTo>
                    <a:lnTo>
                      <a:pt x="21" y="247"/>
                    </a:lnTo>
                    <a:lnTo>
                      <a:pt x="21" y="245"/>
                    </a:lnTo>
                    <a:lnTo>
                      <a:pt x="21" y="243"/>
                    </a:lnTo>
                    <a:lnTo>
                      <a:pt x="22" y="243"/>
                    </a:lnTo>
                    <a:lnTo>
                      <a:pt x="21" y="243"/>
                    </a:lnTo>
                    <a:lnTo>
                      <a:pt x="21" y="241"/>
                    </a:lnTo>
                    <a:lnTo>
                      <a:pt x="19" y="241"/>
                    </a:lnTo>
                    <a:lnTo>
                      <a:pt x="17" y="241"/>
                    </a:lnTo>
                    <a:lnTo>
                      <a:pt x="17" y="240"/>
                    </a:lnTo>
                    <a:lnTo>
                      <a:pt x="16" y="241"/>
                    </a:lnTo>
                    <a:lnTo>
                      <a:pt x="12" y="241"/>
                    </a:lnTo>
                    <a:lnTo>
                      <a:pt x="12" y="240"/>
                    </a:lnTo>
                    <a:lnTo>
                      <a:pt x="12" y="241"/>
                    </a:lnTo>
                    <a:lnTo>
                      <a:pt x="11" y="241"/>
                    </a:lnTo>
                    <a:lnTo>
                      <a:pt x="9" y="241"/>
                    </a:lnTo>
                    <a:lnTo>
                      <a:pt x="9" y="243"/>
                    </a:lnTo>
                    <a:lnTo>
                      <a:pt x="7" y="241"/>
                    </a:lnTo>
                    <a:lnTo>
                      <a:pt x="4" y="240"/>
                    </a:lnTo>
                    <a:lnTo>
                      <a:pt x="4" y="238"/>
                    </a:lnTo>
                    <a:lnTo>
                      <a:pt x="2" y="238"/>
                    </a:lnTo>
                    <a:lnTo>
                      <a:pt x="0" y="235"/>
                    </a:lnTo>
                    <a:lnTo>
                      <a:pt x="4" y="228"/>
                    </a:lnTo>
                    <a:lnTo>
                      <a:pt x="4" y="226"/>
                    </a:lnTo>
                    <a:lnTo>
                      <a:pt x="2" y="224"/>
                    </a:lnTo>
                    <a:lnTo>
                      <a:pt x="2" y="218"/>
                    </a:lnTo>
                    <a:lnTo>
                      <a:pt x="4" y="218"/>
                    </a:lnTo>
                    <a:lnTo>
                      <a:pt x="5" y="214"/>
                    </a:lnTo>
                    <a:lnTo>
                      <a:pt x="4" y="211"/>
                    </a:lnTo>
                    <a:lnTo>
                      <a:pt x="2" y="207"/>
                    </a:lnTo>
                    <a:lnTo>
                      <a:pt x="2" y="202"/>
                    </a:lnTo>
                    <a:lnTo>
                      <a:pt x="7" y="201"/>
                    </a:lnTo>
                    <a:lnTo>
                      <a:pt x="11" y="199"/>
                    </a:lnTo>
                    <a:lnTo>
                      <a:pt x="11" y="196"/>
                    </a:lnTo>
                    <a:lnTo>
                      <a:pt x="14" y="194"/>
                    </a:lnTo>
                    <a:lnTo>
                      <a:pt x="14" y="187"/>
                    </a:lnTo>
                    <a:lnTo>
                      <a:pt x="17" y="184"/>
                    </a:lnTo>
                    <a:lnTo>
                      <a:pt x="16" y="182"/>
                    </a:lnTo>
                    <a:lnTo>
                      <a:pt x="16" y="179"/>
                    </a:lnTo>
                    <a:lnTo>
                      <a:pt x="16" y="177"/>
                    </a:lnTo>
                    <a:lnTo>
                      <a:pt x="14" y="175"/>
                    </a:lnTo>
                    <a:lnTo>
                      <a:pt x="12" y="175"/>
                    </a:lnTo>
                    <a:lnTo>
                      <a:pt x="12" y="172"/>
                    </a:lnTo>
                    <a:lnTo>
                      <a:pt x="14" y="167"/>
                    </a:lnTo>
                    <a:lnTo>
                      <a:pt x="12" y="168"/>
                    </a:lnTo>
                    <a:lnTo>
                      <a:pt x="11" y="165"/>
                    </a:lnTo>
                    <a:lnTo>
                      <a:pt x="9" y="165"/>
                    </a:lnTo>
                    <a:lnTo>
                      <a:pt x="9" y="167"/>
                    </a:lnTo>
                    <a:lnTo>
                      <a:pt x="5" y="165"/>
                    </a:lnTo>
                    <a:lnTo>
                      <a:pt x="7" y="163"/>
                    </a:lnTo>
                    <a:lnTo>
                      <a:pt x="9" y="165"/>
                    </a:lnTo>
                    <a:lnTo>
                      <a:pt x="11" y="163"/>
                    </a:lnTo>
                    <a:lnTo>
                      <a:pt x="12" y="163"/>
                    </a:lnTo>
                    <a:lnTo>
                      <a:pt x="14" y="163"/>
                    </a:lnTo>
                    <a:lnTo>
                      <a:pt x="17" y="160"/>
                    </a:lnTo>
                    <a:lnTo>
                      <a:pt x="22" y="156"/>
                    </a:lnTo>
                    <a:lnTo>
                      <a:pt x="33" y="155"/>
                    </a:lnTo>
                    <a:lnTo>
                      <a:pt x="34" y="155"/>
                    </a:lnTo>
                    <a:lnTo>
                      <a:pt x="39" y="155"/>
                    </a:lnTo>
                    <a:lnTo>
                      <a:pt x="41" y="153"/>
                    </a:lnTo>
                    <a:lnTo>
                      <a:pt x="45" y="153"/>
                    </a:lnTo>
                    <a:lnTo>
                      <a:pt x="46" y="150"/>
                    </a:lnTo>
                    <a:lnTo>
                      <a:pt x="46" y="148"/>
                    </a:lnTo>
                    <a:lnTo>
                      <a:pt x="50" y="148"/>
                    </a:lnTo>
                    <a:lnTo>
                      <a:pt x="48" y="145"/>
                    </a:lnTo>
                    <a:lnTo>
                      <a:pt x="53" y="141"/>
                    </a:lnTo>
                    <a:lnTo>
                      <a:pt x="53" y="139"/>
                    </a:lnTo>
                    <a:lnTo>
                      <a:pt x="55" y="139"/>
                    </a:lnTo>
                    <a:lnTo>
                      <a:pt x="56" y="139"/>
                    </a:lnTo>
                    <a:lnTo>
                      <a:pt x="55" y="134"/>
                    </a:lnTo>
                    <a:lnTo>
                      <a:pt x="56" y="131"/>
                    </a:lnTo>
                    <a:lnTo>
                      <a:pt x="58" y="129"/>
                    </a:lnTo>
                    <a:lnTo>
                      <a:pt x="56" y="128"/>
                    </a:lnTo>
                    <a:lnTo>
                      <a:pt x="56" y="124"/>
                    </a:lnTo>
                    <a:lnTo>
                      <a:pt x="55" y="124"/>
                    </a:lnTo>
                    <a:lnTo>
                      <a:pt x="53" y="122"/>
                    </a:lnTo>
                    <a:lnTo>
                      <a:pt x="53" y="119"/>
                    </a:lnTo>
                    <a:lnTo>
                      <a:pt x="56" y="119"/>
                    </a:lnTo>
                    <a:lnTo>
                      <a:pt x="60" y="117"/>
                    </a:lnTo>
                    <a:lnTo>
                      <a:pt x="62" y="119"/>
                    </a:lnTo>
                    <a:lnTo>
                      <a:pt x="63" y="119"/>
                    </a:lnTo>
                    <a:lnTo>
                      <a:pt x="65" y="119"/>
                    </a:lnTo>
                    <a:lnTo>
                      <a:pt x="67" y="114"/>
                    </a:lnTo>
                    <a:lnTo>
                      <a:pt x="67" y="112"/>
                    </a:lnTo>
                    <a:lnTo>
                      <a:pt x="67" y="107"/>
                    </a:lnTo>
                    <a:lnTo>
                      <a:pt x="63" y="105"/>
                    </a:lnTo>
                    <a:lnTo>
                      <a:pt x="63" y="104"/>
                    </a:lnTo>
                    <a:lnTo>
                      <a:pt x="60" y="99"/>
                    </a:lnTo>
                    <a:lnTo>
                      <a:pt x="60" y="97"/>
                    </a:lnTo>
                    <a:lnTo>
                      <a:pt x="63" y="95"/>
                    </a:lnTo>
                    <a:lnTo>
                      <a:pt x="67" y="95"/>
                    </a:lnTo>
                    <a:lnTo>
                      <a:pt x="65" y="93"/>
                    </a:lnTo>
                    <a:lnTo>
                      <a:pt x="70" y="90"/>
                    </a:lnTo>
                    <a:lnTo>
                      <a:pt x="72" y="88"/>
                    </a:lnTo>
                    <a:lnTo>
                      <a:pt x="72" y="85"/>
                    </a:lnTo>
                    <a:lnTo>
                      <a:pt x="73" y="85"/>
                    </a:lnTo>
                    <a:lnTo>
                      <a:pt x="75" y="85"/>
                    </a:lnTo>
                    <a:lnTo>
                      <a:pt x="77" y="83"/>
                    </a:lnTo>
                    <a:lnTo>
                      <a:pt x="79" y="83"/>
                    </a:lnTo>
                    <a:lnTo>
                      <a:pt x="79" y="82"/>
                    </a:lnTo>
                    <a:lnTo>
                      <a:pt x="79" y="80"/>
                    </a:lnTo>
                    <a:lnTo>
                      <a:pt x="80" y="80"/>
                    </a:lnTo>
                    <a:lnTo>
                      <a:pt x="80" y="82"/>
                    </a:lnTo>
                    <a:lnTo>
                      <a:pt x="82" y="82"/>
                    </a:lnTo>
                    <a:lnTo>
                      <a:pt x="79" y="85"/>
                    </a:lnTo>
                    <a:lnTo>
                      <a:pt x="82" y="85"/>
                    </a:lnTo>
                    <a:lnTo>
                      <a:pt x="85" y="87"/>
                    </a:lnTo>
                    <a:lnTo>
                      <a:pt x="87" y="87"/>
                    </a:lnTo>
                    <a:lnTo>
                      <a:pt x="90" y="88"/>
                    </a:lnTo>
                    <a:lnTo>
                      <a:pt x="90" y="90"/>
                    </a:lnTo>
                    <a:lnTo>
                      <a:pt x="94" y="92"/>
                    </a:lnTo>
                    <a:lnTo>
                      <a:pt x="97" y="93"/>
                    </a:lnTo>
                    <a:lnTo>
                      <a:pt x="101" y="95"/>
                    </a:lnTo>
                    <a:lnTo>
                      <a:pt x="101" y="97"/>
                    </a:lnTo>
                    <a:lnTo>
                      <a:pt x="106" y="97"/>
                    </a:lnTo>
                    <a:lnTo>
                      <a:pt x="106" y="95"/>
                    </a:lnTo>
                    <a:lnTo>
                      <a:pt x="106" y="92"/>
                    </a:lnTo>
                    <a:lnTo>
                      <a:pt x="106" y="90"/>
                    </a:lnTo>
                    <a:lnTo>
                      <a:pt x="116" y="90"/>
                    </a:lnTo>
                    <a:lnTo>
                      <a:pt x="114" y="76"/>
                    </a:lnTo>
                    <a:lnTo>
                      <a:pt x="116" y="75"/>
                    </a:lnTo>
                    <a:lnTo>
                      <a:pt x="116" y="70"/>
                    </a:lnTo>
                    <a:lnTo>
                      <a:pt x="116" y="71"/>
                    </a:lnTo>
                    <a:lnTo>
                      <a:pt x="123" y="70"/>
                    </a:lnTo>
                    <a:lnTo>
                      <a:pt x="124" y="71"/>
                    </a:lnTo>
                    <a:lnTo>
                      <a:pt x="126" y="73"/>
                    </a:lnTo>
                    <a:lnTo>
                      <a:pt x="128" y="71"/>
                    </a:lnTo>
                    <a:lnTo>
                      <a:pt x="130" y="71"/>
                    </a:lnTo>
                    <a:lnTo>
                      <a:pt x="131" y="73"/>
                    </a:lnTo>
                    <a:lnTo>
                      <a:pt x="135" y="71"/>
                    </a:lnTo>
                    <a:lnTo>
                      <a:pt x="133" y="68"/>
                    </a:lnTo>
                    <a:lnTo>
                      <a:pt x="133" y="63"/>
                    </a:lnTo>
                    <a:lnTo>
                      <a:pt x="136" y="54"/>
                    </a:lnTo>
                    <a:lnTo>
                      <a:pt x="135" y="54"/>
                    </a:lnTo>
                    <a:lnTo>
                      <a:pt x="136" y="51"/>
                    </a:lnTo>
                    <a:lnTo>
                      <a:pt x="145" y="48"/>
                    </a:lnTo>
                    <a:lnTo>
                      <a:pt x="155" y="39"/>
                    </a:lnTo>
                    <a:lnTo>
                      <a:pt x="164" y="41"/>
                    </a:lnTo>
                    <a:lnTo>
                      <a:pt x="174" y="48"/>
                    </a:lnTo>
                    <a:lnTo>
                      <a:pt x="179" y="44"/>
                    </a:lnTo>
                    <a:lnTo>
                      <a:pt x="179" y="31"/>
                    </a:lnTo>
                    <a:lnTo>
                      <a:pt x="184" y="29"/>
                    </a:lnTo>
                    <a:lnTo>
                      <a:pt x="191" y="31"/>
                    </a:lnTo>
                    <a:lnTo>
                      <a:pt x="196" y="29"/>
                    </a:lnTo>
                    <a:lnTo>
                      <a:pt x="213" y="17"/>
                    </a:lnTo>
                    <a:lnTo>
                      <a:pt x="226" y="15"/>
                    </a:lnTo>
                    <a:lnTo>
                      <a:pt x="230" y="12"/>
                    </a:lnTo>
                    <a:lnTo>
                      <a:pt x="230" y="10"/>
                    </a:lnTo>
                    <a:lnTo>
                      <a:pt x="243" y="0"/>
                    </a:lnTo>
                    <a:lnTo>
                      <a:pt x="257" y="0"/>
                    </a:lnTo>
                    <a:lnTo>
                      <a:pt x="260" y="3"/>
                    </a:lnTo>
                    <a:lnTo>
                      <a:pt x="267" y="0"/>
                    </a:lnTo>
                    <a:lnTo>
                      <a:pt x="283" y="5"/>
                    </a:lnTo>
                    <a:lnTo>
                      <a:pt x="288" y="5"/>
                    </a:lnTo>
                    <a:lnTo>
                      <a:pt x="291" y="3"/>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Freeform 17">
                <a:extLst>
                  <a:ext uri="{FF2B5EF4-FFF2-40B4-BE49-F238E27FC236}">
                    <a16:creationId xmlns:a16="http://schemas.microsoft.com/office/drawing/2014/main" id="{5A2226C3-3A9E-43A1-8C32-9C77A2B6F9EF}"/>
                  </a:ext>
                </a:extLst>
              </p:cNvPr>
              <p:cNvSpPr>
                <a:spLocks noEditPoints="1"/>
              </p:cNvSpPr>
              <p:nvPr/>
            </p:nvSpPr>
            <p:spPr bwMode="gray">
              <a:xfrm>
                <a:off x="5812875" y="3670037"/>
                <a:ext cx="12390" cy="21064"/>
              </a:xfrm>
              <a:custGeom>
                <a:avLst/>
                <a:gdLst>
                  <a:gd name="T0" fmla="*/ 7 w 10"/>
                  <a:gd name="T1" fmla="*/ 13 h 17"/>
                  <a:gd name="T2" fmla="*/ 7 w 10"/>
                  <a:gd name="T3" fmla="*/ 17 h 17"/>
                  <a:gd name="T4" fmla="*/ 2 w 10"/>
                  <a:gd name="T5" fmla="*/ 13 h 17"/>
                  <a:gd name="T6" fmla="*/ 2 w 10"/>
                  <a:gd name="T7" fmla="*/ 13 h 17"/>
                  <a:gd name="T8" fmla="*/ 3 w 10"/>
                  <a:gd name="T9" fmla="*/ 10 h 17"/>
                  <a:gd name="T10" fmla="*/ 10 w 10"/>
                  <a:gd name="T11" fmla="*/ 17 h 17"/>
                  <a:gd name="T12" fmla="*/ 2 w 10"/>
                  <a:gd name="T13" fmla="*/ 17 h 17"/>
                  <a:gd name="T14" fmla="*/ 7 w 10"/>
                  <a:gd name="T15" fmla="*/ 17 h 17"/>
                  <a:gd name="T16" fmla="*/ 8 w 10"/>
                  <a:gd name="T17" fmla="*/ 15 h 17"/>
                  <a:gd name="T18" fmla="*/ 3 w 10"/>
                  <a:gd name="T19" fmla="*/ 1 h 17"/>
                  <a:gd name="T20" fmla="*/ 7 w 10"/>
                  <a:gd name="T21" fmla="*/ 3 h 17"/>
                  <a:gd name="T22" fmla="*/ 2 w 10"/>
                  <a:gd name="T23" fmla="*/ 3 h 17"/>
                  <a:gd name="T24" fmla="*/ 5 w 10"/>
                  <a:gd name="T25" fmla="*/ 7 h 17"/>
                  <a:gd name="T26" fmla="*/ 7 w 10"/>
                  <a:gd name="T27" fmla="*/ 7 h 17"/>
                  <a:gd name="T28" fmla="*/ 5 w 10"/>
                  <a:gd name="T29" fmla="*/ 10 h 17"/>
                  <a:gd name="T30" fmla="*/ 3 w 10"/>
                  <a:gd name="T31" fmla="*/ 8 h 17"/>
                  <a:gd name="T32" fmla="*/ 3 w 10"/>
                  <a:gd name="T33" fmla="*/ 7 h 17"/>
                  <a:gd name="T34" fmla="*/ 5 w 10"/>
                  <a:gd name="T35" fmla="*/ 5 h 17"/>
                  <a:gd name="T36" fmla="*/ 2 w 10"/>
                  <a:gd name="T37" fmla="*/ 13 h 17"/>
                  <a:gd name="T38" fmla="*/ 0 w 10"/>
                  <a:gd name="T39" fmla="*/ 17 h 17"/>
                  <a:gd name="T40" fmla="*/ 2 w 10"/>
                  <a:gd name="T41" fmla="*/ 12 h 17"/>
                  <a:gd name="T42" fmla="*/ 7 w 10"/>
                  <a:gd name="T43" fmla="*/ 10 h 17"/>
                  <a:gd name="T44" fmla="*/ 7 w 10"/>
                  <a:gd name="T45" fmla="*/ 13 h 17"/>
                  <a:gd name="T46" fmla="*/ 5 w 10"/>
                  <a:gd name="T47" fmla="*/ 10 h 17"/>
                  <a:gd name="T48" fmla="*/ 7 w 10"/>
                  <a:gd name="T49" fmla="*/ 10 h 17"/>
                  <a:gd name="T50" fmla="*/ 3 w 10"/>
                  <a:gd name="T51" fmla="*/ 10 h 17"/>
                  <a:gd name="T52" fmla="*/ 0 w 10"/>
                  <a:gd name="T53" fmla="*/ 8 h 17"/>
                  <a:gd name="T54" fmla="*/ 2 w 10"/>
                  <a:gd name="T55" fmla="*/ 10 h 17"/>
                  <a:gd name="T56" fmla="*/ 3 w 10"/>
                  <a:gd name="T57" fmla="*/ 7 h 17"/>
                  <a:gd name="T58" fmla="*/ 2 w 10"/>
                  <a:gd name="T59" fmla="*/ 10 h 17"/>
                  <a:gd name="T60" fmla="*/ 2 w 10"/>
                  <a:gd name="T61" fmla="*/ 10 h 17"/>
                  <a:gd name="T62" fmla="*/ 3 w 10"/>
                  <a:gd name="T63" fmla="*/ 12 h 17"/>
                  <a:gd name="T64" fmla="*/ 2 w 10"/>
                  <a:gd name="T65" fmla="*/ 10 h 17"/>
                  <a:gd name="T66" fmla="*/ 7 w 10"/>
                  <a:gd name="T67" fmla="*/ 3 h 17"/>
                  <a:gd name="T68" fmla="*/ 5 w 10"/>
                  <a:gd name="T69" fmla="*/ 7 h 17"/>
                  <a:gd name="T70" fmla="*/ 2 w 10"/>
                  <a:gd name="T71" fmla="*/ 5 h 17"/>
                  <a:gd name="T72" fmla="*/ 3 w 10"/>
                  <a:gd name="T73" fmla="*/ 7 h 17"/>
                  <a:gd name="T74" fmla="*/ 2 w 10"/>
                  <a:gd name="T75" fmla="*/ 5 h 17"/>
                  <a:gd name="T76" fmla="*/ 2 w 10"/>
                  <a:gd name="T77" fmla="*/ 5 h 17"/>
                  <a:gd name="T78" fmla="*/ 0 w 10"/>
                  <a:gd name="T79" fmla="*/ 7 h 17"/>
                  <a:gd name="T80" fmla="*/ 2 w 10"/>
                  <a:gd name="T81" fmla="*/ 8 h 17"/>
                  <a:gd name="T82" fmla="*/ 0 w 10"/>
                  <a:gd name="T83" fmla="*/ 7 h 17"/>
                  <a:gd name="T84" fmla="*/ 3 w 10"/>
                  <a:gd name="T85" fmla="*/ 1 h 17"/>
                  <a:gd name="T86" fmla="*/ 2 w 10"/>
                  <a:gd name="T87" fmla="*/ 3 h 17"/>
                  <a:gd name="T88" fmla="*/ 2 w 10"/>
                  <a:gd name="T89" fmla="*/ 0 h 17"/>
                  <a:gd name="T90" fmla="*/ 3 w 10"/>
                  <a:gd name="T91" fmla="*/ 1 h 17"/>
                  <a:gd name="T92" fmla="*/ 2 w 10"/>
                  <a:gd name="T9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 h="17">
                    <a:moveTo>
                      <a:pt x="5" y="10"/>
                    </a:moveTo>
                    <a:lnTo>
                      <a:pt x="7" y="13"/>
                    </a:lnTo>
                    <a:lnTo>
                      <a:pt x="7" y="15"/>
                    </a:lnTo>
                    <a:lnTo>
                      <a:pt x="7" y="17"/>
                    </a:lnTo>
                    <a:lnTo>
                      <a:pt x="3" y="17"/>
                    </a:lnTo>
                    <a:lnTo>
                      <a:pt x="2" y="13"/>
                    </a:lnTo>
                    <a:lnTo>
                      <a:pt x="3" y="13"/>
                    </a:lnTo>
                    <a:lnTo>
                      <a:pt x="2" y="13"/>
                    </a:lnTo>
                    <a:lnTo>
                      <a:pt x="3" y="12"/>
                    </a:lnTo>
                    <a:lnTo>
                      <a:pt x="3" y="10"/>
                    </a:lnTo>
                    <a:lnTo>
                      <a:pt x="5" y="10"/>
                    </a:lnTo>
                    <a:close/>
                    <a:moveTo>
                      <a:pt x="10" y="17"/>
                    </a:moveTo>
                    <a:lnTo>
                      <a:pt x="8" y="17"/>
                    </a:lnTo>
                    <a:lnTo>
                      <a:pt x="2" y="17"/>
                    </a:lnTo>
                    <a:lnTo>
                      <a:pt x="3" y="17"/>
                    </a:lnTo>
                    <a:lnTo>
                      <a:pt x="7" y="17"/>
                    </a:lnTo>
                    <a:lnTo>
                      <a:pt x="7" y="15"/>
                    </a:lnTo>
                    <a:lnTo>
                      <a:pt x="8" y="15"/>
                    </a:lnTo>
                    <a:lnTo>
                      <a:pt x="10" y="17"/>
                    </a:lnTo>
                    <a:close/>
                    <a:moveTo>
                      <a:pt x="3" y="1"/>
                    </a:moveTo>
                    <a:lnTo>
                      <a:pt x="5" y="0"/>
                    </a:lnTo>
                    <a:lnTo>
                      <a:pt x="7" y="3"/>
                    </a:lnTo>
                    <a:lnTo>
                      <a:pt x="3" y="5"/>
                    </a:lnTo>
                    <a:lnTo>
                      <a:pt x="2" y="3"/>
                    </a:lnTo>
                    <a:lnTo>
                      <a:pt x="3" y="1"/>
                    </a:lnTo>
                    <a:close/>
                    <a:moveTo>
                      <a:pt x="5" y="7"/>
                    </a:moveTo>
                    <a:lnTo>
                      <a:pt x="5" y="5"/>
                    </a:lnTo>
                    <a:lnTo>
                      <a:pt x="7" y="7"/>
                    </a:lnTo>
                    <a:lnTo>
                      <a:pt x="5" y="8"/>
                    </a:lnTo>
                    <a:lnTo>
                      <a:pt x="5" y="10"/>
                    </a:lnTo>
                    <a:lnTo>
                      <a:pt x="3" y="10"/>
                    </a:lnTo>
                    <a:lnTo>
                      <a:pt x="3" y="8"/>
                    </a:lnTo>
                    <a:lnTo>
                      <a:pt x="2" y="7"/>
                    </a:lnTo>
                    <a:lnTo>
                      <a:pt x="3" y="7"/>
                    </a:lnTo>
                    <a:lnTo>
                      <a:pt x="3" y="5"/>
                    </a:lnTo>
                    <a:lnTo>
                      <a:pt x="5" y="5"/>
                    </a:lnTo>
                    <a:lnTo>
                      <a:pt x="5" y="7"/>
                    </a:lnTo>
                    <a:close/>
                    <a:moveTo>
                      <a:pt x="2" y="13"/>
                    </a:moveTo>
                    <a:lnTo>
                      <a:pt x="3" y="15"/>
                    </a:lnTo>
                    <a:lnTo>
                      <a:pt x="0" y="17"/>
                    </a:lnTo>
                    <a:lnTo>
                      <a:pt x="0" y="13"/>
                    </a:lnTo>
                    <a:lnTo>
                      <a:pt x="2" y="12"/>
                    </a:lnTo>
                    <a:lnTo>
                      <a:pt x="2" y="13"/>
                    </a:lnTo>
                    <a:close/>
                    <a:moveTo>
                      <a:pt x="7" y="10"/>
                    </a:moveTo>
                    <a:lnTo>
                      <a:pt x="8" y="15"/>
                    </a:lnTo>
                    <a:lnTo>
                      <a:pt x="7" y="13"/>
                    </a:lnTo>
                    <a:lnTo>
                      <a:pt x="7" y="12"/>
                    </a:lnTo>
                    <a:lnTo>
                      <a:pt x="5" y="10"/>
                    </a:lnTo>
                    <a:lnTo>
                      <a:pt x="7" y="7"/>
                    </a:lnTo>
                    <a:lnTo>
                      <a:pt x="7" y="10"/>
                    </a:lnTo>
                    <a:close/>
                    <a:moveTo>
                      <a:pt x="2" y="10"/>
                    </a:moveTo>
                    <a:lnTo>
                      <a:pt x="3" y="10"/>
                    </a:lnTo>
                    <a:lnTo>
                      <a:pt x="0" y="12"/>
                    </a:lnTo>
                    <a:lnTo>
                      <a:pt x="0" y="8"/>
                    </a:lnTo>
                    <a:lnTo>
                      <a:pt x="2" y="8"/>
                    </a:lnTo>
                    <a:lnTo>
                      <a:pt x="2" y="10"/>
                    </a:lnTo>
                    <a:close/>
                    <a:moveTo>
                      <a:pt x="2" y="7"/>
                    </a:moveTo>
                    <a:lnTo>
                      <a:pt x="3" y="7"/>
                    </a:lnTo>
                    <a:lnTo>
                      <a:pt x="3" y="10"/>
                    </a:lnTo>
                    <a:lnTo>
                      <a:pt x="2" y="10"/>
                    </a:lnTo>
                    <a:lnTo>
                      <a:pt x="2" y="7"/>
                    </a:lnTo>
                    <a:close/>
                    <a:moveTo>
                      <a:pt x="2" y="10"/>
                    </a:moveTo>
                    <a:lnTo>
                      <a:pt x="3" y="10"/>
                    </a:lnTo>
                    <a:lnTo>
                      <a:pt x="3" y="12"/>
                    </a:lnTo>
                    <a:lnTo>
                      <a:pt x="2" y="12"/>
                    </a:lnTo>
                    <a:lnTo>
                      <a:pt x="2" y="10"/>
                    </a:lnTo>
                    <a:close/>
                    <a:moveTo>
                      <a:pt x="5" y="3"/>
                    </a:moveTo>
                    <a:lnTo>
                      <a:pt x="7" y="3"/>
                    </a:lnTo>
                    <a:lnTo>
                      <a:pt x="7" y="7"/>
                    </a:lnTo>
                    <a:lnTo>
                      <a:pt x="5" y="7"/>
                    </a:lnTo>
                    <a:lnTo>
                      <a:pt x="5" y="3"/>
                    </a:lnTo>
                    <a:close/>
                    <a:moveTo>
                      <a:pt x="2" y="5"/>
                    </a:moveTo>
                    <a:lnTo>
                      <a:pt x="3" y="5"/>
                    </a:lnTo>
                    <a:lnTo>
                      <a:pt x="3" y="7"/>
                    </a:lnTo>
                    <a:lnTo>
                      <a:pt x="2" y="7"/>
                    </a:lnTo>
                    <a:lnTo>
                      <a:pt x="2" y="5"/>
                    </a:lnTo>
                    <a:close/>
                    <a:moveTo>
                      <a:pt x="2" y="3"/>
                    </a:moveTo>
                    <a:lnTo>
                      <a:pt x="2" y="5"/>
                    </a:lnTo>
                    <a:lnTo>
                      <a:pt x="2" y="3"/>
                    </a:lnTo>
                    <a:close/>
                    <a:moveTo>
                      <a:pt x="0" y="7"/>
                    </a:moveTo>
                    <a:lnTo>
                      <a:pt x="2" y="7"/>
                    </a:lnTo>
                    <a:lnTo>
                      <a:pt x="2" y="8"/>
                    </a:lnTo>
                    <a:lnTo>
                      <a:pt x="0" y="8"/>
                    </a:lnTo>
                    <a:lnTo>
                      <a:pt x="0" y="7"/>
                    </a:lnTo>
                    <a:close/>
                    <a:moveTo>
                      <a:pt x="2" y="1"/>
                    </a:moveTo>
                    <a:lnTo>
                      <a:pt x="3" y="1"/>
                    </a:lnTo>
                    <a:lnTo>
                      <a:pt x="3" y="3"/>
                    </a:lnTo>
                    <a:lnTo>
                      <a:pt x="2" y="3"/>
                    </a:lnTo>
                    <a:lnTo>
                      <a:pt x="2" y="1"/>
                    </a:lnTo>
                    <a:close/>
                    <a:moveTo>
                      <a:pt x="2" y="0"/>
                    </a:moveTo>
                    <a:lnTo>
                      <a:pt x="3" y="0"/>
                    </a:lnTo>
                    <a:lnTo>
                      <a:pt x="3" y="1"/>
                    </a:lnTo>
                    <a:lnTo>
                      <a:pt x="2" y="1"/>
                    </a:lnTo>
                    <a:lnTo>
                      <a:pt x="2" y="0"/>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29">
                <a:extLst>
                  <a:ext uri="{FF2B5EF4-FFF2-40B4-BE49-F238E27FC236}">
                    <a16:creationId xmlns:a16="http://schemas.microsoft.com/office/drawing/2014/main" id="{97F822A9-27D1-4619-B5F4-C3583EAA11B3}"/>
                  </a:ext>
                </a:extLst>
              </p:cNvPr>
              <p:cNvSpPr>
                <a:spLocks/>
              </p:cNvSpPr>
              <p:nvPr/>
            </p:nvSpPr>
            <p:spPr bwMode="gray">
              <a:xfrm>
                <a:off x="4224394" y="3105021"/>
                <a:ext cx="189575" cy="48323"/>
              </a:xfrm>
              <a:custGeom>
                <a:avLst/>
                <a:gdLst>
                  <a:gd name="T0" fmla="*/ 2 w 153"/>
                  <a:gd name="T1" fmla="*/ 37 h 39"/>
                  <a:gd name="T2" fmla="*/ 0 w 153"/>
                  <a:gd name="T3" fmla="*/ 34 h 39"/>
                  <a:gd name="T4" fmla="*/ 0 w 153"/>
                  <a:gd name="T5" fmla="*/ 27 h 39"/>
                  <a:gd name="T6" fmla="*/ 0 w 153"/>
                  <a:gd name="T7" fmla="*/ 22 h 39"/>
                  <a:gd name="T8" fmla="*/ 4 w 153"/>
                  <a:gd name="T9" fmla="*/ 19 h 39"/>
                  <a:gd name="T10" fmla="*/ 7 w 153"/>
                  <a:gd name="T11" fmla="*/ 19 h 39"/>
                  <a:gd name="T12" fmla="*/ 12 w 153"/>
                  <a:gd name="T13" fmla="*/ 19 h 39"/>
                  <a:gd name="T14" fmla="*/ 12 w 153"/>
                  <a:gd name="T15" fmla="*/ 17 h 39"/>
                  <a:gd name="T16" fmla="*/ 14 w 153"/>
                  <a:gd name="T17" fmla="*/ 12 h 39"/>
                  <a:gd name="T18" fmla="*/ 19 w 153"/>
                  <a:gd name="T19" fmla="*/ 12 h 39"/>
                  <a:gd name="T20" fmla="*/ 34 w 153"/>
                  <a:gd name="T21" fmla="*/ 12 h 39"/>
                  <a:gd name="T22" fmla="*/ 53 w 153"/>
                  <a:gd name="T23" fmla="*/ 12 h 39"/>
                  <a:gd name="T24" fmla="*/ 68 w 153"/>
                  <a:gd name="T25" fmla="*/ 7 h 39"/>
                  <a:gd name="T26" fmla="*/ 75 w 153"/>
                  <a:gd name="T27" fmla="*/ 2 h 39"/>
                  <a:gd name="T28" fmla="*/ 80 w 153"/>
                  <a:gd name="T29" fmla="*/ 3 h 39"/>
                  <a:gd name="T30" fmla="*/ 89 w 153"/>
                  <a:gd name="T31" fmla="*/ 0 h 39"/>
                  <a:gd name="T32" fmla="*/ 95 w 153"/>
                  <a:gd name="T33" fmla="*/ 2 h 39"/>
                  <a:gd name="T34" fmla="*/ 102 w 153"/>
                  <a:gd name="T35" fmla="*/ 5 h 39"/>
                  <a:gd name="T36" fmla="*/ 106 w 153"/>
                  <a:gd name="T37" fmla="*/ 10 h 39"/>
                  <a:gd name="T38" fmla="*/ 114 w 153"/>
                  <a:gd name="T39" fmla="*/ 8 h 39"/>
                  <a:gd name="T40" fmla="*/ 117 w 153"/>
                  <a:gd name="T41" fmla="*/ 15 h 39"/>
                  <a:gd name="T42" fmla="*/ 126 w 153"/>
                  <a:gd name="T43" fmla="*/ 19 h 39"/>
                  <a:gd name="T44" fmla="*/ 133 w 153"/>
                  <a:gd name="T45" fmla="*/ 15 h 39"/>
                  <a:gd name="T46" fmla="*/ 141 w 153"/>
                  <a:gd name="T47" fmla="*/ 13 h 39"/>
                  <a:gd name="T48" fmla="*/ 146 w 153"/>
                  <a:gd name="T49" fmla="*/ 13 h 39"/>
                  <a:gd name="T50" fmla="*/ 151 w 153"/>
                  <a:gd name="T51" fmla="*/ 22 h 39"/>
                  <a:gd name="T52" fmla="*/ 148 w 153"/>
                  <a:gd name="T53" fmla="*/ 25 h 39"/>
                  <a:gd name="T54" fmla="*/ 141 w 153"/>
                  <a:gd name="T55" fmla="*/ 27 h 39"/>
                  <a:gd name="T56" fmla="*/ 136 w 153"/>
                  <a:gd name="T57" fmla="*/ 29 h 39"/>
                  <a:gd name="T58" fmla="*/ 129 w 153"/>
                  <a:gd name="T59" fmla="*/ 30 h 39"/>
                  <a:gd name="T60" fmla="*/ 124 w 153"/>
                  <a:gd name="T61" fmla="*/ 30 h 39"/>
                  <a:gd name="T62" fmla="*/ 119 w 153"/>
                  <a:gd name="T63" fmla="*/ 27 h 39"/>
                  <a:gd name="T64" fmla="*/ 112 w 153"/>
                  <a:gd name="T65" fmla="*/ 24 h 39"/>
                  <a:gd name="T66" fmla="*/ 107 w 153"/>
                  <a:gd name="T67" fmla="*/ 24 h 39"/>
                  <a:gd name="T68" fmla="*/ 104 w 153"/>
                  <a:gd name="T69" fmla="*/ 20 h 39"/>
                  <a:gd name="T70" fmla="*/ 99 w 153"/>
                  <a:gd name="T71" fmla="*/ 19 h 39"/>
                  <a:gd name="T72" fmla="*/ 92 w 153"/>
                  <a:gd name="T73" fmla="*/ 17 h 39"/>
                  <a:gd name="T74" fmla="*/ 87 w 153"/>
                  <a:gd name="T75" fmla="*/ 12 h 39"/>
                  <a:gd name="T76" fmla="*/ 82 w 153"/>
                  <a:gd name="T77" fmla="*/ 15 h 39"/>
                  <a:gd name="T78" fmla="*/ 77 w 153"/>
                  <a:gd name="T79" fmla="*/ 24 h 39"/>
                  <a:gd name="T80" fmla="*/ 66 w 153"/>
                  <a:gd name="T81" fmla="*/ 22 h 39"/>
                  <a:gd name="T82" fmla="*/ 56 w 153"/>
                  <a:gd name="T83" fmla="*/ 24 h 39"/>
                  <a:gd name="T84" fmla="*/ 51 w 153"/>
                  <a:gd name="T85" fmla="*/ 24 h 39"/>
                  <a:gd name="T86" fmla="*/ 29 w 153"/>
                  <a:gd name="T87" fmla="*/ 34 h 39"/>
                  <a:gd name="T88" fmla="*/ 5 w 153"/>
                  <a:gd name="T89" fmla="*/ 36 h 39"/>
                  <a:gd name="T90" fmla="*/ 4 w 153"/>
                  <a:gd name="T9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39">
                    <a:moveTo>
                      <a:pt x="4" y="39"/>
                    </a:moveTo>
                    <a:lnTo>
                      <a:pt x="2" y="37"/>
                    </a:lnTo>
                    <a:lnTo>
                      <a:pt x="2" y="36"/>
                    </a:lnTo>
                    <a:lnTo>
                      <a:pt x="0" y="34"/>
                    </a:lnTo>
                    <a:lnTo>
                      <a:pt x="0" y="29"/>
                    </a:lnTo>
                    <a:lnTo>
                      <a:pt x="0" y="27"/>
                    </a:lnTo>
                    <a:lnTo>
                      <a:pt x="0" y="25"/>
                    </a:lnTo>
                    <a:lnTo>
                      <a:pt x="0" y="22"/>
                    </a:lnTo>
                    <a:lnTo>
                      <a:pt x="2" y="22"/>
                    </a:lnTo>
                    <a:lnTo>
                      <a:pt x="4" y="19"/>
                    </a:lnTo>
                    <a:lnTo>
                      <a:pt x="7" y="17"/>
                    </a:lnTo>
                    <a:lnTo>
                      <a:pt x="7" y="19"/>
                    </a:lnTo>
                    <a:lnTo>
                      <a:pt x="9" y="17"/>
                    </a:lnTo>
                    <a:lnTo>
                      <a:pt x="12" y="19"/>
                    </a:lnTo>
                    <a:lnTo>
                      <a:pt x="14" y="19"/>
                    </a:lnTo>
                    <a:lnTo>
                      <a:pt x="12" y="17"/>
                    </a:lnTo>
                    <a:lnTo>
                      <a:pt x="14" y="15"/>
                    </a:lnTo>
                    <a:lnTo>
                      <a:pt x="14" y="12"/>
                    </a:lnTo>
                    <a:lnTo>
                      <a:pt x="15" y="12"/>
                    </a:lnTo>
                    <a:lnTo>
                      <a:pt x="19" y="12"/>
                    </a:lnTo>
                    <a:lnTo>
                      <a:pt x="24" y="12"/>
                    </a:lnTo>
                    <a:lnTo>
                      <a:pt x="34" y="12"/>
                    </a:lnTo>
                    <a:lnTo>
                      <a:pt x="41" y="12"/>
                    </a:lnTo>
                    <a:lnTo>
                      <a:pt x="53" y="12"/>
                    </a:lnTo>
                    <a:lnTo>
                      <a:pt x="66" y="12"/>
                    </a:lnTo>
                    <a:lnTo>
                      <a:pt x="68" y="7"/>
                    </a:lnTo>
                    <a:lnTo>
                      <a:pt x="72" y="3"/>
                    </a:lnTo>
                    <a:lnTo>
                      <a:pt x="75" y="2"/>
                    </a:lnTo>
                    <a:lnTo>
                      <a:pt x="78" y="3"/>
                    </a:lnTo>
                    <a:lnTo>
                      <a:pt x="80" y="3"/>
                    </a:lnTo>
                    <a:lnTo>
                      <a:pt x="85" y="2"/>
                    </a:lnTo>
                    <a:lnTo>
                      <a:pt x="89" y="0"/>
                    </a:lnTo>
                    <a:lnTo>
                      <a:pt x="92" y="2"/>
                    </a:lnTo>
                    <a:lnTo>
                      <a:pt x="95" y="2"/>
                    </a:lnTo>
                    <a:lnTo>
                      <a:pt x="99" y="3"/>
                    </a:lnTo>
                    <a:lnTo>
                      <a:pt x="102" y="5"/>
                    </a:lnTo>
                    <a:lnTo>
                      <a:pt x="102" y="8"/>
                    </a:lnTo>
                    <a:lnTo>
                      <a:pt x="106" y="10"/>
                    </a:lnTo>
                    <a:lnTo>
                      <a:pt x="111" y="8"/>
                    </a:lnTo>
                    <a:lnTo>
                      <a:pt x="114" y="8"/>
                    </a:lnTo>
                    <a:lnTo>
                      <a:pt x="117" y="12"/>
                    </a:lnTo>
                    <a:lnTo>
                      <a:pt x="117" y="15"/>
                    </a:lnTo>
                    <a:lnTo>
                      <a:pt x="121" y="17"/>
                    </a:lnTo>
                    <a:lnTo>
                      <a:pt x="126" y="19"/>
                    </a:lnTo>
                    <a:lnTo>
                      <a:pt x="129" y="17"/>
                    </a:lnTo>
                    <a:lnTo>
                      <a:pt x="133" y="15"/>
                    </a:lnTo>
                    <a:lnTo>
                      <a:pt x="138" y="13"/>
                    </a:lnTo>
                    <a:lnTo>
                      <a:pt x="141" y="13"/>
                    </a:lnTo>
                    <a:lnTo>
                      <a:pt x="143" y="12"/>
                    </a:lnTo>
                    <a:lnTo>
                      <a:pt x="146" y="13"/>
                    </a:lnTo>
                    <a:lnTo>
                      <a:pt x="153" y="20"/>
                    </a:lnTo>
                    <a:lnTo>
                      <a:pt x="151" y="22"/>
                    </a:lnTo>
                    <a:lnTo>
                      <a:pt x="150" y="24"/>
                    </a:lnTo>
                    <a:lnTo>
                      <a:pt x="148" y="25"/>
                    </a:lnTo>
                    <a:lnTo>
                      <a:pt x="145" y="25"/>
                    </a:lnTo>
                    <a:lnTo>
                      <a:pt x="141" y="27"/>
                    </a:lnTo>
                    <a:lnTo>
                      <a:pt x="136" y="27"/>
                    </a:lnTo>
                    <a:lnTo>
                      <a:pt x="136" y="29"/>
                    </a:lnTo>
                    <a:lnTo>
                      <a:pt x="134" y="30"/>
                    </a:lnTo>
                    <a:lnTo>
                      <a:pt x="129" y="30"/>
                    </a:lnTo>
                    <a:lnTo>
                      <a:pt x="128" y="29"/>
                    </a:lnTo>
                    <a:lnTo>
                      <a:pt x="124" y="30"/>
                    </a:lnTo>
                    <a:lnTo>
                      <a:pt x="121" y="29"/>
                    </a:lnTo>
                    <a:lnTo>
                      <a:pt x="119" y="27"/>
                    </a:lnTo>
                    <a:lnTo>
                      <a:pt x="116" y="25"/>
                    </a:lnTo>
                    <a:lnTo>
                      <a:pt x="112" y="24"/>
                    </a:lnTo>
                    <a:lnTo>
                      <a:pt x="111" y="24"/>
                    </a:lnTo>
                    <a:lnTo>
                      <a:pt x="107" y="24"/>
                    </a:lnTo>
                    <a:lnTo>
                      <a:pt x="106" y="24"/>
                    </a:lnTo>
                    <a:lnTo>
                      <a:pt x="104" y="20"/>
                    </a:lnTo>
                    <a:lnTo>
                      <a:pt x="100" y="20"/>
                    </a:lnTo>
                    <a:lnTo>
                      <a:pt x="99" y="19"/>
                    </a:lnTo>
                    <a:lnTo>
                      <a:pt x="95" y="19"/>
                    </a:lnTo>
                    <a:lnTo>
                      <a:pt x="92" y="17"/>
                    </a:lnTo>
                    <a:lnTo>
                      <a:pt x="89" y="15"/>
                    </a:lnTo>
                    <a:lnTo>
                      <a:pt x="87" y="12"/>
                    </a:lnTo>
                    <a:lnTo>
                      <a:pt x="83" y="12"/>
                    </a:lnTo>
                    <a:lnTo>
                      <a:pt x="82" y="15"/>
                    </a:lnTo>
                    <a:lnTo>
                      <a:pt x="80" y="20"/>
                    </a:lnTo>
                    <a:lnTo>
                      <a:pt x="77" y="24"/>
                    </a:lnTo>
                    <a:lnTo>
                      <a:pt x="72" y="24"/>
                    </a:lnTo>
                    <a:lnTo>
                      <a:pt x="66" y="22"/>
                    </a:lnTo>
                    <a:lnTo>
                      <a:pt x="61" y="24"/>
                    </a:lnTo>
                    <a:lnTo>
                      <a:pt x="56" y="24"/>
                    </a:lnTo>
                    <a:lnTo>
                      <a:pt x="55" y="24"/>
                    </a:lnTo>
                    <a:lnTo>
                      <a:pt x="51" y="24"/>
                    </a:lnTo>
                    <a:lnTo>
                      <a:pt x="51" y="34"/>
                    </a:lnTo>
                    <a:lnTo>
                      <a:pt x="29" y="34"/>
                    </a:lnTo>
                    <a:lnTo>
                      <a:pt x="5" y="34"/>
                    </a:lnTo>
                    <a:lnTo>
                      <a:pt x="5" y="36"/>
                    </a:lnTo>
                    <a:lnTo>
                      <a:pt x="4" y="36"/>
                    </a:lnTo>
                    <a:lnTo>
                      <a:pt x="4" y="37"/>
                    </a:lnTo>
                    <a:lnTo>
                      <a:pt x="4" y="39"/>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Freeform 30">
                <a:extLst>
                  <a:ext uri="{FF2B5EF4-FFF2-40B4-BE49-F238E27FC236}">
                    <a16:creationId xmlns:a16="http://schemas.microsoft.com/office/drawing/2014/main" id="{19A2594A-D6A4-4356-BF1A-4DD52AD7CB20}"/>
                  </a:ext>
                </a:extLst>
              </p:cNvPr>
              <p:cNvSpPr>
                <a:spLocks/>
              </p:cNvSpPr>
              <p:nvPr/>
            </p:nvSpPr>
            <p:spPr bwMode="gray">
              <a:xfrm>
                <a:off x="5073152" y="3271057"/>
                <a:ext cx="280030" cy="405175"/>
              </a:xfrm>
              <a:custGeom>
                <a:avLst/>
                <a:gdLst>
                  <a:gd name="T0" fmla="*/ 199 w 226"/>
                  <a:gd name="T1" fmla="*/ 274 h 327"/>
                  <a:gd name="T2" fmla="*/ 167 w 226"/>
                  <a:gd name="T3" fmla="*/ 281 h 327"/>
                  <a:gd name="T4" fmla="*/ 143 w 226"/>
                  <a:gd name="T5" fmla="*/ 291 h 327"/>
                  <a:gd name="T6" fmla="*/ 124 w 226"/>
                  <a:gd name="T7" fmla="*/ 303 h 327"/>
                  <a:gd name="T8" fmla="*/ 84 w 226"/>
                  <a:gd name="T9" fmla="*/ 312 h 327"/>
                  <a:gd name="T10" fmla="*/ 78 w 226"/>
                  <a:gd name="T11" fmla="*/ 318 h 327"/>
                  <a:gd name="T12" fmla="*/ 65 w 226"/>
                  <a:gd name="T13" fmla="*/ 325 h 327"/>
                  <a:gd name="T14" fmla="*/ 60 w 226"/>
                  <a:gd name="T15" fmla="*/ 323 h 327"/>
                  <a:gd name="T16" fmla="*/ 29 w 226"/>
                  <a:gd name="T17" fmla="*/ 313 h 327"/>
                  <a:gd name="T18" fmla="*/ 22 w 226"/>
                  <a:gd name="T19" fmla="*/ 308 h 327"/>
                  <a:gd name="T20" fmla="*/ 26 w 226"/>
                  <a:gd name="T21" fmla="*/ 303 h 327"/>
                  <a:gd name="T22" fmla="*/ 27 w 226"/>
                  <a:gd name="T23" fmla="*/ 293 h 327"/>
                  <a:gd name="T24" fmla="*/ 21 w 226"/>
                  <a:gd name="T25" fmla="*/ 281 h 327"/>
                  <a:gd name="T26" fmla="*/ 10 w 226"/>
                  <a:gd name="T27" fmla="*/ 266 h 327"/>
                  <a:gd name="T28" fmla="*/ 2 w 226"/>
                  <a:gd name="T29" fmla="*/ 232 h 327"/>
                  <a:gd name="T30" fmla="*/ 12 w 226"/>
                  <a:gd name="T31" fmla="*/ 208 h 327"/>
                  <a:gd name="T32" fmla="*/ 17 w 226"/>
                  <a:gd name="T33" fmla="*/ 181 h 327"/>
                  <a:gd name="T34" fmla="*/ 34 w 226"/>
                  <a:gd name="T35" fmla="*/ 158 h 327"/>
                  <a:gd name="T36" fmla="*/ 39 w 226"/>
                  <a:gd name="T37" fmla="*/ 145 h 327"/>
                  <a:gd name="T38" fmla="*/ 33 w 226"/>
                  <a:gd name="T39" fmla="*/ 114 h 327"/>
                  <a:gd name="T40" fmla="*/ 26 w 226"/>
                  <a:gd name="T41" fmla="*/ 104 h 327"/>
                  <a:gd name="T42" fmla="*/ 31 w 226"/>
                  <a:gd name="T43" fmla="*/ 92 h 327"/>
                  <a:gd name="T44" fmla="*/ 24 w 226"/>
                  <a:gd name="T45" fmla="*/ 75 h 327"/>
                  <a:gd name="T46" fmla="*/ 24 w 226"/>
                  <a:gd name="T47" fmla="*/ 56 h 327"/>
                  <a:gd name="T48" fmla="*/ 26 w 226"/>
                  <a:gd name="T49" fmla="*/ 38 h 327"/>
                  <a:gd name="T50" fmla="*/ 19 w 226"/>
                  <a:gd name="T51" fmla="*/ 21 h 327"/>
                  <a:gd name="T52" fmla="*/ 51 w 226"/>
                  <a:gd name="T53" fmla="*/ 9 h 327"/>
                  <a:gd name="T54" fmla="*/ 85 w 226"/>
                  <a:gd name="T55" fmla="*/ 9 h 327"/>
                  <a:gd name="T56" fmla="*/ 119 w 226"/>
                  <a:gd name="T57" fmla="*/ 10 h 327"/>
                  <a:gd name="T58" fmla="*/ 133 w 226"/>
                  <a:gd name="T59" fmla="*/ 10 h 327"/>
                  <a:gd name="T60" fmla="*/ 138 w 226"/>
                  <a:gd name="T61" fmla="*/ 10 h 327"/>
                  <a:gd name="T62" fmla="*/ 146 w 226"/>
                  <a:gd name="T63" fmla="*/ 2 h 327"/>
                  <a:gd name="T64" fmla="*/ 158 w 226"/>
                  <a:gd name="T65" fmla="*/ 2 h 327"/>
                  <a:gd name="T66" fmla="*/ 165 w 226"/>
                  <a:gd name="T67" fmla="*/ 10 h 327"/>
                  <a:gd name="T68" fmla="*/ 169 w 226"/>
                  <a:gd name="T69" fmla="*/ 29 h 327"/>
                  <a:gd name="T70" fmla="*/ 180 w 226"/>
                  <a:gd name="T71" fmla="*/ 38 h 327"/>
                  <a:gd name="T72" fmla="*/ 184 w 226"/>
                  <a:gd name="T73" fmla="*/ 46 h 327"/>
                  <a:gd name="T74" fmla="*/ 186 w 226"/>
                  <a:gd name="T75" fmla="*/ 63 h 327"/>
                  <a:gd name="T76" fmla="*/ 184 w 226"/>
                  <a:gd name="T77" fmla="*/ 77 h 327"/>
                  <a:gd name="T78" fmla="*/ 186 w 226"/>
                  <a:gd name="T79" fmla="*/ 80 h 327"/>
                  <a:gd name="T80" fmla="*/ 179 w 226"/>
                  <a:gd name="T81" fmla="*/ 87 h 327"/>
                  <a:gd name="T82" fmla="*/ 184 w 226"/>
                  <a:gd name="T83" fmla="*/ 85 h 327"/>
                  <a:gd name="T84" fmla="*/ 194 w 226"/>
                  <a:gd name="T85" fmla="*/ 94 h 327"/>
                  <a:gd name="T86" fmla="*/ 189 w 226"/>
                  <a:gd name="T87" fmla="*/ 107 h 327"/>
                  <a:gd name="T88" fmla="*/ 189 w 226"/>
                  <a:gd name="T89" fmla="*/ 119 h 327"/>
                  <a:gd name="T90" fmla="*/ 192 w 226"/>
                  <a:gd name="T91" fmla="*/ 133 h 327"/>
                  <a:gd name="T92" fmla="*/ 203 w 226"/>
                  <a:gd name="T93" fmla="*/ 147 h 327"/>
                  <a:gd name="T94" fmla="*/ 196 w 226"/>
                  <a:gd name="T95" fmla="*/ 157 h 327"/>
                  <a:gd name="T96" fmla="*/ 192 w 226"/>
                  <a:gd name="T97" fmla="*/ 182 h 327"/>
                  <a:gd name="T98" fmla="*/ 199 w 226"/>
                  <a:gd name="T99" fmla="*/ 196 h 327"/>
                  <a:gd name="T100" fmla="*/ 194 w 226"/>
                  <a:gd name="T101" fmla="*/ 213 h 327"/>
                  <a:gd name="T102" fmla="*/ 196 w 226"/>
                  <a:gd name="T103" fmla="*/ 223 h 327"/>
                  <a:gd name="T104" fmla="*/ 204 w 226"/>
                  <a:gd name="T105" fmla="*/ 233 h 327"/>
                  <a:gd name="T106" fmla="*/ 216 w 226"/>
                  <a:gd name="T107" fmla="*/ 24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27">
                    <a:moveTo>
                      <a:pt x="226" y="257"/>
                    </a:moveTo>
                    <a:lnTo>
                      <a:pt x="220" y="261"/>
                    </a:lnTo>
                    <a:lnTo>
                      <a:pt x="216" y="266"/>
                    </a:lnTo>
                    <a:lnTo>
                      <a:pt x="216" y="271"/>
                    </a:lnTo>
                    <a:lnTo>
                      <a:pt x="213" y="274"/>
                    </a:lnTo>
                    <a:lnTo>
                      <a:pt x="199" y="274"/>
                    </a:lnTo>
                    <a:lnTo>
                      <a:pt x="187" y="272"/>
                    </a:lnTo>
                    <a:lnTo>
                      <a:pt x="180" y="274"/>
                    </a:lnTo>
                    <a:lnTo>
                      <a:pt x="175" y="276"/>
                    </a:lnTo>
                    <a:lnTo>
                      <a:pt x="172" y="278"/>
                    </a:lnTo>
                    <a:lnTo>
                      <a:pt x="169" y="278"/>
                    </a:lnTo>
                    <a:lnTo>
                      <a:pt x="167" y="281"/>
                    </a:lnTo>
                    <a:lnTo>
                      <a:pt x="163" y="283"/>
                    </a:lnTo>
                    <a:lnTo>
                      <a:pt x="160" y="284"/>
                    </a:lnTo>
                    <a:lnTo>
                      <a:pt x="155" y="286"/>
                    </a:lnTo>
                    <a:lnTo>
                      <a:pt x="150" y="288"/>
                    </a:lnTo>
                    <a:lnTo>
                      <a:pt x="146" y="289"/>
                    </a:lnTo>
                    <a:lnTo>
                      <a:pt x="143" y="291"/>
                    </a:lnTo>
                    <a:lnTo>
                      <a:pt x="141" y="295"/>
                    </a:lnTo>
                    <a:lnTo>
                      <a:pt x="135" y="295"/>
                    </a:lnTo>
                    <a:lnTo>
                      <a:pt x="135" y="296"/>
                    </a:lnTo>
                    <a:lnTo>
                      <a:pt x="133" y="296"/>
                    </a:lnTo>
                    <a:lnTo>
                      <a:pt x="129" y="298"/>
                    </a:lnTo>
                    <a:lnTo>
                      <a:pt x="124" y="303"/>
                    </a:lnTo>
                    <a:lnTo>
                      <a:pt x="111" y="303"/>
                    </a:lnTo>
                    <a:lnTo>
                      <a:pt x="102" y="308"/>
                    </a:lnTo>
                    <a:lnTo>
                      <a:pt x="99" y="308"/>
                    </a:lnTo>
                    <a:lnTo>
                      <a:pt x="94" y="310"/>
                    </a:lnTo>
                    <a:lnTo>
                      <a:pt x="92" y="310"/>
                    </a:lnTo>
                    <a:lnTo>
                      <a:pt x="84" y="312"/>
                    </a:lnTo>
                    <a:lnTo>
                      <a:pt x="82" y="315"/>
                    </a:lnTo>
                    <a:lnTo>
                      <a:pt x="80" y="315"/>
                    </a:lnTo>
                    <a:lnTo>
                      <a:pt x="80" y="317"/>
                    </a:lnTo>
                    <a:lnTo>
                      <a:pt x="78" y="317"/>
                    </a:lnTo>
                    <a:lnTo>
                      <a:pt x="77" y="318"/>
                    </a:lnTo>
                    <a:lnTo>
                      <a:pt x="78" y="318"/>
                    </a:lnTo>
                    <a:lnTo>
                      <a:pt x="75" y="318"/>
                    </a:lnTo>
                    <a:lnTo>
                      <a:pt x="77" y="320"/>
                    </a:lnTo>
                    <a:lnTo>
                      <a:pt x="75" y="320"/>
                    </a:lnTo>
                    <a:lnTo>
                      <a:pt x="73" y="320"/>
                    </a:lnTo>
                    <a:lnTo>
                      <a:pt x="68" y="322"/>
                    </a:lnTo>
                    <a:lnTo>
                      <a:pt x="65" y="325"/>
                    </a:lnTo>
                    <a:lnTo>
                      <a:pt x="63" y="325"/>
                    </a:lnTo>
                    <a:lnTo>
                      <a:pt x="61" y="327"/>
                    </a:lnTo>
                    <a:lnTo>
                      <a:pt x="60" y="325"/>
                    </a:lnTo>
                    <a:lnTo>
                      <a:pt x="60" y="327"/>
                    </a:lnTo>
                    <a:lnTo>
                      <a:pt x="60" y="325"/>
                    </a:lnTo>
                    <a:lnTo>
                      <a:pt x="60" y="323"/>
                    </a:lnTo>
                    <a:lnTo>
                      <a:pt x="56" y="323"/>
                    </a:lnTo>
                    <a:lnTo>
                      <a:pt x="53" y="320"/>
                    </a:lnTo>
                    <a:lnTo>
                      <a:pt x="51" y="320"/>
                    </a:lnTo>
                    <a:lnTo>
                      <a:pt x="51" y="318"/>
                    </a:lnTo>
                    <a:lnTo>
                      <a:pt x="44" y="317"/>
                    </a:lnTo>
                    <a:lnTo>
                      <a:pt x="29" y="313"/>
                    </a:lnTo>
                    <a:lnTo>
                      <a:pt x="9" y="308"/>
                    </a:lnTo>
                    <a:lnTo>
                      <a:pt x="10" y="306"/>
                    </a:lnTo>
                    <a:lnTo>
                      <a:pt x="12" y="306"/>
                    </a:lnTo>
                    <a:lnTo>
                      <a:pt x="17" y="308"/>
                    </a:lnTo>
                    <a:lnTo>
                      <a:pt x="19" y="306"/>
                    </a:lnTo>
                    <a:lnTo>
                      <a:pt x="22" y="308"/>
                    </a:lnTo>
                    <a:lnTo>
                      <a:pt x="22" y="306"/>
                    </a:lnTo>
                    <a:lnTo>
                      <a:pt x="22" y="308"/>
                    </a:lnTo>
                    <a:lnTo>
                      <a:pt x="24" y="306"/>
                    </a:lnTo>
                    <a:lnTo>
                      <a:pt x="26" y="308"/>
                    </a:lnTo>
                    <a:lnTo>
                      <a:pt x="27" y="306"/>
                    </a:lnTo>
                    <a:lnTo>
                      <a:pt x="26" y="303"/>
                    </a:lnTo>
                    <a:lnTo>
                      <a:pt x="26" y="300"/>
                    </a:lnTo>
                    <a:lnTo>
                      <a:pt x="24" y="298"/>
                    </a:lnTo>
                    <a:lnTo>
                      <a:pt x="26" y="298"/>
                    </a:lnTo>
                    <a:lnTo>
                      <a:pt x="26" y="295"/>
                    </a:lnTo>
                    <a:lnTo>
                      <a:pt x="27" y="296"/>
                    </a:lnTo>
                    <a:lnTo>
                      <a:pt x="27" y="293"/>
                    </a:lnTo>
                    <a:lnTo>
                      <a:pt x="26" y="291"/>
                    </a:lnTo>
                    <a:lnTo>
                      <a:pt x="26" y="284"/>
                    </a:lnTo>
                    <a:lnTo>
                      <a:pt x="26" y="283"/>
                    </a:lnTo>
                    <a:lnTo>
                      <a:pt x="24" y="281"/>
                    </a:lnTo>
                    <a:lnTo>
                      <a:pt x="22" y="281"/>
                    </a:lnTo>
                    <a:lnTo>
                      <a:pt x="21" y="281"/>
                    </a:lnTo>
                    <a:lnTo>
                      <a:pt x="17" y="283"/>
                    </a:lnTo>
                    <a:lnTo>
                      <a:pt x="16" y="281"/>
                    </a:lnTo>
                    <a:lnTo>
                      <a:pt x="16" y="278"/>
                    </a:lnTo>
                    <a:lnTo>
                      <a:pt x="12" y="278"/>
                    </a:lnTo>
                    <a:lnTo>
                      <a:pt x="12" y="271"/>
                    </a:lnTo>
                    <a:lnTo>
                      <a:pt x="10" y="266"/>
                    </a:lnTo>
                    <a:lnTo>
                      <a:pt x="10" y="264"/>
                    </a:lnTo>
                    <a:lnTo>
                      <a:pt x="9" y="255"/>
                    </a:lnTo>
                    <a:lnTo>
                      <a:pt x="5" y="250"/>
                    </a:lnTo>
                    <a:lnTo>
                      <a:pt x="5" y="247"/>
                    </a:lnTo>
                    <a:lnTo>
                      <a:pt x="2" y="237"/>
                    </a:lnTo>
                    <a:lnTo>
                      <a:pt x="2" y="232"/>
                    </a:lnTo>
                    <a:lnTo>
                      <a:pt x="0" y="232"/>
                    </a:lnTo>
                    <a:lnTo>
                      <a:pt x="4" y="226"/>
                    </a:lnTo>
                    <a:lnTo>
                      <a:pt x="2" y="223"/>
                    </a:lnTo>
                    <a:lnTo>
                      <a:pt x="2" y="221"/>
                    </a:lnTo>
                    <a:lnTo>
                      <a:pt x="9" y="209"/>
                    </a:lnTo>
                    <a:lnTo>
                      <a:pt x="12" y="208"/>
                    </a:lnTo>
                    <a:lnTo>
                      <a:pt x="12" y="204"/>
                    </a:lnTo>
                    <a:lnTo>
                      <a:pt x="17" y="201"/>
                    </a:lnTo>
                    <a:lnTo>
                      <a:pt x="16" y="198"/>
                    </a:lnTo>
                    <a:lnTo>
                      <a:pt x="16" y="196"/>
                    </a:lnTo>
                    <a:lnTo>
                      <a:pt x="17" y="187"/>
                    </a:lnTo>
                    <a:lnTo>
                      <a:pt x="17" y="181"/>
                    </a:lnTo>
                    <a:lnTo>
                      <a:pt x="22" y="170"/>
                    </a:lnTo>
                    <a:lnTo>
                      <a:pt x="24" y="169"/>
                    </a:lnTo>
                    <a:lnTo>
                      <a:pt x="26" y="164"/>
                    </a:lnTo>
                    <a:lnTo>
                      <a:pt x="27" y="165"/>
                    </a:lnTo>
                    <a:lnTo>
                      <a:pt x="31" y="160"/>
                    </a:lnTo>
                    <a:lnTo>
                      <a:pt x="34" y="158"/>
                    </a:lnTo>
                    <a:lnTo>
                      <a:pt x="34" y="157"/>
                    </a:lnTo>
                    <a:lnTo>
                      <a:pt x="33" y="155"/>
                    </a:lnTo>
                    <a:lnTo>
                      <a:pt x="34" y="153"/>
                    </a:lnTo>
                    <a:lnTo>
                      <a:pt x="38" y="152"/>
                    </a:lnTo>
                    <a:lnTo>
                      <a:pt x="39" y="150"/>
                    </a:lnTo>
                    <a:lnTo>
                      <a:pt x="39" y="145"/>
                    </a:lnTo>
                    <a:lnTo>
                      <a:pt x="38" y="135"/>
                    </a:lnTo>
                    <a:lnTo>
                      <a:pt x="34" y="121"/>
                    </a:lnTo>
                    <a:lnTo>
                      <a:pt x="33" y="121"/>
                    </a:lnTo>
                    <a:lnTo>
                      <a:pt x="34" y="119"/>
                    </a:lnTo>
                    <a:lnTo>
                      <a:pt x="33" y="118"/>
                    </a:lnTo>
                    <a:lnTo>
                      <a:pt x="33" y="114"/>
                    </a:lnTo>
                    <a:lnTo>
                      <a:pt x="31" y="114"/>
                    </a:lnTo>
                    <a:lnTo>
                      <a:pt x="31" y="109"/>
                    </a:lnTo>
                    <a:lnTo>
                      <a:pt x="27" y="109"/>
                    </a:lnTo>
                    <a:lnTo>
                      <a:pt x="26" y="107"/>
                    </a:lnTo>
                    <a:lnTo>
                      <a:pt x="26" y="106"/>
                    </a:lnTo>
                    <a:lnTo>
                      <a:pt x="26" y="104"/>
                    </a:lnTo>
                    <a:lnTo>
                      <a:pt x="27" y="102"/>
                    </a:lnTo>
                    <a:lnTo>
                      <a:pt x="29" y="101"/>
                    </a:lnTo>
                    <a:lnTo>
                      <a:pt x="31" y="97"/>
                    </a:lnTo>
                    <a:lnTo>
                      <a:pt x="27" y="96"/>
                    </a:lnTo>
                    <a:lnTo>
                      <a:pt x="27" y="94"/>
                    </a:lnTo>
                    <a:lnTo>
                      <a:pt x="31" y="92"/>
                    </a:lnTo>
                    <a:lnTo>
                      <a:pt x="29" y="85"/>
                    </a:lnTo>
                    <a:lnTo>
                      <a:pt x="26" y="82"/>
                    </a:lnTo>
                    <a:lnTo>
                      <a:pt x="26" y="80"/>
                    </a:lnTo>
                    <a:lnTo>
                      <a:pt x="27" y="78"/>
                    </a:lnTo>
                    <a:lnTo>
                      <a:pt x="26" y="77"/>
                    </a:lnTo>
                    <a:lnTo>
                      <a:pt x="24" y="75"/>
                    </a:lnTo>
                    <a:lnTo>
                      <a:pt x="24" y="73"/>
                    </a:lnTo>
                    <a:lnTo>
                      <a:pt x="27" y="68"/>
                    </a:lnTo>
                    <a:lnTo>
                      <a:pt x="26" y="67"/>
                    </a:lnTo>
                    <a:lnTo>
                      <a:pt x="27" y="61"/>
                    </a:lnTo>
                    <a:lnTo>
                      <a:pt x="26" y="60"/>
                    </a:lnTo>
                    <a:lnTo>
                      <a:pt x="24" y="56"/>
                    </a:lnTo>
                    <a:lnTo>
                      <a:pt x="24" y="50"/>
                    </a:lnTo>
                    <a:lnTo>
                      <a:pt x="26" y="48"/>
                    </a:lnTo>
                    <a:lnTo>
                      <a:pt x="22" y="44"/>
                    </a:lnTo>
                    <a:lnTo>
                      <a:pt x="22" y="41"/>
                    </a:lnTo>
                    <a:lnTo>
                      <a:pt x="26" y="39"/>
                    </a:lnTo>
                    <a:lnTo>
                      <a:pt x="26" y="38"/>
                    </a:lnTo>
                    <a:lnTo>
                      <a:pt x="21" y="38"/>
                    </a:lnTo>
                    <a:lnTo>
                      <a:pt x="17" y="29"/>
                    </a:lnTo>
                    <a:lnTo>
                      <a:pt x="17" y="27"/>
                    </a:lnTo>
                    <a:lnTo>
                      <a:pt x="19" y="26"/>
                    </a:lnTo>
                    <a:lnTo>
                      <a:pt x="17" y="24"/>
                    </a:lnTo>
                    <a:lnTo>
                      <a:pt x="19" y="21"/>
                    </a:lnTo>
                    <a:lnTo>
                      <a:pt x="21" y="16"/>
                    </a:lnTo>
                    <a:lnTo>
                      <a:pt x="22" y="14"/>
                    </a:lnTo>
                    <a:lnTo>
                      <a:pt x="22" y="10"/>
                    </a:lnTo>
                    <a:lnTo>
                      <a:pt x="22" y="9"/>
                    </a:lnTo>
                    <a:lnTo>
                      <a:pt x="39" y="10"/>
                    </a:lnTo>
                    <a:lnTo>
                      <a:pt x="51" y="9"/>
                    </a:lnTo>
                    <a:lnTo>
                      <a:pt x="58" y="10"/>
                    </a:lnTo>
                    <a:lnTo>
                      <a:pt x="77" y="10"/>
                    </a:lnTo>
                    <a:lnTo>
                      <a:pt x="80" y="10"/>
                    </a:lnTo>
                    <a:lnTo>
                      <a:pt x="82" y="9"/>
                    </a:lnTo>
                    <a:lnTo>
                      <a:pt x="85" y="10"/>
                    </a:lnTo>
                    <a:lnTo>
                      <a:pt x="85" y="9"/>
                    </a:lnTo>
                    <a:lnTo>
                      <a:pt x="94" y="9"/>
                    </a:lnTo>
                    <a:lnTo>
                      <a:pt x="95" y="9"/>
                    </a:lnTo>
                    <a:lnTo>
                      <a:pt x="109" y="10"/>
                    </a:lnTo>
                    <a:lnTo>
                      <a:pt x="109" y="9"/>
                    </a:lnTo>
                    <a:lnTo>
                      <a:pt x="119" y="9"/>
                    </a:lnTo>
                    <a:lnTo>
                      <a:pt x="119" y="10"/>
                    </a:lnTo>
                    <a:lnTo>
                      <a:pt x="121" y="10"/>
                    </a:lnTo>
                    <a:lnTo>
                      <a:pt x="123" y="9"/>
                    </a:lnTo>
                    <a:lnTo>
                      <a:pt x="126" y="9"/>
                    </a:lnTo>
                    <a:lnTo>
                      <a:pt x="131" y="9"/>
                    </a:lnTo>
                    <a:lnTo>
                      <a:pt x="131" y="10"/>
                    </a:lnTo>
                    <a:lnTo>
                      <a:pt x="133" y="10"/>
                    </a:lnTo>
                    <a:lnTo>
                      <a:pt x="131" y="10"/>
                    </a:lnTo>
                    <a:lnTo>
                      <a:pt x="133" y="10"/>
                    </a:lnTo>
                    <a:lnTo>
                      <a:pt x="135" y="12"/>
                    </a:lnTo>
                    <a:lnTo>
                      <a:pt x="135" y="14"/>
                    </a:lnTo>
                    <a:lnTo>
                      <a:pt x="138" y="9"/>
                    </a:lnTo>
                    <a:lnTo>
                      <a:pt x="138" y="10"/>
                    </a:lnTo>
                    <a:lnTo>
                      <a:pt x="140" y="9"/>
                    </a:lnTo>
                    <a:lnTo>
                      <a:pt x="140" y="10"/>
                    </a:lnTo>
                    <a:lnTo>
                      <a:pt x="141" y="7"/>
                    </a:lnTo>
                    <a:lnTo>
                      <a:pt x="143" y="7"/>
                    </a:lnTo>
                    <a:lnTo>
                      <a:pt x="145" y="4"/>
                    </a:lnTo>
                    <a:lnTo>
                      <a:pt x="146" y="2"/>
                    </a:lnTo>
                    <a:lnTo>
                      <a:pt x="146" y="5"/>
                    </a:lnTo>
                    <a:lnTo>
                      <a:pt x="148" y="5"/>
                    </a:lnTo>
                    <a:lnTo>
                      <a:pt x="148" y="4"/>
                    </a:lnTo>
                    <a:lnTo>
                      <a:pt x="152" y="2"/>
                    </a:lnTo>
                    <a:lnTo>
                      <a:pt x="152" y="0"/>
                    </a:lnTo>
                    <a:lnTo>
                      <a:pt x="158" y="2"/>
                    </a:lnTo>
                    <a:lnTo>
                      <a:pt x="158" y="4"/>
                    </a:lnTo>
                    <a:lnTo>
                      <a:pt x="162" y="5"/>
                    </a:lnTo>
                    <a:lnTo>
                      <a:pt x="165" y="4"/>
                    </a:lnTo>
                    <a:lnTo>
                      <a:pt x="167" y="5"/>
                    </a:lnTo>
                    <a:lnTo>
                      <a:pt x="167" y="10"/>
                    </a:lnTo>
                    <a:lnTo>
                      <a:pt x="165" y="10"/>
                    </a:lnTo>
                    <a:lnTo>
                      <a:pt x="165" y="17"/>
                    </a:lnTo>
                    <a:lnTo>
                      <a:pt x="165" y="19"/>
                    </a:lnTo>
                    <a:lnTo>
                      <a:pt x="162" y="21"/>
                    </a:lnTo>
                    <a:lnTo>
                      <a:pt x="162" y="24"/>
                    </a:lnTo>
                    <a:lnTo>
                      <a:pt x="162" y="27"/>
                    </a:lnTo>
                    <a:lnTo>
                      <a:pt x="169" y="29"/>
                    </a:lnTo>
                    <a:lnTo>
                      <a:pt x="169" y="33"/>
                    </a:lnTo>
                    <a:lnTo>
                      <a:pt x="172" y="34"/>
                    </a:lnTo>
                    <a:lnTo>
                      <a:pt x="175" y="39"/>
                    </a:lnTo>
                    <a:lnTo>
                      <a:pt x="177" y="38"/>
                    </a:lnTo>
                    <a:lnTo>
                      <a:pt x="179" y="39"/>
                    </a:lnTo>
                    <a:lnTo>
                      <a:pt x="180" y="38"/>
                    </a:lnTo>
                    <a:lnTo>
                      <a:pt x="180" y="39"/>
                    </a:lnTo>
                    <a:lnTo>
                      <a:pt x="180" y="41"/>
                    </a:lnTo>
                    <a:lnTo>
                      <a:pt x="182" y="43"/>
                    </a:lnTo>
                    <a:lnTo>
                      <a:pt x="182" y="44"/>
                    </a:lnTo>
                    <a:lnTo>
                      <a:pt x="186" y="44"/>
                    </a:lnTo>
                    <a:lnTo>
                      <a:pt x="184" y="46"/>
                    </a:lnTo>
                    <a:lnTo>
                      <a:pt x="184" y="55"/>
                    </a:lnTo>
                    <a:lnTo>
                      <a:pt x="187" y="56"/>
                    </a:lnTo>
                    <a:lnTo>
                      <a:pt x="187" y="58"/>
                    </a:lnTo>
                    <a:lnTo>
                      <a:pt x="184" y="58"/>
                    </a:lnTo>
                    <a:lnTo>
                      <a:pt x="184" y="60"/>
                    </a:lnTo>
                    <a:lnTo>
                      <a:pt x="186" y="63"/>
                    </a:lnTo>
                    <a:lnTo>
                      <a:pt x="184" y="65"/>
                    </a:lnTo>
                    <a:lnTo>
                      <a:pt x="184" y="68"/>
                    </a:lnTo>
                    <a:lnTo>
                      <a:pt x="182" y="70"/>
                    </a:lnTo>
                    <a:lnTo>
                      <a:pt x="182" y="73"/>
                    </a:lnTo>
                    <a:lnTo>
                      <a:pt x="184" y="75"/>
                    </a:lnTo>
                    <a:lnTo>
                      <a:pt x="184" y="77"/>
                    </a:lnTo>
                    <a:lnTo>
                      <a:pt x="182" y="77"/>
                    </a:lnTo>
                    <a:lnTo>
                      <a:pt x="180" y="75"/>
                    </a:lnTo>
                    <a:lnTo>
                      <a:pt x="179" y="77"/>
                    </a:lnTo>
                    <a:lnTo>
                      <a:pt x="180" y="80"/>
                    </a:lnTo>
                    <a:lnTo>
                      <a:pt x="184" y="78"/>
                    </a:lnTo>
                    <a:lnTo>
                      <a:pt x="186" y="80"/>
                    </a:lnTo>
                    <a:lnTo>
                      <a:pt x="184" y="82"/>
                    </a:lnTo>
                    <a:lnTo>
                      <a:pt x="179" y="82"/>
                    </a:lnTo>
                    <a:lnTo>
                      <a:pt x="179" y="84"/>
                    </a:lnTo>
                    <a:lnTo>
                      <a:pt x="180" y="84"/>
                    </a:lnTo>
                    <a:lnTo>
                      <a:pt x="182" y="85"/>
                    </a:lnTo>
                    <a:lnTo>
                      <a:pt x="179" y="87"/>
                    </a:lnTo>
                    <a:lnTo>
                      <a:pt x="177" y="85"/>
                    </a:lnTo>
                    <a:lnTo>
                      <a:pt x="177" y="87"/>
                    </a:lnTo>
                    <a:lnTo>
                      <a:pt x="179" y="89"/>
                    </a:lnTo>
                    <a:lnTo>
                      <a:pt x="180" y="89"/>
                    </a:lnTo>
                    <a:lnTo>
                      <a:pt x="184" y="87"/>
                    </a:lnTo>
                    <a:lnTo>
                      <a:pt x="184" y="85"/>
                    </a:lnTo>
                    <a:lnTo>
                      <a:pt x="189" y="85"/>
                    </a:lnTo>
                    <a:lnTo>
                      <a:pt x="191" y="85"/>
                    </a:lnTo>
                    <a:lnTo>
                      <a:pt x="191" y="89"/>
                    </a:lnTo>
                    <a:lnTo>
                      <a:pt x="194" y="89"/>
                    </a:lnTo>
                    <a:lnTo>
                      <a:pt x="194" y="90"/>
                    </a:lnTo>
                    <a:lnTo>
                      <a:pt x="194" y="94"/>
                    </a:lnTo>
                    <a:lnTo>
                      <a:pt x="194" y="96"/>
                    </a:lnTo>
                    <a:lnTo>
                      <a:pt x="192" y="97"/>
                    </a:lnTo>
                    <a:lnTo>
                      <a:pt x="192" y="101"/>
                    </a:lnTo>
                    <a:lnTo>
                      <a:pt x="191" y="102"/>
                    </a:lnTo>
                    <a:lnTo>
                      <a:pt x="191" y="104"/>
                    </a:lnTo>
                    <a:lnTo>
                      <a:pt x="189" y="107"/>
                    </a:lnTo>
                    <a:lnTo>
                      <a:pt x="192" y="114"/>
                    </a:lnTo>
                    <a:lnTo>
                      <a:pt x="192" y="118"/>
                    </a:lnTo>
                    <a:lnTo>
                      <a:pt x="191" y="119"/>
                    </a:lnTo>
                    <a:lnTo>
                      <a:pt x="191" y="121"/>
                    </a:lnTo>
                    <a:lnTo>
                      <a:pt x="189" y="121"/>
                    </a:lnTo>
                    <a:lnTo>
                      <a:pt x="189" y="119"/>
                    </a:lnTo>
                    <a:lnTo>
                      <a:pt x="187" y="121"/>
                    </a:lnTo>
                    <a:lnTo>
                      <a:pt x="186" y="121"/>
                    </a:lnTo>
                    <a:lnTo>
                      <a:pt x="186" y="123"/>
                    </a:lnTo>
                    <a:lnTo>
                      <a:pt x="189" y="131"/>
                    </a:lnTo>
                    <a:lnTo>
                      <a:pt x="191" y="131"/>
                    </a:lnTo>
                    <a:lnTo>
                      <a:pt x="192" y="133"/>
                    </a:lnTo>
                    <a:lnTo>
                      <a:pt x="194" y="135"/>
                    </a:lnTo>
                    <a:lnTo>
                      <a:pt x="199" y="136"/>
                    </a:lnTo>
                    <a:lnTo>
                      <a:pt x="199" y="140"/>
                    </a:lnTo>
                    <a:lnTo>
                      <a:pt x="201" y="141"/>
                    </a:lnTo>
                    <a:lnTo>
                      <a:pt x="203" y="145"/>
                    </a:lnTo>
                    <a:lnTo>
                      <a:pt x="203" y="147"/>
                    </a:lnTo>
                    <a:lnTo>
                      <a:pt x="199" y="148"/>
                    </a:lnTo>
                    <a:lnTo>
                      <a:pt x="197" y="150"/>
                    </a:lnTo>
                    <a:lnTo>
                      <a:pt x="196" y="152"/>
                    </a:lnTo>
                    <a:lnTo>
                      <a:pt x="197" y="153"/>
                    </a:lnTo>
                    <a:lnTo>
                      <a:pt x="196" y="155"/>
                    </a:lnTo>
                    <a:lnTo>
                      <a:pt x="196" y="157"/>
                    </a:lnTo>
                    <a:lnTo>
                      <a:pt x="197" y="172"/>
                    </a:lnTo>
                    <a:lnTo>
                      <a:pt x="197" y="174"/>
                    </a:lnTo>
                    <a:lnTo>
                      <a:pt x="197" y="175"/>
                    </a:lnTo>
                    <a:lnTo>
                      <a:pt x="196" y="177"/>
                    </a:lnTo>
                    <a:lnTo>
                      <a:pt x="196" y="181"/>
                    </a:lnTo>
                    <a:lnTo>
                      <a:pt x="192" y="182"/>
                    </a:lnTo>
                    <a:lnTo>
                      <a:pt x="192" y="187"/>
                    </a:lnTo>
                    <a:lnTo>
                      <a:pt x="192" y="189"/>
                    </a:lnTo>
                    <a:lnTo>
                      <a:pt x="194" y="192"/>
                    </a:lnTo>
                    <a:lnTo>
                      <a:pt x="197" y="191"/>
                    </a:lnTo>
                    <a:lnTo>
                      <a:pt x="199" y="192"/>
                    </a:lnTo>
                    <a:lnTo>
                      <a:pt x="199" y="196"/>
                    </a:lnTo>
                    <a:lnTo>
                      <a:pt x="197" y="203"/>
                    </a:lnTo>
                    <a:lnTo>
                      <a:pt x="196" y="204"/>
                    </a:lnTo>
                    <a:lnTo>
                      <a:pt x="197" y="208"/>
                    </a:lnTo>
                    <a:lnTo>
                      <a:pt x="196" y="209"/>
                    </a:lnTo>
                    <a:lnTo>
                      <a:pt x="196" y="211"/>
                    </a:lnTo>
                    <a:lnTo>
                      <a:pt x="194" y="213"/>
                    </a:lnTo>
                    <a:lnTo>
                      <a:pt x="192" y="213"/>
                    </a:lnTo>
                    <a:lnTo>
                      <a:pt x="192" y="215"/>
                    </a:lnTo>
                    <a:lnTo>
                      <a:pt x="194" y="216"/>
                    </a:lnTo>
                    <a:lnTo>
                      <a:pt x="192" y="220"/>
                    </a:lnTo>
                    <a:lnTo>
                      <a:pt x="194" y="221"/>
                    </a:lnTo>
                    <a:lnTo>
                      <a:pt x="196" y="223"/>
                    </a:lnTo>
                    <a:lnTo>
                      <a:pt x="199" y="225"/>
                    </a:lnTo>
                    <a:lnTo>
                      <a:pt x="197" y="230"/>
                    </a:lnTo>
                    <a:lnTo>
                      <a:pt x="199" y="232"/>
                    </a:lnTo>
                    <a:lnTo>
                      <a:pt x="201" y="232"/>
                    </a:lnTo>
                    <a:lnTo>
                      <a:pt x="201" y="233"/>
                    </a:lnTo>
                    <a:lnTo>
                      <a:pt x="204" y="233"/>
                    </a:lnTo>
                    <a:lnTo>
                      <a:pt x="203" y="235"/>
                    </a:lnTo>
                    <a:lnTo>
                      <a:pt x="204" y="240"/>
                    </a:lnTo>
                    <a:lnTo>
                      <a:pt x="206" y="242"/>
                    </a:lnTo>
                    <a:lnTo>
                      <a:pt x="209" y="244"/>
                    </a:lnTo>
                    <a:lnTo>
                      <a:pt x="211" y="245"/>
                    </a:lnTo>
                    <a:lnTo>
                      <a:pt x="216" y="245"/>
                    </a:lnTo>
                    <a:lnTo>
                      <a:pt x="218" y="250"/>
                    </a:lnTo>
                    <a:lnTo>
                      <a:pt x="220" y="252"/>
                    </a:lnTo>
                    <a:lnTo>
                      <a:pt x="221" y="254"/>
                    </a:lnTo>
                    <a:lnTo>
                      <a:pt x="226" y="254"/>
                    </a:lnTo>
                    <a:lnTo>
                      <a:pt x="226" y="257"/>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Freeform 31">
                <a:extLst>
                  <a:ext uri="{FF2B5EF4-FFF2-40B4-BE49-F238E27FC236}">
                    <a16:creationId xmlns:a16="http://schemas.microsoft.com/office/drawing/2014/main" id="{C75FA419-1856-4275-8461-3853D682C619}"/>
                  </a:ext>
                </a:extLst>
              </p:cNvPr>
              <p:cNvSpPr>
                <a:spLocks noEditPoints="1"/>
              </p:cNvSpPr>
              <p:nvPr/>
            </p:nvSpPr>
            <p:spPr bwMode="gray">
              <a:xfrm>
                <a:off x="4332192" y="3176891"/>
                <a:ext cx="467126" cy="345699"/>
              </a:xfrm>
              <a:custGeom>
                <a:avLst/>
                <a:gdLst>
                  <a:gd name="T0" fmla="*/ 189 w 377"/>
                  <a:gd name="T1" fmla="*/ 29 h 279"/>
                  <a:gd name="T2" fmla="*/ 207 w 377"/>
                  <a:gd name="T3" fmla="*/ 24 h 279"/>
                  <a:gd name="T4" fmla="*/ 231 w 377"/>
                  <a:gd name="T5" fmla="*/ 32 h 279"/>
                  <a:gd name="T6" fmla="*/ 248 w 377"/>
                  <a:gd name="T7" fmla="*/ 24 h 279"/>
                  <a:gd name="T8" fmla="*/ 274 w 377"/>
                  <a:gd name="T9" fmla="*/ 30 h 279"/>
                  <a:gd name="T10" fmla="*/ 289 w 377"/>
                  <a:gd name="T11" fmla="*/ 12 h 279"/>
                  <a:gd name="T12" fmla="*/ 309 w 377"/>
                  <a:gd name="T13" fmla="*/ 24 h 279"/>
                  <a:gd name="T14" fmla="*/ 318 w 377"/>
                  <a:gd name="T15" fmla="*/ 46 h 279"/>
                  <a:gd name="T16" fmla="*/ 336 w 377"/>
                  <a:gd name="T17" fmla="*/ 64 h 279"/>
                  <a:gd name="T18" fmla="*/ 325 w 377"/>
                  <a:gd name="T19" fmla="*/ 86 h 279"/>
                  <a:gd name="T20" fmla="*/ 342 w 377"/>
                  <a:gd name="T21" fmla="*/ 98 h 279"/>
                  <a:gd name="T22" fmla="*/ 359 w 377"/>
                  <a:gd name="T23" fmla="*/ 127 h 279"/>
                  <a:gd name="T24" fmla="*/ 353 w 377"/>
                  <a:gd name="T25" fmla="*/ 146 h 279"/>
                  <a:gd name="T26" fmla="*/ 367 w 377"/>
                  <a:gd name="T27" fmla="*/ 165 h 279"/>
                  <a:gd name="T28" fmla="*/ 362 w 377"/>
                  <a:gd name="T29" fmla="*/ 199 h 279"/>
                  <a:gd name="T30" fmla="*/ 365 w 377"/>
                  <a:gd name="T31" fmla="*/ 216 h 279"/>
                  <a:gd name="T32" fmla="*/ 348 w 377"/>
                  <a:gd name="T33" fmla="*/ 214 h 279"/>
                  <a:gd name="T34" fmla="*/ 359 w 377"/>
                  <a:gd name="T35" fmla="*/ 234 h 279"/>
                  <a:gd name="T36" fmla="*/ 340 w 377"/>
                  <a:gd name="T37" fmla="*/ 257 h 279"/>
                  <a:gd name="T38" fmla="*/ 323 w 377"/>
                  <a:gd name="T39" fmla="*/ 262 h 279"/>
                  <a:gd name="T40" fmla="*/ 304 w 377"/>
                  <a:gd name="T41" fmla="*/ 277 h 279"/>
                  <a:gd name="T42" fmla="*/ 284 w 377"/>
                  <a:gd name="T43" fmla="*/ 268 h 279"/>
                  <a:gd name="T44" fmla="*/ 284 w 377"/>
                  <a:gd name="T45" fmla="*/ 228 h 279"/>
                  <a:gd name="T46" fmla="*/ 274 w 377"/>
                  <a:gd name="T47" fmla="*/ 212 h 279"/>
                  <a:gd name="T48" fmla="*/ 255 w 377"/>
                  <a:gd name="T49" fmla="*/ 216 h 279"/>
                  <a:gd name="T50" fmla="*/ 228 w 377"/>
                  <a:gd name="T51" fmla="*/ 221 h 279"/>
                  <a:gd name="T52" fmla="*/ 231 w 377"/>
                  <a:gd name="T53" fmla="*/ 197 h 279"/>
                  <a:gd name="T54" fmla="*/ 221 w 377"/>
                  <a:gd name="T55" fmla="*/ 168 h 279"/>
                  <a:gd name="T56" fmla="*/ 207 w 377"/>
                  <a:gd name="T57" fmla="*/ 149 h 279"/>
                  <a:gd name="T58" fmla="*/ 131 w 377"/>
                  <a:gd name="T59" fmla="*/ 146 h 279"/>
                  <a:gd name="T60" fmla="*/ 122 w 377"/>
                  <a:gd name="T61" fmla="*/ 166 h 279"/>
                  <a:gd name="T62" fmla="*/ 102 w 377"/>
                  <a:gd name="T63" fmla="*/ 183 h 279"/>
                  <a:gd name="T64" fmla="*/ 90 w 377"/>
                  <a:gd name="T65" fmla="*/ 177 h 279"/>
                  <a:gd name="T66" fmla="*/ 90 w 377"/>
                  <a:gd name="T67" fmla="*/ 168 h 279"/>
                  <a:gd name="T68" fmla="*/ 81 w 377"/>
                  <a:gd name="T69" fmla="*/ 156 h 279"/>
                  <a:gd name="T70" fmla="*/ 76 w 377"/>
                  <a:gd name="T71" fmla="*/ 156 h 279"/>
                  <a:gd name="T72" fmla="*/ 80 w 377"/>
                  <a:gd name="T73" fmla="*/ 148 h 279"/>
                  <a:gd name="T74" fmla="*/ 70 w 377"/>
                  <a:gd name="T75" fmla="*/ 144 h 279"/>
                  <a:gd name="T76" fmla="*/ 56 w 377"/>
                  <a:gd name="T77" fmla="*/ 132 h 279"/>
                  <a:gd name="T78" fmla="*/ 42 w 377"/>
                  <a:gd name="T79" fmla="*/ 129 h 279"/>
                  <a:gd name="T80" fmla="*/ 39 w 377"/>
                  <a:gd name="T81" fmla="*/ 126 h 279"/>
                  <a:gd name="T82" fmla="*/ 22 w 377"/>
                  <a:gd name="T83" fmla="*/ 109 h 279"/>
                  <a:gd name="T84" fmla="*/ 24 w 377"/>
                  <a:gd name="T85" fmla="*/ 95 h 279"/>
                  <a:gd name="T86" fmla="*/ 17 w 377"/>
                  <a:gd name="T87" fmla="*/ 93 h 279"/>
                  <a:gd name="T88" fmla="*/ 12 w 377"/>
                  <a:gd name="T89" fmla="*/ 80 h 279"/>
                  <a:gd name="T90" fmla="*/ 47 w 377"/>
                  <a:gd name="T91" fmla="*/ 51 h 279"/>
                  <a:gd name="T92" fmla="*/ 64 w 377"/>
                  <a:gd name="T93" fmla="*/ 49 h 279"/>
                  <a:gd name="T94" fmla="*/ 63 w 377"/>
                  <a:gd name="T95" fmla="*/ 22 h 279"/>
                  <a:gd name="T96" fmla="*/ 71 w 377"/>
                  <a:gd name="T97" fmla="*/ 8 h 279"/>
                  <a:gd name="T98" fmla="*/ 107 w 377"/>
                  <a:gd name="T99" fmla="*/ 12 h 279"/>
                  <a:gd name="T100" fmla="*/ 144 w 377"/>
                  <a:gd name="T101" fmla="*/ 17 h 279"/>
                  <a:gd name="T102" fmla="*/ 7 w 377"/>
                  <a:gd name="T103" fmla="*/ 92 h 279"/>
                  <a:gd name="T104" fmla="*/ 24 w 377"/>
                  <a:gd name="T105" fmla="*/ 102 h 279"/>
                  <a:gd name="T106" fmla="*/ 51 w 377"/>
                  <a:gd name="T107" fmla="*/ 131 h 279"/>
                  <a:gd name="T108" fmla="*/ 70 w 377"/>
                  <a:gd name="T109" fmla="*/ 146 h 279"/>
                  <a:gd name="T110" fmla="*/ 10 w 377"/>
                  <a:gd name="T111" fmla="*/ 85 h 279"/>
                  <a:gd name="T112" fmla="*/ 51 w 377"/>
                  <a:gd name="T113" fmla="*/ 129 h 279"/>
                  <a:gd name="T114" fmla="*/ 66 w 377"/>
                  <a:gd name="T115" fmla="*/ 160 h 279"/>
                  <a:gd name="T116" fmla="*/ 53 w 377"/>
                  <a:gd name="T117" fmla="*/ 131 h 279"/>
                  <a:gd name="T118" fmla="*/ 71 w 377"/>
                  <a:gd name="T119" fmla="*/ 14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7" h="279">
                    <a:moveTo>
                      <a:pt x="189" y="13"/>
                    </a:moveTo>
                    <a:lnTo>
                      <a:pt x="189" y="15"/>
                    </a:lnTo>
                    <a:lnTo>
                      <a:pt x="187" y="15"/>
                    </a:lnTo>
                    <a:lnTo>
                      <a:pt x="185" y="15"/>
                    </a:lnTo>
                    <a:lnTo>
                      <a:pt x="185" y="17"/>
                    </a:lnTo>
                    <a:lnTo>
                      <a:pt x="183" y="17"/>
                    </a:lnTo>
                    <a:lnTo>
                      <a:pt x="185" y="17"/>
                    </a:lnTo>
                    <a:lnTo>
                      <a:pt x="185" y="20"/>
                    </a:lnTo>
                    <a:lnTo>
                      <a:pt x="183" y="20"/>
                    </a:lnTo>
                    <a:lnTo>
                      <a:pt x="183" y="22"/>
                    </a:lnTo>
                    <a:lnTo>
                      <a:pt x="182" y="24"/>
                    </a:lnTo>
                    <a:lnTo>
                      <a:pt x="182" y="25"/>
                    </a:lnTo>
                    <a:lnTo>
                      <a:pt x="183" y="27"/>
                    </a:lnTo>
                    <a:lnTo>
                      <a:pt x="189" y="29"/>
                    </a:lnTo>
                    <a:lnTo>
                      <a:pt x="189" y="32"/>
                    </a:lnTo>
                    <a:lnTo>
                      <a:pt x="192" y="34"/>
                    </a:lnTo>
                    <a:lnTo>
                      <a:pt x="194" y="35"/>
                    </a:lnTo>
                    <a:lnTo>
                      <a:pt x="195" y="35"/>
                    </a:lnTo>
                    <a:lnTo>
                      <a:pt x="195" y="34"/>
                    </a:lnTo>
                    <a:lnTo>
                      <a:pt x="197" y="34"/>
                    </a:lnTo>
                    <a:lnTo>
                      <a:pt x="200" y="32"/>
                    </a:lnTo>
                    <a:lnTo>
                      <a:pt x="200" y="29"/>
                    </a:lnTo>
                    <a:lnTo>
                      <a:pt x="200" y="30"/>
                    </a:lnTo>
                    <a:lnTo>
                      <a:pt x="202" y="29"/>
                    </a:lnTo>
                    <a:lnTo>
                      <a:pt x="204" y="27"/>
                    </a:lnTo>
                    <a:lnTo>
                      <a:pt x="204" y="25"/>
                    </a:lnTo>
                    <a:lnTo>
                      <a:pt x="204" y="24"/>
                    </a:lnTo>
                    <a:lnTo>
                      <a:pt x="207" y="24"/>
                    </a:lnTo>
                    <a:lnTo>
                      <a:pt x="211" y="24"/>
                    </a:lnTo>
                    <a:lnTo>
                      <a:pt x="212" y="24"/>
                    </a:lnTo>
                    <a:lnTo>
                      <a:pt x="214" y="27"/>
                    </a:lnTo>
                    <a:lnTo>
                      <a:pt x="217" y="29"/>
                    </a:lnTo>
                    <a:lnTo>
                      <a:pt x="217" y="30"/>
                    </a:lnTo>
                    <a:lnTo>
                      <a:pt x="217" y="32"/>
                    </a:lnTo>
                    <a:lnTo>
                      <a:pt x="219" y="35"/>
                    </a:lnTo>
                    <a:lnTo>
                      <a:pt x="219" y="37"/>
                    </a:lnTo>
                    <a:lnTo>
                      <a:pt x="223" y="41"/>
                    </a:lnTo>
                    <a:lnTo>
                      <a:pt x="226" y="39"/>
                    </a:lnTo>
                    <a:lnTo>
                      <a:pt x="226" y="35"/>
                    </a:lnTo>
                    <a:lnTo>
                      <a:pt x="229" y="35"/>
                    </a:lnTo>
                    <a:lnTo>
                      <a:pt x="228" y="34"/>
                    </a:lnTo>
                    <a:lnTo>
                      <a:pt x="231" y="32"/>
                    </a:lnTo>
                    <a:lnTo>
                      <a:pt x="231" y="30"/>
                    </a:lnTo>
                    <a:lnTo>
                      <a:pt x="231" y="29"/>
                    </a:lnTo>
                    <a:lnTo>
                      <a:pt x="234" y="29"/>
                    </a:lnTo>
                    <a:lnTo>
                      <a:pt x="236" y="27"/>
                    </a:lnTo>
                    <a:lnTo>
                      <a:pt x="236" y="25"/>
                    </a:lnTo>
                    <a:lnTo>
                      <a:pt x="238" y="25"/>
                    </a:lnTo>
                    <a:lnTo>
                      <a:pt x="240" y="25"/>
                    </a:lnTo>
                    <a:lnTo>
                      <a:pt x="241" y="25"/>
                    </a:lnTo>
                    <a:lnTo>
                      <a:pt x="240" y="24"/>
                    </a:lnTo>
                    <a:lnTo>
                      <a:pt x="241" y="24"/>
                    </a:lnTo>
                    <a:lnTo>
                      <a:pt x="243" y="25"/>
                    </a:lnTo>
                    <a:lnTo>
                      <a:pt x="243" y="24"/>
                    </a:lnTo>
                    <a:lnTo>
                      <a:pt x="245" y="24"/>
                    </a:lnTo>
                    <a:lnTo>
                      <a:pt x="248" y="24"/>
                    </a:lnTo>
                    <a:lnTo>
                      <a:pt x="250" y="25"/>
                    </a:lnTo>
                    <a:lnTo>
                      <a:pt x="251" y="25"/>
                    </a:lnTo>
                    <a:lnTo>
                      <a:pt x="253" y="25"/>
                    </a:lnTo>
                    <a:lnTo>
                      <a:pt x="253" y="27"/>
                    </a:lnTo>
                    <a:lnTo>
                      <a:pt x="255" y="27"/>
                    </a:lnTo>
                    <a:lnTo>
                      <a:pt x="257" y="29"/>
                    </a:lnTo>
                    <a:lnTo>
                      <a:pt x="258" y="29"/>
                    </a:lnTo>
                    <a:lnTo>
                      <a:pt x="262" y="29"/>
                    </a:lnTo>
                    <a:lnTo>
                      <a:pt x="263" y="32"/>
                    </a:lnTo>
                    <a:lnTo>
                      <a:pt x="267" y="30"/>
                    </a:lnTo>
                    <a:lnTo>
                      <a:pt x="268" y="32"/>
                    </a:lnTo>
                    <a:lnTo>
                      <a:pt x="272" y="34"/>
                    </a:lnTo>
                    <a:lnTo>
                      <a:pt x="274" y="32"/>
                    </a:lnTo>
                    <a:lnTo>
                      <a:pt x="274" y="30"/>
                    </a:lnTo>
                    <a:lnTo>
                      <a:pt x="274" y="29"/>
                    </a:lnTo>
                    <a:lnTo>
                      <a:pt x="275" y="25"/>
                    </a:lnTo>
                    <a:lnTo>
                      <a:pt x="279" y="25"/>
                    </a:lnTo>
                    <a:lnTo>
                      <a:pt x="280" y="25"/>
                    </a:lnTo>
                    <a:lnTo>
                      <a:pt x="284" y="22"/>
                    </a:lnTo>
                    <a:lnTo>
                      <a:pt x="287" y="22"/>
                    </a:lnTo>
                    <a:lnTo>
                      <a:pt x="291" y="22"/>
                    </a:lnTo>
                    <a:lnTo>
                      <a:pt x="292" y="20"/>
                    </a:lnTo>
                    <a:lnTo>
                      <a:pt x="292" y="18"/>
                    </a:lnTo>
                    <a:lnTo>
                      <a:pt x="292" y="17"/>
                    </a:lnTo>
                    <a:lnTo>
                      <a:pt x="291" y="15"/>
                    </a:lnTo>
                    <a:lnTo>
                      <a:pt x="291" y="13"/>
                    </a:lnTo>
                    <a:lnTo>
                      <a:pt x="289" y="13"/>
                    </a:lnTo>
                    <a:lnTo>
                      <a:pt x="289" y="12"/>
                    </a:lnTo>
                    <a:lnTo>
                      <a:pt x="287" y="12"/>
                    </a:lnTo>
                    <a:lnTo>
                      <a:pt x="289" y="10"/>
                    </a:lnTo>
                    <a:lnTo>
                      <a:pt x="291" y="10"/>
                    </a:lnTo>
                    <a:lnTo>
                      <a:pt x="292" y="8"/>
                    </a:lnTo>
                    <a:lnTo>
                      <a:pt x="294" y="10"/>
                    </a:lnTo>
                    <a:lnTo>
                      <a:pt x="296" y="8"/>
                    </a:lnTo>
                    <a:lnTo>
                      <a:pt x="301" y="10"/>
                    </a:lnTo>
                    <a:lnTo>
                      <a:pt x="304" y="12"/>
                    </a:lnTo>
                    <a:lnTo>
                      <a:pt x="308" y="13"/>
                    </a:lnTo>
                    <a:lnTo>
                      <a:pt x="308" y="15"/>
                    </a:lnTo>
                    <a:lnTo>
                      <a:pt x="311" y="17"/>
                    </a:lnTo>
                    <a:lnTo>
                      <a:pt x="311" y="18"/>
                    </a:lnTo>
                    <a:lnTo>
                      <a:pt x="309" y="22"/>
                    </a:lnTo>
                    <a:lnTo>
                      <a:pt x="309" y="24"/>
                    </a:lnTo>
                    <a:lnTo>
                      <a:pt x="309" y="25"/>
                    </a:lnTo>
                    <a:lnTo>
                      <a:pt x="313" y="24"/>
                    </a:lnTo>
                    <a:lnTo>
                      <a:pt x="314" y="27"/>
                    </a:lnTo>
                    <a:lnTo>
                      <a:pt x="313" y="29"/>
                    </a:lnTo>
                    <a:lnTo>
                      <a:pt x="313" y="30"/>
                    </a:lnTo>
                    <a:lnTo>
                      <a:pt x="313" y="32"/>
                    </a:lnTo>
                    <a:lnTo>
                      <a:pt x="314" y="32"/>
                    </a:lnTo>
                    <a:lnTo>
                      <a:pt x="314" y="34"/>
                    </a:lnTo>
                    <a:lnTo>
                      <a:pt x="316" y="32"/>
                    </a:lnTo>
                    <a:lnTo>
                      <a:pt x="318" y="34"/>
                    </a:lnTo>
                    <a:lnTo>
                      <a:pt x="318" y="35"/>
                    </a:lnTo>
                    <a:lnTo>
                      <a:pt x="319" y="41"/>
                    </a:lnTo>
                    <a:lnTo>
                      <a:pt x="316" y="44"/>
                    </a:lnTo>
                    <a:lnTo>
                      <a:pt x="318" y="46"/>
                    </a:lnTo>
                    <a:lnTo>
                      <a:pt x="316" y="52"/>
                    </a:lnTo>
                    <a:lnTo>
                      <a:pt x="319" y="54"/>
                    </a:lnTo>
                    <a:lnTo>
                      <a:pt x="319" y="52"/>
                    </a:lnTo>
                    <a:lnTo>
                      <a:pt x="321" y="54"/>
                    </a:lnTo>
                    <a:lnTo>
                      <a:pt x="323" y="52"/>
                    </a:lnTo>
                    <a:lnTo>
                      <a:pt x="326" y="58"/>
                    </a:lnTo>
                    <a:lnTo>
                      <a:pt x="326" y="59"/>
                    </a:lnTo>
                    <a:lnTo>
                      <a:pt x="328" y="61"/>
                    </a:lnTo>
                    <a:lnTo>
                      <a:pt x="330" y="61"/>
                    </a:lnTo>
                    <a:lnTo>
                      <a:pt x="331" y="61"/>
                    </a:lnTo>
                    <a:lnTo>
                      <a:pt x="333" y="64"/>
                    </a:lnTo>
                    <a:lnTo>
                      <a:pt x="335" y="64"/>
                    </a:lnTo>
                    <a:lnTo>
                      <a:pt x="335" y="63"/>
                    </a:lnTo>
                    <a:lnTo>
                      <a:pt x="336" y="64"/>
                    </a:lnTo>
                    <a:lnTo>
                      <a:pt x="340" y="66"/>
                    </a:lnTo>
                    <a:lnTo>
                      <a:pt x="338" y="66"/>
                    </a:lnTo>
                    <a:lnTo>
                      <a:pt x="338" y="68"/>
                    </a:lnTo>
                    <a:lnTo>
                      <a:pt x="342" y="68"/>
                    </a:lnTo>
                    <a:lnTo>
                      <a:pt x="340" y="71"/>
                    </a:lnTo>
                    <a:lnTo>
                      <a:pt x="338" y="71"/>
                    </a:lnTo>
                    <a:lnTo>
                      <a:pt x="335" y="71"/>
                    </a:lnTo>
                    <a:lnTo>
                      <a:pt x="335" y="73"/>
                    </a:lnTo>
                    <a:lnTo>
                      <a:pt x="331" y="75"/>
                    </a:lnTo>
                    <a:lnTo>
                      <a:pt x="330" y="78"/>
                    </a:lnTo>
                    <a:lnTo>
                      <a:pt x="328" y="78"/>
                    </a:lnTo>
                    <a:lnTo>
                      <a:pt x="328" y="80"/>
                    </a:lnTo>
                    <a:lnTo>
                      <a:pt x="325" y="85"/>
                    </a:lnTo>
                    <a:lnTo>
                      <a:pt x="325" y="86"/>
                    </a:lnTo>
                    <a:lnTo>
                      <a:pt x="325" y="88"/>
                    </a:lnTo>
                    <a:lnTo>
                      <a:pt x="328" y="86"/>
                    </a:lnTo>
                    <a:lnTo>
                      <a:pt x="328" y="88"/>
                    </a:lnTo>
                    <a:lnTo>
                      <a:pt x="333" y="86"/>
                    </a:lnTo>
                    <a:lnTo>
                      <a:pt x="335" y="81"/>
                    </a:lnTo>
                    <a:lnTo>
                      <a:pt x="338" y="81"/>
                    </a:lnTo>
                    <a:lnTo>
                      <a:pt x="340" y="81"/>
                    </a:lnTo>
                    <a:lnTo>
                      <a:pt x="342" y="81"/>
                    </a:lnTo>
                    <a:lnTo>
                      <a:pt x="343" y="85"/>
                    </a:lnTo>
                    <a:lnTo>
                      <a:pt x="345" y="92"/>
                    </a:lnTo>
                    <a:lnTo>
                      <a:pt x="345" y="93"/>
                    </a:lnTo>
                    <a:lnTo>
                      <a:pt x="343" y="93"/>
                    </a:lnTo>
                    <a:lnTo>
                      <a:pt x="342" y="97"/>
                    </a:lnTo>
                    <a:lnTo>
                      <a:pt x="342" y="98"/>
                    </a:lnTo>
                    <a:lnTo>
                      <a:pt x="343" y="97"/>
                    </a:lnTo>
                    <a:lnTo>
                      <a:pt x="343" y="100"/>
                    </a:lnTo>
                    <a:lnTo>
                      <a:pt x="345" y="105"/>
                    </a:lnTo>
                    <a:lnTo>
                      <a:pt x="345" y="107"/>
                    </a:lnTo>
                    <a:lnTo>
                      <a:pt x="345" y="109"/>
                    </a:lnTo>
                    <a:lnTo>
                      <a:pt x="347" y="114"/>
                    </a:lnTo>
                    <a:lnTo>
                      <a:pt x="350" y="115"/>
                    </a:lnTo>
                    <a:lnTo>
                      <a:pt x="353" y="114"/>
                    </a:lnTo>
                    <a:lnTo>
                      <a:pt x="353" y="117"/>
                    </a:lnTo>
                    <a:lnTo>
                      <a:pt x="359" y="117"/>
                    </a:lnTo>
                    <a:lnTo>
                      <a:pt x="362" y="119"/>
                    </a:lnTo>
                    <a:lnTo>
                      <a:pt x="362" y="124"/>
                    </a:lnTo>
                    <a:lnTo>
                      <a:pt x="360" y="127"/>
                    </a:lnTo>
                    <a:lnTo>
                      <a:pt x="359" y="127"/>
                    </a:lnTo>
                    <a:lnTo>
                      <a:pt x="359" y="131"/>
                    </a:lnTo>
                    <a:lnTo>
                      <a:pt x="352" y="134"/>
                    </a:lnTo>
                    <a:lnTo>
                      <a:pt x="352" y="137"/>
                    </a:lnTo>
                    <a:lnTo>
                      <a:pt x="353" y="137"/>
                    </a:lnTo>
                    <a:lnTo>
                      <a:pt x="350" y="139"/>
                    </a:lnTo>
                    <a:lnTo>
                      <a:pt x="352" y="139"/>
                    </a:lnTo>
                    <a:lnTo>
                      <a:pt x="350" y="139"/>
                    </a:lnTo>
                    <a:lnTo>
                      <a:pt x="352" y="141"/>
                    </a:lnTo>
                    <a:lnTo>
                      <a:pt x="352" y="139"/>
                    </a:lnTo>
                    <a:lnTo>
                      <a:pt x="353" y="141"/>
                    </a:lnTo>
                    <a:lnTo>
                      <a:pt x="352" y="143"/>
                    </a:lnTo>
                    <a:lnTo>
                      <a:pt x="353" y="143"/>
                    </a:lnTo>
                    <a:lnTo>
                      <a:pt x="353" y="144"/>
                    </a:lnTo>
                    <a:lnTo>
                      <a:pt x="353" y="146"/>
                    </a:lnTo>
                    <a:lnTo>
                      <a:pt x="353" y="148"/>
                    </a:lnTo>
                    <a:lnTo>
                      <a:pt x="352" y="148"/>
                    </a:lnTo>
                    <a:lnTo>
                      <a:pt x="353" y="151"/>
                    </a:lnTo>
                    <a:lnTo>
                      <a:pt x="352" y="151"/>
                    </a:lnTo>
                    <a:lnTo>
                      <a:pt x="353" y="153"/>
                    </a:lnTo>
                    <a:lnTo>
                      <a:pt x="352" y="154"/>
                    </a:lnTo>
                    <a:lnTo>
                      <a:pt x="352" y="156"/>
                    </a:lnTo>
                    <a:lnTo>
                      <a:pt x="352" y="158"/>
                    </a:lnTo>
                    <a:lnTo>
                      <a:pt x="353" y="163"/>
                    </a:lnTo>
                    <a:lnTo>
                      <a:pt x="357" y="166"/>
                    </a:lnTo>
                    <a:lnTo>
                      <a:pt x="360" y="166"/>
                    </a:lnTo>
                    <a:lnTo>
                      <a:pt x="364" y="165"/>
                    </a:lnTo>
                    <a:lnTo>
                      <a:pt x="365" y="165"/>
                    </a:lnTo>
                    <a:lnTo>
                      <a:pt x="367" y="165"/>
                    </a:lnTo>
                    <a:lnTo>
                      <a:pt x="365" y="170"/>
                    </a:lnTo>
                    <a:lnTo>
                      <a:pt x="365" y="172"/>
                    </a:lnTo>
                    <a:lnTo>
                      <a:pt x="362" y="177"/>
                    </a:lnTo>
                    <a:lnTo>
                      <a:pt x="365" y="178"/>
                    </a:lnTo>
                    <a:lnTo>
                      <a:pt x="367" y="177"/>
                    </a:lnTo>
                    <a:lnTo>
                      <a:pt x="370" y="182"/>
                    </a:lnTo>
                    <a:lnTo>
                      <a:pt x="372" y="183"/>
                    </a:lnTo>
                    <a:lnTo>
                      <a:pt x="367" y="182"/>
                    </a:lnTo>
                    <a:lnTo>
                      <a:pt x="365" y="183"/>
                    </a:lnTo>
                    <a:lnTo>
                      <a:pt x="364" y="185"/>
                    </a:lnTo>
                    <a:lnTo>
                      <a:pt x="362" y="185"/>
                    </a:lnTo>
                    <a:lnTo>
                      <a:pt x="364" y="189"/>
                    </a:lnTo>
                    <a:lnTo>
                      <a:pt x="360" y="195"/>
                    </a:lnTo>
                    <a:lnTo>
                      <a:pt x="362" y="199"/>
                    </a:lnTo>
                    <a:lnTo>
                      <a:pt x="365" y="197"/>
                    </a:lnTo>
                    <a:lnTo>
                      <a:pt x="365" y="199"/>
                    </a:lnTo>
                    <a:lnTo>
                      <a:pt x="370" y="199"/>
                    </a:lnTo>
                    <a:lnTo>
                      <a:pt x="374" y="206"/>
                    </a:lnTo>
                    <a:lnTo>
                      <a:pt x="374" y="209"/>
                    </a:lnTo>
                    <a:lnTo>
                      <a:pt x="376" y="212"/>
                    </a:lnTo>
                    <a:lnTo>
                      <a:pt x="376" y="214"/>
                    </a:lnTo>
                    <a:lnTo>
                      <a:pt x="377" y="217"/>
                    </a:lnTo>
                    <a:lnTo>
                      <a:pt x="372" y="217"/>
                    </a:lnTo>
                    <a:lnTo>
                      <a:pt x="369" y="212"/>
                    </a:lnTo>
                    <a:lnTo>
                      <a:pt x="367" y="212"/>
                    </a:lnTo>
                    <a:lnTo>
                      <a:pt x="367" y="214"/>
                    </a:lnTo>
                    <a:lnTo>
                      <a:pt x="367" y="216"/>
                    </a:lnTo>
                    <a:lnTo>
                      <a:pt x="365" y="216"/>
                    </a:lnTo>
                    <a:lnTo>
                      <a:pt x="365" y="214"/>
                    </a:lnTo>
                    <a:lnTo>
                      <a:pt x="364" y="214"/>
                    </a:lnTo>
                    <a:lnTo>
                      <a:pt x="362" y="214"/>
                    </a:lnTo>
                    <a:lnTo>
                      <a:pt x="364" y="214"/>
                    </a:lnTo>
                    <a:lnTo>
                      <a:pt x="362" y="212"/>
                    </a:lnTo>
                    <a:lnTo>
                      <a:pt x="364" y="212"/>
                    </a:lnTo>
                    <a:lnTo>
                      <a:pt x="362" y="211"/>
                    </a:lnTo>
                    <a:lnTo>
                      <a:pt x="360" y="212"/>
                    </a:lnTo>
                    <a:lnTo>
                      <a:pt x="359" y="212"/>
                    </a:lnTo>
                    <a:lnTo>
                      <a:pt x="353" y="211"/>
                    </a:lnTo>
                    <a:lnTo>
                      <a:pt x="353" y="212"/>
                    </a:lnTo>
                    <a:lnTo>
                      <a:pt x="352" y="212"/>
                    </a:lnTo>
                    <a:lnTo>
                      <a:pt x="348" y="211"/>
                    </a:lnTo>
                    <a:lnTo>
                      <a:pt x="348" y="214"/>
                    </a:lnTo>
                    <a:lnTo>
                      <a:pt x="347" y="214"/>
                    </a:lnTo>
                    <a:lnTo>
                      <a:pt x="347" y="223"/>
                    </a:lnTo>
                    <a:lnTo>
                      <a:pt x="347" y="226"/>
                    </a:lnTo>
                    <a:lnTo>
                      <a:pt x="348" y="226"/>
                    </a:lnTo>
                    <a:lnTo>
                      <a:pt x="350" y="228"/>
                    </a:lnTo>
                    <a:lnTo>
                      <a:pt x="352" y="228"/>
                    </a:lnTo>
                    <a:lnTo>
                      <a:pt x="355" y="229"/>
                    </a:lnTo>
                    <a:lnTo>
                      <a:pt x="357" y="228"/>
                    </a:lnTo>
                    <a:lnTo>
                      <a:pt x="359" y="228"/>
                    </a:lnTo>
                    <a:lnTo>
                      <a:pt x="359" y="231"/>
                    </a:lnTo>
                    <a:lnTo>
                      <a:pt x="362" y="234"/>
                    </a:lnTo>
                    <a:lnTo>
                      <a:pt x="362" y="236"/>
                    </a:lnTo>
                    <a:lnTo>
                      <a:pt x="360" y="236"/>
                    </a:lnTo>
                    <a:lnTo>
                      <a:pt x="359" y="234"/>
                    </a:lnTo>
                    <a:lnTo>
                      <a:pt x="359" y="236"/>
                    </a:lnTo>
                    <a:lnTo>
                      <a:pt x="357" y="234"/>
                    </a:lnTo>
                    <a:lnTo>
                      <a:pt x="355" y="240"/>
                    </a:lnTo>
                    <a:lnTo>
                      <a:pt x="353" y="245"/>
                    </a:lnTo>
                    <a:lnTo>
                      <a:pt x="355" y="246"/>
                    </a:lnTo>
                    <a:lnTo>
                      <a:pt x="355" y="248"/>
                    </a:lnTo>
                    <a:lnTo>
                      <a:pt x="353" y="251"/>
                    </a:lnTo>
                    <a:lnTo>
                      <a:pt x="352" y="253"/>
                    </a:lnTo>
                    <a:lnTo>
                      <a:pt x="350" y="258"/>
                    </a:lnTo>
                    <a:lnTo>
                      <a:pt x="348" y="260"/>
                    </a:lnTo>
                    <a:lnTo>
                      <a:pt x="345" y="258"/>
                    </a:lnTo>
                    <a:lnTo>
                      <a:pt x="343" y="257"/>
                    </a:lnTo>
                    <a:lnTo>
                      <a:pt x="340" y="258"/>
                    </a:lnTo>
                    <a:lnTo>
                      <a:pt x="340" y="257"/>
                    </a:lnTo>
                    <a:lnTo>
                      <a:pt x="338" y="257"/>
                    </a:lnTo>
                    <a:lnTo>
                      <a:pt x="335" y="260"/>
                    </a:lnTo>
                    <a:lnTo>
                      <a:pt x="335" y="262"/>
                    </a:lnTo>
                    <a:lnTo>
                      <a:pt x="338" y="262"/>
                    </a:lnTo>
                    <a:lnTo>
                      <a:pt x="338" y="263"/>
                    </a:lnTo>
                    <a:lnTo>
                      <a:pt x="333" y="262"/>
                    </a:lnTo>
                    <a:lnTo>
                      <a:pt x="333" y="258"/>
                    </a:lnTo>
                    <a:lnTo>
                      <a:pt x="331" y="257"/>
                    </a:lnTo>
                    <a:lnTo>
                      <a:pt x="331" y="251"/>
                    </a:lnTo>
                    <a:lnTo>
                      <a:pt x="325" y="253"/>
                    </a:lnTo>
                    <a:lnTo>
                      <a:pt x="323" y="255"/>
                    </a:lnTo>
                    <a:lnTo>
                      <a:pt x="323" y="257"/>
                    </a:lnTo>
                    <a:lnTo>
                      <a:pt x="323" y="260"/>
                    </a:lnTo>
                    <a:lnTo>
                      <a:pt x="323" y="262"/>
                    </a:lnTo>
                    <a:lnTo>
                      <a:pt x="319" y="265"/>
                    </a:lnTo>
                    <a:lnTo>
                      <a:pt x="319" y="267"/>
                    </a:lnTo>
                    <a:lnTo>
                      <a:pt x="318" y="267"/>
                    </a:lnTo>
                    <a:lnTo>
                      <a:pt x="316" y="270"/>
                    </a:lnTo>
                    <a:lnTo>
                      <a:pt x="316" y="272"/>
                    </a:lnTo>
                    <a:lnTo>
                      <a:pt x="316" y="274"/>
                    </a:lnTo>
                    <a:lnTo>
                      <a:pt x="316" y="275"/>
                    </a:lnTo>
                    <a:lnTo>
                      <a:pt x="313" y="275"/>
                    </a:lnTo>
                    <a:lnTo>
                      <a:pt x="313" y="274"/>
                    </a:lnTo>
                    <a:lnTo>
                      <a:pt x="311" y="274"/>
                    </a:lnTo>
                    <a:lnTo>
                      <a:pt x="309" y="274"/>
                    </a:lnTo>
                    <a:lnTo>
                      <a:pt x="309" y="275"/>
                    </a:lnTo>
                    <a:lnTo>
                      <a:pt x="308" y="275"/>
                    </a:lnTo>
                    <a:lnTo>
                      <a:pt x="304" y="277"/>
                    </a:lnTo>
                    <a:lnTo>
                      <a:pt x="302" y="277"/>
                    </a:lnTo>
                    <a:lnTo>
                      <a:pt x="302" y="279"/>
                    </a:lnTo>
                    <a:lnTo>
                      <a:pt x="302" y="275"/>
                    </a:lnTo>
                    <a:lnTo>
                      <a:pt x="302" y="274"/>
                    </a:lnTo>
                    <a:lnTo>
                      <a:pt x="299" y="274"/>
                    </a:lnTo>
                    <a:lnTo>
                      <a:pt x="297" y="272"/>
                    </a:lnTo>
                    <a:lnTo>
                      <a:pt x="297" y="268"/>
                    </a:lnTo>
                    <a:lnTo>
                      <a:pt x="296" y="268"/>
                    </a:lnTo>
                    <a:lnTo>
                      <a:pt x="294" y="268"/>
                    </a:lnTo>
                    <a:lnTo>
                      <a:pt x="294" y="267"/>
                    </a:lnTo>
                    <a:lnTo>
                      <a:pt x="291" y="265"/>
                    </a:lnTo>
                    <a:lnTo>
                      <a:pt x="287" y="268"/>
                    </a:lnTo>
                    <a:lnTo>
                      <a:pt x="287" y="267"/>
                    </a:lnTo>
                    <a:lnTo>
                      <a:pt x="284" y="268"/>
                    </a:lnTo>
                    <a:lnTo>
                      <a:pt x="284" y="267"/>
                    </a:lnTo>
                    <a:lnTo>
                      <a:pt x="287" y="263"/>
                    </a:lnTo>
                    <a:lnTo>
                      <a:pt x="291" y="257"/>
                    </a:lnTo>
                    <a:lnTo>
                      <a:pt x="289" y="255"/>
                    </a:lnTo>
                    <a:lnTo>
                      <a:pt x="291" y="250"/>
                    </a:lnTo>
                    <a:lnTo>
                      <a:pt x="285" y="243"/>
                    </a:lnTo>
                    <a:lnTo>
                      <a:pt x="285" y="240"/>
                    </a:lnTo>
                    <a:lnTo>
                      <a:pt x="287" y="238"/>
                    </a:lnTo>
                    <a:lnTo>
                      <a:pt x="287" y="236"/>
                    </a:lnTo>
                    <a:lnTo>
                      <a:pt x="287" y="234"/>
                    </a:lnTo>
                    <a:lnTo>
                      <a:pt x="285" y="234"/>
                    </a:lnTo>
                    <a:lnTo>
                      <a:pt x="285" y="233"/>
                    </a:lnTo>
                    <a:lnTo>
                      <a:pt x="285" y="231"/>
                    </a:lnTo>
                    <a:lnTo>
                      <a:pt x="284" y="228"/>
                    </a:lnTo>
                    <a:lnTo>
                      <a:pt x="282" y="228"/>
                    </a:lnTo>
                    <a:lnTo>
                      <a:pt x="282" y="224"/>
                    </a:lnTo>
                    <a:lnTo>
                      <a:pt x="284" y="224"/>
                    </a:lnTo>
                    <a:lnTo>
                      <a:pt x="282" y="221"/>
                    </a:lnTo>
                    <a:lnTo>
                      <a:pt x="284" y="219"/>
                    </a:lnTo>
                    <a:lnTo>
                      <a:pt x="282" y="217"/>
                    </a:lnTo>
                    <a:lnTo>
                      <a:pt x="280" y="217"/>
                    </a:lnTo>
                    <a:lnTo>
                      <a:pt x="279" y="216"/>
                    </a:lnTo>
                    <a:lnTo>
                      <a:pt x="277" y="217"/>
                    </a:lnTo>
                    <a:lnTo>
                      <a:pt x="275" y="217"/>
                    </a:lnTo>
                    <a:lnTo>
                      <a:pt x="275" y="216"/>
                    </a:lnTo>
                    <a:lnTo>
                      <a:pt x="277" y="214"/>
                    </a:lnTo>
                    <a:lnTo>
                      <a:pt x="275" y="214"/>
                    </a:lnTo>
                    <a:lnTo>
                      <a:pt x="274" y="212"/>
                    </a:lnTo>
                    <a:lnTo>
                      <a:pt x="272" y="212"/>
                    </a:lnTo>
                    <a:lnTo>
                      <a:pt x="272" y="214"/>
                    </a:lnTo>
                    <a:lnTo>
                      <a:pt x="272" y="216"/>
                    </a:lnTo>
                    <a:lnTo>
                      <a:pt x="272" y="214"/>
                    </a:lnTo>
                    <a:lnTo>
                      <a:pt x="270" y="212"/>
                    </a:lnTo>
                    <a:lnTo>
                      <a:pt x="270" y="209"/>
                    </a:lnTo>
                    <a:lnTo>
                      <a:pt x="268" y="209"/>
                    </a:lnTo>
                    <a:lnTo>
                      <a:pt x="267" y="211"/>
                    </a:lnTo>
                    <a:lnTo>
                      <a:pt x="268" y="211"/>
                    </a:lnTo>
                    <a:lnTo>
                      <a:pt x="267" y="212"/>
                    </a:lnTo>
                    <a:lnTo>
                      <a:pt x="265" y="212"/>
                    </a:lnTo>
                    <a:lnTo>
                      <a:pt x="262" y="212"/>
                    </a:lnTo>
                    <a:lnTo>
                      <a:pt x="258" y="214"/>
                    </a:lnTo>
                    <a:lnTo>
                      <a:pt x="255" y="216"/>
                    </a:lnTo>
                    <a:lnTo>
                      <a:pt x="255" y="214"/>
                    </a:lnTo>
                    <a:lnTo>
                      <a:pt x="255" y="212"/>
                    </a:lnTo>
                    <a:lnTo>
                      <a:pt x="253" y="211"/>
                    </a:lnTo>
                    <a:lnTo>
                      <a:pt x="251" y="211"/>
                    </a:lnTo>
                    <a:lnTo>
                      <a:pt x="250" y="211"/>
                    </a:lnTo>
                    <a:lnTo>
                      <a:pt x="246" y="212"/>
                    </a:lnTo>
                    <a:lnTo>
                      <a:pt x="243" y="212"/>
                    </a:lnTo>
                    <a:lnTo>
                      <a:pt x="241" y="212"/>
                    </a:lnTo>
                    <a:lnTo>
                      <a:pt x="240" y="212"/>
                    </a:lnTo>
                    <a:lnTo>
                      <a:pt x="238" y="212"/>
                    </a:lnTo>
                    <a:lnTo>
                      <a:pt x="238" y="214"/>
                    </a:lnTo>
                    <a:lnTo>
                      <a:pt x="231" y="221"/>
                    </a:lnTo>
                    <a:lnTo>
                      <a:pt x="229" y="221"/>
                    </a:lnTo>
                    <a:lnTo>
                      <a:pt x="228" y="221"/>
                    </a:lnTo>
                    <a:lnTo>
                      <a:pt x="224" y="219"/>
                    </a:lnTo>
                    <a:lnTo>
                      <a:pt x="223" y="223"/>
                    </a:lnTo>
                    <a:lnTo>
                      <a:pt x="223" y="217"/>
                    </a:lnTo>
                    <a:lnTo>
                      <a:pt x="226" y="217"/>
                    </a:lnTo>
                    <a:lnTo>
                      <a:pt x="224" y="216"/>
                    </a:lnTo>
                    <a:lnTo>
                      <a:pt x="226" y="212"/>
                    </a:lnTo>
                    <a:lnTo>
                      <a:pt x="226" y="209"/>
                    </a:lnTo>
                    <a:lnTo>
                      <a:pt x="228" y="209"/>
                    </a:lnTo>
                    <a:lnTo>
                      <a:pt x="228" y="207"/>
                    </a:lnTo>
                    <a:lnTo>
                      <a:pt x="233" y="206"/>
                    </a:lnTo>
                    <a:lnTo>
                      <a:pt x="234" y="202"/>
                    </a:lnTo>
                    <a:lnTo>
                      <a:pt x="233" y="200"/>
                    </a:lnTo>
                    <a:lnTo>
                      <a:pt x="231" y="200"/>
                    </a:lnTo>
                    <a:lnTo>
                      <a:pt x="231" y="197"/>
                    </a:lnTo>
                    <a:lnTo>
                      <a:pt x="229" y="197"/>
                    </a:lnTo>
                    <a:lnTo>
                      <a:pt x="229" y="194"/>
                    </a:lnTo>
                    <a:lnTo>
                      <a:pt x="228" y="189"/>
                    </a:lnTo>
                    <a:lnTo>
                      <a:pt x="228" y="183"/>
                    </a:lnTo>
                    <a:lnTo>
                      <a:pt x="224" y="182"/>
                    </a:lnTo>
                    <a:lnTo>
                      <a:pt x="221" y="182"/>
                    </a:lnTo>
                    <a:lnTo>
                      <a:pt x="221" y="178"/>
                    </a:lnTo>
                    <a:lnTo>
                      <a:pt x="221" y="177"/>
                    </a:lnTo>
                    <a:lnTo>
                      <a:pt x="223" y="177"/>
                    </a:lnTo>
                    <a:lnTo>
                      <a:pt x="224" y="175"/>
                    </a:lnTo>
                    <a:lnTo>
                      <a:pt x="223" y="173"/>
                    </a:lnTo>
                    <a:lnTo>
                      <a:pt x="224" y="172"/>
                    </a:lnTo>
                    <a:lnTo>
                      <a:pt x="223" y="168"/>
                    </a:lnTo>
                    <a:lnTo>
                      <a:pt x="221" y="168"/>
                    </a:lnTo>
                    <a:lnTo>
                      <a:pt x="219" y="166"/>
                    </a:lnTo>
                    <a:lnTo>
                      <a:pt x="216" y="166"/>
                    </a:lnTo>
                    <a:lnTo>
                      <a:pt x="217" y="165"/>
                    </a:lnTo>
                    <a:lnTo>
                      <a:pt x="214" y="163"/>
                    </a:lnTo>
                    <a:lnTo>
                      <a:pt x="214" y="161"/>
                    </a:lnTo>
                    <a:lnTo>
                      <a:pt x="216" y="160"/>
                    </a:lnTo>
                    <a:lnTo>
                      <a:pt x="214" y="160"/>
                    </a:lnTo>
                    <a:lnTo>
                      <a:pt x="214" y="158"/>
                    </a:lnTo>
                    <a:lnTo>
                      <a:pt x="211" y="156"/>
                    </a:lnTo>
                    <a:lnTo>
                      <a:pt x="211" y="153"/>
                    </a:lnTo>
                    <a:lnTo>
                      <a:pt x="211" y="154"/>
                    </a:lnTo>
                    <a:lnTo>
                      <a:pt x="211" y="153"/>
                    </a:lnTo>
                    <a:lnTo>
                      <a:pt x="209" y="153"/>
                    </a:lnTo>
                    <a:lnTo>
                      <a:pt x="207" y="149"/>
                    </a:lnTo>
                    <a:lnTo>
                      <a:pt x="204" y="144"/>
                    </a:lnTo>
                    <a:lnTo>
                      <a:pt x="199" y="143"/>
                    </a:lnTo>
                    <a:lnTo>
                      <a:pt x="199" y="139"/>
                    </a:lnTo>
                    <a:lnTo>
                      <a:pt x="197" y="137"/>
                    </a:lnTo>
                    <a:lnTo>
                      <a:pt x="197" y="136"/>
                    </a:lnTo>
                    <a:lnTo>
                      <a:pt x="178" y="136"/>
                    </a:lnTo>
                    <a:lnTo>
                      <a:pt x="161" y="136"/>
                    </a:lnTo>
                    <a:lnTo>
                      <a:pt x="161" y="139"/>
                    </a:lnTo>
                    <a:lnTo>
                      <a:pt x="149" y="143"/>
                    </a:lnTo>
                    <a:lnTo>
                      <a:pt x="146" y="141"/>
                    </a:lnTo>
                    <a:lnTo>
                      <a:pt x="144" y="139"/>
                    </a:lnTo>
                    <a:lnTo>
                      <a:pt x="132" y="143"/>
                    </a:lnTo>
                    <a:lnTo>
                      <a:pt x="131" y="143"/>
                    </a:lnTo>
                    <a:lnTo>
                      <a:pt x="131" y="146"/>
                    </a:lnTo>
                    <a:lnTo>
                      <a:pt x="131" y="148"/>
                    </a:lnTo>
                    <a:lnTo>
                      <a:pt x="131" y="149"/>
                    </a:lnTo>
                    <a:lnTo>
                      <a:pt x="129" y="149"/>
                    </a:lnTo>
                    <a:lnTo>
                      <a:pt x="129" y="151"/>
                    </a:lnTo>
                    <a:lnTo>
                      <a:pt x="129" y="149"/>
                    </a:lnTo>
                    <a:lnTo>
                      <a:pt x="127" y="151"/>
                    </a:lnTo>
                    <a:lnTo>
                      <a:pt x="127" y="153"/>
                    </a:lnTo>
                    <a:lnTo>
                      <a:pt x="126" y="153"/>
                    </a:lnTo>
                    <a:lnTo>
                      <a:pt x="126" y="156"/>
                    </a:lnTo>
                    <a:lnTo>
                      <a:pt x="124" y="158"/>
                    </a:lnTo>
                    <a:lnTo>
                      <a:pt x="122" y="160"/>
                    </a:lnTo>
                    <a:lnTo>
                      <a:pt x="124" y="160"/>
                    </a:lnTo>
                    <a:lnTo>
                      <a:pt x="122" y="163"/>
                    </a:lnTo>
                    <a:lnTo>
                      <a:pt x="122" y="166"/>
                    </a:lnTo>
                    <a:lnTo>
                      <a:pt x="121" y="165"/>
                    </a:lnTo>
                    <a:lnTo>
                      <a:pt x="121" y="166"/>
                    </a:lnTo>
                    <a:lnTo>
                      <a:pt x="117" y="166"/>
                    </a:lnTo>
                    <a:lnTo>
                      <a:pt x="119" y="170"/>
                    </a:lnTo>
                    <a:lnTo>
                      <a:pt x="117" y="170"/>
                    </a:lnTo>
                    <a:lnTo>
                      <a:pt x="117" y="172"/>
                    </a:lnTo>
                    <a:lnTo>
                      <a:pt x="114" y="172"/>
                    </a:lnTo>
                    <a:lnTo>
                      <a:pt x="112" y="172"/>
                    </a:lnTo>
                    <a:lnTo>
                      <a:pt x="112" y="173"/>
                    </a:lnTo>
                    <a:lnTo>
                      <a:pt x="110" y="173"/>
                    </a:lnTo>
                    <a:lnTo>
                      <a:pt x="109" y="172"/>
                    </a:lnTo>
                    <a:lnTo>
                      <a:pt x="107" y="175"/>
                    </a:lnTo>
                    <a:lnTo>
                      <a:pt x="109" y="178"/>
                    </a:lnTo>
                    <a:lnTo>
                      <a:pt x="102" y="183"/>
                    </a:lnTo>
                    <a:lnTo>
                      <a:pt x="98" y="183"/>
                    </a:lnTo>
                    <a:lnTo>
                      <a:pt x="95" y="182"/>
                    </a:lnTo>
                    <a:lnTo>
                      <a:pt x="90" y="183"/>
                    </a:lnTo>
                    <a:lnTo>
                      <a:pt x="92" y="180"/>
                    </a:lnTo>
                    <a:lnTo>
                      <a:pt x="95" y="178"/>
                    </a:lnTo>
                    <a:lnTo>
                      <a:pt x="97" y="178"/>
                    </a:lnTo>
                    <a:lnTo>
                      <a:pt x="95" y="177"/>
                    </a:lnTo>
                    <a:lnTo>
                      <a:pt x="93" y="178"/>
                    </a:lnTo>
                    <a:lnTo>
                      <a:pt x="92" y="177"/>
                    </a:lnTo>
                    <a:lnTo>
                      <a:pt x="93" y="175"/>
                    </a:lnTo>
                    <a:lnTo>
                      <a:pt x="92" y="177"/>
                    </a:lnTo>
                    <a:lnTo>
                      <a:pt x="92" y="178"/>
                    </a:lnTo>
                    <a:lnTo>
                      <a:pt x="90" y="178"/>
                    </a:lnTo>
                    <a:lnTo>
                      <a:pt x="90" y="177"/>
                    </a:lnTo>
                    <a:lnTo>
                      <a:pt x="90" y="178"/>
                    </a:lnTo>
                    <a:lnTo>
                      <a:pt x="92" y="177"/>
                    </a:lnTo>
                    <a:lnTo>
                      <a:pt x="90" y="178"/>
                    </a:lnTo>
                    <a:lnTo>
                      <a:pt x="90" y="177"/>
                    </a:lnTo>
                    <a:lnTo>
                      <a:pt x="88" y="170"/>
                    </a:lnTo>
                    <a:lnTo>
                      <a:pt x="90" y="170"/>
                    </a:lnTo>
                    <a:lnTo>
                      <a:pt x="90" y="172"/>
                    </a:lnTo>
                    <a:lnTo>
                      <a:pt x="92" y="172"/>
                    </a:lnTo>
                    <a:lnTo>
                      <a:pt x="93" y="170"/>
                    </a:lnTo>
                    <a:lnTo>
                      <a:pt x="92" y="172"/>
                    </a:lnTo>
                    <a:lnTo>
                      <a:pt x="90" y="170"/>
                    </a:lnTo>
                    <a:lnTo>
                      <a:pt x="92" y="168"/>
                    </a:lnTo>
                    <a:lnTo>
                      <a:pt x="90" y="170"/>
                    </a:lnTo>
                    <a:lnTo>
                      <a:pt x="90" y="168"/>
                    </a:lnTo>
                    <a:lnTo>
                      <a:pt x="90" y="170"/>
                    </a:lnTo>
                    <a:lnTo>
                      <a:pt x="88" y="170"/>
                    </a:lnTo>
                    <a:lnTo>
                      <a:pt x="88" y="172"/>
                    </a:lnTo>
                    <a:lnTo>
                      <a:pt x="85" y="173"/>
                    </a:lnTo>
                    <a:lnTo>
                      <a:pt x="85" y="166"/>
                    </a:lnTo>
                    <a:lnTo>
                      <a:pt x="87" y="166"/>
                    </a:lnTo>
                    <a:lnTo>
                      <a:pt x="87" y="165"/>
                    </a:lnTo>
                    <a:lnTo>
                      <a:pt x="85" y="166"/>
                    </a:lnTo>
                    <a:lnTo>
                      <a:pt x="83" y="166"/>
                    </a:lnTo>
                    <a:lnTo>
                      <a:pt x="81" y="166"/>
                    </a:lnTo>
                    <a:lnTo>
                      <a:pt x="80" y="165"/>
                    </a:lnTo>
                    <a:lnTo>
                      <a:pt x="80" y="163"/>
                    </a:lnTo>
                    <a:lnTo>
                      <a:pt x="81" y="158"/>
                    </a:lnTo>
                    <a:lnTo>
                      <a:pt x="81" y="156"/>
                    </a:lnTo>
                    <a:lnTo>
                      <a:pt x="81" y="158"/>
                    </a:lnTo>
                    <a:lnTo>
                      <a:pt x="80" y="158"/>
                    </a:lnTo>
                    <a:lnTo>
                      <a:pt x="80" y="156"/>
                    </a:lnTo>
                    <a:lnTo>
                      <a:pt x="80" y="154"/>
                    </a:lnTo>
                    <a:lnTo>
                      <a:pt x="80" y="156"/>
                    </a:lnTo>
                    <a:lnTo>
                      <a:pt x="80" y="158"/>
                    </a:lnTo>
                    <a:lnTo>
                      <a:pt x="81" y="158"/>
                    </a:lnTo>
                    <a:lnTo>
                      <a:pt x="80" y="161"/>
                    </a:lnTo>
                    <a:lnTo>
                      <a:pt x="78" y="161"/>
                    </a:lnTo>
                    <a:lnTo>
                      <a:pt x="76" y="158"/>
                    </a:lnTo>
                    <a:lnTo>
                      <a:pt x="78" y="158"/>
                    </a:lnTo>
                    <a:lnTo>
                      <a:pt x="76" y="158"/>
                    </a:lnTo>
                    <a:lnTo>
                      <a:pt x="78" y="156"/>
                    </a:lnTo>
                    <a:lnTo>
                      <a:pt x="76" y="156"/>
                    </a:lnTo>
                    <a:lnTo>
                      <a:pt x="75" y="158"/>
                    </a:lnTo>
                    <a:lnTo>
                      <a:pt x="73" y="158"/>
                    </a:lnTo>
                    <a:lnTo>
                      <a:pt x="70" y="161"/>
                    </a:lnTo>
                    <a:lnTo>
                      <a:pt x="70" y="160"/>
                    </a:lnTo>
                    <a:lnTo>
                      <a:pt x="71" y="158"/>
                    </a:lnTo>
                    <a:lnTo>
                      <a:pt x="73" y="156"/>
                    </a:lnTo>
                    <a:lnTo>
                      <a:pt x="75" y="154"/>
                    </a:lnTo>
                    <a:lnTo>
                      <a:pt x="75" y="149"/>
                    </a:lnTo>
                    <a:lnTo>
                      <a:pt x="76" y="149"/>
                    </a:lnTo>
                    <a:lnTo>
                      <a:pt x="75" y="149"/>
                    </a:lnTo>
                    <a:lnTo>
                      <a:pt x="76" y="148"/>
                    </a:lnTo>
                    <a:lnTo>
                      <a:pt x="76" y="149"/>
                    </a:lnTo>
                    <a:lnTo>
                      <a:pt x="78" y="149"/>
                    </a:lnTo>
                    <a:lnTo>
                      <a:pt x="80" y="148"/>
                    </a:lnTo>
                    <a:lnTo>
                      <a:pt x="78" y="149"/>
                    </a:lnTo>
                    <a:lnTo>
                      <a:pt x="78" y="146"/>
                    </a:lnTo>
                    <a:lnTo>
                      <a:pt x="76" y="148"/>
                    </a:lnTo>
                    <a:lnTo>
                      <a:pt x="75" y="148"/>
                    </a:lnTo>
                    <a:lnTo>
                      <a:pt x="75" y="146"/>
                    </a:lnTo>
                    <a:lnTo>
                      <a:pt x="73" y="144"/>
                    </a:lnTo>
                    <a:lnTo>
                      <a:pt x="73" y="143"/>
                    </a:lnTo>
                    <a:lnTo>
                      <a:pt x="73" y="141"/>
                    </a:lnTo>
                    <a:lnTo>
                      <a:pt x="71" y="143"/>
                    </a:lnTo>
                    <a:lnTo>
                      <a:pt x="73" y="143"/>
                    </a:lnTo>
                    <a:lnTo>
                      <a:pt x="73" y="144"/>
                    </a:lnTo>
                    <a:lnTo>
                      <a:pt x="71" y="144"/>
                    </a:lnTo>
                    <a:lnTo>
                      <a:pt x="70" y="146"/>
                    </a:lnTo>
                    <a:lnTo>
                      <a:pt x="70" y="144"/>
                    </a:lnTo>
                    <a:lnTo>
                      <a:pt x="68" y="144"/>
                    </a:lnTo>
                    <a:lnTo>
                      <a:pt x="71" y="141"/>
                    </a:lnTo>
                    <a:lnTo>
                      <a:pt x="71" y="139"/>
                    </a:lnTo>
                    <a:lnTo>
                      <a:pt x="70" y="143"/>
                    </a:lnTo>
                    <a:lnTo>
                      <a:pt x="64" y="144"/>
                    </a:lnTo>
                    <a:lnTo>
                      <a:pt x="58" y="137"/>
                    </a:lnTo>
                    <a:lnTo>
                      <a:pt x="56" y="137"/>
                    </a:lnTo>
                    <a:lnTo>
                      <a:pt x="54" y="136"/>
                    </a:lnTo>
                    <a:lnTo>
                      <a:pt x="54" y="134"/>
                    </a:lnTo>
                    <a:lnTo>
                      <a:pt x="54" y="132"/>
                    </a:lnTo>
                    <a:lnTo>
                      <a:pt x="53" y="132"/>
                    </a:lnTo>
                    <a:lnTo>
                      <a:pt x="53" y="131"/>
                    </a:lnTo>
                    <a:lnTo>
                      <a:pt x="54" y="131"/>
                    </a:lnTo>
                    <a:lnTo>
                      <a:pt x="56" y="132"/>
                    </a:lnTo>
                    <a:lnTo>
                      <a:pt x="58" y="132"/>
                    </a:lnTo>
                    <a:lnTo>
                      <a:pt x="56" y="132"/>
                    </a:lnTo>
                    <a:lnTo>
                      <a:pt x="54" y="131"/>
                    </a:lnTo>
                    <a:lnTo>
                      <a:pt x="53" y="129"/>
                    </a:lnTo>
                    <a:lnTo>
                      <a:pt x="54" y="126"/>
                    </a:lnTo>
                    <a:lnTo>
                      <a:pt x="53" y="129"/>
                    </a:lnTo>
                    <a:lnTo>
                      <a:pt x="51" y="127"/>
                    </a:lnTo>
                    <a:lnTo>
                      <a:pt x="47" y="126"/>
                    </a:lnTo>
                    <a:lnTo>
                      <a:pt x="47" y="127"/>
                    </a:lnTo>
                    <a:lnTo>
                      <a:pt x="46" y="129"/>
                    </a:lnTo>
                    <a:lnTo>
                      <a:pt x="46" y="127"/>
                    </a:lnTo>
                    <a:lnTo>
                      <a:pt x="46" y="129"/>
                    </a:lnTo>
                    <a:lnTo>
                      <a:pt x="44" y="131"/>
                    </a:lnTo>
                    <a:lnTo>
                      <a:pt x="42" y="129"/>
                    </a:lnTo>
                    <a:lnTo>
                      <a:pt x="42" y="127"/>
                    </a:lnTo>
                    <a:lnTo>
                      <a:pt x="46" y="127"/>
                    </a:lnTo>
                    <a:lnTo>
                      <a:pt x="44" y="126"/>
                    </a:lnTo>
                    <a:lnTo>
                      <a:pt x="46" y="127"/>
                    </a:lnTo>
                    <a:lnTo>
                      <a:pt x="42" y="126"/>
                    </a:lnTo>
                    <a:lnTo>
                      <a:pt x="44" y="126"/>
                    </a:lnTo>
                    <a:lnTo>
                      <a:pt x="42" y="126"/>
                    </a:lnTo>
                    <a:lnTo>
                      <a:pt x="42" y="127"/>
                    </a:lnTo>
                    <a:lnTo>
                      <a:pt x="39" y="126"/>
                    </a:lnTo>
                    <a:lnTo>
                      <a:pt x="39" y="124"/>
                    </a:lnTo>
                    <a:lnTo>
                      <a:pt x="41" y="126"/>
                    </a:lnTo>
                    <a:lnTo>
                      <a:pt x="41" y="124"/>
                    </a:lnTo>
                    <a:lnTo>
                      <a:pt x="39" y="124"/>
                    </a:lnTo>
                    <a:lnTo>
                      <a:pt x="39" y="126"/>
                    </a:lnTo>
                    <a:lnTo>
                      <a:pt x="36" y="124"/>
                    </a:lnTo>
                    <a:lnTo>
                      <a:pt x="32" y="126"/>
                    </a:lnTo>
                    <a:lnTo>
                      <a:pt x="30" y="122"/>
                    </a:lnTo>
                    <a:lnTo>
                      <a:pt x="32" y="120"/>
                    </a:lnTo>
                    <a:lnTo>
                      <a:pt x="32" y="119"/>
                    </a:lnTo>
                    <a:lnTo>
                      <a:pt x="25" y="114"/>
                    </a:lnTo>
                    <a:lnTo>
                      <a:pt x="24" y="112"/>
                    </a:lnTo>
                    <a:lnTo>
                      <a:pt x="22" y="112"/>
                    </a:lnTo>
                    <a:lnTo>
                      <a:pt x="24" y="112"/>
                    </a:lnTo>
                    <a:lnTo>
                      <a:pt x="24" y="110"/>
                    </a:lnTo>
                    <a:lnTo>
                      <a:pt x="24" y="112"/>
                    </a:lnTo>
                    <a:lnTo>
                      <a:pt x="22" y="112"/>
                    </a:lnTo>
                    <a:lnTo>
                      <a:pt x="20" y="110"/>
                    </a:lnTo>
                    <a:lnTo>
                      <a:pt x="22" y="109"/>
                    </a:lnTo>
                    <a:lnTo>
                      <a:pt x="22" y="107"/>
                    </a:lnTo>
                    <a:lnTo>
                      <a:pt x="22" y="109"/>
                    </a:lnTo>
                    <a:lnTo>
                      <a:pt x="25" y="105"/>
                    </a:lnTo>
                    <a:lnTo>
                      <a:pt x="24" y="105"/>
                    </a:lnTo>
                    <a:lnTo>
                      <a:pt x="24" y="103"/>
                    </a:lnTo>
                    <a:lnTo>
                      <a:pt x="24" y="100"/>
                    </a:lnTo>
                    <a:lnTo>
                      <a:pt x="25" y="100"/>
                    </a:lnTo>
                    <a:lnTo>
                      <a:pt x="27" y="95"/>
                    </a:lnTo>
                    <a:lnTo>
                      <a:pt x="29" y="93"/>
                    </a:lnTo>
                    <a:lnTo>
                      <a:pt x="27" y="93"/>
                    </a:lnTo>
                    <a:lnTo>
                      <a:pt x="25" y="95"/>
                    </a:lnTo>
                    <a:lnTo>
                      <a:pt x="24" y="95"/>
                    </a:lnTo>
                    <a:lnTo>
                      <a:pt x="24" y="93"/>
                    </a:lnTo>
                    <a:lnTo>
                      <a:pt x="24" y="95"/>
                    </a:lnTo>
                    <a:lnTo>
                      <a:pt x="22" y="95"/>
                    </a:lnTo>
                    <a:lnTo>
                      <a:pt x="20" y="97"/>
                    </a:lnTo>
                    <a:lnTo>
                      <a:pt x="17" y="98"/>
                    </a:lnTo>
                    <a:lnTo>
                      <a:pt x="17" y="100"/>
                    </a:lnTo>
                    <a:lnTo>
                      <a:pt x="15" y="100"/>
                    </a:lnTo>
                    <a:lnTo>
                      <a:pt x="15" y="97"/>
                    </a:lnTo>
                    <a:lnTo>
                      <a:pt x="17" y="97"/>
                    </a:lnTo>
                    <a:lnTo>
                      <a:pt x="17" y="93"/>
                    </a:lnTo>
                    <a:lnTo>
                      <a:pt x="19" y="93"/>
                    </a:lnTo>
                    <a:lnTo>
                      <a:pt x="17" y="92"/>
                    </a:lnTo>
                    <a:lnTo>
                      <a:pt x="19" y="90"/>
                    </a:lnTo>
                    <a:lnTo>
                      <a:pt x="17" y="90"/>
                    </a:lnTo>
                    <a:lnTo>
                      <a:pt x="19" y="90"/>
                    </a:lnTo>
                    <a:lnTo>
                      <a:pt x="17" y="93"/>
                    </a:lnTo>
                    <a:lnTo>
                      <a:pt x="13" y="95"/>
                    </a:lnTo>
                    <a:lnTo>
                      <a:pt x="13" y="92"/>
                    </a:lnTo>
                    <a:lnTo>
                      <a:pt x="15" y="90"/>
                    </a:lnTo>
                    <a:lnTo>
                      <a:pt x="13" y="92"/>
                    </a:lnTo>
                    <a:lnTo>
                      <a:pt x="13" y="88"/>
                    </a:lnTo>
                    <a:lnTo>
                      <a:pt x="17" y="86"/>
                    </a:lnTo>
                    <a:lnTo>
                      <a:pt x="15" y="86"/>
                    </a:lnTo>
                    <a:lnTo>
                      <a:pt x="15" y="85"/>
                    </a:lnTo>
                    <a:lnTo>
                      <a:pt x="13" y="85"/>
                    </a:lnTo>
                    <a:lnTo>
                      <a:pt x="13" y="86"/>
                    </a:lnTo>
                    <a:lnTo>
                      <a:pt x="10" y="86"/>
                    </a:lnTo>
                    <a:lnTo>
                      <a:pt x="10" y="83"/>
                    </a:lnTo>
                    <a:lnTo>
                      <a:pt x="12" y="83"/>
                    </a:lnTo>
                    <a:lnTo>
                      <a:pt x="12" y="80"/>
                    </a:lnTo>
                    <a:lnTo>
                      <a:pt x="10" y="80"/>
                    </a:lnTo>
                    <a:lnTo>
                      <a:pt x="12" y="80"/>
                    </a:lnTo>
                    <a:lnTo>
                      <a:pt x="10" y="83"/>
                    </a:lnTo>
                    <a:lnTo>
                      <a:pt x="8" y="83"/>
                    </a:lnTo>
                    <a:lnTo>
                      <a:pt x="8" y="81"/>
                    </a:lnTo>
                    <a:lnTo>
                      <a:pt x="15" y="66"/>
                    </a:lnTo>
                    <a:lnTo>
                      <a:pt x="22" y="59"/>
                    </a:lnTo>
                    <a:lnTo>
                      <a:pt x="29" y="59"/>
                    </a:lnTo>
                    <a:lnTo>
                      <a:pt x="39" y="54"/>
                    </a:lnTo>
                    <a:lnTo>
                      <a:pt x="41" y="51"/>
                    </a:lnTo>
                    <a:lnTo>
                      <a:pt x="42" y="51"/>
                    </a:lnTo>
                    <a:lnTo>
                      <a:pt x="44" y="51"/>
                    </a:lnTo>
                    <a:lnTo>
                      <a:pt x="46" y="52"/>
                    </a:lnTo>
                    <a:lnTo>
                      <a:pt x="47" y="51"/>
                    </a:lnTo>
                    <a:lnTo>
                      <a:pt x="49" y="52"/>
                    </a:lnTo>
                    <a:lnTo>
                      <a:pt x="51" y="54"/>
                    </a:lnTo>
                    <a:lnTo>
                      <a:pt x="53" y="52"/>
                    </a:lnTo>
                    <a:lnTo>
                      <a:pt x="54" y="52"/>
                    </a:lnTo>
                    <a:lnTo>
                      <a:pt x="56" y="52"/>
                    </a:lnTo>
                    <a:lnTo>
                      <a:pt x="58" y="52"/>
                    </a:lnTo>
                    <a:lnTo>
                      <a:pt x="59" y="51"/>
                    </a:lnTo>
                    <a:lnTo>
                      <a:pt x="61" y="51"/>
                    </a:lnTo>
                    <a:lnTo>
                      <a:pt x="63" y="49"/>
                    </a:lnTo>
                    <a:lnTo>
                      <a:pt x="61" y="49"/>
                    </a:lnTo>
                    <a:lnTo>
                      <a:pt x="63" y="47"/>
                    </a:lnTo>
                    <a:lnTo>
                      <a:pt x="64" y="47"/>
                    </a:lnTo>
                    <a:lnTo>
                      <a:pt x="63" y="49"/>
                    </a:lnTo>
                    <a:lnTo>
                      <a:pt x="64" y="49"/>
                    </a:lnTo>
                    <a:lnTo>
                      <a:pt x="64" y="51"/>
                    </a:lnTo>
                    <a:lnTo>
                      <a:pt x="66" y="51"/>
                    </a:lnTo>
                    <a:lnTo>
                      <a:pt x="70" y="49"/>
                    </a:lnTo>
                    <a:lnTo>
                      <a:pt x="70" y="34"/>
                    </a:lnTo>
                    <a:lnTo>
                      <a:pt x="66" y="34"/>
                    </a:lnTo>
                    <a:lnTo>
                      <a:pt x="64" y="32"/>
                    </a:lnTo>
                    <a:lnTo>
                      <a:pt x="64" y="30"/>
                    </a:lnTo>
                    <a:lnTo>
                      <a:pt x="61" y="29"/>
                    </a:lnTo>
                    <a:lnTo>
                      <a:pt x="61" y="27"/>
                    </a:lnTo>
                    <a:lnTo>
                      <a:pt x="58" y="27"/>
                    </a:lnTo>
                    <a:lnTo>
                      <a:pt x="58" y="25"/>
                    </a:lnTo>
                    <a:lnTo>
                      <a:pt x="58" y="24"/>
                    </a:lnTo>
                    <a:lnTo>
                      <a:pt x="59" y="22"/>
                    </a:lnTo>
                    <a:lnTo>
                      <a:pt x="63" y="22"/>
                    </a:lnTo>
                    <a:lnTo>
                      <a:pt x="63" y="20"/>
                    </a:lnTo>
                    <a:lnTo>
                      <a:pt x="64" y="22"/>
                    </a:lnTo>
                    <a:lnTo>
                      <a:pt x="64" y="20"/>
                    </a:lnTo>
                    <a:lnTo>
                      <a:pt x="64" y="22"/>
                    </a:lnTo>
                    <a:lnTo>
                      <a:pt x="66" y="22"/>
                    </a:lnTo>
                    <a:lnTo>
                      <a:pt x="68" y="20"/>
                    </a:lnTo>
                    <a:lnTo>
                      <a:pt x="70" y="22"/>
                    </a:lnTo>
                    <a:lnTo>
                      <a:pt x="71" y="18"/>
                    </a:lnTo>
                    <a:lnTo>
                      <a:pt x="73" y="18"/>
                    </a:lnTo>
                    <a:lnTo>
                      <a:pt x="73" y="15"/>
                    </a:lnTo>
                    <a:lnTo>
                      <a:pt x="71" y="13"/>
                    </a:lnTo>
                    <a:lnTo>
                      <a:pt x="73" y="12"/>
                    </a:lnTo>
                    <a:lnTo>
                      <a:pt x="73" y="8"/>
                    </a:lnTo>
                    <a:lnTo>
                      <a:pt x="71" y="8"/>
                    </a:lnTo>
                    <a:lnTo>
                      <a:pt x="70" y="0"/>
                    </a:lnTo>
                    <a:lnTo>
                      <a:pt x="88" y="1"/>
                    </a:lnTo>
                    <a:lnTo>
                      <a:pt x="90" y="1"/>
                    </a:lnTo>
                    <a:lnTo>
                      <a:pt x="92" y="1"/>
                    </a:lnTo>
                    <a:lnTo>
                      <a:pt x="93" y="1"/>
                    </a:lnTo>
                    <a:lnTo>
                      <a:pt x="95" y="1"/>
                    </a:lnTo>
                    <a:lnTo>
                      <a:pt x="97" y="3"/>
                    </a:lnTo>
                    <a:lnTo>
                      <a:pt x="97" y="1"/>
                    </a:lnTo>
                    <a:lnTo>
                      <a:pt x="100" y="3"/>
                    </a:lnTo>
                    <a:lnTo>
                      <a:pt x="102" y="1"/>
                    </a:lnTo>
                    <a:lnTo>
                      <a:pt x="104" y="5"/>
                    </a:lnTo>
                    <a:lnTo>
                      <a:pt x="102" y="7"/>
                    </a:lnTo>
                    <a:lnTo>
                      <a:pt x="102" y="10"/>
                    </a:lnTo>
                    <a:lnTo>
                      <a:pt x="107" y="12"/>
                    </a:lnTo>
                    <a:lnTo>
                      <a:pt x="109" y="10"/>
                    </a:lnTo>
                    <a:lnTo>
                      <a:pt x="109" y="8"/>
                    </a:lnTo>
                    <a:lnTo>
                      <a:pt x="110" y="7"/>
                    </a:lnTo>
                    <a:lnTo>
                      <a:pt x="114" y="8"/>
                    </a:lnTo>
                    <a:lnTo>
                      <a:pt x="114" y="10"/>
                    </a:lnTo>
                    <a:lnTo>
                      <a:pt x="117" y="10"/>
                    </a:lnTo>
                    <a:lnTo>
                      <a:pt x="119" y="13"/>
                    </a:lnTo>
                    <a:lnTo>
                      <a:pt x="124" y="12"/>
                    </a:lnTo>
                    <a:lnTo>
                      <a:pt x="127" y="15"/>
                    </a:lnTo>
                    <a:lnTo>
                      <a:pt x="131" y="13"/>
                    </a:lnTo>
                    <a:lnTo>
                      <a:pt x="132" y="13"/>
                    </a:lnTo>
                    <a:lnTo>
                      <a:pt x="136" y="17"/>
                    </a:lnTo>
                    <a:lnTo>
                      <a:pt x="139" y="18"/>
                    </a:lnTo>
                    <a:lnTo>
                      <a:pt x="144" y="17"/>
                    </a:lnTo>
                    <a:lnTo>
                      <a:pt x="148" y="17"/>
                    </a:lnTo>
                    <a:lnTo>
                      <a:pt x="151" y="13"/>
                    </a:lnTo>
                    <a:lnTo>
                      <a:pt x="155" y="13"/>
                    </a:lnTo>
                    <a:lnTo>
                      <a:pt x="156" y="15"/>
                    </a:lnTo>
                    <a:lnTo>
                      <a:pt x="161" y="13"/>
                    </a:lnTo>
                    <a:lnTo>
                      <a:pt x="165" y="15"/>
                    </a:lnTo>
                    <a:lnTo>
                      <a:pt x="168" y="15"/>
                    </a:lnTo>
                    <a:lnTo>
                      <a:pt x="172" y="15"/>
                    </a:lnTo>
                    <a:lnTo>
                      <a:pt x="173" y="13"/>
                    </a:lnTo>
                    <a:lnTo>
                      <a:pt x="180" y="12"/>
                    </a:lnTo>
                    <a:lnTo>
                      <a:pt x="183" y="12"/>
                    </a:lnTo>
                    <a:lnTo>
                      <a:pt x="189" y="13"/>
                    </a:lnTo>
                    <a:close/>
                    <a:moveTo>
                      <a:pt x="10" y="88"/>
                    </a:moveTo>
                    <a:lnTo>
                      <a:pt x="7" y="92"/>
                    </a:lnTo>
                    <a:lnTo>
                      <a:pt x="5" y="92"/>
                    </a:lnTo>
                    <a:lnTo>
                      <a:pt x="7" y="93"/>
                    </a:lnTo>
                    <a:lnTo>
                      <a:pt x="5" y="93"/>
                    </a:lnTo>
                    <a:lnTo>
                      <a:pt x="3" y="93"/>
                    </a:lnTo>
                    <a:lnTo>
                      <a:pt x="5" y="93"/>
                    </a:lnTo>
                    <a:lnTo>
                      <a:pt x="7" y="95"/>
                    </a:lnTo>
                    <a:lnTo>
                      <a:pt x="7" y="97"/>
                    </a:lnTo>
                    <a:lnTo>
                      <a:pt x="3" y="97"/>
                    </a:lnTo>
                    <a:lnTo>
                      <a:pt x="0" y="92"/>
                    </a:lnTo>
                    <a:lnTo>
                      <a:pt x="3" y="88"/>
                    </a:lnTo>
                    <a:lnTo>
                      <a:pt x="7" y="86"/>
                    </a:lnTo>
                    <a:lnTo>
                      <a:pt x="10" y="88"/>
                    </a:lnTo>
                    <a:close/>
                    <a:moveTo>
                      <a:pt x="25" y="95"/>
                    </a:moveTo>
                    <a:lnTo>
                      <a:pt x="24" y="102"/>
                    </a:lnTo>
                    <a:lnTo>
                      <a:pt x="20" y="103"/>
                    </a:lnTo>
                    <a:lnTo>
                      <a:pt x="19" y="102"/>
                    </a:lnTo>
                    <a:lnTo>
                      <a:pt x="20" y="100"/>
                    </a:lnTo>
                    <a:lnTo>
                      <a:pt x="19" y="102"/>
                    </a:lnTo>
                    <a:lnTo>
                      <a:pt x="19" y="100"/>
                    </a:lnTo>
                    <a:lnTo>
                      <a:pt x="20" y="97"/>
                    </a:lnTo>
                    <a:lnTo>
                      <a:pt x="22" y="95"/>
                    </a:lnTo>
                    <a:lnTo>
                      <a:pt x="24" y="95"/>
                    </a:lnTo>
                    <a:lnTo>
                      <a:pt x="25" y="95"/>
                    </a:lnTo>
                    <a:close/>
                    <a:moveTo>
                      <a:pt x="49" y="129"/>
                    </a:moveTo>
                    <a:lnTo>
                      <a:pt x="51" y="129"/>
                    </a:lnTo>
                    <a:lnTo>
                      <a:pt x="51" y="127"/>
                    </a:lnTo>
                    <a:lnTo>
                      <a:pt x="51" y="132"/>
                    </a:lnTo>
                    <a:lnTo>
                      <a:pt x="51" y="131"/>
                    </a:lnTo>
                    <a:lnTo>
                      <a:pt x="51" y="132"/>
                    </a:lnTo>
                    <a:lnTo>
                      <a:pt x="47" y="132"/>
                    </a:lnTo>
                    <a:lnTo>
                      <a:pt x="46" y="131"/>
                    </a:lnTo>
                    <a:lnTo>
                      <a:pt x="47" y="131"/>
                    </a:lnTo>
                    <a:lnTo>
                      <a:pt x="46" y="131"/>
                    </a:lnTo>
                    <a:lnTo>
                      <a:pt x="49" y="127"/>
                    </a:lnTo>
                    <a:lnTo>
                      <a:pt x="49" y="129"/>
                    </a:lnTo>
                    <a:close/>
                    <a:moveTo>
                      <a:pt x="73" y="146"/>
                    </a:moveTo>
                    <a:lnTo>
                      <a:pt x="70" y="149"/>
                    </a:lnTo>
                    <a:lnTo>
                      <a:pt x="68" y="148"/>
                    </a:lnTo>
                    <a:lnTo>
                      <a:pt x="68" y="146"/>
                    </a:lnTo>
                    <a:lnTo>
                      <a:pt x="68" y="144"/>
                    </a:lnTo>
                    <a:lnTo>
                      <a:pt x="70" y="144"/>
                    </a:lnTo>
                    <a:lnTo>
                      <a:pt x="70" y="146"/>
                    </a:lnTo>
                    <a:lnTo>
                      <a:pt x="71" y="144"/>
                    </a:lnTo>
                    <a:lnTo>
                      <a:pt x="71" y="146"/>
                    </a:lnTo>
                    <a:lnTo>
                      <a:pt x="71" y="144"/>
                    </a:lnTo>
                    <a:lnTo>
                      <a:pt x="73" y="146"/>
                    </a:lnTo>
                    <a:close/>
                    <a:moveTo>
                      <a:pt x="8" y="95"/>
                    </a:moveTo>
                    <a:lnTo>
                      <a:pt x="7" y="92"/>
                    </a:lnTo>
                    <a:lnTo>
                      <a:pt x="10" y="90"/>
                    </a:lnTo>
                    <a:lnTo>
                      <a:pt x="10" y="92"/>
                    </a:lnTo>
                    <a:lnTo>
                      <a:pt x="10" y="93"/>
                    </a:lnTo>
                    <a:lnTo>
                      <a:pt x="10" y="95"/>
                    </a:lnTo>
                    <a:lnTo>
                      <a:pt x="8" y="95"/>
                    </a:lnTo>
                    <a:close/>
                    <a:moveTo>
                      <a:pt x="7" y="86"/>
                    </a:moveTo>
                    <a:lnTo>
                      <a:pt x="8" y="83"/>
                    </a:lnTo>
                    <a:lnTo>
                      <a:pt x="10" y="85"/>
                    </a:lnTo>
                    <a:lnTo>
                      <a:pt x="10" y="86"/>
                    </a:lnTo>
                    <a:lnTo>
                      <a:pt x="8" y="88"/>
                    </a:lnTo>
                    <a:lnTo>
                      <a:pt x="7" y="86"/>
                    </a:lnTo>
                    <a:close/>
                    <a:moveTo>
                      <a:pt x="54" y="134"/>
                    </a:moveTo>
                    <a:lnTo>
                      <a:pt x="54" y="132"/>
                    </a:lnTo>
                    <a:lnTo>
                      <a:pt x="54" y="134"/>
                    </a:lnTo>
                    <a:lnTo>
                      <a:pt x="54" y="136"/>
                    </a:lnTo>
                    <a:lnTo>
                      <a:pt x="51" y="134"/>
                    </a:lnTo>
                    <a:lnTo>
                      <a:pt x="53" y="132"/>
                    </a:lnTo>
                    <a:lnTo>
                      <a:pt x="54" y="132"/>
                    </a:lnTo>
                    <a:lnTo>
                      <a:pt x="54" y="134"/>
                    </a:lnTo>
                    <a:close/>
                    <a:moveTo>
                      <a:pt x="47" y="126"/>
                    </a:moveTo>
                    <a:lnTo>
                      <a:pt x="51" y="126"/>
                    </a:lnTo>
                    <a:lnTo>
                      <a:pt x="51" y="129"/>
                    </a:lnTo>
                    <a:lnTo>
                      <a:pt x="47" y="129"/>
                    </a:lnTo>
                    <a:lnTo>
                      <a:pt x="47" y="126"/>
                    </a:lnTo>
                    <a:close/>
                    <a:moveTo>
                      <a:pt x="66" y="146"/>
                    </a:moveTo>
                    <a:lnTo>
                      <a:pt x="64" y="146"/>
                    </a:lnTo>
                    <a:lnTo>
                      <a:pt x="64" y="144"/>
                    </a:lnTo>
                    <a:lnTo>
                      <a:pt x="70" y="143"/>
                    </a:lnTo>
                    <a:lnTo>
                      <a:pt x="66" y="146"/>
                    </a:lnTo>
                    <a:close/>
                    <a:moveTo>
                      <a:pt x="10" y="88"/>
                    </a:moveTo>
                    <a:lnTo>
                      <a:pt x="12" y="88"/>
                    </a:lnTo>
                    <a:lnTo>
                      <a:pt x="12" y="90"/>
                    </a:lnTo>
                    <a:lnTo>
                      <a:pt x="10" y="90"/>
                    </a:lnTo>
                    <a:lnTo>
                      <a:pt x="10" y="88"/>
                    </a:lnTo>
                    <a:close/>
                    <a:moveTo>
                      <a:pt x="63" y="160"/>
                    </a:moveTo>
                    <a:lnTo>
                      <a:pt x="66" y="160"/>
                    </a:lnTo>
                    <a:lnTo>
                      <a:pt x="66" y="163"/>
                    </a:lnTo>
                    <a:lnTo>
                      <a:pt x="63" y="163"/>
                    </a:lnTo>
                    <a:lnTo>
                      <a:pt x="63" y="160"/>
                    </a:lnTo>
                    <a:close/>
                    <a:moveTo>
                      <a:pt x="10" y="90"/>
                    </a:moveTo>
                    <a:lnTo>
                      <a:pt x="10" y="93"/>
                    </a:lnTo>
                    <a:lnTo>
                      <a:pt x="10" y="90"/>
                    </a:lnTo>
                    <a:close/>
                    <a:moveTo>
                      <a:pt x="66" y="161"/>
                    </a:moveTo>
                    <a:lnTo>
                      <a:pt x="68" y="161"/>
                    </a:lnTo>
                    <a:lnTo>
                      <a:pt x="68" y="165"/>
                    </a:lnTo>
                    <a:lnTo>
                      <a:pt x="66" y="165"/>
                    </a:lnTo>
                    <a:lnTo>
                      <a:pt x="66" y="161"/>
                    </a:lnTo>
                    <a:close/>
                    <a:moveTo>
                      <a:pt x="51" y="129"/>
                    </a:moveTo>
                    <a:lnTo>
                      <a:pt x="53" y="129"/>
                    </a:lnTo>
                    <a:lnTo>
                      <a:pt x="53" y="131"/>
                    </a:lnTo>
                    <a:lnTo>
                      <a:pt x="51" y="131"/>
                    </a:lnTo>
                    <a:lnTo>
                      <a:pt x="51" y="129"/>
                    </a:lnTo>
                    <a:close/>
                    <a:moveTo>
                      <a:pt x="13" y="85"/>
                    </a:moveTo>
                    <a:lnTo>
                      <a:pt x="15" y="85"/>
                    </a:lnTo>
                    <a:lnTo>
                      <a:pt x="15" y="86"/>
                    </a:lnTo>
                    <a:lnTo>
                      <a:pt x="13" y="86"/>
                    </a:lnTo>
                    <a:lnTo>
                      <a:pt x="13" y="85"/>
                    </a:lnTo>
                    <a:close/>
                    <a:moveTo>
                      <a:pt x="8" y="86"/>
                    </a:moveTo>
                    <a:lnTo>
                      <a:pt x="10" y="86"/>
                    </a:lnTo>
                    <a:lnTo>
                      <a:pt x="10" y="88"/>
                    </a:lnTo>
                    <a:lnTo>
                      <a:pt x="8" y="88"/>
                    </a:lnTo>
                    <a:lnTo>
                      <a:pt x="8" y="86"/>
                    </a:lnTo>
                    <a:close/>
                    <a:moveTo>
                      <a:pt x="71" y="139"/>
                    </a:moveTo>
                    <a:lnTo>
                      <a:pt x="71" y="141"/>
                    </a:lnTo>
                    <a:lnTo>
                      <a:pt x="71" y="139"/>
                    </a:lnTo>
                    <a:close/>
                    <a:moveTo>
                      <a:pt x="83" y="173"/>
                    </a:moveTo>
                    <a:lnTo>
                      <a:pt x="85" y="173"/>
                    </a:lnTo>
                    <a:lnTo>
                      <a:pt x="83" y="173"/>
                    </a:lnTo>
                    <a:close/>
                    <a:moveTo>
                      <a:pt x="64" y="163"/>
                    </a:moveTo>
                    <a:lnTo>
                      <a:pt x="66" y="163"/>
                    </a:lnTo>
                    <a:lnTo>
                      <a:pt x="64" y="163"/>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2">
                <a:extLst>
                  <a:ext uri="{FF2B5EF4-FFF2-40B4-BE49-F238E27FC236}">
                    <a16:creationId xmlns:a16="http://schemas.microsoft.com/office/drawing/2014/main" id="{061B2AFA-9B4B-4D3B-AAB9-A28B70B32691}"/>
                  </a:ext>
                </a:extLst>
              </p:cNvPr>
              <p:cNvSpPr>
                <a:spLocks noEditPoints="1"/>
              </p:cNvSpPr>
              <p:nvPr/>
            </p:nvSpPr>
            <p:spPr bwMode="gray">
              <a:xfrm>
                <a:off x="4229352" y="3176891"/>
                <a:ext cx="193295" cy="111514"/>
              </a:xfrm>
              <a:custGeom>
                <a:avLst/>
                <a:gdLst>
                  <a:gd name="T0" fmla="*/ 149 w 156"/>
                  <a:gd name="T1" fmla="*/ 22 h 90"/>
                  <a:gd name="T2" fmla="*/ 144 w 156"/>
                  <a:gd name="T3" fmla="*/ 29 h 90"/>
                  <a:gd name="T4" fmla="*/ 146 w 156"/>
                  <a:gd name="T5" fmla="*/ 47 h 90"/>
                  <a:gd name="T6" fmla="*/ 130 w 156"/>
                  <a:gd name="T7" fmla="*/ 51 h 90"/>
                  <a:gd name="T8" fmla="*/ 90 w 156"/>
                  <a:gd name="T9" fmla="*/ 86 h 90"/>
                  <a:gd name="T10" fmla="*/ 90 w 156"/>
                  <a:gd name="T11" fmla="*/ 80 h 90"/>
                  <a:gd name="T12" fmla="*/ 85 w 156"/>
                  <a:gd name="T13" fmla="*/ 76 h 90"/>
                  <a:gd name="T14" fmla="*/ 76 w 156"/>
                  <a:gd name="T15" fmla="*/ 75 h 90"/>
                  <a:gd name="T16" fmla="*/ 71 w 156"/>
                  <a:gd name="T17" fmla="*/ 73 h 90"/>
                  <a:gd name="T18" fmla="*/ 69 w 156"/>
                  <a:gd name="T19" fmla="*/ 66 h 90"/>
                  <a:gd name="T20" fmla="*/ 66 w 156"/>
                  <a:gd name="T21" fmla="*/ 59 h 90"/>
                  <a:gd name="T22" fmla="*/ 71 w 156"/>
                  <a:gd name="T23" fmla="*/ 58 h 90"/>
                  <a:gd name="T24" fmla="*/ 74 w 156"/>
                  <a:gd name="T25" fmla="*/ 56 h 90"/>
                  <a:gd name="T26" fmla="*/ 79 w 156"/>
                  <a:gd name="T27" fmla="*/ 54 h 90"/>
                  <a:gd name="T28" fmla="*/ 81 w 156"/>
                  <a:gd name="T29" fmla="*/ 56 h 90"/>
                  <a:gd name="T30" fmla="*/ 85 w 156"/>
                  <a:gd name="T31" fmla="*/ 58 h 90"/>
                  <a:gd name="T32" fmla="*/ 85 w 156"/>
                  <a:gd name="T33" fmla="*/ 54 h 90"/>
                  <a:gd name="T34" fmla="*/ 81 w 156"/>
                  <a:gd name="T35" fmla="*/ 49 h 90"/>
                  <a:gd name="T36" fmla="*/ 76 w 156"/>
                  <a:gd name="T37" fmla="*/ 51 h 90"/>
                  <a:gd name="T38" fmla="*/ 78 w 156"/>
                  <a:gd name="T39" fmla="*/ 49 h 90"/>
                  <a:gd name="T40" fmla="*/ 73 w 156"/>
                  <a:gd name="T41" fmla="*/ 51 h 90"/>
                  <a:gd name="T42" fmla="*/ 71 w 156"/>
                  <a:gd name="T43" fmla="*/ 52 h 90"/>
                  <a:gd name="T44" fmla="*/ 66 w 156"/>
                  <a:gd name="T45" fmla="*/ 58 h 90"/>
                  <a:gd name="T46" fmla="*/ 62 w 156"/>
                  <a:gd name="T47" fmla="*/ 49 h 90"/>
                  <a:gd name="T48" fmla="*/ 73 w 156"/>
                  <a:gd name="T49" fmla="*/ 41 h 90"/>
                  <a:gd name="T50" fmla="*/ 71 w 156"/>
                  <a:gd name="T51" fmla="*/ 37 h 90"/>
                  <a:gd name="T52" fmla="*/ 47 w 156"/>
                  <a:gd name="T53" fmla="*/ 44 h 90"/>
                  <a:gd name="T54" fmla="*/ 45 w 156"/>
                  <a:gd name="T55" fmla="*/ 35 h 90"/>
                  <a:gd name="T56" fmla="*/ 37 w 156"/>
                  <a:gd name="T57" fmla="*/ 39 h 90"/>
                  <a:gd name="T58" fmla="*/ 23 w 156"/>
                  <a:gd name="T59" fmla="*/ 25 h 90"/>
                  <a:gd name="T60" fmla="*/ 17 w 156"/>
                  <a:gd name="T61" fmla="*/ 25 h 90"/>
                  <a:gd name="T62" fmla="*/ 10 w 156"/>
                  <a:gd name="T63" fmla="*/ 17 h 90"/>
                  <a:gd name="T64" fmla="*/ 64 w 156"/>
                  <a:gd name="T65" fmla="*/ 8 h 90"/>
                  <a:gd name="T66" fmla="*/ 34 w 156"/>
                  <a:gd name="T67" fmla="*/ 78 h 90"/>
                  <a:gd name="T68" fmla="*/ 25 w 156"/>
                  <a:gd name="T69" fmla="*/ 80 h 90"/>
                  <a:gd name="T70" fmla="*/ 28 w 156"/>
                  <a:gd name="T71" fmla="*/ 41 h 90"/>
                  <a:gd name="T72" fmla="*/ 32 w 156"/>
                  <a:gd name="T73" fmla="*/ 63 h 90"/>
                  <a:gd name="T74" fmla="*/ 15 w 156"/>
                  <a:gd name="T75" fmla="*/ 59 h 90"/>
                  <a:gd name="T76" fmla="*/ 49 w 156"/>
                  <a:gd name="T77" fmla="*/ 76 h 90"/>
                  <a:gd name="T78" fmla="*/ 42 w 156"/>
                  <a:gd name="T79" fmla="*/ 81 h 90"/>
                  <a:gd name="T80" fmla="*/ 28 w 156"/>
                  <a:gd name="T81" fmla="*/ 41 h 90"/>
                  <a:gd name="T82" fmla="*/ 62 w 156"/>
                  <a:gd name="T83" fmla="*/ 58 h 90"/>
                  <a:gd name="T84" fmla="*/ 61 w 156"/>
                  <a:gd name="T85" fmla="*/ 54 h 90"/>
                  <a:gd name="T86" fmla="*/ 23 w 156"/>
                  <a:gd name="T87" fmla="*/ 71 h 90"/>
                  <a:gd name="T88" fmla="*/ 34 w 156"/>
                  <a:gd name="T89" fmla="*/ 78 h 90"/>
                  <a:gd name="T90" fmla="*/ 28 w 156"/>
                  <a:gd name="T91" fmla="*/ 59 h 90"/>
                  <a:gd name="T92" fmla="*/ 45 w 156"/>
                  <a:gd name="T93" fmla="*/ 71 h 90"/>
                  <a:gd name="T94" fmla="*/ 35 w 156"/>
                  <a:gd name="T95" fmla="*/ 69 h 90"/>
                  <a:gd name="T96" fmla="*/ 30 w 156"/>
                  <a:gd name="T97" fmla="*/ 66 h 90"/>
                  <a:gd name="T98" fmla="*/ 54 w 156"/>
                  <a:gd name="T99" fmla="*/ 59 h 90"/>
                  <a:gd name="T100" fmla="*/ 47 w 156"/>
                  <a:gd name="T101" fmla="*/ 66 h 90"/>
                  <a:gd name="T102" fmla="*/ 13 w 156"/>
                  <a:gd name="T103" fmla="*/ 69 h 90"/>
                  <a:gd name="T104" fmla="*/ 64 w 156"/>
                  <a:gd name="T105" fmla="*/ 41 h 90"/>
                  <a:gd name="T106" fmla="*/ 39 w 156"/>
                  <a:gd name="T107" fmla="*/ 58 h 90"/>
                  <a:gd name="T108" fmla="*/ 52 w 156"/>
                  <a:gd name="T109" fmla="*/ 86 h 90"/>
                  <a:gd name="T110" fmla="*/ 35 w 156"/>
                  <a:gd name="T111" fmla="*/ 39 h 90"/>
                  <a:gd name="T112" fmla="*/ 66 w 156"/>
                  <a:gd name="T113" fmla="*/ 41 h 90"/>
                  <a:gd name="T114" fmla="*/ 42 w 156"/>
                  <a:gd name="T115" fmla="*/ 47 h 90"/>
                  <a:gd name="T116" fmla="*/ 51 w 156"/>
                  <a:gd name="T117"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90">
                    <a:moveTo>
                      <a:pt x="153" y="0"/>
                    </a:moveTo>
                    <a:lnTo>
                      <a:pt x="154" y="8"/>
                    </a:lnTo>
                    <a:lnTo>
                      <a:pt x="156" y="8"/>
                    </a:lnTo>
                    <a:lnTo>
                      <a:pt x="156" y="12"/>
                    </a:lnTo>
                    <a:lnTo>
                      <a:pt x="154" y="13"/>
                    </a:lnTo>
                    <a:lnTo>
                      <a:pt x="156" y="15"/>
                    </a:lnTo>
                    <a:lnTo>
                      <a:pt x="156" y="18"/>
                    </a:lnTo>
                    <a:lnTo>
                      <a:pt x="154" y="18"/>
                    </a:lnTo>
                    <a:lnTo>
                      <a:pt x="153" y="22"/>
                    </a:lnTo>
                    <a:lnTo>
                      <a:pt x="151" y="20"/>
                    </a:lnTo>
                    <a:lnTo>
                      <a:pt x="149" y="22"/>
                    </a:lnTo>
                    <a:lnTo>
                      <a:pt x="147" y="22"/>
                    </a:lnTo>
                    <a:lnTo>
                      <a:pt x="147" y="20"/>
                    </a:lnTo>
                    <a:lnTo>
                      <a:pt x="147" y="22"/>
                    </a:lnTo>
                    <a:lnTo>
                      <a:pt x="146" y="20"/>
                    </a:lnTo>
                    <a:lnTo>
                      <a:pt x="146" y="22"/>
                    </a:lnTo>
                    <a:lnTo>
                      <a:pt x="142" y="22"/>
                    </a:lnTo>
                    <a:lnTo>
                      <a:pt x="141" y="24"/>
                    </a:lnTo>
                    <a:lnTo>
                      <a:pt x="141" y="25"/>
                    </a:lnTo>
                    <a:lnTo>
                      <a:pt x="141" y="27"/>
                    </a:lnTo>
                    <a:lnTo>
                      <a:pt x="144" y="27"/>
                    </a:lnTo>
                    <a:lnTo>
                      <a:pt x="144" y="29"/>
                    </a:lnTo>
                    <a:lnTo>
                      <a:pt x="147" y="30"/>
                    </a:lnTo>
                    <a:lnTo>
                      <a:pt x="147" y="32"/>
                    </a:lnTo>
                    <a:lnTo>
                      <a:pt x="149" y="34"/>
                    </a:lnTo>
                    <a:lnTo>
                      <a:pt x="153" y="34"/>
                    </a:lnTo>
                    <a:lnTo>
                      <a:pt x="153" y="49"/>
                    </a:lnTo>
                    <a:lnTo>
                      <a:pt x="149" y="51"/>
                    </a:lnTo>
                    <a:lnTo>
                      <a:pt x="147" y="51"/>
                    </a:lnTo>
                    <a:lnTo>
                      <a:pt x="147" y="49"/>
                    </a:lnTo>
                    <a:lnTo>
                      <a:pt x="146" y="49"/>
                    </a:lnTo>
                    <a:lnTo>
                      <a:pt x="147" y="47"/>
                    </a:lnTo>
                    <a:lnTo>
                      <a:pt x="146" y="47"/>
                    </a:lnTo>
                    <a:lnTo>
                      <a:pt x="144" y="49"/>
                    </a:lnTo>
                    <a:lnTo>
                      <a:pt x="146" y="49"/>
                    </a:lnTo>
                    <a:lnTo>
                      <a:pt x="144" y="51"/>
                    </a:lnTo>
                    <a:lnTo>
                      <a:pt x="142" y="51"/>
                    </a:lnTo>
                    <a:lnTo>
                      <a:pt x="141" y="52"/>
                    </a:lnTo>
                    <a:lnTo>
                      <a:pt x="139" y="52"/>
                    </a:lnTo>
                    <a:lnTo>
                      <a:pt x="137" y="52"/>
                    </a:lnTo>
                    <a:lnTo>
                      <a:pt x="136" y="52"/>
                    </a:lnTo>
                    <a:lnTo>
                      <a:pt x="134" y="54"/>
                    </a:lnTo>
                    <a:lnTo>
                      <a:pt x="132" y="52"/>
                    </a:lnTo>
                    <a:lnTo>
                      <a:pt x="130" y="51"/>
                    </a:lnTo>
                    <a:lnTo>
                      <a:pt x="129" y="52"/>
                    </a:lnTo>
                    <a:lnTo>
                      <a:pt x="127" y="51"/>
                    </a:lnTo>
                    <a:lnTo>
                      <a:pt x="125" y="51"/>
                    </a:lnTo>
                    <a:lnTo>
                      <a:pt x="124" y="51"/>
                    </a:lnTo>
                    <a:lnTo>
                      <a:pt x="122" y="54"/>
                    </a:lnTo>
                    <a:lnTo>
                      <a:pt x="112" y="59"/>
                    </a:lnTo>
                    <a:lnTo>
                      <a:pt x="105" y="59"/>
                    </a:lnTo>
                    <a:lnTo>
                      <a:pt x="98" y="66"/>
                    </a:lnTo>
                    <a:lnTo>
                      <a:pt x="91" y="81"/>
                    </a:lnTo>
                    <a:lnTo>
                      <a:pt x="91" y="83"/>
                    </a:lnTo>
                    <a:lnTo>
                      <a:pt x="90" y="86"/>
                    </a:lnTo>
                    <a:lnTo>
                      <a:pt x="88" y="86"/>
                    </a:lnTo>
                    <a:lnTo>
                      <a:pt x="86" y="88"/>
                    </a:lnTo>
                    <a:lnTo>
                      <a:pt x="83" y="90"/>
                    </a:lnTo>
                    <a:lnTo>
                      <a:pt x="83" y="88"/>
                    </a:lnTo>
                    <a:lnTo>
                      <a:pt x="83" y="85"/>
                    </a:lnTo>
                    <a:lnTo>
                      <a:pt x="83" y="83"/>
                    </a:lnTo>
                    <a:lnTo>
                      <a:pt x="83" y="81"/>
                    </a:lnTo>
                    <a:lnTo>
                      <a:pt x="85" y="80"/>
                    </a:lnTo>
                    <a:lnTo>
                      <a:pt x="86" y="80"/>
                    </a:lnTo>
                    <a:lnTo>
                      <a:pt x="86" y="78"/>
                    </a:lnTo>
                    <a:lnTo>
                      <a:pt x="90" y="80"/>
                    </a:lnTo>
                    <a:lnTo>
                      <a:pt x="88" y="78"/>
                    </a:lnTo>
                    <a:lnTo>
                      <a:pt x="90" y="78"/>
                    </a:lnTo>
                    <a:lnTo>
                      <a:pt x="88" y="78"/>
                    </a:lnTo>
                    <a:lnTo>
                      <a:pt x="88" y="76"/>
                    </a:lnTo>
                    <a:lnTo>
                      <a:pt x="88" y="75"/>
                    </a:lnTo>
                    <a:lnTo>
                      <a:pt x="91" y="73"/>
                    </a:lnTo>
                    <a:lnTo>
                      <a:pt x="90" y="73"/>
                    </a:lnTo>
                    <a:lnTo>
                      <a:pt x="88" y="75"/>
                    </a:lnTo>
                    <a:lnTo>
                      <a:pt x="86" y="76"/>
                    </a:lnTo>
                    <a:lnTo>
                      <a:pt x="86" y="78"/>
                    </a:lnTo>
                    <a:lnTo>
                      <a:pt x="85" y="76"/>
                    </a:lnTo>
                    <a:lnTo>
                      <a:pt x="85" y="78"/>
                    </a:lnTo>
                    <a:lnTo>
                      <a:pt x="83" y="80"/>
                    </a:lnTo>
                    <a:lnTo>
                      <a:pt x="81" y="81"/>
                    </a:lnTo>
                    <a:lnTo>
                      <a:pt x="76" y="85"/>
                    </a:lnTo>
                    <a:lnTo>
                      <a:pt x="74" y="83"/>
                    </a:lnTo>
                    <a:lnTo>
                      <a:pt x="76" y="81"/>
                    </a:lnTo>
                    <a:lnTo>
                      <a:pt x="76" y="80"/>
                    </a:lnTo>
                    <a:lnTo>
                      <a:pt x="78" y="78"/>
                    </a:lnTo>
                    <a:lnTo>
                      <a:pt x="76" y="75"/>
                    </a:lnTo>
                    <a:lnTo>
                      <a:pt x="76" y="73"/>
                    </a:lnTo>
                    <a:lnTo>
                      <a:pt x="76" y="75"/>
                    </a:lnTo>
                    <a:lnTo>
                      <a:pt x="76" y="78"/>
                    </a:lnTo>
                    <a:lnTo>
                      <a:pt x="76" y="80"/>
                    </a:lnTo>
                    <a:lnTo>
                      <a:pt x="73" y="80"/>
                    </a:lnTo>
                    <a:lnTo>
                      <a:pt x="73" y="78"/>
                    </a:lnTo>
                    <a:lnTo>
                      <a:pt x="71" y="78"/>
                    </a:lnTo>
                    <a:lnTo>
                      <a:pt x="66" y="75"/>
                    </a:lnTo>
                    <a:lnTo>
                      <a:pt x="68" y="73"/>
                    </a:lnTo>
                    <a:lnTo>
                      <a:pt x="68" y="75"/>
                    </a:lnTo>
                    <a:lnTo>
                      <a:pt x="69" y="73"/>
                    </a:lnTo>
                    <a:lnTo>
                      <a:pt x="68" y="73"/>
                    </a:lnTo>
                    <a:lnTo>
                      <a:pt x="71" y="73"/>
                    </a:lnTo>
                    <a:lnTo>
                      <a:pt x="71" y="71"/>
                    </a:lnTo>
                    <a:lnTo>
                      <a:pt x="69" y="71"/>
                    </a:lnTo>
                    <a:lnTo>
                      <a:pt x="68" y="73"/>
                    </a:lnTo>
                    <a:lnTo>
                      <a:pt x="66" y="71"/>
                    </a:lnTo>
                    <a:lnTo>
                      <a:pt x="66" y="69"/>
                    </a:lnTo>
                    <a:lnTo>
                      <a:pt x="68" y="66"/>
                    </a:lnTo>
                    <a:lnTo>
                      <a:pt x="69" y="66"/>
                    </a:lnTo>
                    <a:lnTo>
                      <a:pt x="71" y="66"/>
                    </a:lnTo>
                    <a:lnTo>
                      <a:pt x="73" y="64"/>
                    </a:lnTo>
                    <a:lnTo>
                      <a:pt x="71" y="66"/>
                    </a:lnTo>
                    <a:lnTo>
                      <a:pt x="69" y="66"/>
                    </a:lnTo>
                    <a:lnTo>
                      <a:pt x="71" y="63"/>
                    </a:lnTo>
                    <a:lnTo>
                      <a:pt x="69" y="64"/>
                    </a:lnTo>
                    <a:lnTo>
                      <a:pt x="66" y="66"/>
                    </a:lnTo>
                    <a:lnTo>
                      <a:pt x="64" y="68"/>
                    </a:lnTo>
                    <a:lnTo>
                      <a:pt x="62" y="68"/>
                    </a:lnTo>
                    <a:lnTo>
                      <a:pt x="62" y="64"/>
                    </a:lnTo>
                    <a:lnTo>
                      <a:pt x="64" y="63"/>
                    </a:lnTo>
                    <a:lnTo>
                      <a:pt x="62" y="61"/>
                    </a:lnTo>
                    <a:lnTo>
                      <a:pt x="64" y="61"/>
                    </a:lnTo>
                    <a:lnTo>
                      <a:pt x="66" y="61"/>
                    </a:lnTo>
                    <a:lnTo>
                      <a:pt x="66" y="59"/>
                    </a:lnTo>
                    <a:lnTo>
                      <a:pt x="68" y="61"/>
                    </a:lnTo>
                    <a:lnTo>
                      <a:pt x="69" y="61"/>
                    </a:lnTo>
                    <a:lnTo>
                      <a:pt x="68" y="61"/>
                    </a:lnTo>
                    <a:lnTo>
                      <a:pt x="69" y="59"/>
                    </a:lnTo>
                    <a:lnTo>
                      <a:pt x="68" y="59"/>
                    </a:lnTo>
                    <a:lnTo>
                      <a:pt x="68" y="58"/>
                    </a:lnTo>
                    <a:lnTo>
                      <a:pt x="69" y="58"/>
                    </a:lnTo>
                    <a:lnTo>
                      <a:pt x="69" y="59"/>
                    </a:lnTo>
                    <a:lnTo>
                      <a:pt x="71" y="59"/>
                    </a:lnTo>
                    <a:lnTo>
                      <a:pt x="71" y="56"/>
                    </a:lnTo>
                    <a:lnTo>
                      <a:pt x="71" y="58"/>
                    </a:lnTo>
                    <a:lnTo>
                      <a:pt x="73" y="56"/>
                    </a:lnTo>
                    <a:lnTo>
                      <a:pt x="73" y="58"/>
                    </a:lnTo>
                    <a:lnTo>
                      <a:pt x="74" y="58"/>
                    </a:lnTo>
                    <a:lnTo>
                      <a:pt x="73" y="56"/>
                    </a:lnTo>
                    <a:lnTo>
                      <a:pt x="71" y="56"/>
                    </a:lnTo>
                    <a:lnTo>
                      <a:pt x="73" y="54"/>
                    </a:lnTo>
                    <a:lnTo>
                      <a:pt x="74" y="58"/>
                    </a:lnTo>
                    <a:lnTo>
                      <a:pt x="74" y="56"/>
                    </a:lnTo>
                    <a:lnTo>
                      <a:pt x="76" y="58"/>
                    </a:lnTo>
                    <a:lnTo>
                      <a:pt x="76" y="56"/>
                    </a:lnTo>
                    <a:lnTo>
                      <a:pt x="74" y="56"/>
                    </a:lnTo>
                    <a:lnTo>
                      <a:pt x="74" y="54"/>
                    </a:lnTo>
                    <a:lnTo>
                      <a:pt x="73" y="54"/>
                    </a:lnTo>
                    <a:lnTo>
                      <a:pt x="76" y="54"/>
                    </a:lnTo>
                    <a:lnTo>
                      <a:pt x="78" y="54"/>
                    </a:lnTo>
                    <a:lnTo>
                      <a:pt x="76" y="54"/>
                    </a:lnTo>
                    <a:lnTo>
                      <a:pt x="78" y="56"/>
                    </a:lnTo>
                    <a:lnTo>
                      <a:pt x="78" y="58"/>
                    </a:lnTo>
                    <a:lnTo>
                      <a:pt x="78" y="56"/>
                    </a:lnTo>
                    <a:lnTo>
                      <a:pt x="79" y="56"/>
                    </a:lnTo>
                    <a:lnTo>
                      <a:pt x="78" y="54"/>
                    </a:lnTo>
                    <a:lnTo>
                      <a:pt x="79" y="54"/>
                    </a:lnTo>
                    <a:lnTo>
                      <a:pt x="78" y="54"/>
                    </a:lnTo>
                    <a:lnTo>
                      <a:pt x="78" y="52"/>
                    </a:lnTo>
                    <a:lnTo>
                      <a:pt x="79" y="54"/>
                    </a:lnTo>
                    <a:lnTo>
                      <a:pt x="78" y="52"/>
                    </a:lnTo>
                    <a:lnTo>
                      <a:pt x="79" y="52"/>
                    </a:lnTo>
                    <a:lnTo>
                      <a:pt x="79" y="54"/>
                    </a:lnTo>
                    <a:lnTo>
                      <a:pt x="81" y="52"/>
                    </a:lnTo>
                    <a:lnTo>
                      <a:pt x="81" y="56"/>
                    </a:lnTo>
                    <a:lnTo>
                      <a:pt x="81" y="54"/>
                    </a:lnTo>
                    <a:lnTo>
                      <a:pt x="83" y="56"/>
                    </a:lnTo>
                    <a:lnTo>
                      <a:pt x="81" y="56"/>
                    </a:lnTo>
                    <a:lnTo>
                      <a:pt x="83" y="56"/>
                    </a:lnTo>
                    <a:lnTo>
                      <a:pt x="81" y="56"/>
                    </a:lnTo>
                    <a:lnTo>
                      <a:pt x="81" y="58"/>
                    </a:lnTo>
                    <a:lnTo>
                      <a:pt x="83" y="56"/>
                    </a:lnTo>
                    <a:lnTo>
                      <a:pt x="83" y="58"/>
                    </a:lnTo>
                    <a:lnTo>
                      <a:pt x="85" y="56"/>
                    </a:lnTo>
                    <a:lnTo>
                      <a:pt x="83" y="58"/>
                    </a:lnTo>
                    <a:lnTo>
                      <a:pt x="85" y="56"/>
                    </a:lnTo>
                    <a:lnTo>
                      <a:pt x="85" y="58"/>
                    </a:lnTo>
                    <a:lnTo>
                      <a:pt x="85" y="56"/>
                    </a:lnTo>
                    <a:lnTo>
                      <a:pt x="85" y="58"/>
                    </a:lnTo>
                    <a:lnTo>
                      <a:pt x="85" y="56"/>
                    </a:lnTo>
                    <a:lnTo>
                      <a:pt x="86" y="58"/>
                    </a:lnTo>
                    <a:lnTo>
                      <a:pt x="86" y="56"/>
                    </a:lnTo>
                    <a:lnTo>
                      <a:pt x="86" y="58"/>
                    </a:lnTo>
                    <a:lnTo>
                      <a:pt x="86" y="56"/>
                    </a:lnTo>
                    <a:lnTo>
                      <a:pt x="88" y="56"/>
                    </a:lnTo>
                    <a:lnTo>
                      <a:pt x="88" y="54"/>
                    </a:lnTo>
                    <a:lnTo>
                      <a:pt x="86" y="56"/>
                    </a:lnTo>
                    <a:lnTo>
                      <a:pt x="85" y="56"/>
                    </a:lnTo>
                    <a:lnTo>
                      <a:pt x="83" y="54"/>
                    </a:lnTo>
                    <a:lnTo>
                      <a:pt x="85" y="54"/>
                    </a:lnTo>
                    <a:lnTo>
                      <a:pt x="86" y="52"/>
                    </a:lnTo>
                    <a:lnTo>
                      <a:pt x="83" y="54"/>
                    </a:lnTo>
                    <a:lnTo>
                      <a:pt x="85" y="52"/>
                    </a:lnTo>
                    <a:lnTo>
                      <a:pt x="83" y="54"/>
                    </a:lnTo>
                    <a:lnTo>
                      <a:pt x="81" y="54"/>
                    </a:lnTo>
                    <a:lnTo>
                      <a:pt x="83" y="52"/>
                    </a:lnTo>
                    <a:lnTo>
                      <a:pt x="83" y="51"/>
                    </a:lnTo>
                    <a:lnTo>
                      <a:pt x="81" y="52"/>
                    </a:lnTo>
                    <a:lnTo>
                      <a:pt x="79" y="52"/>
                    </a:lnTo>
                    <a:lnTo>
                      <a:pt x="81" y="51"/>
                    </a:lnTo>
                    <a:lnTo>
                      <a:pt x="81" y="49"/>
                    </a:lnTo>
                    <a:lnTo>
                      <a:pt x="81" y="51"/>
                    </a:lnTo>
                    <a:lnTo>
                      <a:pt x="79" y="51"/>
                    </a:lnTo>
                    <a:lnTo>
                      <a:pt x="79" y="52"/>
                    </a:lnTo>
                    <a:lnTo>
                      <a:pt x="78" y="52"/>
                    </a:lnTo>
                    <a:lnTo>
                      <a:pt x="78" y="51"/>
                    </a:lnTo>
                    <a:lnTo>
                      <a:pt x="78" y="52"/>
                    </a:lnTo>
                    <a:lnTo>
                      <a:pt x="76" y="52"/>
                    </a:lnTo>
                    <a:lnTo>
                      <a:pt x="74" y="52"/>
                    </a:lnTo>
                    <a:lnTo>
                      <a:pt x="76" y="52"/>
                    </a:lnTo>
                    <a:lnTo>
                      <a:pt x="78" y="51"/>
                    </a:lnTo>
                    <a:lnTo>
                      <a:pt x="76" y="51"/>
                    </a:lnTo>
                    <a:lnTo>
                      <a:pt x="78" y="51"/>
                    </a:lnTo>
                    <a:lnTo>
                      <a:pt x="78" y="49"/>
                    </a:lnTo>
                    <a:lnTo>
                      <a:pt x="78" y="47"/>
                    </a:lnTo>
                    <a:lnTo>
                      <a:pt x="79" y="49"/>
                    </a:lnTo>
                    <a:lnTo>
                      <a:pt x="78" y="47"/>
                    </a:lnTo>
                    <a:lnTo>
                      <a:pt x="79" y="47"/>
                    </a:lnTo>
                    <a:lnTo>
                      <a:pt x="78" y="47"/>
                    </a:lnTo>
                    <a:lnTo>
                      <a:pt x="78" y="46"/>
                    </a:lnTo>
                    <a:lnTo>
                      <a:pt x="78" y="47"/>
                    </a:lnTo>
                    <a:lnTo>
                      <a:pt x="76" y="47"/>
                    </a:lnTo>
                    <a:lnTo>
                      <a:pt x="78" y="49"/>
                    </a:lnTo>
                    <a:lnTo>
                      <a:pt x="76" y="49"/>
                    </a:lnTo>
                    <a:lnTo>
                      <a:pt x="78" y="49"/>
                    </a:lnTo>
                    <a:lnTo>
                      <a:pt x="76" y="51"/>
                    </a:lnTo>
                    <a:lnTo>
                      <a:pt x="76" y="49"/>
                    </a:lnTo>
                    <a:lnTo>
                      <a:pt x="76" y="51"/>
                    </a:lnTo>
                    <a:lnTo>
                      <a:pt x="74" y="52"/>
                    </a:lnTo>
                    <a:lnTo>
                      <a:pt x="74" y="51"/>
                    </a:lnTo>
                    <a:lnTo>
                      <a:pt x="74" y="52"/>
                    </a:lnTo>
                    <a:lnTo>
                      <a:pt x="74" y="51"/>
                    </a:lnTo>
                    <a:lnTo>
                      <a:pt x="74" y="49"/>
                    </a:lnTo>
                    <a:lnTo>
                      <a:pt x="73" y="51"/>
                    </a:lnTo>
                    <a:lnTo>
                      <a:pt x="74" y="47"/>
                    </a:lnTo>
                    <a:lnTo>
                      <a:pt x="73" y="51"/>
                    </a:lnTo>
                    <a:lnTo>
                      <a:pt x="73" y="49"/>
                    </a:lnTo>
                    <a:lnTo>
                      <a:pt x="73" y="51"/>
                    </a:lnTo>
                    <a:lnTo>
                      <a:pt x="71" y="51"/>
                    </a:lnTo>
                    <a:lnTo>
                      <a:pt x="73" y="51"/>
                    </a:lnTo>
                    <a:lnTo>
                      <a:pt x="73" y="52"/>
                    </a:lnTo>
                    <a:lnTo>
                      <a:pt x="71" y="52"/>
                    </a:lnTo>
                    <a:lnTo>
                      <a:pt x="71" y="54"/>
                    </a:lnTo>
                    <a:lnTo>
                      <a:pt x="71" y="51"/>
                    </a:lnTo>
                    <a:lnTo>
                      <a:pt x="71" y="52"/>
                    </a:lnTo>
                    <a:lnTo>
                      <a:pt x="71" y="54"/>
                    </a:lnTo>
                    <a:lnTo>
                      <a:pt x="68" y="52"/>
                    </a:lnTo>
                    <a:lnTo>
                      <a:pt x="69" y="56"/>
                    </a:lnTo>
                    <a:lnTo>
                      <a:pt x="68" y="54"/>
                    </a:lnTo>
                    <a:lnTo>
                      <a:pt x="69" y="56"/>
                    </a:lnTo>
                    <a:lnTo>
                      <a:pt x="68" y="56"/>
                    </a:lnTo>
                    <a:lnTo>
                      <a:pt x="68" y="54"/>
                    </a:lnTo>
                    <a:lnTo>
                      <a:pt x="66" y="54"/>
                    </a:lnTo>
                    <a:lnTo>
                      <a:pt x="66" y="58"/>
                    </a:lnTo>
                    <a:lnTo>
                      <a:pt x="66" y="56"/>
                    </a:lnTo>
                    <a:lnTo>
                      <a:pt x="66" y="58"/>
                    </a:lnTo>
                    <a:lnTo>
                      <a:pt x="64" y="54"/>
                    </a:lnTo>
                    <a:lnTo>
                      <a:pt x="66" y="54"/>
                    </a:lnTo>
                    <a:lnTo>
                      <a:pt x="64" y="54"/>
                    </a:lnTo>
                    <a:lnTo>
                      <a:pt x="66" y="52"/>
                    </a:lnTo>
                    <a:lnTo>
                      <a:pt x="66" y="51"/>
                    </a:lnTo>
                    <a:lnTo>
                      <a:pt x="68" y="51"/>
                    </a:lnTo>
                    <a:lnTo>
                      <a:pt x="66" y="51"/>
                    </a:lnTo>
                    <a:lnTo>
                      <a:pt x="64" y="52"/>
                    </a:lnTo>
                    <a:lnTo>
                      <a:pt x="62" y="52"/>
                    </a:lnTo>
                    <a:lnTo>
                      <a:pt x="62" y="51"/>
                    </a:lnTo>
                    <a:lnTo>
                      <a:pt x="62" y="49"/>
                    </a:lnTo>
                    <a:lnTo>
                      <a:pt x="64" y="49"/>
                    </a:lnTo>
                    <a:lnTo>
                      <a:pt x="62" y="49"/>
                    </a:lnTo>
                    <a:lnTo>
                      <a:pt x="61" y="51"/>
                    </a:lnTo>
                    <a:lnTo>
                      <a:pt x="61" y="47"/>
                    </a:lnTo>
                    <a:lnTo>
                      <a:pt x="59" y="49"/>
                    </a:lnTo>
                    <a:lnTo>
                      <a:pt x="61" y="46"/>
                    </a:lnTo>
                    <a:lnTo>
                      <a:pt x="64" y="42"/>
                    </a:lnTo>
                    <a:lnTo>
                      <a:pt x="66" y="42"/>
                    </a:lnTo>
                    <a:lnTo>
                      <a:pt x="68" y="41"/>
                    </a:lnTo>
                    <a:lnTo>
                      <a:pt x="69" y="41"/>
                    </a:lnTo>
                    <a:lnTo>
                      <a:pt x="73" y="41"/>
                    </a:lnTo>
                    <a:lnTo>
                      <a:pt x="79" y="41"/>
                    </a:lnTo>
                    <a:lnTo>
                      <a:pt x="81" y="39"/>
                    </a:lnTo>
                    <a:lnTo>
                      <a:pt x="85" y="37"/>
                    </a:lnTo>
                    <a:lnTo>
                      <a:pt x="86" y="37"/>
                    </a:lnTo>
                    <a:lnTo>
                      <a:pt x="88" y="37"/>
                    </a:lnTo>
                    <a:lnTo>
                      <a:pt x="86" y="35"/>
                    </a:lnTo>
                    <a:lnTo>
                      <a:pt x="85" y="35"/>
                    </a:lnTo>
                    <a:lnTo>
                      <a:pt x="81" y="35"/>
                    </a:lnTo>
                    <a:lnTo>
                      <a:pt x="78" y="39"/>
                    </a:lnTo>
                    <a:lnTo>
                      <a:pt x="73" y="39"/>
                    </a:lnTo>
                    <a:lnTo>
                      <a:pt x="71" y="37"/>
                    </a:lnTo>
                    <a:lnTo>
                      <a:pt x="68" y="37"/>
                    </a:lnTo>
                    <a:lnTo>
                      <a:pt x="66" y="37"/>
                    </a:lnTo>
                    <a:lnTo>
                      <a:pt x="62" y="37"/>
                    </a:lnTo>
                    <a:lnTo>
                      <a:pt x="61" y="41"/>
                    </a:lnTo>
                    <a:lnTo>
                      <a:pt x="59" y="39"/>
                    </a:lnTo>
                    <a:lnTo>
                      <a:pt x="59" y="41"/>
                    </a:lnTo>
                    <a:lnTo>
                      <a:pt x="57" y="42"/>
                    </a:lnTo>
                    <a:lnTo>
                      <a:pt x="54" y="44"/>
                    </a:lnTo>
                    <a:lnTo>
                      <a:pt x="51" y="46"/>
                    </a:lnTo>
                    <a:lnTo>
                      <a:pt x="45" y="47"/>
                    </a:lnTo>
                    <a:lnTo>
                      <a:pt x="47" y="44"/>
                    </a:lnTo>
                    <a:lnTo>
                      <a:pt x="45" y="44"/>
                    </a:lnTo>
                    <a:lnTo>
                      <a:pt x="44" y="46"/>
                    </a:lnTo>
                    <a:lnTo>
                      <a:pt x="42" y="46"/>
                    </a:lnTo>
                    <a:lnTo>
                      <a:pt x="42" y="47"/>
                    </a:lnTo>
                    <a:lnTo>
                      <a:pt x="40" y="47"/>
                    </a:lnTo>
                    <a:lnTo>
                      <a:pt x="39" y="47"/>
                    </a:lnTo>
                    <a:lnTo>
                      <a:pt x="39" y="46"/>
                    </a:lnTo>
                    <a:lnTo>
                      <a:pt x="40" y="44"/>
                    </a:lnTo>
                    <a:lnTo>
                      <a:pt x="40" y="41"/>
                    </a:lnTo>
                    <a:lnTo>
                      <a:pt x="44" y="35"/>
                    </a:lnTo>
                    <a:lnTo>
                      <a:pt x="45" y="35"/>
                    </a:lnTo>
                    <a:lnTo>
                      <a:pt x="47" y="34"/>
                    </a:lnTo>
                    <a:lnTo>
                      <a:pt x="44" y="34"/>
                    </a:lnTo>
                    <a:lnTo>
                      <a:pt x="42" y="35"/>
                    </a:lnTo>
                    <a:lnTo>
                      <a:pt x="40" y="35"/>
                    </a:lnTo>
                    <a:lnTo>
                      <a:pt x="39" y="35"/>
                    </a:lnTo>
                    <a:lnTo>
                      <a:pt x="39" y="34"/>
                    </a:lnTo>
                    <a:lnTo>
                      <a:pt x="37" y="32"/>
                    </a:lnTo>
                    <a:lnTo>
                      <a:pt x="37" y="34"/>
                    </a:lnTo>
                    <a:lnTo>
                      <a:pt x="39" y="35"/>
                    </a:lnTo>
                    <a:lnTo>
                      <a:pt x="40" y="37"/>
                    </a:lnTo>
                    <a:lnTo>
                      <a:pt x="37" y="39"/>
                    </a:lnTo>
                    <a:lnTo>
                      <a:pt x="34" y="39"/>
                    </a:lnTo>
                    <a:lnTo>
                      <a:pt x="32" y="41"/>
                    </a:lnTo>
                    <a:lnTo>
                      <a:pt x="30" y="39"/>
                    </a:lnTo>
                    <a:lnTo>
                      <a:pt x="25" y="39"/>
                    </a:lnTo>
                    <a:lnTo>
                      <a:pt x="23" y="35"/>
                    </a:lnTo>
                    <a:lnTo>
                      <a:pt x="22" y="34"/>
                    </a:lnTo>
                    <a:lnTo>
                      <a:pt x="20" y="34"/>
                    </a:lnTo>
                    <a:lnTo>
                      <a:pt x="20" y="32"/>
                    </a:lnTo>
                    <a:lnTo>
                      <a:pt x="18" y="29"/>
                    </a:lnTo>
                    <a:lnTo>
                      <a:pt x="20" y="27"/>
                    </a:lnTo>
                    <a:lnTo>
                      <a:pt x="23" y="25"/>
                    </a:lnTo>
                    <a:lnTo>
                      <a:pt x="25" y="22"/>
                    </a:lnTo>
                    <a:lnTo>
                      <a:pt x="30" y="20"/>
                    </a:lnTo>
                    <a:lnTo>
                      <a:pt x="27" y="20"/>
                    </a:lnTo>
                    <a:lnTo>
                      <a:pt x="22" y="24"/>
                    </a:lnTo>
                    <a:lnTo>
                      <a:pt x="20" y="24"/>
                    </a:lnTo>
                    <a:lnTo>
                      <a:pt x="22" y="22"/>
                    </a:lnTo>
                    <a:lnTo>
                      <a:pt x="20" y="22"/>
                    </a:lnTo>
                    <a:lnTo>
                      <a:pt x="20" y="24"/>
                    </a:lnTo>
                    <a:lnTo>
                      <a:pt x="18" y="25"/>
                    </a:lnTo>
                    <a:lnTo>
                      <a:pt x="17" y="24"/>
                    </a:lnTo>
                    <a:lnTo>
                      <a:pt x="17" y="25"/>
                    </a:lnTo>
                    <a:lnTo>
                      <a:pt x="15" y="25"/>
                    </a:lnTo>
                    <a:lnTo>
                      <a:pt x="13" y="25"/>
                    </a:lnTo>
                    <a:lnTo>
                      <a:pt x="10" y="22"/>
                    </a:lnTo>
                    <a:lnTo>
                      <a:pt x="6" y="20"/>
                    </a:lnTo>
                    <a:lnTo>
                      <a:pt x="3" y="17"/>
                    </a:lnTo>
                    <a:lnTo>
                      <a:pt x="3" y="18"/>
                    </a:lnTo>
                    <a:lnTo>
                      <a:pt x="1" y="17"/>
                    </a:lnTo>
                    <a:lnTo>
                      <a:pt x="0" y="17"/>
                    </a:lnTo>
                    <a:lnTo>
                      <a:pt x="1" y="17"/>
                    </a:lnTo>
                    <a:lnTo>
                      <a:pt x="6" y="17"/>
                    </a:lnTo>
                    <a:lnTo>
                      <a:pt x="10" y="17"/>
                    </a:lnTo>
                    <a:lnTo>
                      <a:pt x="15" y="15"/>
                    </a:lnTo>
                    <a:lnTo>
                      <a:pt x="17" y="17"/>
                    </a:lnTo>
                    <a:lnTo>
                      <a:pt x="18" y="15"/>
                    </a:lnTo>
                    <a:lnTo>
                      <a:pt x="27" y="12"/>
                    </a:lnTo>
                    <a:lnTo>
                      <a:pt x="28" y="12"/>
                    </a:lnTo>
                    <a:lnTo>
                      <a:pt x="32" y="10"/>
                    </a:lnTo>
                    <a:lnTo>
                      <a:pt x="35" y="10"/>
                    </a:lnTo>
                    <a:lnTo>
                      <a:pt x="39" y="12"/>
                    </a:lnTo>
                    <a:lnTo>
                      <a:pt x="42" y="12"/>
                    </a:lnTo>
                    <a:lnTo>
                      <a:pt x="54" y="13"/>
                    </a:lnTo>
                    <a:lnTo>
                      <a:pt x="64" y="8"/>
                    </a:lnTo>
                    <a:lnTo>
                      <a:pt x="71" y="3"/>
                    </a:lnTo>
                    <a:lnTo>
                      <a:pt x="79" y="0"/>
                    </a:lnTo>
                    <a:lnTo>
                      <a:pt x="91" y="0"/>
                    </a:lnTo>
                    <a:lnTo>
                      <a:pt x="93" y="0"/>
                    </a:lnTo>
                    <a:lnTo>
                      <a:pt x="105" y="0"/>
                    </a:lnTo>
                    <a:lnTo>
                      <a:pt x="120" y="0"/>
                    </a:lnTo>
                    <a:lnTo>
                      <a:pt x="122" y="0"/>
                    </a:lnTo>
                    <a:lnTo>
                      <a:pt x="132" y="0"/>
                    </a:lnTo>
                    <a:lnTo>
                      <a:pt x="153" y="0"/>
                    </a:lnTo>
                    <a:close/>
                    <a:moveTo>
                      <a:pt x="34" y="76"/>
                    </a:moveTo>
                    <a:lnTo>
                      <a:pt x="34" y="78"/>
                    </a:lnTo>
                    <a:lnTo>
                      <a:pt x="35" y="80"/>
                    </a:lnTo>
                    <a:lnTo>
                      <a:pt x="34" y="80"/>
                    </a:lnTo>
                    <a:lnTo>
                      <a:pt x="35" y="81"/>
                    </a:lnTo>
                    <a:lnTo>
                      <a:pt x="34" y="81"/>
                    </a:lnTo>
                    <a:lnTo>
                      <a:pt x="34" y="83"/>
                    </a:lnTo>
                    <a:lnTo>
                      <a:pt x="30" y="83"/>
                    </a:lnTo>
                    <a:lnTo>
                      <a:pt x="28" y="83"/>
                    </a:lnTo>
                    <a:lnTo>
                      <a:pt x="23" y="81"/>
                    </a:lnTo>
                    <a:lnTo>
                      <a:pt x="25" y="80"/>
                    </a:lnTo>
                    <a:lnTo>
                      <a:pt x="27" y="78"/>
                    </a:lnTo>
                    <a:lnTo>
                      <a:pt x="25" y="80"/>
                    </a:lnTo>
                    <a:lnTo>
                      <a:pt x="27" y="80"/>
                    </a:lnTo>
                    <a:lnTo>
                      <a:pt x="28" y="76"/>
                    </a:lnTo>
                    <a:lnTo>
                      <a:pt x="30" y="76"/>
                    </a:lnTo>
                    <a:lnTo>
                      <a:pt x="30" y="75"/>
                    </a:lnTo>
                    <a:lnTo>
                      <a:pt x="34" y="76"/>
                    </a:lnTo>
                    <a:close/>
                    <a:moveTo>
                      <a:pt x="37" y="41"/>
                    </a:moveTo>
                    <a:lnTo>
                      <a:pt x="35" y="47"/>
                    </a:lnTo>
                    <a:lnTo>
                      <a:pt x="32" y="47"/>
                    </a:lnTo>
                    <a:lnTo>
                      <a:pt x="32" y="46"/>
                    </a:lnTo>
                    <a:lnTo>
                      <a:pt x="28" y="44"/>
                    </a:lnTo>
                    <a:lnTo>
                      <a:pt x="28" y="41"/>
                    </a:lnTo>
                    <a:lnTo>
                      <a:pt x="32" y="41"/>
                    </a:lnTo>
                    <a:lnTo>
                      <a:pt x="35" y="41"/>
                    </a:lnTo>
                    <a:lnTo>
                      <a:pt x="37" y="41"/>
                    </a:lnTo>
                    <a:close/>
                    <a:moveTo>
                      <a:pt x="40" y="59"/>
                    </a:moveTo>
                    <a:lnTo>
                      <a:pt x="42" y="63"/>
                    </a:lnTo>
                    <a:lnTo>
                      <a:pt x="39" y="63"/>
                    </a:lnTo>
                    <a:lnTo>
                      <a:pt x="39" y="64"/>
                    </a:lnTo>
                    <a:lnTo>
                      <a:pt x="39" y="63"/>
                    </a:lnTo>
                    <a:lnTo>
                      <a:pt x="37" y="63"/>
                    </a:lnTo>
                    <a:lnTo>
                      <a:pt x="35" y="64"/>
                    </a:lnTo>
                    <a:lnTo>
                      <a:pt x="32" y="63"/>
                    </a:lnTo>
                    <a:lnTo>
                      <a:pt x="35" y="59"/>
                    </a:lnTo>
                    <a:lnTo>
                      <a:pt x="37" y="59"/>
                    </a:lnTo>
                    <a:lnTo>
                      <a:pt x="39" y="59"/>
                    </a:lnTo>
                    <a:lnTo>
                      <a:pt x="40" y="59"/>
                    </a:lnTo>
                    <a:close/>
                    <a:moveTo>
                      <a:pt x="23" y="56"/>
                    </a:moveTo>
                    <a:lnTo>
                      <a:pt x="25" y="58"/>
                    </a:lnTo>
                    <a:lnTo>
                      <a:pt x="23" y="61"/>
                    </a:lnTo>
                    <a:lnTo>
                      <a:pt x="22" y="61"/>
                    </a:lnTo>
                    <a:lnTo>
                      <a:pt x="20" y="59"/>
                    </a:lnTo>
                    <a:lnTo>
                      <a:pt x="17" y="61"/>
                    </a:lnTo>
                    <a:lnTo>
                      <a:pt x="15" y="59"/>
                    </a:lnTo>
                    <a:lnTo>
                      <a:pt x="17" y="58"/>
                    </a:lnTo>
                    <a:lnTo>
                      <a:pt x="20" y="58"/>
                    </a:lnTo>
                    <a:lnTo>
                      <a:pt x="22" y="56"/>
                    </a:lnTo>
                    <a:lnTo>
                      <a:pt x="23" y="56"/>
                    </a:lnTo>
                    <a:close/>
                    <a:moveTo>
                      <a:pt x="54" y="73"/>
                    </a:moveTo>
                    <a:lnTo>
                      <a:pt x="52" y="73"/>
                    </a:lnTo>
                    <a:lnTo>
                      <a:pt x="52" y="75"/>
                    </a:lnTo>
                    <a:lnTo>
                      <a:pt x="51" y="73"/>
                    </a:lnTo>
                    <a:lnTo>
                      <a:pt x="51" y="75"/>
                    </a:lnTo>
                    <a:lnTo>
                      <a:pt x="51" y="76"/>
                    </a:lnTo>
                    <a:lnTo>
                      <a:pt x="49" y="76"/>
                    </a:lnTo>
                    <a:lnTo>
                      <a:pt x="47" y="75"/>
                    </a:lnTo>
                    <a:lnTo>
                      <a:pt x="49" y="75"/>
                    </a:lnTo>
                    <a:lnTo>
                      <a:pt x="47" y="73"/>
                    </a:lnTo>
                    <a:lnTo>
                      <a:pt x="49" y="73"/>
                    </a:lnTo>
                    <a:lnTo>
                      <a:pt x="49" y="71"/>
                    </a:lnTo>
                    <a:lnTo>
                      <a:pt x="51" y="71"/>
                    </a:lnTo>
                    <a:lnTo>
                      <a:pt x="51" y="69"/>
                    </a:lnTo>
                    <a:lnTo>
                      <a:pt x="54" y="69"/>
                    </a:lnTo>
                    <a:lnTo>
                      <a:pt x="54" y="73"/>
                    </a:lnTo>
                    <a:close/>
                    <a:moveTo>
                      <a:pt x="42" y="76"/>
                    </a:moveTo>
                    <a:lnTo>
                      <a:pt x="42" y="81"/>
                    </a:lnTo>
                    <a:lnTo>
                      <a:pt x="42" y="83"/>
                    </a:lnTo>
                    <a:lnTo>
                      <a:pt x="37" y="83"/>
                    </a:lnTo>
                    <a:lnTo>
                      <a:pt x="40" y="80"/>
                    </a:lnTo>
                    <a:lnTo>
                      <a:pt x="37" y="81"/>
                    </a:lnTo>
                    <a:lnTo>
                      <a:pt x="40" y="78"/>
                    </a:lnTo>
                    <a:lnTo>
                      <a:pt x="39" y="78"/>
                    </a:lnTo>
                    <a:lnTo>
                      <a:pt x="37" y="76"/>
                    </a:lnTo>
                    <a:lnTo>
                      <a:pt x="39" y="76"/>
                    </a:lnTo>
                    <a:lnTo>
                      <a:pt x="39" y="75"/>
                    </a:lnTo>
                    <a:lnTo>
                      <a:pt x="42" y="76"/>
                    </a:lnTo>
                    <a:close/>
                    <a:moveTo>
                      <a:pt x="28" y="41"/>
                    </a:moveTo>
                    <a:lnTo>
                      <a:pt x="25" y="42"/>
                    </a:lnTo>
                    <a:lnTo>
                      <a:pt x="20" y="42"/>
                    </a:lnTo>
                    <a:lnTo>
                      <a:pt x="20" y="41"/>
                    </a:lnTo>
                    <a:lnTo>
                      <a:pt x="22" y="39"/>
                    </a:lnTo>
                    <a:lnTo>
                      <a:pt x="22" y="35"/>
                    </a:lnTo>
                    <a:lnTo>
                      <a:pt x="25" y="39"/>
                    </a:lnTo>
                    <a:lnTo>
                      <a:pt x="28" y="41"/>
                    </a:lnTo>
                    <a:close/>
                    <a:moveTo>
                      <a:pt x="62" y="54"/>
                    </a:moveTo>
                    <a:lnTo>
                      <a:pt x="62" y="56"/>
                    </a:lnTo>
                    <a:lnTo>
                      <a:pt x="64" y="58"/>
                    </a:lnTo>
                    <a:lnTo>
                      <a:pt x="62" y="58"/>
                    </a:lnTo>
                    <a:lnTo>
                      <a:pt x="62" y="56"/>
                    </a:lnTo>
                    <a:lnTo>
                      <a:pt x="61" y="58"/>
                    </a:lnTo>
                    <a:lnTo>
                      <a:pt x="59" y="58"/>
                    </a:lnTo>
                    <a:lnTo>
                      <a:pt x="59" y="59"/>
                    </a:lnTo>
                    <a:lnTo>
                      <a:pt x="61" y="59"/>
                    </a:lnTo>
                    <a:lnTo>
                      <a:pt x="59" y="59"/>
                    </a:lnTo>
                    <a:lnTo>
                      <a:pt x="56" y="59"/>
                    </a:lnTo>
                    <a:lnTo>
                      <a:pt x="56" y="58"/>
                    </a:lnTo>
                    <a:lnTo>
                      <a:pt x="57" y="56"/>
                    </a:lnTo>
                    <a:lnTo>
                      <a:pt x="59" y="56"/>
                    </a:lnTo>
                    <a:lnTo>
                      <a:pt x="61" y="54"/>
                    </a:lnTo>
                    <a:lnTo>
                      <a:pt x="64" y="52"/>
                    </a:lnTo>
                    <a:lnTo>
                      <a:pt x="62" y="54"/>
                    </a:lnTo>
                    <a:close/>
                    <a:moveTo>
                      <a:pt x="27" y="69"/>
                    </a:moveTo>
                    <a:lnTo>
                      <a:pt x="27" y="71"/>
                    </a:lnTo>
                    <a:lnTo>
                      <a:pt x="27" y="69"/>
                    </a:lnTo>
                    <a:lnTo>
                      <a:pt x="28" y="71"/>
                    </a:lnTo>
                    <a:lnTo>
                      <a:pt x="28" y="73"/>
                    </a:lnTo>
                    <a:lnTo>
                      <a:pt x="27" y="75"/>
                    </a:lnTo>
                    <a:lnTo>
                      <a:pt x="23" y="75"/>
                    </a:lnTo>
                    <a:lnTo>
                      <a:pt x="22" y="73"/>
                    </a:lnTo>
                    <a:lnTo>
                      <a:pt x="23" y="71"/>
                    </a:lnTo>
                    <a:lnTo>
                      <a:pt x="25" y="71"/>
                    </a:lnTo>
                    <a:lnTo>
                      <a:pt x="25" y="69"/>
                    </a:lnTo>
                    <a:lnTo>
                      <a:pt x="27" y="69"/>
                    </a:lnTo>
                    <a:close/>
                    <a:moveTo>
                      <a:pt x="37" y="76"/>
                    </a:moveTo>
                    <a:lnTo>
                      <a:pt x="39" y="80"/>
                    </a:lnTo>
                    <a:lnTo>
                      <a:pt x="37" y="81"/>
                    </a:lnTo>
                    <a:lnTo>
                      <a:pt x="35" y="81"/>
                    </a:lnTo>
                    <a:lnTo>
                      <a:pt x="35" y="80"/>
                    </a:lnTo>
                    <a:lnTo>
                      <a:pt x="35" y="78"/>
                    </a:lnTo>
                    <a:lnTo>
                      <a:pt x="35" y="80"/>
                    </a:lnTo>
                    <a:lnTo>
                      <a:pt x="34" y="78"/>
                    </a:lnTo>
                    <a:lnTo>
                      <a:pt x="35" y="75"/>
                    </a:lnTo>
                    <a:lnTo>
                      <a:pt x="35" y="76"/>
                    </a:lnTo>
                    <a:lnTo>
                      <a:pt x="37" y="75"/>
                    </a:lnTo>
                    <a:lnTo>
                      <a:pt x="37" y="76"/>
                    </a:lnTo>
                    <a:close/>
                    <a:moveTo>
                      <a:pt x="28" y="59"/>
                    </a:moveTo>
                    <a:lnTo>
                      <a:pt x="25" y="63"/>
                    </a:lnTo>
                    <a:lnTo>
                      <a:pt x="22" y="63"/>
                    </a:lnTo>
                    <a:lnTo>
                      <a:pt x="23" y="61"/>
                    </a:lnTo>
                    <a:lnTo>
                      <a:pt x="25" y="59"/>
                    </a:lnTo>
                    <a:lnTo>
                      <a:pt x="28" y="58"/>
                    </a:lnTo>
                    <a:lnTo>
                      <a:pt x="28" y="59"/>
                    </a:lnTo>
                    <a:close/>
                    <a:moveTo>
                      <a:pt x="45" y="71"/>
                    </a:moveTo>
                    <a:lnTo>
                      <a:pt x="44" y="71"/>
                    </a:lnTo>
                    <a:lnTo>
                      <a:pt x="45" y="73"/>
                    </a:lnTo>
                    <a:lnTo>
                      <a:pt x="44" y="73"/>
                    </a:lnTo>
                    <a:lnTo>
                      <a:pt x="45" y="73"/>
                    </a:lnTo>
                    <a:lnTo>
                      <a:pt x="45" y="75"/>
                    </a:lnTo>
                    <a:lnTo>
                      <a:pt x="44" y="75"/>
                    </a:lnTo>
                    <a:lnTo>
                      <a:pt x="42" y="75"/>
                    </a:lnTo>
                    <a:lnTo>
                      <a:pt x="44" y="69"/>
                    </a:lnTo>
                    <a:lnTo>
                      <a:pt x="45" y="69"/>
                    </a:lnTo>
                    <a:lnTo>
                      <a:pt x="45" y="71"/>
                    </a:lnTo>
                    <a:close/>
                    <a:moveTo>
                      <a:pt x="40" y="56"/>
                    </a:moveTo>
                    <a:lnTo>
                      <a:pt x="42" y="58"/>
                    </a:lnTo>
                    <a:lnTo>
                      <a:pt x="40" y="59"/>
                    </a:lnTo>
                    <a:lnTo>
                      <a:pt x="39" y="58"/>
                    </a:lnTo>
                    <a:lnTo>
                      <a:pt x="39" y="56"/>
                    </a:lnTo>
                    <a:lnTo>
                      <a:pt x="37" y="56"/>
                    </a:lnTo>
                    <a:lnTo>
                      <a:pt x="39" y="54"/>
                    </a:lnTo>
                    <a:lnTo>
                      <a:pt x="40" y="56"/>
                    </a:lnTo>
                    <a:close/>
                    <a:moveTo>
                      <a:pt x="35" y="69"/>
                    </a:moveTo>
                    <a:lnTo>
                      <a:pt x="34" y="69"/>
                    </a:lnTo>
                    <a:lnTo>
                      <a:pt x="35" y="69"/>
                    </a:lnTo>
                    <a:lnTo>
                      <a:pt x="34" y="68"/>
                    </a:lnTo>
                    <a:lnTo>
                      <a:pt x="32" y="71"/>
                    </a:lnTo>
                    <a:lnTo>
                      <a:pt x="30" y="69"/>
                    </a:lnTo>
                    <a:lnTo>
                      <a:pt x="30" y="68"/>
                    </a:lnTo>
                    <a:lnTo>
                      <a:pt x="32" y="68"/>
                    </a:lnTo>
                    <a:lnTo>
                      <a:pt x="35" y="68"/>
                    </a:lnTo>
                    <a:lnTo>
                      <a:pt x="35" y="69"/>
                    </a:lnTo>
                    <a:close/>
                    <a:moveTo>
                      <a:pt x="34" y="64"/>
                    </a:moveTo>
                    <a:lnTo>
                      <a:pt x="32" y="64"/>
                    </a:lnTo>
                    <a:lnTo>
                      <a:pt x="32" y="66"/>
                    </a:lnTo>
                    <a:lnTo>
                      <a:pt x="30" y="66"/>
                    </a:lnTo>
                    <a:lnTo>
                      <a:pt x="28" y="66"/>
                    </a:lnTo>
                    <a:lnTo>
                      <a:pt x="28" y="64"/>
                    </a:lnTo>
                    <a:lnTo>
                      <a:pt x="32" y="64"/>
                    </a:lnTo>
                    <a:lnTo>
                      <a:pt x="34" y="64"/>
                    </a:lnTo>
                    <a:close/>
                    <a:moveTo>
                      <a:pt x="54" y="61"/>
                    </a:moveTo>
                    <a:lnTo>
                      <a:pt x="54" y="63"/>
                    </a:lnTo>
                    <a:lnTo>
                      <a:pt x="52" y="63"/>
                    </a:lnTo>
                    <a:lnTo>
                      <a:pt x="51" y="63"/>
                    </a:lnTo>
                    <a:lnTo>
                      <a:pt x="52" y="61"/>
                    </a:lnTo>
                    <a:lnTo>
                      <a:pt x="52" y="59"/>
                    </a:lnTo>
                    <a:lnTo>
                      <a:pt x="54" y="59"/>
                    </a:lnTo>
                    <a:lnTo>
                      <a:pt x="54" y="61"/>
                    </a:lnTo>
                    <a:close/>
                    <a:moveTo>
                      <a:pt x="39" y="58"/>
                    </a:moveTo>
                    <a:lnTo>
                      <a:pt x="37" y="59"/>
                    </a:lnTo>
                    <a:lnTo>
                      <a:pt x="35" y="58"/>
                    </a:lnTo>
                    <a:lnTo>
                      <a:pt x="37" y="56"/>
                    </a:lnTo>
                    <a:lnTo>
                      <a:pt x="39" y="58"/>
                    </a:lnTo>
                    <a:close/>
                    <a:moveTo>
                      <a:pt x="47" y="68"/>
                    </a:moveTo>
                    <a:lnTo>
                      <a:pt x="47" y="69"/>
                    </a:lnTo>
                    <a:lnTo>
                      <a:pt x="45" y="69"/>
                    </a:lnTo>
                    <a:lnTo>
                      <a:pt x="45" y="68"/>
                    </a:lnTo>
                    <a:lnTo>
                      <a:pt x="47" y="66"/>
                    </a:lnTo>
                    <a:lnTo>
                      <a:pt x="47" y="68"/>
                    </a:lnTo>
                    <a:close/>
                    <a:moveTo>
                      <a:pt x="71" y="71"/>
                    </a:moveTo>
                    <a:lnTo>
                      <a:pt x="71" y="73"/>
                    </a:lnTo>
                    <a:lnTo>
                      <a:pt x="68" y="73"/>
                    </a:lnTo>
                    <a:lnTo>
                      <a:pt x="66" y="73"/>
                    </a:lnTo>
                    <a:lnTo>
                      <a:pt x="68" y="73"/>
                    </a:lnTo>
                    <a:lnTo>
                      <a:pt x="69" y="71"/>
                    </a:lnTo>
                    <a:lnTo>
                      <a:pt x="71" y="71"/>
                    </a:lnTo>
                    <a:close/>
                    <a:moveTo>
                      <a:pt x="17" y="71"/>
                    </a:moveTo>
                    <a:lnTo>
                      <a:pt x="11" y="71"/>
                    </a:lnTo>
                    <a:lnTo>
                      <a:pt x="13" y="69"/>
                    </a:lnTo>
                    <a:lnTo>
                      <a:pt x="17" y="71"/>
                    </a:lnTo>
                    <a:close/>
                    <a:moveTo>
                      <a:pt x="42" y="66"/>
                    </a:moveTo>
                    <a:lnTo>
                      <a:pt x="45" y="66"/>
                    </a:lnTo>
                    <a:lnTo>
                      <a:pt x="45" y="69"/>
                    </a:lnTo>
                    <a:lnTo>
                      <a:pt x="42" y="69"/>
                    </a:lnTo>
                    <a:lnTo>
                      <a:pt x="42" y="66"/>
                    </a:lnTo>
                    <a:close/>
                    <a:moveTo>
                      <a:pt x="42" y="37"/>
                    </a:moveTo>
                    <a:lnTo>
                      <a:pt x="42" y="35"/>
                    </a:lnTo>
                    <a:lnTo>
                      <a:pt x="45" y="34"/>
                    </a:lnTo>
                    <a:lnTo>
                      <a:pt x="42" y="37"/>
                    </a:lnTo>
                    <a:close/>
                    <a:moveTo>
                      <a:pt x="64" y="41"/>
                    </a:moveTo>
                    <a:lnTo>
                      <a:pt x="66" y="41"/>
                    </a:lnTo>
                    <a:lnTo>
                      <a:pt x="66" y="42"/>
                    </a:lnTo>
                    <a:lnTo>
                      <a:pt x="64" y="42"/>
                    </a:lnTo>
                    <a:lnTo>
                      <a:pt x="64" y="41"/>
                    </a:lnTo>
                    <a:close/>
                    <a:moveTo>
                      <a:pt x="39" y="83"/>
                    </a:moveTo>
                    <a:lnTo>
                      <a:pt x="35" y="83"/>
                    </a:lnTo>
                    <a:lnTo>
                      <a:pt x="39" y="83"/>
                    </a:lnTo>
                    <a:close/>
                    <a:moveTo>
                      <a:pt x="54" y="83"/>
                    </a:moveTo>
                    <a:lnTo>
                      <a:pt x="56" y="83"/>
                    </a:lnTo>
                    <a:lnTo>
                      <a:pt x="54" y="83"/>
                    </a:lnTo>
                    <a:close/>
                    <a:moveTo>
                      <a:pt x="39" y="58"/>
                    </a:moveTo>
                    <a:lnTo>
                      <a:pt x="40" y="58"/>
                    </a:lnTo>
                    <a:lnTo>
                      <a:pt x="40" y="59"/>
                    </a:lnTo>
                    <a:lnTo>
                      <a:pt x="39" y="59"/>
                    </a:lnTo>
                    <a:lnTo>
                      <a:pt x="39" y="58"/>
                    </a:lnTo>
                    <a:close/>
                    <a:moveTo>
                      <a:pt x="37" y="42"/>
                    </a:moveTo>
                    <a:lnTo>
                      <a:pt x="37" y="44"/>
                    </a:lnTo>
                    <a:lnTo>
                      <a:pt x="37" y="42"/>
                    </a:lnTo>
                    <a:close/>
                    <a:moveTo>
                      <a:pt x="52" y="85"/>
                    </a:moveTo>
                    <a:lnTo>
                      <a:pt x="54" y="85"/>
                    </a:lnTo>
                    <a:lnTo>
                      <a:pt x="54" y="86"/>
                    </a:lnTo>
                    <a:lnTo>
                      <a:pt x="52" y="86"/>
                    </a:lnTo>
                    <a:lnTo>
                      <a:pt x="52" y="85"/>
                    </a:lnTo>
                    <a:close/>
                    <a:moveTo>
                      <a:pt x="17" y="69"/>
                    </a:moveTo>
                    <a:lnTo>
                      <a:pt x="18" y="69"/>
                    </a:lnTo>
                    <a:lnTo>
                      <a:pt x="18" y="71"/>
                    </a:lnTo>
                    <a:lnTo>
                      <a:pt x="17" y="71"/>
                    </a:lnTo>
                    <a:lnTo>
                      <a:pt x="17" y="69"/>
                    </a:lnTo>
                    <a:close/>
                    <a:moveTo>
                      <a:pt x="35" y="39"/>
                    </a:moveTo>
                    <a:lnTo>
                      <a:pt x="39" y="39"/>
                    </a:lnTo>
                    <a:lnTo>
                      <a:pt x="39" y="41"/>
                    </a:lnTo>
                    <a:lnTo>
                      <a:pt x="35" y="41"/>
                    </a:lnTo>
                    <a:lnTo>
                      <a:pt x="35" y="39"/>
                    </a:lnTo>
                    <a:close/>
                    <a:moveTo>
                      <a:pt x="27" y="68"/>
                    </a:moveTo>
                    <a:lnTo>
                      <a:pt x="28" y="68"/>
                    </a:lnTo>
                    <a:lnTo>
                      <a:pt x="27" y="68"/>
                    </a:lnTo>
                    <a:close/>
                    <a:moveTo>
                      <a:pt x="35" y="66"/>
                    </a:moveTo>
                    <a:lnTo>
                      <a:pt x="37" y="66"/>
                    </a:lnTo>
                    <a:lnTo>
                      <a:pt x="35" y="66"/>
                    </a:lnTo>
                    <a:close/>
                    <a:moveTo>
                      <a:pt x="66" y="41"/>
                    </a:moveTo>
                    <a:lnTo>
                      <a:pt x="68" y="41"/>
                    </a:lnTo>
                    <a:lnTo>
                      <a:pt x="68" y="42"/>
                    </a:lnTo>
                    <a:lnTo>
                      <a:pt x="66" y="42"/>
                    </a:lnTo>
                    <a:lnTo>
                      <a:pt x="66" y="41"/>
                    </a:lnTo>
                    <a:close/>
                    <a:moveTo>
                      <a:pt x="51" y="83"/>
                    </a:moveTo>
                    <a:lnTo>
                      <a:pt x="52" y="83"/>
                    </a:lnTo>
                    <a:lnTo>
                      <a:pt x="52" y="85"/>
                    </a:lnTo>
                    <a:lnTo>
                      <a:pt x="51" y="85"/>
                    </a:lnTo>
                    <a:lnTo>
                      <a:pt x="51" y="83"/>
                    </a:lnTo>
                    <a:close/>
                    <a:moveTo>
                      <a:pt x="22" y="63"/>
                    </a:moveTo>
                    <a:lnTo>
                      <a:pt x="22" y="64"/>
                    </a:lnTo>
                    <a:lnTo>
                      <a:pt x="22" y="63"/>
                    </a:lnTo>
                    <a:close/>
                    <a:moveTo>
                      <a:pt x="42" y="47"/>
                    </a:moveTo>
                    <a:lnTo>
                      <a:pt x="44" y="47"/>
                    </a:lnTo>
                    <a:lnTo>
                      <a:pt x="42" y="47"/>
                    </a:lnTo>
                    <a:close/>
                    <a:moveTo>
                      <a:pt x="51" y="68"/>
                    </a:moveTo>
                    <a:lnTo>
                      <a:pt x="52" y="68"/>
                    </a:lnTo>
                    <a:lnTo>
                      <a:pt x="52" y="69"/>
                    </a:lnTo>
                    <a:lnTo>
                      <a:pt x="51" y="69"/>
                    </a:lnTo>
                    <a:lnTo>
                      <a:pt x="51" y="68"/>
                    </a:lnTo>
                    <a:close/>
                    <a:moveTo>
                      <a:pt x="76" y="78"/>
                    </a:moveTo>
                    <a:lnTo>
                      <a:pt x="78" y="78"/>
                    </a:lnTo>
                    <a:lnTo>
                      <a:pt x="76" y="78"/>
                    </a:lnTo>
                    <a:close/>
                    <a:moveTo>
                      <a:pt x="51" y="69"/>
                    </a:moveTo>
                    <a:lnTo>
                      <a:pt x="51" y="71"/>
                    </a:lnTo>
                    <a:lnTo>
                      <a:pt x="51" y="69"/>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Freeform 33">
                <a:extLst>
                  <a:ext uri="{FF2B5EF4-FFF2-40B4-BE49-F238E27FC236}">
                    <a16:creationId xmlns:a16="http://schemas.microsoft.com/office/drawing/2014/main" id="{ACDA5A86-CF49-4193-B99C-0F7E6B3EAEAE}"/>
                  </a:ext>
                </a:extLst>
              </p:cNvPr>
              <p:cNvSpPr>
                <a:spLocks/>
              </p:cNvSpPr>
              <p:nvPr/>
            </p:nvSpPr>
            <p:spPr bwMode="gray">
              <a:xfrm>
                <a:off x="4738605" y="3298316"/>
                <a:ext cx="382870" cy="401454"/>
              </a:xfrm>
              <a:custGeom>
                <a:avLst/>
                <a:gdLst>
                  <a:gd name="T0" fmla="*/ 168 w 309"/>
                  <a:gd name="T1" fmla="*/ 22 h 324"/>
                  <a:gd name="T2" fmla="*/ 178 w 309"/>
                  <a:gd name="T3" fmla="*/ 24 h 324"/>
                  <a:gd name="T4" fmla="*/ 180 w 309"/>
                  <a:gd name="T5" fmla="*/ 31 h 324"/>
                  <a:gd name="T6" fmla="*/ 185 w 309"/>
                  <a:gd name="T7" fmla="*/ 36 h 324"/>
                  <a:gd name="T8" fmla="*/ 192 w 309"/>
                  <a:gd name="T9" fmla="*/ 45 h 324"/>
                  <a:gd name="T10" fmla="*/ 201 w 309"/>
                  <a:gd name="T11" fmla="*/ 53 h 324"/>
                  <a:gd name="T12" fmla="*/ 211 w 309"/>
                  <a:gd name="T13" fmla="*/ 55 h 324"/>
                  <a:gd name="T14" fmla="*/ 219 w 309"/>
                  <a:gd name="T15" fmla="*/ 50 h 324"/>
                  <a:gd name="T16" fmla="*/ 238 w 309"/>
                  <a:gd name="T17" fmla="*/ 43 h 324"/>
                  <a:gd name="T18" fmla="*/ 265 w 309"/>
                  <a:gd name="T19" fmla="*/ 43 h 324"/>
                  <a:gd name="T20" fmla="*/ 279 w 309"/>
                  <a:gd name="T21" fmla="*/ 50 h 324"/>
                  <a:gd name="T22" fmla="*/ 297 w 309"/>
                  <a:gd name="T23" fmla="*/ 74 h 324"/>
                  <a:gd name="T24" fmla="*/ 301 w 309"/>
                  <a:gd name="T25" fmla="*/ 92 h 324"/>
                  <a:gd name="T26" fmla="*/ 308 w 309"/>
                  <a:gd name="T27" fmla="*/ 130 h 324"/>
                  <a:gd name="T28" fmla="*/ 292 w 309"/>
                  <a:gd name="T29" fmla="*/ 148 h 324"/>
                  <a:gd name="T30" fmla="*/ 272 w 309"/>
                  <a:gd name="T31" fmla="*/ 199 h 324"/>
                  <a:gd name="T32" fmla="*/ 280 w 309"/>
                  <a:gd name="T33" fmla="*/ 242 h 324"/>
                  <a:gd name="T34" fmla="*/ 294 w 309"/>
                  <a:gd name="T35" fmla="*/ 259 h 324"/>
                  <a:gd name="T36" fmla="*/ 296 w 309"/>
                  <a:gd name="T37" fmla="*/ 278 h 324"/>
                  <a:gd name="T38" fmla="*/ 287 w 309"/>
                  <a:gd name="T39" fmla="*/ 286 h 324"/>
                  <a:gd name="T40" fmla="*/ 223 w 309"/>
                  <a:gd name="T41" fmla="*/ 279 h 324"/>
                  <a:gd name="T42" fmla="*/ 122 w 309"/>
                  <a:gd name="T43" fmla="*/ 296 h 324"/>
                  <a:gd name="T44" fmla="*/ 85 w 309"/>
                  <a:gd name="T45" fmla="*/ 310 h 324"/>
                  <a:gd name="T46" fmla="*/ 53 w 309"/>
                  <a:gd name="T47" fmla="*/ 322 h 324"/>
                  <a:gd name="T48" fmla="*/ 53 w 309"/>
                  <a:gd name="T49" fmla="*/ 307 h 324"/>
                  <a:gd name="T50" fmla="*/ 54 w 309"/>
                  <a:gd name="T51" fmla="*/ 291 h 324"/>
                  <a:gd name="T52" fmla="*/ 61 w 309"/>
                  <a:gd name="T53" fmla="*/ 276 h 324"/>
                  <a:gd name="T54" fmla="*/ 59 w 309"/>
                  <a:gd name="T55" fmla="*/ 267 h 324"/>
                  <a:gd name="T56" fmla="*/ 59 w 309"/>
                  <a:gd name="T57" fmla="*/ 252 h 324"/>
                  <a:gd name="T58" fmla="*/ 53 w 309"/>
                  <a:gd name="T59" fmla="*/ 247 h 324"/>
                  <a:gd name="T60" fmla="*/ 42 w 309"/>
                  <a:gd name="T61" fmla="*/ 244 h 324"/>
                  <a:gd name="T62" fmla="*/ 39 w 309"/>
                  <a:gd name="T63" fmla="*/ 232 h 324"/>
                  <a:gd name="T64" fmla="*/ 22 w 309"/>
                  <a:gd name="T65" fmla="*/ 227 h 324"/>
                  <a:gd name="T66" fmla="*/ 10 w 309"/>
                  <a:gd name="T67" fmla="*/ 218 h 324"/>
                  <a:gd name="T68" fmla="*/ 3 w 309"/>
                  <a:gd name="T69" fmla="*/ 210 h 324"/>
                  <a:gd name="T70" fmla="*/ 10 w 309"/>
                  <a:gd name="T71" fmla="*/ 204 h 324"/>
                  <a:gd name="T72" fmla="*/ 15 w 309"/>
                  <a:gd name="T73" fmla="*/ 198 h 324"/>
                  <a:gd name="T74" fmla="*/ 14 w 309"/>
                  <a:gd name="T75" fmla="*/ 179 h 324"/>
                  <a:gd name="T76" fmla="*/ 12 w 309"/>
                  <a:gd name="T77" fmla="*/ 159 h 324"/>
                  <a:gd name="T78" fmla="*/ 27 w 309"/>
                  <a:gd name="T79" fmla="*/ 148 h 324"/>
                  <a:gd name="T80" fmla="*/ 31 w 309"/>
                  <a:gd name="T81" fmla="*/ 133 h 324"/>
                  <a:gd name="T82" fmla="*/ 19 w 309"/>
                  <a:gd name="T83" fmla="*/ 116 h 324"/>
                  <a:gd name="T84" fmla="*/ 36 w 309"/>
                  <a:gd name="T85" fmla="*/ 114 h 324"/>
                  <a:gd name="T86" fmla="*/ 39 w 309"/>
                  <a:gd name="T87" fmla="*/ 114 h 324"/>
                  <a:gd name="T88" fmla="*/ 37 w 309"/>
                  <a:gd name="T89" fmla="*/ 101 h 324"/>
                  <a:gd name="T90" fmla="*/ 44 w 309"/>
                  <a:gd name="T91" fmla="*/ 85 h 324"/>
                  <a:gd name="T92" fmla="*/ 36 w 309"/>
                  <a:gd name="T93" fmla="*/ 67 h 324"/>
                  <a:gd name="T94" fmla="*/ 25 w 309"/>
                  <a:gd name="T95" fmla="*/ 53 h 324"/>
                  <a:gd name="T96" fmla="*/ 24 w 309"/>
                  <a:gd name="T97" fmla="*/ 43 h 324"/>
                  <a:gd name="T98" fmla="*/ 32 w 309"/>
                  <a:gd name="T99" fmla="*/ 29 h 324"/>
                  <a:gd name="T100" fmla="*/ 42 w 309"/>
                  <a:gd name="T101" fmla="*/ 21 h 324"/>
                  <a:gd name="T102" fmla="*/ 54 w 309"/>
                  <a:gd name="T103" fmla="*/ 14 h 324"/>
                  <a:gd name="T104" fmla="*/ 73 w 309"/>
                  <a:gd name="T105" fmla="*/ 24 h 324"/>
                  <a:gd name="T106" fmla="*/ 97 w 309"/>
                  <a:gd name="T107" fmla="*/ 19 h 324"/>
                  <a:gd name="T108" fmla="*/ 102 w 309"/>
                  <a:gd name="T109" fmla="*/ 5 h 324"/>
                  <a:gd name="T110" fmla="*/ 119 w 309"/>
                  <a:gd name="T111" fmla="*/ 0 h 324"/>
                  <a:gd name="T112" fmla="*/ 121 w 309"/>
                  <a:gd name="T113" fmla="*/ 12 h 324"/>
                  <a:gd name="T114" fmla="*/ 122 w 309"/>
                  <a:gd name="T115" fmla="*/ 22 h 324"/>
                  <a:gd name="T116" fmla="*/ 136 w 309"/>
                  <a:gd name="T117" fmla="*/ 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324">
                    <a:moveTo>
                      <a:pt x="156" y="16"/>
                    </a:moveTo>
                    <a:lnTo>
                      <a:pt x="158" y="19"/>
                    </a:lnTo>
                    <a:lnTo>
                      <a:pt x="160" y="19"/>
                    </a:lnTo>
                    <a:lnTo>
                      <a:pt x="160" y="21"/>
                    </a:lnTo>
                    <a:lnTo>
                      <a:pt x="163" y="22"/>
                    </a:lnTo>
                    <a:lnTo>
                      <a:pt x="165" y="24"/>
                    </a:lnTo>
                    <a:lnTo>
                      <a:pt x="165" y="22"/>
                    </a:lnTo>
                    <a:lnTo>
                      <a:pt x="167" y="22"/>
                    </a:lnTo>
                    <a:lnTo>
                      <a:pt x="168" y="22"/>
                    </a:lnTo>
                    <a:lnTo>
                      <a:pt x="168" y="21"/>
                    </a:lnTo>
                    <a:lnTo>
                      <a:pt x="168" y="22"/>
                    </a:lnTo>
                    <a:lnTo>
                      <a:pt x="172" y="22"/>
                    </a:lnTo>
                    <a:lnTo>
                      <a:pt x="173" y="21"/>
                    </a:lnTo>
                    <a:lnTo>
                      <a:pt x="173" y="22"/>
                    </a:lnTo>
                    <a:lnTo>
                      <a:pt x="175" y="22"/>
                    </a:lnTo>
                    <a:lnTo>
                      <a:pt x="177" y="22"/>
                    </a:lnTo>
                    <a:lnTo>
                      <a:pt x="177" y="24"/>
                    </a:lnTo>
                    <a:lnTo>
                      <a:pt x="178" y="24"/>
                    </a:lnTo>
                    <a:lnTo>
                      <a:pt x="177" y="24"/>
                    </a:lnTo>
                    <a:lnTo>
                      <a:pt x="177" y="26"/>
                    </a:lnTo>
                    <a:lnTo>
                      <a:pt x="177" y="28"/>
                    </a:lnTo>
                    <a:lnTo>
                      <a:pt x="178" y="26"/>
                    </a:lnTo>
                    <a:lnTo>
                      <a:pt x="178" y="28"/>
                    </a:lnTo>
                    <a:lnTo>
                      <a:pt x="177" y="29"/>
                    </a:lnTo>
                    <a:lnTo>
                      <a:pt x="180" y="29"/>
                    </a:lnTo>
                    <a:lnTo>
                      <a:pt x="178" y="31"/>
                    </a:lnTo>
                    <a:lnTo>
                      <a:pt x="180" y="31"/>
                    </a:lnTo>
                    <a:lnTo>
                      <a:pt x="180" y="33"/>
                    </a:lnTo>
                    <a:lnTo>
                      <a:pt x="178" y="31"/>
                    </a:lnTo>
                    <a:lnTo>
                      <a:pt x="178" y="33"/>
                    </a:lnTo>
                    <a:lnTo>
                      <a:pt x="180" y="33"/>
                    </a:lnTo>
                    <a:lnTo>
                      <a:pt x="180" y="34"/>
                    </a:lnTo>
                    <a:lnTo>
                      <a:pt x="184" y="33"/>
                    </a:lnTo>
                    <a:lnTo>
                      <a:pt x="182" y="34"/>
                    </a:lnTo>
                    <a:lnTo>
                      <a:pt x="184" y="36"/>
                    </a:lnTo>
                    <a:lnTo>
                      <a:pt x="185" y="36"/>
                    </a:lnTo>
                    <a:lnTo>
                      <a:pt x="185" y="38"/>
                    </a:lnTo>
                    <a:lnTo>
                      <a:pt x="184" y="38"/>
                    </a:lnTo>
                    <a:lnTo>
                      <a:pt x="185" y="39"/>
                    </a:lnTo>
                    <a:lnTo>
                      <a:pt x="185" y="41"/>
                    </a:lnTo>
                    <a:lnTo>
                      <a:pt x="184" y="43"/>
                    </a:lnTo>
                    <a:lnTo>
                      <a:pt x="187" y="45"/>
                    </a:lnTo>
                    <a:lnTo>
                      <a:pt x="187" y="43"/>
                    </a:lnTo>
                    <a:lnTo>
                      <a:pt x="189" y="45"/>
                    </a:lnTo>
                    <a:lnTo>
                      <a:pt x="192" y="45"/>
                    </a:lnTo>
                    <a:lnTo>
                      <a:pt x="192" y="46"/>
                    </a:lnTo>
                    <a:lnTo>
                      <a:pt x="194" y="46"/>
                    </a:lnTo>
                    <a:lnTo>
                      <a:pt x="194" y="50"/>
                    </a:lnTo>
                    <a:lnTo>
                      <a:pt x="192" y="50"/>
                    </a:lnTo>
                    <a:lnTo>
                      <a:pt x="194" y="51"/>
                    </a:lnTo>
                    <a:lnTo>
                      <a:pt x="195" y="50"/>
                    </a:lnTo>
                    <a:lnTo>
                      <a:pt x="195" y="51"/>
                    </a:lnTo>
                    <a:lnTo>
                      <a:pt x="199" y="55"/>
                    </a:lnTo>
                    <a:lnTo>
                      <a:pt x="201" y="53"/>
                    </a:lnTo>
                    <a:lnTo>
                      <a:pt x="202" y="53"/>
                    </a:lnTo>
                    <a:lnTo>
                      <a:pt x="202" y="51"/>
                    </a:lnTo>
                    <a:lnTo>
                      <a:pt x="204" y="53"/>
                    </a:lnTo>
                    <a:lnTo>
                      <a:pt x="206" y="51"/>
                    </a:lnTo>
                    <a:lnTo>
                      <a:pt x="207" y="50"/>
                    </a:lnTo>
                    <a:lnTo>
                      <a:pt x="207" y="51"/>
                    </a:lnTo>
                    <a:lnTo>
                      <a:pt x="207" y="55"/>
                    </a:lnTo>
                    <a:lnTo>
                      <a:pt x="207" y="56"/>
                    </a:lnTo>
                    <a:lnTo>
                      <a:pt x="211" y="55"/>
                    </a:lnTo>
                    <a:lnTo>
                      <a:pt x="214" y="58"/>
                    </a:lnTo>
                    <a:lnTo>
                      <a:pt x="214" y="56"/>
                    </a:lnTo>
                    <a:lnTo>
                      <a:pt x="216" y="56"/>
                    </a:lnTo>
                    <a:lnTo>
                      <a:pt x="218" y="58"/>
                    </a:lnTo>
                    <a:lnTo>
                      <a:pt x="219" y="56"/>
                    </a:lnTo>
                    <a:lnTo>
                      <a:pt x="219" y="53"/>
                    </a:lnTo>
                    <a:lnTo>
                      <a:pt x="221" y="51"/>
                    </a:lnTo>
                    <a:lnTo>
                      <a:pt x="219" y="51"/>
                    </a:lnTo>
                    <a:lnTo>
                      <a:pt x="219" y="50"/>
                    </a:lnTo>
                    <a:lnTo>
                      <a:pt x="224" y="50"/>
                    </a:lnTo>
                    <a:lnTo>
                      <a:pt x="226" y="46"/>
                    </a:lnTo>
                    <a:lnTo>
                      <a:pt x="228" y="46"/>
                    </a:lnTo>
                    <a:lnTo>
                      <a:pt x="231" y="48"/>
                    </a:lnTo>
                    <a:lnTo>
                      <a:pt x="233" y="46"/>
                    </a:lnTo>
                    <a:lnTo>
                      <a:pt x="235" y="46"/>
                    </a:lnTo>
                    <a:lnTo>
                      <a:pt x="235" y="45"/>
                    </a:lnTo>
                    <a:lnTo>
                      <a:pt x="236" y="45"/>
                    </a:lnTo>
                    <a:lnTo>
                      <a:pt x="238" y="43"/>
                    </a:lnTo>
                    <a:lnTo>
                      <a:pt x="243" y="43"/>
                    </a:lnTo>
                    <a:lnTo>
                      <a:pt x="245" y="41"/>
                    </a:lnTo>
                    <a:lnTo>
                      <a:pt x="250" y="41"/>
                    </a:lnTo>
                    <a:lnTo>
                      <a:pt x="252" y="39"/>
                    </a:lnTo>
                    <a:lnTo>
                      <a:pt x="253" y="41"/>
                    </a:lnTo>
                    <a:lnTo>
                      <a:pt x="260" y="41"/>
                    </a:lnTo>
                    <a:lnTo>
                      <a:pt x="262" y="41"/>
                    </a:lnTo>
                    <a:lnTo>
                      <a:pt x="263" y="41"/>
                    </a:lnTo>
                    <a:lnTo>
                      <a:pt x="265" y="43"/>
                    </a:lnTo>
                    <a:lnTo>
                      <a:pt x="269" y="43"/>
                    </a:lnTo>
                    <a:lnTo>
                      <a:pt x="269" y="45"/>
                    </a:lnTo>
                    <a:lnTo>
                      <a:pt x="270" y="46"/>
                    </a:lnTo>
                    <a:lnTo>
                      <a:pt x="274" y="41"/>
                    </a:lnTo>
                    <a:lnTo>
                      <a:pt x="275" y="46"/>
                    </a:lnTo>
                    <a:lnTo>
                      <a:pt x="277" y="45"/>
                    </a:lnTo>
                    <a:lnTo>
                      <a:pt x="277" y="46"/>
                    </a:lnTo>
                    <a:lnTo>
                      <a:pt x="279" y="48"/>
                    </a:lnTo>
                    <a:lnTo>
                      <a:pt x="279" y="50"/>
                    </a:lnTo>
                    <a:lnTo>
                      <a:pt x="280" y="51"/>
                    </a:lnTo>
                    <a:lnTo>
                      <a:pt x="284" y="51"/>
                    </a:lnTo>
                    <a:lnTo>
                      <a:pt x="287" y="60"/>
                    </a:lnTo>
                    <a:lnTo>
                      <a:pt x="292" y="65"/>
                    </a:lnTo>
                    <a:lnTo>
                      <a:pt x="296" y="68"/>
                    </a:lnTo>
                    <a:lnTo>
                      <a:pt x="299" y="63"/>
                    </a:lnTo>
                    <a:lnTo>
                      <a:pt x="301" y="70"/>
                    </a:lnTo>
                    <a:lnTo>
                      <a:pt x="297" y="72"/>
                    </a:lnTo>
                    <a:lnTo>
                      <a:pt x="297" y="74"/>
                    </a:lnTo>
                    <a:lnTo>
                      <a:pt x="301" y="75"/>
                    </a:lnTo>
                    <a:lnTo>
                      <a:pt x="299" y="79"/>
                    </a:lnTo>
                    <a:lnTo>
                      <a:pt x="297" y="80"/>
                    </a:lnTo>
                    <a:lnTo>
                      <a:pt x="296" y="82"/>
                    </a:lnTo>
                    <a:lnTo>
                      <a:pt x="296" y="84"/>
                    </a:lnTo>
                    <a:lnTo>
                      <a:pt x="296" y="85"/>
                    </a:lnTo>
                    <a:lnTo>
                      <a:pt x="297" y="87"/>
                    </a:lnTo>
                    <a:lnTo>
                      <a:pt x="301" y="87"/>
                    </a:lnTo>
                    <a:lnTo>
                      <a:pt x="301" y="92"/>
                    </a:lnTo>
                    <a:lnTo>
                      <a:pt x="303" y="92"/>
                    </a:lnTo>
                    <a:lnTo>
                      <a:pt x="303" y="96"/>
                    </a:lnTo>
                    <a:lnTo>
                      <a:pt x="304" y="97"/>
                    </a:lnTo>
                    <a:lnTo>
                      <a:pt x="303" y="99"/>
                    </a:lnTo>
                    <a:lnTo>
                      <a:pt x="304" y="99"/>
                    </a:lnTo>
                    <a:lnTo>
                      <a:pt x="308" y="113"/>
                    </a:lnTo>
                    <a:lnTo>
                      <a:pt x="309" y="123"/>
                    </a:lnTo>
                    <a:lnTo>
                      <a:pt x="309" y="128"/>
                    </a:lnTo>
                    <a:lnTo>
                      <a:pt x="308" y="130"/>
                    </a:lnTo>
                    <a:lnTo>
                      <a:pt x="304" y="131"/>
                    </a:lnTo>
                    <a:lnTo>
                      <a:pt x="303" y="133"/>
                    </a:lnTo>
                    <a:lnTo>
                      <a:pt x="304" y="135"/>
                    </a:lnTo>
                    <a:lnTo>
                      <a:pt x="304" y="136"/>
                    </a:lnTo>
                    <a:lnTo>
                      <a:pt x="301" y="138"/>
                    </a:lnTo>
                    <a:lnTo>
                      <a:pt x="297" y="143"/>
                    </a:lnTo>
                    <a:lnTo>
                      <a:pt x="296" y="142"/>
                    </a:lnTo>
                    <a:lnTo>
                      <a:pt x="294" y="147"/>
                    </a:lnTo>
                    <a:lnTo>
                      <a:pt x="292" y="148"/>
                    </a:lnTo>
                    <a:lnTo>
                      <a:pt x="287" y="159"/>
                    </a:lnTo>
                    <a:lnTo>
                      <a:pt x="287" y="165"/>
                    </a:lnTo>
                    <a:lnTo>
                      <a:pt x="286" y="174"/>
                    </a:lnTo>
                    <a:lnTo>
                      <a:pt x="286" y="176"/>
                    </a:lnTo>
                    <a:lnTo>
                      <a:pt x="287" y="179"/>
                    </a:lnTo>
                    <a:lnTo>
                      <a:pt x="282" y="182"/>
                    </a:lnTo>
                    <a:lnTo>
                      <a:pt x="282" y="186"/>
                    </a:lnTo>
                    <a:lnTo>
                      <a:pt x="279" y="187"/>
                    </a:lnTo>
                    <a:lnTo>
                      <a:pt x="272" y="199"/>
                    </a:lnTo>
                    <a:lnTo>
                      <a:pt x="272" y="201"/>
                    </a:lnTo>
                    <a:lnTo>
                      <a:pt x="274" y="204"/>
                    </a:lnTo>
                    <a:lnTo>
                      <a:pt x="270" y="210"/>
                    </a:lnTo>
                    <a:lnTo>
                      <a:pt x="272" y="210"/>
                    </a:lnTo>
                    <a:lnTo>
                      <a:pt x="272" y="215"/>
                    </a:lnTo>
                    <a:lnTo>
                      <a:pt x="275" y="225"/>
                    </a:lnTo>
                    <a:lnTo>
                      <a:pt x="275" y="228"/>
                    </a:lnTo>
                    <a:lnTo>
                      <a:pt x="279" y="233"/>
                    </a:lnTo>
                    <a:lnTo>
                      <a:pt x="280" y="242"/>
                    </a:lnTo>
                    <a:lnTo>
                      <a:pt x="280" y="244"/>
                    </a:lnTo>
                    <a:lnTo>
                      <a:pt x="282" y="249"/>
                    </a:lnTo>
                    <a:lnTo>
                      <a:pt x="282" y="256"/>
                    </a:lnTo>
                    <a:lnTo>
                      <a:pt x="286" y="256"/>
                    </a:lnTo>
                    <a:lnTo>
                      <a:pt x="286" y="259"/>
                    </a:lnTo>
                    <a:lnTo>
                      <a:pt x="287" y="261"/>
                    </a:lnTo>
                    <a:lnTo>
                      <a:pt x="291" y="259"/>
                    </a:lnTo>
                    <a:lnTo>
                      <a:pt x="292" y="259"/>
                    </a:lnTo>
                    <a:lnTo>
                      <a:pt x="294" y="259"/>
                    </a:lnTo>
                    <a:lnTo>
                      <a:pt x="296" y="261"/>
                    </a:lnTo>
                    <a:lnTo>
                      <a:pt x="296" y="262"/>
                    </a:lnTo>
                    <a:lnTo>
                      <a:pt x="296" y="269"/>
                    </a:lnTo>
                    <a:lnTo>
                      <a:pt x="297" y="271"/>
                    </a:lnTo>
                    <a:lnTo>
                      <a:pt x="297" y="274"/>
                    </a:lnTo>
                    <a:lnTo>
                      <a:pt x="296" y="273"/>
                    </a:lnTo>
                    <a:lnTo>
                      <a:pt x="296" y="276"/>
                    </a:lnTo>
                    <a:lnTo>
                      <a:pt x="294" y="276"/>
                    </a:lnTo>
                    <a:lnTo>
                      <a:pt x="296" y="278"/>
                    </a:lnTo>
                    <a:lnTo>
                      <a:pt x="296" y="281"/>
                    </a:lnTo>
                    <a:lnTo>
                      <a:pt x="297" y="284"/>
                    </a:lnTo>
                    <a:lnTo>
                      <a:pt x="296" y="286"/>
                    </a:lnTo>
                    <a:lnTo>
                      <a:pt x="294" y="284"/>
                    </a:lnTo>
                    <a:lnTo>
                      <a:pt x="292" y="286"/>
                    </a:lnTo>
                    <a:lnTo>
                      <a:pt x="292" y="284"/>
                    </a:lnTo>
                    <a:lnTo>
                      <a:pt x="292" y="286"/>
                    </a:lnTo>
                    <a:lnTo>
                      <a:pt x="289" y="284"/>
                    </a:lnTo>
                    <a:lnTo>
                      <a:pt x="287" y="286"/>
                    </a:lnTo>
                    <a:lnTo>
                      <a:pt x="282" y="284"/>
                    </a:lnTo>
                    <a:lnTo>
                      <a:pt x="280" y="284"/>
                    </a:lnTo>
                    <a:lnTo>
                      <a:pt x="279" y="286"/>
                    </a:lnTo>
                    <a:lnTo>
                      <a:pt x="262" y="283"/>
                    </a:lnTo>
                    <a:lnTo>
                      <a:pt x="248" y="281"/>
                    </a:lnTo>
                    <a:lnTo>
                      <a:pt x="235" y="278"/>
                    </a:lnTo>
                    <a:lnTo>
                      <a:pt x="233" y="279"/>
                    </a:lnTo>
                    <a:lnTo>
                      <a:pt x="229" y="279"/>
                    </a:lnTo>
                    <a:lnTo>
                      <a:pt x="223" y="279"/>
                    </a:lnTo>
                    <a:lnTo>
                      <a:pt x="206" y="281"/>
                    </a:lnTo>
                    <a:lnTo>
                      <a:pt x="195" y="283"/>
                    </a:lnTo>
                    <a:lnTo>
                      <a:pt x="173" y="284"/>
                    </a:lnTo>
                    <a:lnTo>
                      <a:pt x="168" y="286"/>
                    </a:lnTo>
                    <a:lnTo>
                      <a:pt x="156" y="286"/>
                    </a:lnTo>
                    <a:lnTo>
                      <a:pt x="143" y="290"/>
                    </a:lnTo>
                    <a:lnTo>
                      <a:pt x="129" y="293"/>
                    </a:lnTo>
                    <a:lnTo>
                      <a:pt x="127" y="295"/>
                    </a:lnTo>
                    <a:lnTo>
                      <a:pt x="122" y="296"/>
                    </a:lnTo>
                    <a:lnTo>
                      <a:pt x="110" y="301"/>
                    </a:lnTo>
                    <a:lnTo>
                      <a:pt x="109" y="301"/>
                    </a:lnTo>
                    <a:lnTo>
                      <a:pt x="102" y="303"/>
                    </a:lnTo>
                    <a:lnTo>
                      <a:pt x="102" y="305"/>
                    </a:lnTo>
                    <a:lnTo>
                      <a:pt x="100" y="303"/>
                    </a:lnTo>
                    <a:lnTo>
                      <a:pt x="100" y="305"/>
                    </a:lnTo>
                    <a:lnTo>
                      <a:pt x="97" y="307"/>
                    </a:lnTo>
                    <a:lnTo>
                      <a:pt x="85" y="308"/>
                    </a:lnTo>
                    <a:lnTo>
                      <a:pt x="85" y="310"/>
                    </a:lnTo>
                    <a:lnTo>
                      <a:pt x="82" y="313"/>
                    </a:lnTo>
                    <a:lnTo>
                      <a:pt x="80" y="313"/>
                    </a:lnTo>
                    <a:lnTo>
                      <a:pt x="71" y="315"/>
                    </a:lnTo>
                    <a:lnTo>
                      <a:pt x="70" y="317"/>
                    </a:lnTo>
                    <a:lnTo>
                      <a:pt x="68" y="318"/>
                    </a:lnTo>
                    <a:lnTo>
                      <a:pt x="66" y="318"/>
                    </a:lnTo>
                    <a:lnTo>
                      <a:pt x="61" y="322"/>
                    </a:lnTo>
                    <a:lnTo>
                      <a:pt x="54" y="324"/>
                    </a:lnTo>
                    <a:lnTo>
                      <a:pt x="53" y="322"/>
                    </a:lnTo>
                    <a:lnTo>
                      <a:pt x="54" y="320"/>
                    </a:lnTo>
                    <a:lnTo>
                      <a:pt x="53" y="318"/>
                    </a:lnTo>
                    <a:lnTo>
                      <a:pt x="53" y="317"/>
                    </a:lnTo>
                    <a:lnTo>
                      <a:pt x="53" y="315"/>
                    </a:lnTo>
                    <a:lnTo>
                      <a:pt x="53" y="313"/>
                    </a:lnTo>
                    <a:lnTo>
                      <a:pt x="53" y="312"/>
                    </a:lnTo>
                    <a:lnTo>
                      <a:pt x="54" y="312"/>
                    </a:lnTo>
                    <a:lnTo>
                      <a:pt x="53" y="308"/>
                    </a:lnTo>
                    <a:lnTo>
                      <a:pt x="53" y="307"/>
                    </a:lnTo>
                    <a:lnTo>
                      <a:pt x="53" y="301"/>
                    </a:lnTo>
                    <a:lnTo>
                      <a:pt x="51" y="301"/>
                    </a:lnTo>
                    <a:lnTo>
                      <a:pt x="53" y="300"/>
                    </a:lnTo>
                    <a:lnTo>
                      <a:pt x="51" y="296"/>
                    </a:lnTo>
                    <a:lnTo>
                      <a:pt x="53" y="295"/>
                    </a:lnTo>
                    <a:lnTo>
                      <a:pt x="54" y="295"/>
                    </a:lnTo>
                    <a:lnTo>
                      <a:pt x="54" y="293"/>
                    </a:lnTo>
                    <a:lnTo>
                      <a:pt x="53" y="293"/>
                    </a:lnTo>
                    <a:lnTo>
                      <a:pt x="54" y="291"/>
                    </a:lnTo>
                    <a:lnTo>
                      <a:pt x="53" y="288"/>
                    </a:lnTo>
                    <a:lnTo>
                      <a:pt x="54" y="286"/>
                    </a:lnTo>
                    <a:lnTo>
                      <a:pt x="56" y="286"/>
                    </a:lnTo>
                    <a:lnTo>
                      <a:pt x="58" y="284"/>
                    </a:lnTo>
                    <a:lnTo>
                      <a:pt x="58" y="281"/>
                    </a:lnTo>
                    <a:lnTo>
                      <a:pt x="56" y="279"/>
                    </a:lnTo>
                    <a:lnTo>
                      <a:pt x="58" y="279"/>
                    </a:lnTo>
                    <a:lnTo>
                      <a:pt x="58" y="278"/>
                    </a:lnTo>
                    <a:lnTo>
                      <a:pt x="61" y="276"/>
                    </a:lnTo>
                    <a:lnTo>
                      <a:pt x="59" y="278"/>
                    </a:lnTo>
                    <a:lnTo>
                      <a:pt x="61" y="276"/>
                    </a:lnTo>
                    <a:lnTo>
                      <a:pt x="63" y="274"/>
                    </a:lnTo>
                    <a:lnTo>
                      <a:pt x="61" y="274"/>
                    </a:lnTo>
                    <a:lnTo>
                      <a:pt x="63" y="271"/>
                    </a:lnTo>
                    <a:lnTo>
                      <a:pt x="61" y="273"/>
                    </a:lnTo>
                    <a:lnTo>
                      <a:pt x="58" y="269"/>
                    </a:lnTo>
                    <a:lnTo>
                      <a:pt x="59" y="269"/>
                    </a:lnTo>
                    <a:lnTo>
                      <a:pt x="59" y="267"/>
                    </a:lnTo>
                    <a:lnTo>
                      <a:pt x="61" y="266"/>
                    </a:lnTo>
                    <a:lnTo>
                      <a:pt x="61" y="264"/>
                    </a:lnTo>
                    <a:lnTo>
                      <a:pt x="63" y="264"/>
                    </a:lnTo>
                    <a:lnTo>
                      <a:pt x="61" y="264"/>
                    </a:lnTo>
                    <a:lnTo>
                      <a:pt x="61" y="262"/>
                    </a:lnTo>
                    <a:lnTo>
                      <a:pt x="63" y="262"/>
                    </a:lnTo>
                    <a:lnTo>
                      <a:pt x="63" y="259"/>
                    </a:lnTo>
                    <a:lnTo>
                      <a:pt x="61" y="259"/>
                    </a:lnTo>
                    <a:lnTo>
                      <a:pt x="59" y="252"/>
                    </a:lnTo>
                    <a:lnTo>
                      <a:pt x="59" y="250"/>
                    </a:lnTo>
                    <a:lnTo>
                      <a:pt x="59" y="249"/>
                    </a:lnTo>
                    <a:lnTo>
                      <a:pt x="58" y="247"/>
                    </a:lnTo>
                    <a:lnTo>
                      <a:pt x="58" y="250"/>
                    </a:lnTo>
                    <a:lnTo>
                      <a:pt x="54" y="249"/>
                    </a:lnTo>
                    <a:lnTo>
                      <a:pt x="56" y="249"/>
                    </a:lnTo>
                    <a:lnTo>
                      <a:pt x="54" y="247"/>
                    </a:lnTo>
                    <a:lnTo>
                      <a:pt x="54" y="249"/>
                    </a:lnTo>
                    <a:lnTo>
                      <a:pt x="53" y="247"/>
                    </a:lnTo>
                    <a:lnTo>
                      <a:pt x="53" y="245"/>
                    </a:lnTo>
                    <a:lnTo>
                      <a:pt x="51" y="247"/>
                    </a:lnTo>
                    <a:lnTo>
                      <a:pt x="51" y="245"/>
                    </a:lnTo>
                    <a:lnTo>
                      <a:pt x="48" y="245"/>
                    </a:lnTo>
                    <a:lnTo>
                      <a:pt x="48" y="244"/>
                    </a:lnTo>
                    <a:lnTo>
                      <a:pt x="46" y="244"/>
                    </a:lnTo>
                    <a:lnTo>
                      <a:pt x="48" y="245"/>
                    </a:lnTo>
                    <a:lnTo>
                      <a:pt x="46" y="245"/>
                    </a:lnTo>
                    <a:lnTo>
                      <a:pt x="42" y="244"/>
                    </a:lnTo>
                    <a:lnTo>
                      <a:pt x="42" y="242"/>
                    </a:lnTo>
                    <a:lnTo>
                      <a:pt x="41" y="240"/>
                    </a:lnTo>
                    <a:lnTo>
                      <a:pt x="42" y="239"/>
                    </a:lnTo>
                    <a:lnTo>
                      <a:pt x="41" y="237"/>
                    </a:lnTo>
                    <a:lnTo>
                      <a:pt x="39" y="235"/>
                    </a:lnTo>
                    <a:lnTo>
                      <a:pt x="39" y="237"/>
                    </a:lnTo>
                    <a:lnTo>
                      <a:pt x="37" y="235"/>
                    </a:lnTo>
                    <a:lnTo>
                      <a:pt x="39" y="233"/>
                    </a:lnTo>
                    <a:lnTo>
                      <a:pt x="39" y="232"/>
                    </a:lnTo>
                    <a:lnTo>
                      <a:pt x="39" y="230"/>
                    </a:lnTo>
                    <a:lnTo>
                      <a:pt x="36" y="227"/>
                    </a:lnTo>
                    <a:lnTo>
                      <a:pt x="34" y="225"/>
                    </a:lnTo>
                    <a:lnTo>
                      <a:pt x="34" y="227"/>
                    </a:lnTo>
                    <a:lnTo>
                      <a:pt x="34" y="225"/>
                    </a:lnTo>
                    <a:lnTo>
                      <a:pt x="32" y="227"/>
                    </a:lnTo>
                    <a:lnTo>
                      <a:pt x="32" y="225"/>
                    </a:lnTo>
                    <a:lnTo>
                      <a:pt x="31" y="225"/>
                    </a:lnTo>
                    <a:lnTo>
                      <a:pt x="22" y="227"/>
                    </a:lnTo>
                    <a:lnTo>
                      <a:pt x="20" y="225"/>
                    </a:lnTo>
                    <a:lnTo>
                      <a:pt x="17" y="225"/>
                    </a:lnTo>
                    <a:lnTo>
                      <a:pt x="17" y="223"/>
                    </a:lnTo>
                    <a:lnTo>
                      <a:pt x="15" y="223"/>
                    </a:lnTo>
                    <a:lnTo>
                      <a:pt x="14" y="222"/>
                    </a:lnTo>
                    <a:lnTo>
                      <a:pt x="10" y="223"/>
                    </a:lnTo>
                    <a:lnTo>
                      <a:pt x="10" y="222"/>
                    </a:lnTo>
                    <a:lnTo>
                      <a:pt x="12" y="222"/>
                    </a:lnTo>
                    <a:lnTo>
                      <a:pt x="10" y="218"/>
                    </a:lnTo>
                    <a:lnTo>
                      <a:pt x="8" y="216"/>
                    </a:lnTo>
                    <a:lnTo>
                      <a:pt x="7" y="216"/>
                    </a:lnTo>
                    <a:lnTo>
                      <a:pt x="7" y="218"/>
                    </a:lnTo>
                    <a:lnTo>
                      <a:pt x="2" y="215"/>
                    </a:lnTo>
                    <a:lnTo>
                      <a:pt x="0" y="215"/>
                    </a:lnTo>
                    <a:lnTo>
                      <a:pt x="2" y="215"/>
                    </a:lnTo>
                    <a:lnTo>
                      <a:pt x="2" y="211"/>
                    </a:lnTo>
                    <a:lnTo>
                      <a:pt x="3" y="211"/>
                    </a:lnTo>
                    <a:lnTo>
                      <a:pt x="3" y="210"/>
                    </a:lnTo>
                    <a:lnTo>
                      <a:pt x="5" y="210"/>
                    </a:lnTo>
                    <a:lnTo>
                      <a:pt x="7" y="210"/>
                    </a:lnTo>
                    <a:lnTo>
                      <a:pt x="7" y="208"/>
                    </a:lnTo>
                    <a:lnTo>
                      <a:pt x="8" y="208"/>
                    </a:lnTo>
                    <a:lnTo>
                      <a:pt x="8" y="206"/>
                    </a:lnTo>
                    <a:lnTo>
                      <a:pt x="8" y="208"/>
                    </a:lnTo>
                    <a:lnTo>
                      <a:pt x="8" y="206"/>
                    </a:lnTo>
                    <a:lnTo>
                      <a:pt x="10" y="206"/>
                    </a:lnTo>
                    <a:lnTo>
                      <a:pt x="10" y="204"/>
                    </a:lnTo>
                    <a:lnTo>
                      <a:pt x="12" y="204"/>
                    </a:lnTo>
                    <a:lnTo>
                      <a:pt x="12" y="203"/>
                    </a:lnTo>
                    <a:lnTo>
                      <a:pt x="12" y="201"/>
                    </a:lnTo>
                    <a:lnTo>
                      <a:pt x="14" y="203"/>
                    </a:lnTo>
                    <a:lnTo>
                      <a:pt x="14" y="199"/>
                    </a:lnTo>
                    <a:lnTo>
                      <a:pt x="15" y="199"/>
                    </a:lnTo>
                    <a:lnTo>
                      <a:pt x="14" y="198"/>
                    </a:lnTo>
                    <a:lnTo>
                      <a:pt x="15" y="196"/>
                    </a:lnTo>
                    <a:lnTo>
                      <a:pt x="15" y="198"/>
                    </a:lnTo>
                    <a:lnTo>
                      <a:pt x="14" y="196"/>
                    </a:lnTo>
                    <a:lnTo>
                      <a:pt x="15" y="194"/>
                    </a:lnTo>
                    <a:lnTo>
                      <a:pt x="14" y="191"/>
                    </a:lnTo>
                    <a:lnTo>
                      <a:pt x="17" y="191"/>
                    </a:lnTo>
                    <a:lnTo>
                      <a:pt x="17" y="189"/>
                    </a:lnTo>
                    <a:lnTo>
                      <a:pt x="15" y="189"/>
                    </a:lnTo>
                    <a:lnTo>
                      <a:pt x="15" y="186"/>
                    </a:lnTo>
                    <a:lnTo>
                      <a:pt x="17" y="181"/>
                    </a:lnTo>
                    <a:lnTo>
                      <a:pt x="14" y="179"/>
                    </a:lnTo>
                    <a:lnTo>
                      <a:pt x="12" y="177"/>
                    </a:lnTo>
                    <a:lnTo>
                      <a:pt x="14" y="176"/>
                    </a:lnTo>
                    <a:lnTo>
                      <a:pt x="10" y="174"/>
                    </a:lnTo>
                    <a:lnTo>
                      <a:pt x="10" y="165"/>
                    </a:lnTo>
                    <a:lnTo>
                      <a:pt x="10" y="164"/>
                    </a:lnTo>
                    <a:lnTo>
                      <a:pt x="7" y="164"/>
                    </a:lnTo>
                    <a:lnTo>
                      <a:pt x="7" y="162"/>
                    </a:lnTo>
                    <a:lnTo>
                      <a:pt x="10" y="159"/>
                    </a:lnTo>
                    <a:lnTo>
                      <a:pt x="12" y="159"/>
                    </a:lnTo>
                    <a:lnTo>
                      <a:pt x="12" y="160"/>
                    </a:lnTo>
                    <a:lnTo>
                      <a:pt x="15" y="159"/>
                    </a:lnTo>
                    <a:lnTo>
                      <a:pt x="17" y="160"/>
                    </a:lnTo>
                    <a:lnTo>
                      <a:pt x="20" y="162"/>
                    </a:lnTo>
                    <a:lnTo>
                      <a:pt x="22" y="160"/>
                    </a:lnTo>
                    <a:lnTo>
                      <a:pt x="24" y="155"/>
                    </a:lnTo>
                    <a:lnTo>
                      <a:pt x="25" y="153"/>
                    </a:lnTo>
                    <a:lnTo>
                      <a:pt x="27" y="150"/>
                    </a:lnTo>
                    <a:lnTo>
                      <a:pt x="27" y="148"/>
                    </a:lnTo>
                    <a:lnTo>
                      <a:pt x="25" y="147"/>
                    </a:lnTo>
                    <a:lnTo>
                      <a:pt x="27" y="142"/>
                    </a:lnTo>
                    <a:lnTo>
                      <a:pt x="29" y="136"/>
                    </a:lnTo>
                    <a:lnTo>
                      <a:pt x="31" y="138"/>
                    </a:lnTo>
                    <a:lnTo>
                      <a:pt x="31" y="136"/>
                    </a:lnTo>
                    <a:lnTo>
                      <a:pt x="32" y="138"/>
                    </a:lnTo>
                    <a:lnTo>
                      <a:pt x="34" y="138"/>
                    </a:lnTo>
                    <a:lnTo>
                      <a:pt x="34" y="136"/>
                    </a:lnTo>
                    <a:lnTo>
                      <a:pt x="31" y="133"/>
                    </a:lnTo>
                    <a:lnTo>
                      <a:pt x="31" y="130"/>
                    </a:lnTo>
                    <a:lnTo>
                      <a:pt x="29" y="130"/>
                    </a:lnTo>
                    <a:lnTo>
                      <a:pt x="27" y="131"/>
                    </a:lnTo>
                    <a:lnTo>
                      <a:pt x="24" y="130"/>
                    </a:lnTo>
                    <a:lnTo>
                      <a:pt x="22" y="130"/>
                    </a:lnTo>
                    <a:lnTo>
                      <a:pt x="20" y="128"/>
                    </a:lnTo>
                    <a:lnTo>
                      <a:pt x="19" y="128"/>
                    </a:lnTo>
                    <a:lnTo>
                      <a:pt x="19" y="125"/>
                    </a:lnTo>
                    <a:lnTo>
                      <a:pt x="19" y="116"/>
                    </a:lnTo>
                    <a:lnTo>
                      <a:pt x="20" y="116"/>
                    </a:lnTo>
                    <a:lnTo>
                      <a:pt x="20" y="113"/>
                    </a:lnTo>
                    <a:lnTo>
                      <a:pt x="24" y="114"/>
                    </a:lnTo>
                    <a:lnTo>
                      <a:pt x="25" y="114"/>
                    </a:lnTo>
                    <a:lnTo>
                      <a:pt x="25" y="113"/>
                    </a:lnTo>
                    <a:lnTo>
                      <a:pt x="31" y="114"/>
                    </a:lnTo>
                    <a:lnTo>
                      <a:pt x="32" y="114"/>
                    </a:lnTo>
                    <a:lnTo>
                      <a:pt x="34" y="113"/>
                    </a:lnTo>
                    <a:lnTo>
                      <a:pt x="36" y="114"/>
                    </a:lnTo>
                    <a:lnTo>
                      <a:pt x="34" y="114"/>
                    </a:lnTo>
                    <a:lnTo>
                      <a:pt x="36" y="116"/>
                    </a:lnTo>
                    <a:lnTo>
                      <a:pt x="34" y="116"/>
                    </a:lnTo>
                    <a:lnTo>
                      <a:pt x="36" y="116"/>
                    </a:lnTo>
                    <a:lnTo>
                      <a:pt x="37" y="116"/>
                    </a:lnTo>
                    <a:lnTo>
                      <a:pt x="37" y="118"/>
                    </a:lnTo>
                    <a:lnTo>
                      <a:pt x="39" y="118"/>
                    </a:lnTo>
                    <a:lnTo>
                      <a:pt x="39" y="116"/>
                    </a:lnTo>
                    <a:lnTo>
                      <a:pt x="39" y="114"/>
                    </a:lnTo>
                    <a:lnTo>
                      <a:pt x="41" y="114"/>
                    </a:lnTo>
                    <a:lnTo>
                      <a:pt x="44" y="119"/>
                    </a:lnTo>
                    <a:lnTo>
                      <a:pt x="49" y="119"/>
                    </a:lnTo>
                    <a:lnTo>
                      <a:pt x="48" y="116"/>
                    </a:lnTo>
                    <a:lnTo>
                      <a:pt x="48" y="114"/>
                    </a:lnTo>
                    <a:lnTo>
                      <a:pt x="46" y="111"/>
                    </a:lnTo>
                    <a:lnTo>
                      <a:pt x="46" y="108"/>
                    </a:lnTo>
                    <a:lnTo>
                      <a:pt x="42" y="101"/>
                    </a:lnTo>
                    <a:lnTo>
                      <a:pt x="37" y="101"/>
                    </a:lnTo>
                    <a:lnTo>
                      <a:pt x="37" y="99"/>
                    </a:lnTo>
                    <a:lnTo>
                      <a:pt x="34" y="101"/>
                    </a:lnTo>
                    <a:lnTo>
                      <a:pt x="32" y="97"/>
                    </a:lnTo>
                    <a:lnTo>
                      <a:pt x="36" y="91"/>
                    </a:lnTo>
                    <a:lnTo>
                      <a:pt x="34" y="87"/>
                    </a:lnTo>
                    <a:lnTo>
                      <a:pt x="36" y="87"/>
                    </a:lnTo>
                    <a:lnTo>
                      <a:pt x="37" y="85"/>
                    </a:lnTo>
                    <a:lnTo>
                      <a:pt x="39" y="84"/>
                    </a:lnTo>
                    <a:lnTo>
                      <a:pt x="44" y="85"/>
                    </a:lnTo>
                    <a:lnTo>
                      <a:pt x="42" y="84"/>
                    </a:lnTo>
                    <a:lnTo>
                      <a:pt x="39" y="79"/>
                    </a:lnTo>
                    <a:lnTo>
                      <a:pt x="37" y="80"/>
                    </a:lnTo>
                    <a:lnTo>
                      <a:pt x="34" y="79"/>
                    </a:lnTo>
                    <a:lnTo>
                      <a:pt x="37" y="74"/>
                    </a:lnTo>
                    <a:lnTo>
                      <a:pt x="37" y="72"/>
                    </a:lnTo>
                    <a:lnTo>
                      <a:pt x="39" y="67"/>
                    </a:lnTo>
                    <a:lnTo>
                      <a:pt x="37" y="67"/>
                    </a:lnTo>
                    <a:lnTo>
                      <a:pt x="36" y="67"/>
                    </a:lnTo>
                    <a:lnTo>
                      <a:pt x="32" y="68"/>
                    </a:lnTo>
                    <a:lnTo>
                      <a:pt x="29" y="68"/>
                    </a:lnTo>
                    <a:lnTo>
                      <a:pt x="25" y="65"/>
                    </a:lnTo>
                    <a:lnTo>
                      <a:pt x="24" y="60"/>
                    </a:lnTo>
                    <a:lnTo>
                      <a:pt x="24" y="58"/>
                    </a:lnTo>
                    <a:lnTo>
                      <a:pt x="24" y="56"/>
                    </a:lnTo>
                    <a:lnTo>
                      <a:pt x="25" y="55"/>
                    </a:lnTo>
                    <a:lnTo>
                      <a:pt x="24" y="53"/>
                    </a:lnTo>
                    <a:lnTo>
                      <a:pt x="25" y="53"/>
                    </a:lnTo>
                    <a:lnTo>
                      <a:pt x="24" y="50"/>
                    </a:lnTo>
                    <a:lnTo>
                      <a:pt x="25" y="50"/>
                    </a:lnTo>
                    <a:lnTo>
                      <a:pt x="25" y="48"/>
                    </a:lnTo>
                    <a:lnTo>
                      <a:pt x="25" y="46"/>
                    </a:lnTo>
                    <a:lnTo>
                      <a:pt x="25" y="45"/>
                    </a:lnTo>
                    <a:lnTo>
                      <a:pt x="24" y="45"/>
                    </a:lnTo>
                    <a:lnTo>
                      <a:pt x="25" y="43"/>
                    </a:lnTo>
                    <a:lnTo>
                      <a:pt x="24" y="41"/>
                    </a:lnTo>
                    <a:lnTo>
                      <a:pt x="24" y="43"/>
                    </a:lnTo>
                    <a:lnTo>
                      <a:pt x="22" y="41"/>
                    </a:lnTo>
                    <a:lnTo>
                      <a:pt x="24" y="41"/>
                    </a:lnTo>
                    <a:lnTo>
                      <a:pt x="22" y="41"/>
                    </a:lnTo>
                    <a:lnTo>
                      <a:pt x="25" y="39"/>
                    </a:lnTo>
                    <a:lnTo>
                      <a:pt x="24" y="39"/>
                    </a:lnTo>
                    <a:lnTo>
                      <a:pt x="24" y="36"/>
                    </a:lnTo>
                    <a:lnTo>
                      <a:pt x="31" y="33"/>
                    </a:lnTo>
                    <a:lnTo>
                      <a:pt x="31" y="29"/>
                    </a:lnTo>
                    <a:lnTo>
                      <a:pt x="32" y="29"/>
                    </a:lnTo>
                    <a:lnTo>
                      <a:pt x="34" y="29"/>
                    </a:lnTo>
                    <a:lnTo>
                      <a:pt x="36" y="28"/>
                    </a:lnTo>
                    <a:lnTo>
                      <a:pt x="37" y="28"/>
                    </a:lnTo>
                    <a:lnTo>
                      <a:pt x="41" y="26"/>
                    </a:lnTo>
                    <a:lnTo>
                      <a:pt x="41" y="24"/>
                    </a:lnTo>
                    <a:lnTo>
                      <a:pt x="44" y="22"/>
                    </a:lnTo>
                    <a:lnTo>
                      <a:pt x="42" y="22"/>
                    </a:lnTo>
                    <a:lnTo>
                      <a:pt x="44" y="21"/>
                    </a:lnTo>
                    <a:lnTo>
                      <a:pt x="42" y="21"/>
                    </a:lnTo>
                    <a:lnTo>
                      <a:pt x="44" y="21"/>
                    </a:lnTo>
                    <a:lnTo>
                      <a:pt x="44" y="19"/>
                    </a:lnTo>
                    <a:lnTo>
                      <a:pt x="46" y="17"/>
                    </a:lnTo>
                    <a:lnTo>
                      <a:pt x="44" y="17"/>
                    </a:lnTo>
                    <a:lnTo>
                      <a:pt x="48" y="16"/>
                    </a:lnTo>
                    <a:lnTo>
                      <a:pt x="49" y="14"/>
                    </a:lnTo>
                    <a:lnTo>
                      <a:pt x="51" y="16"/>
                    </a:lnTo>
                    <a:lnTo>
                      <a:pt x="53" y="16"/>
                    </a:lnTo>
                    <a:lnTo>
                      <a:pt x="54" y="14"/>
                    </a:lnTo>
                    <a:lnTo>
                      <a:pt x="56" y="14"/>
                    </a:lnTo>
                    <a:lnTo>
                      <a:pt x="58" y="14"/>
                    </a:lnTo>
                    <a:lnTo>
                      <a:pt x="59" y="17"/>
                    </a:lnTo>
                    <a:lnTo>
                      <a:pt x="63" y="19"/>
                    </a:lnTo>
                    <a:lnTo>
                      <a:pt x="63" y="24"/>
                    </a:lnTo>
                    <a:lnTo>
                      <a:pt x="65" y="24"/>
                    </a:lnTo>
                    <a:lnTo>
                      <a:pt x="66" y="22"/>
                    </a:lnTo>
                    <a:lnTo>
                      <a:pt x="68" y="24"/>
                    </a:lnTo>
                    <a:lnTo>
                      <a:pt x="73" y="24"/>
                    </a:lnTo>
                    <a:lnTo>
                      <a:pt x="76" y="26"/>
                    </a:lnTo>
                    <a:lnTo>
                      <a:pt x="78" y="29"/>
                    </a:lnTo>
                    <a:lnTo>
                      <a:pt x="80" y="29"/>
                    </a:lnTo>
                    <a:lnTo>
                      <a:pt x="83" y="28"/>
                    </a:lnTo>
                    <a:lnTo>
                      <a:pt x="82" y="22"/>
                    </a:lnTo>
                    <a:lnTo>
                      <a:pt x="83" y="19"/>
                    </a:lnTo>
                    <a:lnTo>
                      <a:pt x="88" y="19"/>
                    </a:lnTo>
                    <a:lnTo>
                      <a:pt x="93" y="17"/>
                    </a:lnTo>
                    <a:lnTo>
                      <a:pt x="97" y="19"/>
                    </a:lnTo>
                    <a:lnTo>
                      <a:pt x="100" y="17"/>
                    </a:lnTo>
                    <a:lnTo>
                      <a:pt x="100" y="16"/>
                    </a:lnTo>
                    <a:lnTo>
                      <a:pt x="99" y="14"/>
                    </a:lnTo>
                    <a:lnTo>
                      <a:pt x="97" y="11"/>
                    </a:lnTo>
                    <a:lnTo>
                      <a:pt x="99" y="11"/>
                    </a:lnTo>
                    <a:lnTo>
                      <a:pt x="99" y="7"/>
                    </a:lnTo>
                    <a:lnTo>
                      <a:pt x="99" y="5"/>
                    </a:lnTo>
                    <a:lnTo>
                      <a:pt x="100" y="4"/>
                    </a:lnTo>
                    <a:lnTo>
                      <a:pt x="102" y="5"/>
                    </a:lnTo>
                    <a:lnTo>
                      <a:pt x="104" y="7"/>
                    </a:lnTo>
                    <a:lnTo>
                      <a:pt x="105" y="7"/>
                    </a:lnTo>
                    <a:lnTo>
                      <a:pt x="109" y="9"/>
                    </a:lnTo>
                    <a:lnTo>
                      <a:pt x="112" y="7"/>
                    </a:lnTo>
                    <a:lnTo>
                      <a:pt x="110" y="7"/>
                    </a:lnTo>
                    <a:lnTo>
                      <a:pt x="110" y="2"/>
                    </a:lnTo>
                    <a:lnTo>
                      <a:pt x="112" y="2"/>
                    </a:lnTo>
                    <a:lnTo>
                      <a:pt x="116" y="2"/>
                    </a:lnTo>
                    <a:lnTo>
                      <a:pt x="119" y="0"/>
                    </a:lnTo>
                    <a:lnTo>
                      <a:pt x="121" y="0"/>
                    </a:lnTo>
                    <a:lnTo>
                      <a:pt x="121" y="2"/>
                    </a:lnTo>
                    <a:lnTo>
                      <a:pt x="121" y="4"/>
                    </a:lnTo>
                    <a:lnTo>
                      <a:pt x="122" y="5"/>
                    </a:lnTo>
                    <a:lnTo>
                      <a:pt x="121" y="7"/>
                    </a:lnTo>
                    <a:lnTo>
                      <a:pt x="122" y="7"/>
                    </a:lnTo>
                    <a:lnTo>
                      <a:pt x="122" y="9"/>
                    </a:lnTo>
                    <a:lnTo>
                      <a:pt x="119" y="11"/>
                    </a:lnTo>
                    <a:lnTo>
                      <a:pt x="121" y="12"/>
                    </a:lnTo>
                    <a:lnTo>
                      <a:pt x="121" y="11"/>
                    </a:lnTo>
                    <a:lnTo>
                      <a:pt x="122" y="12"/>
                    </a:lnTo>
                    <a:lnTo>
                      <a:pt x="124" y="14"/>
                    </a:lnTo>
                    <a:lnTo>
                      <a:pt x="122" y="14"/>
                    </a:lnTo>
                    <a:lnTo>
                      <a:pt x="124" y="17"/>
                    </a:lnTo>
                    <a:lnTo>
                      <a:pt x="122" y="17"/>
                    </a:lnTo>
                    <a:lnTo>
                      <a:pt x="124" y="19"/>
                    </a:lnTo>
                    <a:lnTo>
                      <a:pt x="122" y="21"/>
                    </a:lnTo>
                    <a:lnTo>
                      <a:pt x="122" y="22"/>
                    </a:lnTo>
                    <a:lnTo>
                      <a:pt x="121" y="22"/>
                    </a:lnTo>
                    <a:lnTo>
                      <a:pt x="121" y="24"/>
                    </a:lnTo>
                    <a:lnTo>
                      <a:pt x="122" y="24"/>
                    </a:lnTo>
                    <a:lnTo>
                      <a:pt x="122" y="26"/>
                    </a:lnTo>
                    <a:lnTo>
                      <a:pt x="126" y="28"/>
                    </a:lnTo>
                    <a:lnTo>
                      <a:pt x="131" y="28"/>
                    </a:lnTo>
                    <a:lnTo>
                      <a:pt x="133" y="26"/>
                    </a:lnTo>
                    <a:lnTo>
                      <a:pt x="133" y="24"/>
                    </a:lnTo>
                    <a:lnTo>
                      <a:pt x="136" y="24"/>
                    </a:lnTo>
                    <a:lnTo>
                      <a:pt x="138" y="19"/>
                    </a:lnTo>
                    <a:lnTo>
                      <a:pt x="139" y="19"/>
                    </a:lnTo>
                    <a:lnTo>
                      <a:pt x="144" y="16"/>
                    </a:lnTo>
                    <a:lnTo>
                      <a:pt x="148" y="14"/>
                    </a:lnTo>
                    <a:lnTo>
                      <a:pt x="151" y="16"/>
                    </a:lnTo>
                    <a:lnTo>
                      <a:pt x="155" y="14"/>
                    </a:lnTo>
                    <a:lnTo>
                      <a:pt x="156" y="16"/>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Freeform 36">
                <a:extLst>
                  <a:ext uri="{FF2B5EF4-FFF2-40B4-BE49-F238E27FC236}">
                    <a16:creationId xmlns:a16="http://schemas.microsoft.com/office/drawing/2014/main" id="{908C9178-871B-49ED-AAE3-0538A05C59DE}"/>
                  </a:ext>
                </a:extLst>
              </p:cNvPr>
              <p:cNvSpPr>
                <a:spLocks/>
              </p:cNvSpPr>
              <p:nvPr/>
            </p:nvSpPr>
            <p:spPr bwMode="gray">
              <a:xfrm>
                <a:off x="4557704" y="3435852"/>
                <a:ext cx="258966" cy="263923"/>
              </a:xfrm>
              <a:custGeom>
                <a:avLst/>
                <a:gdLst>
                  <a:gd name="T0" fmla="*/ 163 w 209"/>
                  <a:gd name="T1" fmla="*/ 70 h 213"/>
                  <a:gd name="T2" fmla="*/ 161 w 209"/>
                  <a:gd name="T3" fmla="*/ 83 h 213"/>
                  <a:gd name="T4" fmla="*/ 160 w 209"/>
                  <a:gd name="T5" fmla="*/ 88 h 213"/>
                  <a:gd name="T6" fmla="*/ 156 w 209"/>
                  <a:gd name="T7" fmla="*/ 95 h 213"/>
                  <a:gd name="T8" fmla="*/ 153 w 209"/>
                  <a:gd name="T9" fmla="*/ 99 h 213"/>
                  <a:gd name="T10" fmla="*/ 146 w 209"/>
                  <a:gd name="T11" fmla="*/ 104 h 213"/>
                  <a:gd name="T12" fmla="*/ 158 w 209"/>
                  <a:gd name="T13" fmla="*/ 111 h 213"/>
                  <a:gd name="T14" fmla="*/ 163 w 209"/>
                  <a:gd name="T15" fmla="*/ 114 h 213"/>
                  <a:gd name="T16" fmla="*/ 180 w 209"/>
                  <a:gd name="T17" fmla="*/ 114 h 213"/>
                  <a:gd name="T18" fmla="*/ 185 w 209"/>
                  <a:gd name="T19" fmla="*/ 122 h 213"/>
                  <a:gd name="T20" fmla="*/ 187 w 209"/>
                  <a:gd name="T21" fmla="*/ 129 h 213"/>
                  <a:gd name="T22" fmla="*/ 194 w 209"/>
                  <a:gd name="T23" fmla="*/ 133 h 213"/>
                  <a:gd name="T24" fmla="*/ 200 w 209"/>
                  <a:gd name="T25" fmla="*/ 138 h 213"/>
                  <a:gd name="T26" fmla="*/ 205 w 209"/>
                  <a:gd name="T27" fmla="*/ 138 h 213"/>
                  <a:gd name="T28" fmla="*/ 207 w 209"/>
                  <a:gd name="T29" fmla="*/ 151 h 213"/>
                  <a:gd name="T30" fmla="*/ 205 w 209"/>
                  <a:gd name="T31" fmla="*/ 158 h 213"/>
                  <a:gd name="T32" fmla="*/ 207 w 209"/>
                  <a:gd name="T33" fmla="*/ 165 h 213"/>
                  <a:gd name="T34" fmla="*/ 204 w 209"/>
                  <a:gd name="T35" fmla="*/ 170 h 213"/>
                  <a:gd name="T36" fmla="*/ 199 w 209"/>
                  <a:gd name="T37" fmla="*/ 182 h 213"/>
                  <a:gd name="T38" fmla="*/ 197 w 209"/>
                  <a:gd name="T39" fmla="*/ 190 h 213"/>
                  <a:gd name="T40" fmla="*/ 199 w 209"/>
                  <a:gd name="T41" fmla="*/ 202 h 213"/>
                  <a:gd name="T42" fmla="*/ 200 w 209"/>
                  <a:gd name="T43" fmla="*/ 213 h 213"/>
                  <a:gd name="T44" fmla="*/ 185 w 209"/>
                  <a:gd name="T45" fmla="*/ 209 h 213"/>
                  <a:gd name="T46" fmla="*/ 154 w 209"/>
                  <a:gd name="T47" fmla="*/ 197 h 213"/>
                  <a:gd name="T48" fmla="*/ 132 w 209"/>
                  <a:gd name="T49" fmla="*/ 184 h 213"/>
                  <a:gd name="T50" fmla="*/ 112 w 209"/>
                  <a:gd name="T51" fmla="*/ 173 h 213"/>
                  <a:gd name="T52" fmla="*/ 97 w 209"/>
                  <a:gd name="T53" fmla="*/ 156 h 213"/>
                  <a:gd name="T54" fmla="*/ 66 w 209"/>
                  <a:gd name="T55" fmla="*/ 131 h 213"/>
                  <a:gd name="T56" fmla="*/ 34 w 209"/>
                  <a:gd name="T57" fmla="*/ 114 h 213"/>
                  <a:gd name="T58" fmla="*/ 32 w 209"/>
                  <a:gd name="T59" fmla="*/ 105 h 213"/>
                  <a:gd name="T60" fmla="*/ 8 w 209"/>
                  <a:gd name="T61" fmla="*/ 92 h 213"/>
                  <a:gd name="T62" fmla="*/ 13 w 209"/>
                  <a:gd name="T63" fmla="*/ 90 h 213"/>
                  <a:gd name="T64" fmla="*/ 3 w 209"/>
                  <a:gd name="T65" fmla="*/ 82 h 213"/>
                  <a:gd name="T66" fmla="*/ 8 w 209"/>
                  <a:gd name="T67" fmla="*/ 71 h 213"/>
                  <a:gd name="T68" fmla="*/ 15 w 209"/>
                  <a:gd name="T69" fmla="*/ 66 h 213"/>
                  <a:gd name="T70" fmla="*/ 29 w 209"/>
                  <a:gd name="T71" fmla="*/ 54 h 213"/>
                  <a:gd name="T72" fmla="*/ 37 w 209"/>
                  <a:gd name="T73" fmla="*/ 46 h 213"/>
                  <a:gd name="T74" fmla="*/ 51 w 209"/>
                  <a:gd name="T75" fmla="*/ 20 h 213"/>
                  <a:gd name="T76" fmla="*/ 59 w 209"/>
                  <a:gd name="T77" fmla="*/ 14 h 213"/>
                  <a:gd name="T78" fmla="*/ 69 w 209"/>
                  <a:gd name="T79" fmla="*/ 2 h 213"/>
                  <a:gd name="T80" fmla="*/ 80 w 209"/>
                  <a:gd name="T81" fmla="*/ 3 h 213"/>
                  <a:gd name="T82" fmla="*/ 88 w 209"/>
                  <a:gd name="T83" fmla="*/ 0 h 213"/>
                  <a:gd name="T84" fmla="*/ 92 w 209"/>
                  <a:gd name="T85" fmla="*/ 3 h 213"/>
                  <a:gd name="T86" fmla="*/ 97 w 209"/>
                  <a:gd name="T87" fmla="*/ 7 h 213"/>
                  <a:gd name="T88" fmla="*/ 100 w 209"/>
                  <a:gd name="T89" fmla="*/ 15 h 213"/>
                  <a:gd name="T90" fmla="*/ 105 w 209"/>
                  <a:gd name="T91" fmla="*/ 25 h 213"/>
                  <a:gd name="T92" fmla="*/ 107 w 209"/>
                  <a:gd name="T93" fmla="*/ 46 h 213"/>
                  <a:gd name="T94" fmla="*/ 105 w 209"/>
                  <a:gd name="T95" fmla="*/ 59 h 213"/>
                  <a:gd name="T96" fmla="*/ 115 w 209"/>
                  <a:gd name="T97" fmla="*/ 63 h 213"/>
                  <a:gd name="T98" fmla="*/ 122 w 209"/>
                  <a:gd name="T99" fmla="*/ 68 h 213"/>
                  <a:gd name="T100" fmla="*/ 131 w 209"/>
                  <a:gd name="T101" fmla="*/ 66 h 213"/>
                  <a:gd name="T102" fmla="*/ 137 w 209"/>
                  <a:gd name="T103" fmla="*/ 58 h 213"/>
                  <a:gd name="T104" fmla="*/ 143 w 209"/>
                  <a:gd name="T105" fmla="*/ 4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13">
                    <a:moveTo>
                      <a:pt x="156" y="54"/>
                    </a:moveTo>
                    <a:lnTo>
                      <a:pt x="156" y="63"/>
                    </a:lnTo>
                    <a:lnTo>
                      <a:pt x="160" y="65"/>
                    </a:lnTo>
                    <a:lnTo>
                      <a:pt x="158" y="66"/>
                    </a:lnTo>
                    <a:lnTo>
                      <a:pt x="160" y="68"/>
                    </a:lnTo>
                    <a:lnTo>
                      <a:pt x="163" y="70"/>
                    </a:lnTo>
                    <a:lnTo>
                      <a:pt x="161" y="75"/>
                    </a:lnTo>
                    <a:lnTo>
                      <a:pt x="161" y="78"/>
                    </a:lnTo>
                    <a:lnTo>
                      <a:pt x="163" y="78"/>
                    </a:lnTo>
                    <a:lnTo>
                      <a:pt x="163" y="80"/>
                    </a:lnTo>
                    <a:lnTo>
                      <a:pt x="160" y="80"/>
                    </a:lnTo>
                    <a:lnTo>
                      <a:pt x="161" y="83"/>
                    </a:lnTo>
                    <a:lnTo>
                      <a:pt x="160" y="85"/>
                    </a:lnTo>
                    <a:lnTo>
                      <a:pt x="161" y="87"/>
                    </a:lnTo>
                    <a:lnTo>
                      <a:pt x="161" y="85"/>
                    </a:lnTo>
                    <a:lnTo>
                      <a:pt x="160" y="87"/>
                    </a:lnTo>
                    <a:lnTo>
                      <a:pt x="161" y="88"/>
                    </a:lnTo>
                    <a:lnTo>
                      <a:pt x="160" y="88"/>
                    </a:lnTo>
                    <a:lnTo>
                      <a:pt x="160" y="92"/>
                    </a:lnTo>
                    <a:lnTo>
                      <a:pt x="158" y="90"/>
                    </a:lnTo>
                    <a:lnTo>
                      <a:pt x="158" y="92"/>
                    </a:lnTo>
                    <a:lnTo>
                      <a:pt x="158" y="93"/>
                    </a:lnTo>
                    <a:lnTo>
                      <a:pt x="156" y="93"/>
                    </a:lnTo>
                    <a:lnTo>
                      <a:pt x="156" y="95"/>
                    </a:lnTo>
                    <a:lnTo>
                      <a:pt x="154" y="95"/>
                    </a:lnTo>
                    <a:lnTo>
                      <a:pt x="154" y="97"/>
                    </a:lnTo>
                    <a:lnTo>
                      <a:pt x="154" y="95"/>
                    </a:lnTo>
                    <a:lnTo>
                      <a:pt x="154" y="97"/>
                    </a:lnTo>
                    <a:lnTo>
                      <a:pt x="153" y="97"/>
                    </a:lnTo>
                    <a:lnTo>
                      <a:pt x="153" y="99"/>
                    </a:lnTo>
                    <a:lnTo>
                      <a:pt x="151" y="99"/>
                    </a:lnTo>
                    <a:lnTo>
                      <a:pt x="149" y="99"/>
                    </a:lnTo>
                    <a:lnTo>
                      <a:pt x="149" y="100"/>
                    </a:lnTo>
                    <a:lnTo>
                      <a:pt x="148" y="100"/>
                    </a:lnTo>
                    <a:lnTo>
                      <a:pt x="148" y="104"/>
                    </a:lnTo>
                    <a:lnTo>
                      <a:pt x="146" y="104"/>
                    </a:lnTo>
                    <a:lnTo>
                      <a:pt x="148" y="104"/>
                    </a:lnTo>
                    <a:lnTo>
                      <a:pt x="153" y="107"/>
                    </a:lnTo>
                    <a:lnTo>
                      <a:pt x="153" y="105"/>
                    </a:lnTo>
                    <a:lnTo>
                      <a:pt x="154" y="105"/>
                    </a:lnTo>
                    <a:lnTo>
                      <a:pt x="156" y="107"/>
                    </a:lnTo>
                    <a:lnTo>
                      <a:pt x="158" y="111"/>
                    </a:lnTo>
                    <a:lnTo>
                      <a:pt x="156" y="111"/>
                    </a:lnTo>
                    <a:lnTo>
                      <a:pt x="156" y="112"/>
                    </a:lnTo>
                    <a:lnTo>
                      <a:pt x="160" y="111"/>
                    </a:lnTo>
                    <a:lnTo>
                      <a:pt x="161" y="112"/>
                    </a:lnTo>
                    <a:lnTo>
                      <a:pt x="163" y="112"/>
                    </a:lnTo>
                    <a:lnTo>
                      <a:pt x="163" y="114"/>
                    </a:lnTo>
                    <a:lnTo>
                      <a:pt x="166" y="114"/>
                    </a:lnTo>
                    <a:lnTo>
                      <a:pt x="168" y="116"/>
                    </a:lnTo>
                    <a:lnTo>
                      <a:pt x="177" y="114"/>
                    </a:lnTo>
                    <a:lnTo>
                      <a:pt x="178" y="114"/>
                    </a:lnTo>
                    <a:lnTo>
                      <a:pt x="178" y="116"/>
                    </a:lnTo>
                    <a:lnTo>
                      <a:pt x="180" y="114"/>
                    </a:lnTo>
                    <a:lnTo>
                      <a:pt x="180" y="116"/>
                    </a:lnTo>
                    <a:lnTo>
                      <a:pt x="180" y="114"/>
                    </a:lnTo>
                    <a:lnTo>
                      <a:pt x="182" y="116"/>
                    </a:lnTo>
                    <a:lnTo>
                      <a:pt x="185" y="119"/>
                    </a:lnTo>
                    <a:lnTo>
                      <a:pt x="185" y="121"/>
                    </a:lnTo>
                    <a:lnTo>
                      <a:pt x="185" y="122"/>
                    </a:lnTo>
                    <a:lnTo>
                      <a:pt x="183" y="124"/>
                    </a:lnTo>
                    <a:lnTo>
                      <a:pt x="185" y="126"/>
                    </a:lnTo>
                    <a:lnTo>
                      <a:pt x="185" y="124"/>
                    </a:lnTo>
                    <a:lnTo>
                      <a:pt x="187" y="126"/>
                    </a:lnTo>
                    <a:lnTo>
                      <a:pt x="188" y="128"/>
                    </a:lnTo>
                    <a:lnTo>
                      <a:pt x="187" y="129"/>
                    </a:lnTo>
                    <a:lnTo>
                      <a:pt x="188" y="131"/>
                    </a:lnTo>
                    <a:lnTo>
                      <a:pt x="188" y="133"/>
                    </a:lnTo>
                    <a:lnTo>
                      <a:pt x="192" y="134"/>
                    </a:lnTo>
                    <a:lnTo>
                      <a:pt x="194" y="134"/>
                    </a:lnTo>
                    <a:lnTo>
                      <a:pt x="192" y="133"/>
                    </a:lnTo>
                    <a:lnTo>
                      <a:pt x="194" y="133"/>
                    </a:lnTo>
                    <a:lnTo>
                      <a:pt x="194" y="134"/>
                    </a:lnTo>
                    <a:lnTo>
                      <a:pt x="197" y="134"/>
                    </a:lnTo>
                    <a:lnTo>
                      <a:pt x="197" y="136"/>
                    </a:lnTo>
                    <a:lnTo>
                      <a:pt x="199" y="134"/>
                    </a:lnTo>
                    <a:lnTo>
                      <a:pt x="199" y="136"/>
                    </a:lnTo>
                    <a:lnTo>
                      <a:pt x="200" y="138"/>
                    </a:lnTo>
                    <a:lnTo>
                      <a:pt x="200" y="136"/>
                    </a:lnTo>
                    <a:lnTo>
                      <a:pt x="202" y="138"/>
                    </a:lnTo>
                    <a:lnTo>
                      <a:pt x="200" y="138"/>
                    </a:lnTo>
                    <a:lnTo>
                      <a:pt x="204" y="139"/>
                    </a:lnTo>
                    <a:lnTo>
                      <a:pt x="204" y="136"/>
                    </a:lnTo>
                    <a:lnTo>
                      <a:pt x="205" y="138"/>
                    </a:lnTo>
                    <a:lnTo>
                      <a:pt x="205" y="139"/>
                    </a:lnTo>
                    <a:lnTo>
                      <a:pt x="205" y="141"/>
                    </a:lnTo>
                    <a:lnTo>
                      <a:pt x="207" y="148"/>
                    </a:lnTo>
                    <a:lnTo>
                      <a:pt x="209" y="148"/>
                    </a:lnTo>
                    <a:lnTo>
                      <a:pt x="209" y="151"/>
                    </a:lnTo>
                    <a:lnTo>
                      <a:pt x="207" y="151"/>
                    </a:lnTo>
                    <a:lnTo>
                      <a:pt x="207" y="153"/>
                    </a:lnTo>
                    <a:lnTo>
                      <a:pt x="209" y="153"/>
                    </a:lnTo>
                    <a:lnTo>
                      <a:pt x="207" y="153"/>
                    </a:lnTo>
                    <a:lnTo>
                      <a:pt x="207" y="155"/>
                    </a:lnTo>
                    <a:lnTo>
                      <a:pt x="205" y="156"/>
                    </a:lnTo>
                    <a:lnTo>
                      <a:pt x="205" y="158"/>
                    </a:lnTo>
                    <a:lnTo>
                      <a:pt x="204" y="158"/>
                    </a:lnTo>
                    <a:lnTo>
                      <a:pt x="207" y="162"/>
                    </a:lnTo>
                    <a:lnTo>
                      <a:pt x="209" y="160"/>
                    </a:lnTo>
                    <a:lnTo>
                      <a:pt x="207" y="163"/>
                    </a:lnTo>
                    <a:lnTo>
                      <a:pt x="209" y="163"/>
                    </a:lnTo>
                    <a:lnTo>
                      <a:pt x="207" y="165"/>
                    </a:lnTo>
                    <a:lnTo>
                      <a:pt x="205" y="167"/>
                    </a:lnTo>
                    <a:lnTo>
                      <a:pt x="207" y="165"/>
                    </a:lnTo>
                    <a:lnTo>
                      <a:pt x="204" y="167"/>
                    </a:lnTo>
                    <a:lnTo>
                      <a:pt x="204" y="168"/>
                    </a:lnTo>
                    <a:lnTo>
                      <a:pt x="202" y="168"/>
                    </a:lnTo>
                    <a:lnTo>
                      <a:pt x="204" y="170"/>
                    </a:lnTo>
                    <a:lnTo>
                      <a:pt x="204" y="173"/>
                    </a:lnTo>
                    <a:lnTo>
                      <a:pt x="202" y="175"/>
                    </a:lnTo>
                    <a:lnTo>
                      <a:pt x="200" y="175"/>
                    </a:lnTo>
                    <a:lnTo>
                      <a:pt x="199" y="177"/>
                    </a:lnTo>
                    <a:lnTo>
                      <a:pt x="200" y="180"/>
                    </a:lnTo>
                    <a:lnTo>
                      <a:pt x="199" y="182"/>
                    </a:lnTo>
                    <a:lnTo>
                      <a:pt x="200" y="182"/>
                    </a:lnTo>
                    <a:lnTo>
                      <a:pt x="200" y="184"/>
                    </a:lnTo>
                    <a:lnTo>
                      <a:pt x="199" y="184"/>
                    </a:lnTo>
                    <a:lnTo>
                      <a:pt x="197" y="185"/>
                    </a:lnTo>
                    <a:lnTo>
                      <a:pt x="199" y="189"/>
                    </a:lnTo>
                    <a:lnTo>
                      <a:pt x="197" y="190"/>
                    </a:lnTo>
                    <a:lnTo>
                      <a:pt x="199" y="190"/>
                    </a:lnTo>
                    <a:lnTo>
                      <a:pt x="199" y="196"/>
                    </a:lnTo>
                    <a:lnTo>
                      <a:pt x="199" y="197"/>
                    </a:lnTo>
                    <a:lnTo>
                      <a:pt x="200" y="201"/>
                    </a:lnTo>
                    <a:lnTo>
                      <a:pt x="199" y="201"/>
                    </a:lnTo>
                    <a:lnTo>
                      <a:pt x="199" y="202"/>
                    </a:lnTo>
                    <a:lnTo>
                      <a:pt x="199" y="204"/>
                    </a:lnTo>
                    <a:lnTo>
                      <a:pt x="199" y="206"/>
                    </a:lnTo>
                    <a:lnTo>
                      <a:pt x="199" y="207"/>
                    </a:lnTo>
                    <a:lnTo>
                      <a:pt x="200" y="209"/>
                    </a:lnTo>
                    <a:lnTo>
                      <a:pt x="199" y="211"/>
                    </a:lnTo>
                    <a:lnTo>
                      <a:pt x="200" y="213"/>
                    </a:lnTo>
                    <a:lnTo>
                      <a:pt x="195" y="213"/>
                    </a:lnTo>
                    <a:lnTo>
                      <a:pt x="190" y="213"/>
                    </a:lnTo>
                    <a:lnTo>
                      <a:pt x="190" y="211"/>
                    </a:lnTo>
                    <a:lnTo>
                      <a:pt x="188" y="211"/>
                    </a:lnTo>
                    <a:lnTo>
                      <a:pt x="187" y="211"/>
                    </a:lnTo>
                    <a:lnTo>
                      <a:pt x="185" y="209"/>
                    </a:lnTo>
                    <a:lnTo>
                      <a:pt x="187" y="209"/>
                    </a:lnTo>
                    <a:lnTo>
                      <a:pt x="185" y="207"/>
                    </a:lnTo>
                    <a:lnTo>
                      <a:pt x="180" y="206"/>
                    </a:lnTo>
                    <a:lnTo>
                      <a:pt x="165" y="202"/>
                    </a:lnTo>
                    <a:lnTo>
                      <a:pt x="160" y="199"/>
                    </a:lnTo>
                    <a:lnTo>
                      <a:pt x="154" y="197"/>
                    </a:lnTo>
                    <a:lnTo>
                      <a:pt x="151" y="194"/>
                    </a:lnTo>
                    <a:lnTo>
                      <a:pt x="146" y="192"/>
                    </a:lnTo>
                    <a:lnTo>
                      <a:pt x="141" y="190"/>
                    </a:lnTo>
                    <a:lnTo>
                      <a:pt x="139" y="189"/>
                    </a:lnTo>
                    <a:lnTo>
                      <a:pt x="136" y="187"/>
                    </a:lnTo>
                    <a:lnTo>
                      <a:pt x="132" y="184"/>
                    </a:lnTo>
                    <a:lnTo>
                      <a:pt x="124" y="182"/>
                    </a:lnTo>
                    <a:lnTo>
                      <a:pt x="124" y="180"/>
                    </a:lnTo>
                    <a:lnTo>
                      <a:pt x="120" y="179"/>
                    </a:lnTo>
                    <a:lnTo>
                      <a:pt x="120" y="177"/>
                    </a:lnTo>
                    <a:lnTo>
                      <a:pt x="115" y="175"/>
                    </a:lnTo>
                    <a:lnTo>
                      <a:pt x="112" y="173"/>
                    </a:lnTo>
                    <a:lnTo>
                      <a:pt x="112" y="172"/>
                    </a:lnTo>
                    <a:lnTo>
                      <a:pt x="107" y="168"/>
                    </a:lnTo>
                    <a:lnTo>
                      <a:pt x="103" y="165"/>
                    </a:lnTo>
                    <a:lnTo>
                      <a:pt x="100" y="162"/>
                    </a:lnTo>
                    <a:lnTo>
                      <a:pt x="97" y="158"/>
                    </a:lnTo>
                    <a:lnTo>
                      <a:pt x="97" y="156"/>
                    </a:lnTo>
                    <a:lnTo>
                      <a:pt x="86" y="150"/>
                    </a:lnTo>
                    <a:lnTo>
                      <a:pt x="83" y="145"/>
                    </a:lnTo>
                    <a:lnTo>
                      <a:pt x="73" y="136"/>
                    </a:lnTo>
                    <a:lnTo>
                      <a:pt x="73" y="134"/>
                    </a:lnTo>
                    <a:lnTo>
                      <a:pt x="71" y="134"/>
                    </a:lnTo>
                    <a:lnTo>
                      <a:pt x="66" y="131"/>
                    </a:lnTo>
                    <a:lnTo>
                      <a:pt x="63" y="128"/>
                    </a:lnTo>
                    <a:lnTo>
                      <a:pt x="58" y="124"/>
                    </a:lnTo>
                    <a:lnTo>
                      <a:pt x="56" y="122"/>
                    </a:lnTo>
                    <a:lnTo>
                      <a:pt x="41" y="117"/>
                    </a:lnTo>
                    <a:lnTo>
                      <a:pt x="39" y="117"/>
                    </a:lnTo>
                    <a:lnTo>
                      <a:pt x="34" y="114"/>
                    </a:lnTo>
                    <a:lnTo>
                      <a:pt x="34" y="112"/>
                    </a:lnTo>
                    <a:lnTo>
                      <a:pt x="35" y="112"/>
                    </a:lnTo>
                    <a:lnTo>
                      <a:pt x="34" y="112"/>
                    </a:lnTo>
                    <a:lnTo>
                      <a:pt x="35" y="111"/>
                    </a:lnTo>
                    <a:lnTo>
                      <a:pt x="34" y="109"/>
                    </a:lnTo>
                    <a:lnTo>
                      <a:pt x="32" y="105"/>
                    </a:lnTo>
                    <a:lnTo>
                      <a:pt x="25" y="102"/>
                    </a:lnTo>
                    <a:lnTo>
                      <a:pt x="7" y="93"/>
                    </a:lnTo>
                    <a:lnTo>
                      <a:pt x="5" y="92"/>
                    </a:lnTo>
                    <a:lnTo>
                      <a:pt x="7" y="90"/>
                    </a:lnTo>
                    <a:lnTo>
                      <a:pt x="7" y="92"/>
                    </a:lnTo>
                    <a:lnTo>
                      <a:pt x="8" y="92"/>
                    </a:lnTo>
                    <a:lnTo>
                      <a:pt x="13" y="95"/>
                    </a:lnTo>
                    <a:lnTo>
                      <a:pt x="15" y="95"/>
                    </a:lnTo>
                    <a:lnTo>
                      <a:pt x="15" y="93"/>
                    </a:lnTo>
                    <a:lnTo>
                      <a:pt x="13" y="92"/>
                    </a:lnTo>
                    <a:lnTo>
                      <a:pt x="15" y="92"/>
                    </a:lnTo>
                    <a:lnTo>
                      <a:pt x="13" y="90"/>
                    </a:lnTo>
                    <a:lnTo>
                      <a:pt x="8" y="92"/>
                    </a:lnTo>
                    <a:lnTo>
                      <a:pt x="7" y="90"/>
                    </a:lnTo>
                    <a:lnTo>
                      <a:pt x="5" y="87"/>
                    </a:lnTo>
                    <a:lnTo>
                      <a:pt x="0" y="83"/>
                    </a:lnTo>
                    <a:lnTo>
                      <a:pt x="1" y="83"/>
                    </a:lnTo>
                    <a:lnTo>
                      <a:pt x="3" y="82"/>
                    </a:lnTo>
                    <a:lnTo>
                      <a:pt x="3" y="80"/>
                    </a:lnTo>
                    <a:lnTo>
                      <a:pt x="7" y="78"/>
                    </a:lnTo>
                    <a:lnTo>
                      <a:pt x="7" y="75"/>
                    </a:lnTo>
                    <a:lnTo>
                      <a:pt x="8" y="75"/>
                    </a:lnTo>
                    <a:lnTo>
                      <a:pt x="7" y="71"/>
                    </a:lnTo>
                    <a:lnTo>
                      <a:pt x="8" y="71"/>
                    </a:lnTo>
                    <a:lnTo>
                      <a:pt x="8" y="68"/>
                    </a:lnTo>
                    <a:lnTo>
                      <a:pt x="10" y="70"/>
                    </a:lnTo>
                    <a:lnTo>
                      <a:pt x="12" y="66"/>
                    </a:lnTo>
                    <a:lnTo>
                      <a:pt x="12" y="68"/>
                    </a:lnTo>
                    <a:lnTo>
                      <a:pt x="13" y="66"/>
                    </a:lnTo>
                    <a:lnTo>
                      <a:pt x="15" y="66"/>
                    </a:lnTo>
                    <a:lnTo>
                      <a:pt x="17" y="63"/>
                    </a:lnTo>
                    <a:lnTo>
                      <a:pt x="17" y="61"/>
                    </a:lnTo>
                    <a:lnTo>
                      <a:pt x="20" y="59"/>
                    </a:lnTo>
                    <a:lnTo>
                      <a:pt x="22" y="58"/>
                    </a:lnTo>
                    <a:lnTo>
                      <a:pt x="29" y="53"/>
                    </a:lnTo>
                    <a:lnTo>
                      <a:pt x="29" y="54"/>
                    </a:lnTo>
                    <a:lnTo>
                      <a:pt x="32" y="51"/>
                    </a:lnTo>
                    <a:lnTo>
                      <a:pt x="34" y="51"/>
                    </a:lnTo>
                    <a:lnTo>
                      <a:pt x="34" y="49"/>
                    </a:lnTo>
                    <a:lnTo>
                      <a:pt x="35" y="48"/>
                    </a:lnTo>
                    <a:lnTo>
                      <a:pt x="35" y="46"/>
                    </a:lnTo>
                    <a:lnTo>
                      <a:pt x="37" y="46"/>
                    </a:lnTo>
                    <a:lnTo>
                      <a:pt x="41" y="41"/>
                    </a:lnTo>
                    <a:lnTo>
                      <a:pt x="42" y="41"/>
                    </a:lnTo>
                    <a:lnTo>
                      <a:pt x="46" y="39"/>
                    </a:lnTo>
                    <a:lnTo>
                      <a:pt x="44" y="25"/>
                    </a:lnTo>
                    <a:lnTo>
                      <a:pt x="46" y="25"/>
                    </a:lnTo>
                    <a:lnTo>
                      <a:pt x="51" y="20"/>
                    </a:lnTo>
                    <a:lnTo>
                      <a:pt x="52" y="20"/>
                    </a:lnTo>
                    <a:lnTo>
                      <a:pt x="56" y="20"/>
                    </a:lnTo>
                    <a:lnTo>
                      <a:pt x="58" y="20"/>
                    </a:lnTo>
                    <a:lnTo>
                      <a:pt x="59" y="19"/>
                    </a:lnTo>
                    <a:lnTo>
                      <a:pt x="61" y="17"/>
                    </a:lnTo>
                    <a:lnTo>
                      <a:pt x="59" y="14"/>
                    </a:lnTo>
                    <a:lnTo>
                      <a:pt x="61" y="14"/>
                    </a:lnTo>
                    <a:lnTo>
                      <a:pt x="61" y="12"/>
                    </a:lnTo>
                    <a:lnTo>
                      <a:pt x="61" y="3"/>
                    </a:lnTo>
                    <a:lnTo>
                      <a:pt x="64" y="3"/>
                    </a:lnTo>
                    <a:lnTo>
                      <a:pt x="68" y="2"/>
                    </a:lnTo>
                    <a:lnTo>
                      <a:pt x="69" y="2"/>
                    </a:lnTo>
                    <a:lnTo>
                      <a:pt x="71" y="2"/>
                    </a:lnTo>
                    <a:lnTo>
                      <a:pt x="73" y="3"/>
                    </a:lnTo>
                    <a:lnTo>
                      <a:pt x="73" y="5"/>
                    </a:lnTo>
                    <a:lnTo>
                      <a:pt x="73" y="7"/>
                    </a:lnTo>
                    <a:lnTo>
                      <a:pt x="76" y="5"/>
                    </a:lnTo>
                    <a:lnTo>
                      <a:pt x="80" y="3"/>
                    </a:lnTo>
                    <a:lnTo>
                      <a:pt x="83" y="3"/>
                    </a:lnTo>
                    <a:lnTo>
                      <a:pt x="85" y="3"/>
                    </a:lnTo>
                    <a:lnTo>
                      <a:pt x="86" y="2"/>
                    </a:lnTo>
                    <a:lnTo>
                      <a:pt x="85" y="2"/>
                    </a:lnTo>
                    <a:lnTo>
                      <a:pt x="86" y="0"/>
                    </a:lnTo>
                    <a:lnTo>
                      <a:pt x="88" y="0"/>
                    </a:lnTo>
                    <a:lnTo>
                      <a:pt x="88" y="3"/>
                    </a:lnTo>
                    <a:lnTo>
                      <a:pt x="90" y="5"/>
                    </a:lnTo>
                    <a:lnTo>
                      <a:pt x="90" y="7"/>
                    </a:lnTo>
                    <a:lnTo>
                      <a:pt x="90" y="5"/>
                    </a:lnTo>
                    <a:lnTo>
                      <a:pt x="90" y="3"/>
                    </a:lnTo>
                    <a:lnTo>
                      <a:pt x="92" y="3"/>
                    </a:lnTo>
                    <a:lnTo>
                      <a:pt x="93" y="5"/>
                    </a:lnTo>
                    <a:lnTo>
                      <a:pt x="95" y="5"/>
                    </a:lnTo>
                    <a:lnTo>
                      <a:pt x="93" y="7"/>
                    </a:lnTo>
                    <a:lnTo>
                      <a:pt x="93" y="8"/>
                    </a:lnTo>
                    <a:lnTo>
                      <a:pt x="95" y="8"/>
                    </a:lnTo>
                    <a:lnTo>
                      <a:pt x="97" y="7"/>
                    </a:lnTo>
                    <a:lnTo>
                      <a:pt x="98" y="8"/>
                    </a:lnTo>
                    <a:lnTo>
                      <a:pt x="100" y="8"/>
                    </a:lnTo>
                    <a:lnTo>
                      <a:pt x="102" y="10"/>
                    </a:lnTo>
                    <a:lnTo>
                      <a:pt x="100" y="12"/>
                    </a:lnTo>
                    <a:lnTo>
                      <a:pt x="102" y="15"/>
                    </a:lnTo>
                    <a:lnTo>
                      <a:pt x="100" y="15"/>
                    </a:lnTo>
                    <a:lnTo>
                      <a:pt x="100" y="19"/>
                    </a:lnTo>
                    <a:lnTo>
                      <a:pt x="102" y="19"/>
                    </a:lnTo>
                    <a:lnTo>
                      <a:pt x="103" y="22"/>
                    </a:lnTo>
                    <a:lnTo>
                      <a:pt x="103" y="24"/>
                    </a:lnTo>
                    <a:lnTo>
                      <a:pt x="103" y="25"/>
                    </a:lnTo>
                    <a:lnTo>
                      <a:pt x="105" y="25"/>
                    </a:lnTo>
                    <a:lnTo>
                      <a:pt x="105" y="27"/>
                    </a:lnTo>
                    <a:lnTo>
                      <a:pt x="105" y="29"/>
                    </a:lnTo>
                    <a:lnTo>
                      <a:pt x="103" y="31"/>
                    </a:lnTo>
                    <a:lnTo>
                      <a:pt x="103" y="34"/>
                    </a:lnTo>
                    <a:lnTo>
                      <a:pt x="109" y="41"/>
                    </a:lnTo>
                    <a:lnTo>
                      <a:pt x="107" y="46"/>
                    </a:lnTo>
                    <a:lnTo>
                      <a:pt x="109" y="48"/>
                    </a:lnTo>
                    <a:lnTo>
                      <a:pt x="105" y="54"/>
                    </a:lnTo>
                    <a:lnTo>
                      <a:pt x="102" y="58"/>
                    </a:lnTo>
                    <a:lnTo>
                      <a:pt x="102" y="59"/>
                    </a:lnTo>
                    <a:lnTo>
                      <a:pt x="105" y="58"/>
                    </a:lnTo>
                    <a:lnTo>
                      <a:pt x="105" y="59"/>
                    </a:lnTo>
                    <a:lnTo>
                      <a:pt x="109" y="56"/>
                    </a:lnTo>
                    <a:lnTo>
                      <a:pt x="112" y="58"/>
                    </a:lnTo>
                    <a:lnTo>
                      <a:pt x="112" y="59"/>
                    </a:lnTo>
                    <a:lnTo>
                      <a:pt x="114" y="59"/>
                    </a:lnTo>
                    <a:lnTo>
                      <a:pt x="115" y="59"/>
                    </a:lnTo>
                    <a:lnTo>
                      <a:pt x="115" y="63"/>
                    </a:lnTo>
                    <a:lnTo>
                      <a:pt x="117" y="65"/>
                    </a:lnTo>
                    <a:lnTo>
                      <a:pt x="120" y="65"/>
                    </a:lnTo>
                    <a:lnTo>
                      <a:pt x="120" y="66"/>
                    </a:lnTo>
                    <a:lnTo>
                      <a:pt x="120" y="70"/>
                    </a:lnTo>
                    <a:lnTo>
                      <a:pt x="120" y="68"/>
                    </a:lnTo>
                    <a:lnTo>
                      <a:pt x="122" y="68"/>
                    </a:lnTo>
                    <a:lnTo>
                      <a:pt x="126" y="66"/>
                    </a:lnTo>
                    <a:lnTo>
                      <a:pt x="127" y="66"/>
                    </a:lnTo>
                    <a:lnTo>
                      <a:pt x="127" y="65"/>
                    </a:lnTo>
                    <a:lnTo>
                      <a:pt x="129" y="65"/>
                    </a:lnTo>
                    <a:lnTo>
                      <a:pt x="131" y="65"/>
                    </a:lnTo>
                    <a:lnTo>
                      <a:pt x="131" y="66"/>
                    </a:lnTo>
                    <a:lnTo>
                      <a:pt x="134" y="66"/>
                    </a:lnTo>
                    <a:lnTo>
                      <a:pt x="134" y="65"/>
                    </a:lnTo>
                    <a:lnTo>
                      <a:pt x="134" y="63"/>
                    </a:lnTo>
                    <a:lnTo>
                      <a:pt x="134" y="61"/>
                    </a:lnTo>
                    <a:lnTo>
                      <a:pt x="136" y="58"/>
                    </a:lnTo>
                    <a:lnTo>
                      <a:pt x="137" y="58"/>
                    </a:lnTo>
                    <a:lnTo>
                      <a:pt x="137" y="56"/>
                    </a:lnTo>
                    <a:lnTo>
                      <a:pt x="141" y="53"/>
                    </a:lnTo>
                    <a:lnTo>
                      <a:pt x="141" y="51"/>
                    </a:lnTo>
                    <a:lnTo>
                      <a:pt x="141" y="48"/>
                    </a:lnTo>
                    <a:lnTo>
                      <a:pt x="141" y="46"/>
                    </a:lnTo>
                    <a:lnTo>
                      <a:pt x="143" y="44"/>
                    </a:lnTo>
                    <a:lnTo>
                      <a:pt x="149" y="42"/>
                    </a:lnTo>
                    <a:lnTo>
                      <a:pt x="149" y="48"/>
                    </a:lnTo>
                    <a:lnTo>
                      <a:pt x="151" y="49"/>
                    </a:lnTo>
                    <a:lnTo>
                      <a:pt x="151" y="53"/>
                    </a:lnTo>
                    <a:lnTo>
                      <a:pt x="156" y="54"/>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Freeform 40">
                <a:extLst>
                  <a:ext uri="{FF2B5EF4-FFF2-40B4-BE49-F238E27FC236}">
                    <a16:creationId xmlns:a16="http://schemas.microsoft.com/office/drawing/2014/main" id="{291C10F3-44E2-42E1-BC2D-7FB21652D6AB}"/>
                  </a:ext>
                </a:extLst>
              </p:cNvPr>
              <p:cNvSpPr>
                <a:spLocks/>
              </p:cNvSpPr>
              <p:nvPr/>
            </p:nvSpPr>
            <p:spPr bwMode="gray">
              <a:xfrm>
                <a:off x="4510619" y="2402474"/>
                <a:ext cx="1034617" cy="931775"/>
              </a:xfrm>
              <a:custGeom>
                <a:avLst/>
                <a:gdLst>
                  <a:gd name="T0" fmla="*/ 815 w 835"/>
                  <a:gd name="T1" fmla="*/ 473 h 752"/>
                  <a:gd name="T2" fmla="*/ 687 w 835"/>
                  <a:gd name="T3" fmla="*/ 494 h 752"/>
                  <a:gd name="T4" fmla="*/ 607 w 835"/>
                  <a:gd name="T5" fmla="*/ 504 h 752"/>
                  <a:gd name="T6" fmla="*/ 519 w 835"/>
                  <a:gd name="T7" fmla="*/ 535 h 752"/>
                  <a:gd name="T8" fmla="*/ 475 w 835"/>
                  <a:gd name="T9" fmla="*/ 575 h 752"/>
                  <a:gd name="T10" fmla="*/ 456 w 835"/>
                  <a:gd name="T11" fmla="*/ 594 h 752"/>
                  <a:gd name="T12" fmla="*/ 427 w 835"/>
                  <a:gd name="T13" fmla="*/ 591 h 752"/>
                  <a:gd name="T14" fmla="*/ 415 w 835"/>
                  <a:gd name="T15" fmla="*/ 589 h 752"/>
                  <a:gd name="T16" fmla="*/ 403 w 835"/>
                  <a:gd name="T17" fmla="*/ 609 h 752"/>
                  <a:gd name="T18" fmla="*/ 395 w 835"/>
                  <a:gd name="T19" fmla="*/ 628 h 752"/>
                  <a:gd name="T20" fmla="*/ 390 w 835"/>
                  <a:gd name="T21" fmla="*/ 652 h 752"/>
                  <a:gd name="T22" fmla="*/ 352 w 835"/>
                  <a:gd name="T23" fmla="*/ 667 h 752"/>
                  <a:gd name="T24" fmla="*/ 352 w 835"/>
                  <a:gd name="T25" fmla="*/ 679 h 752"/>
                  <a:gd name="T26" fmla="*/ 342 w 835"/>
                  <a:gd name="T27" fmla="*/ 706 h 752"/>
                  <a:gd name="T28" fmla="*/ 335 w 835"/>
                  <a:gd name="T29" fmla="*/ 739 h 752"/>
                  <a:gd name="T30" fmla="*/ 306 w 835"/>
                  <a:gd name="T31" fmla="*/ 747 h 752"/>
                  <a:gd name="T32" fmla="*/ 305 w 835"/>
                  <a:gd name="T33" fmla="*/ 734 h 752"/>
                  <a:gd name="T34" fmla="*/ 300 w 835"/>
                  <a:gd name="T35" fmla="*/ 725 h 752"/>
                  <a:gd name="T36" fmla="*/ 283 w 835"/>
                  <a:gd name="T37" fmla="*/ 730 h 752"/>
                  <a:gd name="T38" fmla="*/ 267 w 835"/>
                  <a:gd name="T39" fmla="*/ 751 h 752"/>
                  <a:gd name="T40" fmla="*/ 242 w 835"/>
                  <a:gd name="T41" fmla="*/ 737 h 752"/>
                  <a:gd name="T42" fmla="*/ 226 w 835"/>
                  <a:gd name="T43" fmla="*/ 744 h 752"/>
                  <a:gd name="T44" fmla="*/ 218 w 835"/>
                  <a:gd name="T45" fmla="*/ 744 h 752"/>
                  <a:gd name="T46" fmla="*/ 198 w 835"/>
                  <a:gd name="T47" fmla="*/ 723 h 752"/>
                  <a:gd name="T48" fmla="*/ 184 w 835"/>
                  <a:gd name="T49" fmla="*/ 713 h 752"/>
                  <a:gd name="T50" fmla="*/ 194 w 835"/>
                  <a:gd name="T51" fmla="*/ 696 h 752"/>
                  <a:gd name="T52" fmla="*/ 186 w 835"/>
                  <a:gd name="T53" fmla="*/ 686 h 752"/>
                  <a:gd name="T54" fmla="*/ 175 w 835"/>
                  <a:gd name="T55" fmla="*/ 666 h 752"/>
                  <a:gd name="T56" fmla="*/ 165 w 835"/>
                  <a:gd name="T57" fmla="*/ 650 h 752"/>
                  <a:gd name="T58" fmla="*/ 148 w 835"/>
                  <a:gd name="T59" fmla="*/ 633 h 752"/>
                  <a:gd name="T60" fmla="*/ 147 w 835"/>
                  <a:gd name="T61" fmla="*/ 647 h 752"/>
                  <a:gd name="T62" fmla="*/ 123 w 835"/>
                  <a:gd name="T63" fmla="*/ 655 h 752"/>
                  <a:gd name="T64" fmla="*/ 101 w 835"/>
                  <a:gd name="T65" fmla="*/ 649 h 752"/>
                  <a:gd name="T66" fmla="*/ 87 w 835"/>
                  <a:gd name="T67" fmla="*/ 654 h 752"/>
                  <a:gd name="T68" fmla="*/ 73 w 835"/>
                  <a:gd name="T69" fmla="*/ 655 h 752"/>
                  <a:gd name="T70" fmla="*/ 56 w 835"/>
                  <a:gd name="T71" fmla="*/ 654 h 752"/>
                  <a:gd name="T72" fmla="*/ 38 w 835"/>
                  <a:gd name="T73" fmla="*/ 649 h 752"/>
                  <a:gd name="T74" fmla="*/ 45 w 835"/>
                  <a:gd name="T75" fmla="*/ 637 h 752"/>
                  <a:gd name="T76" fmla="*/ 43 w 835"/>
                  <a:gd name="T77" fmla="*/ 630 h 752"/>
                  <a:gd name="T78" fmla="*/ 43 w 835"/>
                  <a:gd name="T79" fmla="*/ 614 h 752"/>
                  <a:gd name="T80" fmla="*/ 39 w 835"/>
                  <a:gd name="T81" fmla="*/ 604 h 752"/>
                  <a:gd name="T82" fmla="*/ 28 w 835"/>
                  <a:gd name="T83" fmla="*/ 589 h 752"/>
                  <a:gd name="T84" fmla="*/ 9 w 835"/>
                  <a:gd name="T85" fmla="*/ 572 h 752"/>
                  <a:gd name="T86" fmla="*/ 7 w 835"/>
                  <a:gd name="T87" fmla="*/ 540 h 752"/>
                  <a:gd name="T88" fmla="*/ 5 w 835"/>
                  <a:gd name="T89" fmla="*/ 526 h 752"/>
                  <a:gd name="T90" fmla="*/ 11 w 835"/>
                  <a:gd name="T91" fmla="*/ 519 h 752"/>
                  <a:gd name="T92" fmla="*/ 22 w 835"/>
                  <a:gd name="T93" fmla="*/ 506 h 752"/>
                  <a:gd name="T94" fmla="*/ 28 w 835"/>
                  <a:gd name="T95" fmla="*/ 480 h 752"/>
                  <a:gd name="T96" fmla="*/ 45 w 835"/>
                  <a:gd name="T97" fmla="*/ 480 h 752"/>
                  <a:gd name="T98" fmla="*/ 70 w 835"/>
                  <a:gd name="T99" fmla="*/ 497 h 752"/>
                  <a:gd name="T100" fmla="*/ 87 w 835"/>
                  <a:gd name="T101" fmla="*/ 485 h 752"/>
                  <a:gd name="T102" fmla="*/ 130 w 835"/>
                  <a:gd name="T103" fmla="*/ 485 h 752"/>
                  <a:gd name="T104" fmla="*/ 233 w 835"/>
                  <a:gd name="T105" fmla="*/ 482 h 752"/>
                  <a:gd name="T106" fmla="*/ 488 w 835"/>
                  <a:gd name="T107" fmla="*/ 72 h 752"/>
                  <a:gd name="T108" fmla="*/ 701 w 835"/>
                  <a:gd name="T109" fmla="*/ 223 h 752"/>
                  <a:gd name="T110" fmla="*/ 723 w 835"/>
                  <a:gd name="T111" fmla="*/ 240 h 752"/>
                  <a:gd name="T112" fmla="*/ 740 w 835"/>
                  <a:gd name="T113" fmla="*/ 252 h 752"/>
                  <a:gd name="T114" fmla="*/ 764 w 835"/>
                  <a:gd name="T115" fmla="*/ 256 h 752"/>
                  <a:gd name="T116" fmla="*/ 786 w 835"/>
                  <a:gd name="T117" fmla="*/ 281 h 752"/>
                  <a:gd name="T118" fmla="*/ 793 w 835"/>
                  <a:gd name="T119" fmla="*/ 307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752">
                    <a:moveTo>
                      <a:pt x="833" y="298"/>
                    </a:moveTo>
                    <a:lnTo>
                      <a:pt x="835" y="322"/>
                    </a:lnTo>
                    <a:lnTo>
                      <a:pt x="835" y="356"/>
                    </a:lnTo>
                    <a:lnTo>
                      <a:pt x="835" y="407"/>
                    </a:lnTo>
                    <a:lnTo>
                      <a:pt x="825" y="410"/>
                    </a:lnTo>
                    <a:lnTo>
                      <a:pt x="825" y="439"/>
                    </a:lnTo>
                    <a:lnTo>
                      <a:pt x="821" y="455"/>
                    </a:lnTo>
                    <a:lnTo>
                      <a:pt x="821" y="458"/>
                    </a:lnTo>
                    <a:lnTo>
                      <a:pt x="818" y="461"/>
                    </a:lnTo>
                    <a:lnTo>
                      <a:pt x="816" y="470"/>
                    </a:lnTo>
                    <a:lnTo>
                      <a:pt x="815" y="473"/>
                    </a:lnTo>
                    <a:lnTo>
                      <a:pt x="808" y="475"/>
                    </a:lnTo>
                    <a:lnTo>
                      <a:pt x="803" y="482"/>
                    </a:lnTo>
                    <a:lnTo>
                      <a:pt x="799" y="484"/>
                    </a:lnTo>
                    <a:lnTo>
                      <a:pt x="799" y="490"/>
                    </a:lnTo>
                    <a:lnTo>
                      <a:pt x="798" y="490"/>
                    </a:lnTo>
                    <a:lnTo>
                      <a:pt x="774" y="490"/>
                    </a:lnTo>
                    <a:lnTo>
                      <a:pt x="757" y="489"/>
                    </a:lnTo>
                    <a:lnTo>
                      <a:pt x="750" y="489"/>
                    </a:lnTo>
                    <a:lnTo>
                      <a:pt x="714" y="492"/>
                    </a:lnTo>
                    <a:lnTo>
                      <a:pt x="702" y="492"/>
                    </a:lnTo>
                    <a:lnTo>
                      <a:pt x="687" y="494"/>
                    </a:lnTo>
                    <a:lnTo>
                      <a:pt x="685" y="494"/>
                    </a:lnTo>
                    <a:lnTo>
                      <a:pt x="668" y="509"/>
                    </a:lnTo>
                    <a:lnTo>
                      <a:pt x="658" y="509"/>
                    </a:lnTo>
                    <a:lnTo>
                      <a:pt x="655" y="511"/>
                    </a:lnTo>
                    <a:lnTo>
                      <a:pt x="646" y="509"/>
                    </a:lnTo>
                    <a:lnTo>
                      <a:pt x="646" y="507"/>
                    </a:lnTo>
                    <a:lnTo>
                      <a:pt x="640" y="509"/>
                    </a:lnTo>
                    <a:lnTo>
                      <a:pt x="631" y="507"/>
                    </a:lnTo>
                    <a:lnTo>
                      <a:pt x="628" y="509"/>
                    </a:lnTo>
                    <a:lnTo>
                      <a:pt x="623" y="509"/>
                    </a:lnTo>
                    <a:lnTo>
                      <a:pt x="607" y="504"/>
                    </a:lnTo>
                    <a:lnTo>
                      <a:pt x="600" y="507"/>
                    </a:lnTo>
                    <a:lnTo>
                      <a:pt x="597" y="504"/>
                    </a:lnTo>
                    <a:lnTo>
                      <a:pt x="583" y="504"/>
                    </a:lnTo>
                    <a:lnTo>
                      <a:pt x="570" y="514"/>
                    </a:lnTo>
                    <a:lnTo>
                      <a:pt x="570" y="516"/>
                    </a:lnTo>
                    <a:lnTo>
                      <a:pt x="566" y="519"/>
                    </a:lnTo>
                    <a:lnTo>
                      <a:pt x="553" y="521"/>
                    </a:lnTo>
                    <a:lnTo>
                      <a:pt x="536" y="533"/>
                    </a:lnTo>
                    <a:lnTo>
                      <a:pt x="531" y="535"/>
                    </a:lnTo>
                    <a:lnTo>
                      <a:pt x="524" y="533"/>
                    </a:lnTo>
                    <a:lnTo>
                      <a:pt x="519" y="535"/>
                    </a:lnTo>
                    <a:lnTo>
                      <a:pt x="519" y="548"/>
                    </a:lnTo>
                    <a:lnTo>
                      <a:pt x="514" y="552"/>
                    </a:lnTo>
                    <a:lnTo>
                      <a:pt x="504" y="545"/>
                    </a:lnTo>
                    <a:lnTo>
                      <a:pt x="495" y="543"/>
                    </a:lnTo>
                    <a:lnTo>
                      <a:pt x="485" y="552"/>
                    </a:lnTo>
                    <a:lnTo>
                      <a:pt x="476" y="555"/>
                    </a:lnTo>
                    <a:lnTo>
                      <a:pt x="475" y="558"/>
                    </a:lnTo>
                    <a:lnTo>
                      <a:pt x="476" y="558"/>
                    </a:lnTo>
                    <a:lnTo>
                      <a:pt x="473" y="567"/>
                    </a:lnTo>
                    <a:lnTo>
                      <a:pt x="473" y="572"/>
                    </a:lnTo>
                    <a:lnTo>
                      <a:pt x="475" y="575"/>
                    </a:lnTo>
                    <a:lnTo>
                      <a:pt x="471" y="577"/>
                    </a:lnTo>
                    <a:lnTo>
                      <a:pt x="470" y="575"/>
                    </a:lnTo>
                    <a:lnTo>
                      <a:pt x="468" y="575"/>
                    </a:lnTo>
                    <a:lnTo>
                      <a:pt x="466" y="577"/>
                    </a:lnTo>
                    <a:lnTo>
                      <a:pt x="464" y="575"/>
                    </a:lnTo>
                    <a:lnTo>
                      <a:pt x="463" y="574"/>
                    </a:lnTo>
                    <a:lnTo>
                      <a:pt x="456" y="575"/>
                    </a:lnTo>
                    <a:lnTo>
                      <a:pt x="456" y="574"/>
                    </a:lnTo>
                    <a:lnTo>
                      <a:pt x="456" y="579"/>
                    </a:lnTo>
                    <a:lnTo>
                      <a:pt x="454" y="580"/>
                    </a:lnTo>
                    <a:lnTo>
                      <a:pt x="456" y="594"/>
                    </a:lnTo>
                    <a:lnTo>
                      <a:pt x="446" y="594"/>
                    </a:lnTo>
                    <a:lnTo>
                      <a:pt x="446" y="596"/>
                    </a:lnTo>
                    <a:lnTo>
                      <a:pt x="446" y="599"/>
                    </a:lnTo>
                    <a:lnTo>
                      <a:pt x="446" y="601"/>
                    </a:lnTo>
                    <a:lnTo>
                      <a:pt x="441" y="601"/>
                    </a:lnTo>
                    <a:lnTo>
                      <a:pt x="441" y="599"/>
                    </a:lnTo>
                    <a:lnTo>
                      <a:pt x="437" y="597"/>
                    </a:lnTo>
                    <a:lnTo>
                      <a:pt x="434" y="596"/>
                    </a:lnTo>
                    <a:lnTo>
                      <a:pt x="430" y="594"/>
                    </a:lnTo>
                    <a:lnTo>
                      <a:pt x="430" y="592"/>
                    </a:lnTo>
                    <a:lnTo>
                      <a:pt x="427" y="591"/>
                    </a:lnTo>
                    <a:lnTo>
                      <a:pt x="425" y="591"/>
                    </a:lnTo>
                    <a:lnTo>
                      <a:pt x="422" y="589"/>
                    </a:lnTo>
                    <a:lnTo>
                      <a:pt x="419" y="589"/>
                    </a:lnTo>
                    <a:lnTo>
                      <a:pt x="422" y="586"/>
                    </a:lnTo>
                    <a:lnTo>
                      <a:pt x="420" y="586"/>
                    </a:lnTo>
                    <a:lnTo>
                      <a:pt x="420" y="584"/>
                    </a:lnTo>
                    <a:lnTo>
                      <a:pt x="419" y="584"/>
                    </a:lnTo>
                    <a:lnTo>
                      <a:pt x="419" y="586"/>
                    </a:lnTo>
                    <a:lnTo>
                      <a:pt x="419" y="587"/>
                    </a:lnTo>
                    <a:lnTo>
                      <a:pt x="417" y="587"/>
                    </a:lnTo>
                    <a:lnTo>
                      <a:pt x="415" y="589"/>
                    </a:lnTo>
                    <a:lnTo>
                      <a:pt x="413" y="589"/>
                    </a:lnTo>
                    <a:lnTo>
                      <a:pt x="412" y="589"/>
                    </a:lnTo>
                    <a:lnTo>
                      <a:pt x="412" y="592"/>
                    </a:lnTo>
                    <a:lnTo>
                      <a:pt x="410" y="594"/>
                    </a:lnTo>
                    <a:lnTo>
                      <a:pt x="405" y="597"/>
                    </a:lnTo>
                    <a:lnTo>
                      <a:pt x="407" y="599"/>
                    </a:lnTo>
                    <a:lnTo>
                      <a:pt x="403" y="599"/>
                    </a:lnTo>
                    <a:lnTo>
                      <a:pt x="400" y="601"/>
                    </a:lnTo>
                    <a:lnTo>
                      <a:pt x="400" y="603"/>
                    </a:lnTo>
                    <a:lnTo>
                      <a:pt x="403" y="608"/>
                    </a:lnTo>
                    <a:lnTo>
                      <a:pt x="403" y="609"/>
                    </a:lnTo>
                    <a:lnTo>
                      <a:pt x="407" y="611"/>
                    </a:lnTo>
                    <a:lnTo>
                      <a:pt x="407" y="616"/>
                    </a:lnTo>
                    <a:lnTo>
                      <a:pt x="407" y="618"/>
                    </a:lnTo>
                    <a:lnTo>
                      <a:pt x="405" y="623"/>
                    </a:lnTo>
                    <a:lnTo>
                      <a:pt x="403" y="623"/>
                    </a:lnTo>
                    <a:lnTo>
                      <a:pt x="402" y="623"/>
                    </a:lnTo>
                    <a:lnTo>
                      <a:pt x="400" y="621"/>
                    </a:lnTo>
                    <a:lnTo>
                      <a:pt x="396" y="623"/>
                    </a:lnTo>
                    <a:lnTo>
                      <a:pt x="393" y="623"/>
                    </a:lnTo>
                    <a:lnTo>
                      <a:pt x="393" y="626"/>
                    </a:lnTo>
                    <a:lnTo>
                      <a:pt x="395" y="628"/>
                    </a:lnTo>
                    <a:lnTo>
                      <a:pt x="396" y="628"/>
                    </a:lnTo>
                    <a:lnTo>
                      <a:pt x="396" y="632"/>
                    </a:lnTo>
                    <a:lnTo>
                      <a:pt x="398" y="633"/>
                    </a:lnTo>
                    <a:lnTo>
                      <a:pt x="396" y="635"/>
                    </a:lnTo>
                    <a:lnTo>
                      <a:pt x="395" y="638"/>
                    </a:lnTo>
                    <a:lnTo>
                      <a:pt x="396" y="643"/>
                    </a:lnTo>
                    <a:lnTo>
                      <a:pt x="395" y="643"/>
                    </a:lnTo>
                    <a:lnTo>
                      <a:pt x="393" y="643"/>
                    </a:lnTo>
                    <a:lnTo>
                      <a:pt x="393" y="645"/>
                    </a:lnTo>
                    <a:lnTo>
                      <a:pt x="388" y="649"/>
                    </a:lnTo>
                    <a:lnTo>
                      <a:pt x="390" y="652"/>
                    </a:lnTo>
                    <a:lnTo>
                      <a:pt x="386" y="652"/>
                    </a:lnTo>
                    <a:lnTo>
                      <a:pt x="386" y="654"/>
                    </a:lnTo>
                    <a:lnTo>
                      <a:pt x="385" y="657"/>
                    </a:lnTo>
                    <a:lnTo>
                      <a:pt x="381" y="657"/>
                    </a:lnTo>
                    <a:lnTo>
                      <a:pt x="379" y="659"/>
                    </a:lnTo>
                    <a:lnTo>
                      <a:pt x="374" y="659"/>
                    </a:lnTo>
                    <a:lnTo>
                      <a:pt x="373" y="659"/>
                    </a:lnTo>
                    <a:lnTo>
                      <a:pt x="362" y="660"/>
                    </a:lnTo>
                    <a:lnTo>
                      <a:pt x="357" y="664"/>
                    </a:lnTo>
                    <a:lnTo>
                      <a:pt x="354" y="667"/>
                    </a:lnTo>
                    <a:lnTo>
                      <a:pt x="352" y="667"/>
                    </a:lnTo>
                    <a:lnTo>
                      <a:pt x="351" y="667"/>
                    </a:lnTo>
                    <a:lnTo>
                      <a:pt x="349" y="669"/>
                    </a:lnTo>
                    <a:lnTo>
                      <a:pt x="347" y="667"/>
                    </a:lnTo>
                    <a:lnTo>
                      <a:pt x="345" y="669"/>
                    </a:lnTo>
                    <a:lnTo>
                      <a:pt x="349" y="671"/>
                    </a:lnTo>
                    <a:lnTo>
                      <a:pt x="349" y="669"/>
                    </a:lnTo>
                    <a:lnTo>
                      <a:pt x="351" y="669"/>
                    </a:lnTo>
                    <a:lnTo>
                      <a:pt x="352" y="672"/>
                    </a:lnTo>
                    <a:lnTo>
                      <a:pt x="354" y="671"/>
                    </a:lnTo>
                    <a:lnTo>
                      <a:pt x="352" y="676"/>
                    </a:lnTo>
                    <a:lnTo>
                      <a:pt x="352" y="679"/>
                    </a:lnTo>
                    <a:lnTo>
                      <a:pt x="354" y="679"/>
                    </a:lnTo>
                    <a:lnTo>
                      <a:pt x="356" y="681"/>
                    </a:lnTo>
                    <a:lnTo>
                      <a:pt x="356" y="683"/>
                    </a:lnTo>
                    <a:lnTo>
                      <a:pt x="356" y="686"/>
                    </a:lnTo>
                    <a:lnTo>
                      <a:pt x="357" y="688"/>
                    </a:lnTo>
                    <a:lnTo>
                      <a:pt x="354" y="691"/>
                    </a:lnTo>
                    <a:lnTo>
                      <a:pt x="354" y="698"/>
                    </a:lnTo>
                    <a:lnTo>
                      <a:pt x="351" y="700"/>
                    </a:lnTo>
                    <a:lnTo>
                      <a:pt x="351" y="703"/>
                    </a:lnTo>
                    <a:lnTo>
                      <a:pt x="347" y="705"/>
                    </a:lnTo>
                    <a:lnTo>
                      <a:pt x="342" y="706"/>
                    </a:lnTo>
                    <a:lnTo>
                      <a:pt x="342" y="711"/>
                    </a:lnTo>
                    <a:lnTo>
                      <a:pt x="344" y="715"/>
                    </a:lnTo>
                    <a:lnTo>
                      <a:pt x="345" y="718"/>
                    </a:lnTo>
                    <a:lnTo>
                      <a:pt x="344" y="722"/>
                    </a:lnTo>
                    <a:lnTo>
                      <a:pt x="342" y="722"/>
                    </a:lnTo>
                    <a:lnTo>
                      <a:pt x="342" y="728"/>
                    </a:lnTo>
                    <a:lnTo>
                      <a:pt x="344" y="730"/>
                    </a:lnTo>
                    <a:lnTo>
                      <a:pt x="344" y="732"/>
                    </a:lnTo>
                    <a:lnTo>
                      <a:pt x="340" y="739"/>
                    </a:lnTo>
                    <a:lnTo>
                      <a:pt x="339" y="737"/>
                    </a:lnTo>
                    <a:lnTo>
                      <a:pt x="335" y="739"/>
                    </a:lnTo>
                    <a:lnTo>
                      <a:pt x="332" y="737"/>
                    </a:lnTo>
                    <a:lnTo>
                      <a:pt x="328" y="739"/>
                    </a:lnTo>
                    <a:lnTo>
                      <a:pt x="323" y="742"/>
                    </a:lnTo>
                    <a:lnTo>
                      <a:pt x="322" y="742"/>
                    </a:lnTo>
                    <a:lnTo>
                      <a:pt x="320" y="747"/>
                    </a:lnTo>
                    <a:lnTo>
                      <a:pt x="317" y="747"/>
                    </a:lnTo>
                    <a:lnTo>
                      <a:pt x="317" y="749"/>
                    </a:lnTo>
                    <a:lnTo>
                      <a:pt x="315" y="751"/>
                    </a:lnTo>
                    <a:lnTo>
                      <a:pt x="310" y="751"/>
                    </a:lnTo>
                    <a:lnTo>
                      <a:pt x="306" y="749"/>
                    </a:lnTo>
                    <a:lnTo>
                      <a:pt x="306" y="747"/>
                    </a:lnTo>
                    <a:lnTo>
                      <a:pt x="305" y="747"/>
                    </a:lnTo>
                    <a:lnTo>
                      <a:pt x="305" y="745"/>
                    </a:lnTo>
                    <a:lnTo>
                      <a:pt x="306" y="745"/>
                    </a:lnTo>
                    <a:lnTo>
                      <a:pt x="306" y="744"/>
                    </a:lnTo>
                    <a:lnTo>
                      <a:pt x="308" y="742"/>
                    </a:lnTo>
                    <a:lnTo>
                      <a:pt x="306" y="740"/>
                    </a:lnTo>
                    <a:lnTo>
                      <a:pt x="308" y="740"/>
                    </a:lnTo>
                    <a:lnTo>
                      <a:pt x="306" y="737"/>
                    </a:lnTo>
                    <a:lnTo>
                      <a:pt x="308" y="737"/>
                    </a:lnTo>
                    <a:lnTo>
                      <a:pt x="306" y="735"/>
                    </a:lnTo>
                    <a:lnTo>
                      <a:pt x="305" y="734"/>
                    </a:lnTo>
                    <a:lnTo>
                      <a:pt x="305" y="735"/>
                    </a:lnTo>
                    <a:lnTo>
                      <a:pt x="303" y="734"/>
                    </a:lnTo>
                    <a:lnTo>
                      <a:pt x="306" y="732"/>
                    </a:lnTo>
                    <a:lnTo>
                      <a:pt x="306" y="730"/>
                    </a:lnTo>
                    <a:lnTo>
                      <a:pt x="305" y="730"/>
                    </a:lnTo>
                    <a:lnTo>
                      <a:pt x="306" y="728"/>
                    </a:lnTo>
                    <a:lnTo>
                      <a:pt x="305" y="727"/>
                    </a:lnTo>
                    <a:lnTo>
                      <a:pt x="305" y="725"/>
                    </a:lnTo>
                    <a:lnTo>
                      <a:pt x="305" y="723"/>
                    </a:lnTo>
                    <a:lnTo>
                      <a:pt x="303" y="723"/>
                    </a:lnTo>
                    <a:lnTo>
                      <a:pt x="300" y="725"/>
                    </a:lnTo>
                    <a:lnTo>
                      <a:pt x="296" y="725"/>
                    </a:lnTo>
                    <a:lnTo>
                      <a:pt x="294" y="725"/>
                    </a:lnTo>
                    <a:lnTo>
                      <a:pt x="294" y="730"/>
                    </a:lnTo>
                    <a:lnTo>
                      <a:pt x="296" y="730"/>
                    </a:lnTo>
                    <a:lnTo>
                      <a:pt x="293" y="732"/>
                    </a:lnTo>
                    <a:lnTo>
                      <a:pt x="289" y="730"/>
                    </a:lnTo>
                    <a:lnTo>
                      <a:pt x="288" y="730"/>
                    </a:lnTo>
                    <a:lnTo>
                      <a:pt x="286" y="728"/>
                    </a:lnTo>
                    <a:lnTo>
                      <a:pt x="284" y="727"/>
                    </a:lnTo>
                    <a:lnTo>
                      <a:pt x="283" y="728"/>
                    </a:lnTo>
                    <a:lnTo>
                      <a:pt x="283" y="730"/>
                    </a:lnTo>
                    <a:lnTo>
                      <a:pt x="283" y="734"/>
                    </a:lnTo>
                    <a:lnTo>
                      <a:pt x="281" y="734"/>
                    </a:lnTo>
                    <a:lnTo>
                      <a:pt x="283" y="737"/>
                    </a:lnTo>
                    <a:lnTo>
                      <a:pt x="284" y="739"/>
                    </a:lnTo>
                    <a:lnTo>
                      <a:pt x="284" y="740"/>
                    </a:lnTo>
                    <a:lnTo>
                      <a:pt x="281" y="742"/>
                    </a:lnTo>
                    <a:lnTo>
                      <a:pt x="277" y="740"/>
                    </a:lnTo>
                    <a:lnTo>
                      <a:pt x="272" y="742"/>
                    </a:lnTo>
                    <a:lnTo>
                      <a:pt x="267" y="742"/>
                    </a:lnTo>
                    <a:lnTo>
                      <a:pt x="266" y="745"/>
                    </a:lnTo>
                    <a:lnTo>
                      <a:pt x="267" y="751"/>
                    </a:lnTo>
                    <a:lnTo>
                      <a:pt x="264" y="752"/>
                    </a:lnTo>
                    <a:lnTo>
                      <a:pt x="262" y="752"/>
                    </a:lnTo>
                    <a:lnTo>
                      <a:pt x="260" y="749"/>
                    </a:lnTo>
                    <a:lnTo>
                      <a:pt x="257" y="747"/>
                    </a:lnTo>
                    <a:lnTo>
                      <a:pt x="252" y="747"/>
                    </a:lnTo>
                    <a:lnTo>
                      <a:pt x="250" y="745"/>
                    </a:lnTo>
                    <a:lnTo>
                      <a:pt x="249" y="747"/>
                    </a:lnTo>
                    <a:lnTo>
                      <a:pt x="247" y="747"/>
                    </a:lnTo>
                    <a:lnTo>
                      <a:pt x="247" y="742"/>
                    </a:lnTo>
                    <a:lnTo>
                      <a:pt x="243" y="740"/>
                    </a:lnTo>
                    <a:lnTo>
                      <a:pt x="242" y="737"/>
                    </a:lnTo>
                    <a:lnTo>
                      <a:pt x="240" y="737"/>
                    </a:lnTo>
                    <a:lnTo>
                      <a:pt x="238" y="737"/>
                    </a:lnTo>
                    <a:lnTo>
                      <a:pt x="237" y="739"/>
                    </a:lnTo>
                    <a:lnTo>
                      <a:pt x="235" y="739"/>
                    </a:lnTo>
                    <a:lnTo>
                      <a:pt x="233" y="737"/>
                    </a:lnTo>
                    <a:lnTo>
                      <a:pt x="232" y="739"/>
                    </a:lnTo>
                    <a:lnTo>
                      <a:pt x="228" y="740"/>
                    </a:lnTo>
                    <a:lnTo>
                      <a:pt x="230" y="740"/>
                    </a:lnTo>
                    <a:lnTo>
                      <a:pt x="228" y="742"/>
                    </a:lnTo>
                    <a:lnTo>
                      <a:pt x="228" y="744"/>
                    </a:lnTo>
                    <a:lnTo>
                      <a:pt x="226" y="744"/>
                    </a:lnTo>
                    <a:lnTo>
                      <a:pt x="228" y="744"/>
                    </a:lnTo>
                    <a:lnTo>
                      <a:pt x="226" y="745"/>
                    </a:lnTo>
                    <a:lnTo>
                      <a:pt x="228" y="745"/>
                    </a:lnTo>
                    <a:lnTo>
                      <a:pt x="225" y="747"/>
                    </a:lnTo>
                    <a:lnTo>
                      <a:pt x="225" y="749"/>
                    </a:lnTo>
                    <a:lnTo>
                      <a:pt x="221" y="751"/>
                    </a:lnTo>
                    <a:lnTo>
                      <a:pt x="220" y="751"/>
                    </a:lnTo>
                    <a:lnTo>
                      <a:pt x="218" y="752"/>
                    </a:lnTo>
                    <a:lnTo>
                      <a:pt x="216" y="752"/>
                    </a:lnTo>
                    <a:lnTo>
                      <a:pt x="218" y="749"/>
                    </a:lnTo>
                    <a:lnTo>
                      <a:pt x="218" y="744"/>
                    </a:lnTo>
                    <a:lnTo>
                      <a:pt x="215" y="742"/>
                    </a:lnTo>
                    <a:lnTo>
                      <a:pt x="209" y="742"/>
                    </a:lnTo>
                    <a:lnTo>
                      <a:pt x="209" y="739"/>
                    </a:lnTo>
                    <a:lnTo>
                      <a:pt x="206" y="740"/>
                    </a:lnTo>
                    <a:lnTo>
                      <a:pt x="203" y="739"/>
                    </a:lnTo>
                    <a:lnTo>
                      <a:pt x="201" y="734"/>
                    </a:lnTo>
                    <a:lnTo>
                      <a:pt x="201" y="732"/>
                    </a:lnTo>
                    <a:lnTo>
                      <a:pt x="201" y="730"/>
                    </a:lnTo>
                    <a:lnTo>
                      <a:pt x="199" y="725"/>
                    </a:lnTo>
                    <a:lnTo>
                      <a:pt x="199" y="722"/>
                    </a:lnTo>
                    <a:lnTo>
                      <a:pt x="198" y="723"/>
                    </a:lnTo>
                    <a:lnTo>
                      <a:pt x="198" y="722"/>
                    </a:lnTo>
                    <a:lnTo>
                      <a:pt x="199" y="718"/>
                    </a:lnTo>
                    <a:lnTo>
                      <a:pt x="201" y="718"/>
                    </a:lnTo>
                    <a:lnTo>
                      <a:pt x="201" y="717"/>
                    </a:lnTo>
                    <a:lnTo>
                      <a:pt x="199" y="710"/>
                    </a:lnTo>
                    <a:lnTo>
                      <a:pt x="198" y="706"/>
                    </a:lnTo>
                    <a:lnTo>
                      <a:pt x="196" y="706"/>
                    </a:lnTo>
                    <a:lnTo>
                      <a:pt x="194" y="706"/>
                    </a:lnTo>
                    <a:lnTo>
                      <a:pt x="191" y="706"/>
                    </a:lnTo>
                    <a:lnTo>
                      <a:pt x="189" y="711"/>
                    </a:lnTo>
                    <a:lnTo>
                      <a:pt x="184" y="713"/>
                    </a:lnTo>
                    <a:lnTo>
                      <a:pt x="184" y="711"/>
                    </a:lnTo>
                    <a:lnTo>
                      <a:pt x="181" y="713"/>
                    </a:lnTo>
                    <a:lnTo>
                      <a:pt x="181" y="711"/>
                    </a:lnTo>
                    <a:lnTo>
                      <a:pt x="181" y="710"/>
                    </a:lnTo>
                    <a:lnTo>
                      <a:pt x="184" y="705"/>
                    </a:lnTo>
                    <a:lnTo>
                      <a:pt x="184" y="703"/>
                    </a:lnTo>
                    <a:lnTo>
                      <a:pt x="186" y="703"/>
                    </a:lnTo>
                    <a:lnTo>
                      <a:pt x="187" y="700"/>
                    </a:lnTo>
                    <a:lnTo>
                      <a:pt x="191" y="698"/>
                    </a:lnTo>
                    <a:lnTo>
                      <a:pt x="191" y="696"/>
                    </a:lnTo>
                    <a:lnTo>
                      <a:pt x="194" y="696"/>
                    </a:lnTo>
                    <a:lnTo>
                      <a:pt x="196" y="696"/>
                    </a:lnTo>
                    <a:lnTo>
                      <a:pt x="198" y="693"/>
                    </a:lnTo>
                    <a:lnTo>
                      <a:pt x="194" y="693"/>
                    </a:lnTo>
                    <a:lnTo>
                      <a:pt x="194" y="691"/>
                    </a:lnTo>
                    <a:lnTo>
                      <a:pt x="196" y="691"/>
                    </a:lnTo>
                    <a:lnTo>
                      <a:pt x="192" y="689"/>
                    </a:lnTo>
                    <a:lnTo>
                      <a:pt x="191" y="688"/>
                    </a:lnTo>
                    <a:lnTo>
                      <a:pt x="191" y="689"/>
                    </a:lnTo>
                    <a:lnTo>
                      <a:pt x="189" y="689"/>
                    </a:lnTo>
                    <a:lnTo>
                      <a:pt x="187" y="686"/>
                    </a:lnTo>
                    <a:lnTo>
                      <a:pt x="186" y="686"/>
                    </a:lnTo>
                    <a:lnTo>
                      <a:pt x="184" y="686"/>
                    </a:lnTo>
                    <a:lnTo>
                      <a:pt x="182" y="684"/>
                    </a:lnTo>
                    <a:lnTo>
                      <a:pt x="182" y="683"/>
                    </a:lnTo>
                    <a:lnTo>
                      <a:pt x="179" y="677"/>
                    </a:lnTo>
                    <a:lnTo>
                      <a:pt x="177" y="679"/>
                    </a:lnTo>
                    <a:lnTo>
                      <a:pt x="175" y="677"/>
                    </a:lnTo>
                    <a:lnTo>
                      <a:pt x="175" y="679"/>
                    </a:lnTo>
                    <a:lnTo>
                      <a:pt x="172" y="677"/>
                    </a:lnTo>
                    <a:lnTo>
                      <a:pt x="174" y="671"/>
                    </a:lnTo>
                    <a:lnTo>
                      <a:pt x="172" y="669"/>
                    </a:lnTo>
                    <a:lnTo>
                      <a:pt x="175" y="666"/>
                    </a:lnTo>
                    <a:lnTo>
                      <a:pt x="174" y="660"/>
                    </a:lnTo>
                    <a:lnTo>
                      <a:pt x="174" y="659"/>
                    </a:lnTo>
                    <a:lnTo>
                      <a:pt x="172" y="657"/>
                    </a:lnTo>
                    <a:lnTo>
                      <a:pt x="170" y="659"/>
                    </a:lnTo>
                    <a:lnTo>
                      <a:pt x="170" y="657"/>
                    </a:lnTo>
                    <a:lnTo>
                      <a:pt x="169" y="657"/>
                    </a:lnTo>
                    <a:lnTo>
                      <a:pt x="169" y="655"/>
                    </a:lnTo>
                    <a:lnTo>
                      <a:pt x="169" y="654"/>
                    </a:lnTo>
                    <a:lnTo>
                      <a:pt x="170" y="652"/>
                    </a:lnTo>
                    <a:lnTo>
                      <a:pt x="169" y="649"/>
                    </a:lnTo>
                    <a:lnTo>
                      <a:pt x="165" y="650"/>
                    </a:lnTo>
                    <a:lnTo>
                      <a:pt x="165" y="649"/>
                    </a:lnTo>
                    <a:lnTo>
                      <a:pt x="165" y="647"/>
                    </a:lnTo>
                    <a:lnTo>
                      <a:pt x="167" y="643"/>
                    </a:lnTo>
                    <a:lnTo>
                      <a:pt x="167" y="642"/>
                    </a:lnTo>
                    <a:lnTo>
                      <a:pt x="164" y="640"/>
                    </a:lnTo>
                    <a:lnTo>
                      <a:pt x="164" y="638"/>
                    </a:lnTo>
                    <a:lnTo>
                      <a:pt x="160" y="637"/>
                    </a:lnTo>
                    <a:lnTo>
                      <a:pt x="157" y="635"/>
                    </a:lnTo>
                    <a:lnTo>
                      <a:pt x="152" y="633"/>
                    </a:lnTo>
                    <a:lnTo>
                      <a:pt x="150" y="635"/>
                    </a:lnTo>
                    <a:lnTo>
                      <a:pt x="148" y="633"/>
                    </a:lnTo>
                    <a:lnTo>
                      <a:pt x="147" y="635"/>
                    </a:lnTo>
                    <a:lnTo>
                      <a:pt x="145" y="635"/>
                    </a:lnTo>
                    <a:lnTo>
                      <a:pt x="143" y="637"/>
                    </a:lnTo>
                    <a:lnTo>
                      <a:pt x="145" y="637"/>
                    </a:lnTo>
                    <a:lnTo>
                      <a:pt x="145" y="638"/>
                    </a:lnTo>
                    <a:lnTo>
                      <a:pt x="147" y="638"/>
                    </a:lnTo>
                    <a:lnTo>
                      <a:pt x="147" y="640"/>
                    </a:lnTo>
                    <a:lnTo>
                      <a:pt x="148" y="642"/>
                    </a:lnTo>
                    <a:lnTo>
                      <a:pt x="148" y="643"/>
                    </a:lnTo>
                    <a:lnTo>
                      <a:pt x="148" y="645"/>
                    </a:lnTo>
                    <a:lnTo>
                      <a:pt x="147" y="647"/>
                    </a:lnTo>
                    <a:lnTo>
                      <a:pt x="143" y="647"/>
                    </a:lnTo>
                    <a:lnTo>
                      <a:pt x="140" y="647"/>
                    </a:lnTo>
                    <a:lnTo>
                      <a:pt x="136" y="650"/>
                    </a:lnTo>
                    <a:lnTo>
                      <a:pt x="135" y="650"/>
                    </a:lnTo>
                    <a:lnTo>
                      <a:pt x="131" y="650"/>
                    </a:lnTo>
                    <a:lnTo>
                      <a:pt x="130" y="654"/>
                    </a:lnTo>
                    <a:lnTo>
                      <a:pt x="130" y="655"/>
                    </a:lnTo>
                    <a:lnTo>
                      <a:pt x="130" y="657"/>
                    </a:lnTo>
                    <a:lnTo>
                      <a:pt x="128" y="659"/>
                    </a:lnTo>
                    <a:lnTo>
                      <a:pt x="124" y="657"/>
                    </a:lnTo>
                    <a:lnTo>
                      <a:pt x="123" y="655"/>
                    </a:lnTo>
                    <a:lnTo>
                      <a:pt x="119" y="657"/>
                    </a:lnTo>
                    <a:lnTo>
                      <a:pt x="118" y="654"/>
                    </a:lnTo>
                    <a:lnTo>
                      <a:pt x="114" y="654"/>
                    </a:lnTo>
                    <a:lnTo>
                      <a:pt x="113" y="654"/>
                    </a:lnTo>
                    <a:lnTo>
                      <a:pt x="111" y="652"/>
                    </a:lnTo>
                    <a:lnTo>
                      <a:pt x="109" y="652"/>
                    </a:lnTo>
                    <a:lnTo>
                      <a:pt x="109" y="650"/>
                    </a:lnTo>
                    <a:lnTo>
                      <a:pt x="107" y="650"/>
                    </a:lnTo>
                    <a:lnTo>
                      <a:pt x="106" y="650"/>
                    </a:lnTo>
                    <a:lnTo>
                      <a:pt x="104" y="649"/>
                    </a:lnTo>
                    <a:lnTo>
                      <a:pt x="101" y="649"/>
                    </a:lnTo>
                    <a:lnTo>
                      <a:pt x="99" y="649"/>
                    </a:lnTo>
                    <a:lnTo>
                      <a:pt x="99" y="650"/>
                    </a:lnTo>
                    <a:lnTo>
                      <a:pt x="97" y="649"/>
                    </a:lnTo>
                    <a:lnTo>
                      <a:pt x="96" y="649"/>
                    </a:lnTo>
                    <a:lnTo>
                      <a:pt x="97" y="650"/>
                    </a:lnTo>
                    <a:lnTo>
                      <a:pt x="96" y="650"/>
                    </a:lnTo>
                    <a:lnTo>
                      <a:pt x="94" y="650"/>
                    </a:lnTo>
                    <a:lnTo>
                      <a:pt x="92" y="650"/>
                    </a:lnTo>
                    <a:lnTo>
                      <a:pt x="92" y="652"/>
                    </a:lnTo>
                    <a:lnTo>
                      <a:pt x="90" y="654"/>
                    </a:lnTo>
                    <a:lnTo>
                      <a:pt x="87" y="654"/>
                    </a:lnTo>
                    <a:lnTo>
                      <a:pt x="87" y="655"/>
                    </a:lnTo>
                    <a:lnTo>
                      <a:pt x="87" y="657"/>
                    </a:lnTo>
                    <a:lnTo>
                      <a:pt x="84" y="659"/>
                    </a:lnTo>
                    <a:lnTo>
                      <a:pt x="85" y="660"/>
                    </a:lnTo>
                    <a:lnTo>
                      <a:pt x="82" y="660"/>
                    </a:lnTo>
                    <a:lnTo>
                      <a:pt x="82" y="664"/>
                    </a:lnTo>
                    <a:lnTo>
                      <a:pt x="79" y="666"/>
                    </a:lnTo>
                    <a:lnTo>
                      <a:pt x="75" y="662"/>
                    </a:lnTo>
                    <a:lnTo>
                      <a:pt x="75" y="660"/>
                    </a:lnTo>
                    <a:lnTo>
                      <a:pt x="73" y="657"/>
                    </a:lnTo>
                    <a:lnTo>
                      <a:pt x="73" y="655"/>
                    </a:lnTo>
                    <a:lnTo>
                      <a:pt x="73" y="654"/>
                    </a:lnTo>
                    <a:lnTo>
                      <a:pt x="70" y="652"/>
                    </a:lnTo>
                    <a:lnTo>
                      <a:pt x="68" y="649"/>
                    </a:lnTo>
                    <a:lnTo>
                      <a:pt x="67" y="649"/>
                    </a:lnTo>
                    <a:lnTo>
                      <a:pt x="63" y="649"/>
                    </a:lnTo>
                    <a:lnTo>
                      <a:pt x="60" y="649"/>
                    </a:lnTo>
                    <a:lnTo>
                      <a:pt x="60" y="650"/>
                    </a:lnTo>
                    <a:lnTo>
                      <a:pt x="60" y="652"/>
                    </a:lnTo>
                    <a:lnTo>
                      <a:pt x="58" y="654"/>
                    </a:lnTo>
                    <a:lnTo>
                      <a:pt x="56" y="655"/>
                    </a:lnTo>
                    <a:lnTo>
                      <a:pt x="56" y="654"/>
                    </a:lnTo>
                    <a:lnTo>
                      <a:pt x="56" y="657"/>
                    </a:lnTo>
                    <a:lnTo>
                      <a:pt x="53" y="659"/>
                    </a:lnTo>
                    <a:lnTo>
                      <a:pt x="51" y="659"/>
                    </a:lnTo>
                    <a:lnTo>
                      <a:pt x="51" y="660"/>
                    </a:lnTo>
                    <a:lnTo>
                      <a:pt x="50" y="660"/>
                    </a:lnTo>
                    <a:lnTo>
                      <a:pt x="48" y="659"/>
                    </a:lnTo>
                    <a:lnTo>
                      <a:pt x="45" y="657"/>
                    </a:lnTo>
                    <a:lnTo>
                      <a:pt x="45" y="654"/>
                    </a:lnTo>
                    <a:lnTo>
                      <a:pt x="39" y="652"/>
                    </a:lnTo>
                    <a:lnTo>
                      <a:pt x="38" y="650"/>
                    </a:lnTo>
                    <a:lnTo>
                      <a:pt x="38" y="649"/>
                    </a:lnTo>
                    <a:lnTo>
                      <a:pt x="39" y="647"/>
                    </a:lnTo>
                    <a:lnTo>
                      <a:pt x="39" y="645"/>
                    </a:lnTo>
                    <a:lnTo>
                      <a:pt x="41" y="645"/>
                    </a:lnTo>
                    <a:lnTo>
                      <a:pt x="41" y="642"/>
                    </a:lnTo>
                    <a:lnTo>
                      <a:pt x="39" y="642"/>
                    </a:lnTo>
                    <a:lnTo>
                      <a:pt x="41" y="642"/>
                    </a:lnTo>
                    <a:lnTo>
                      <a:pt x="41" y="640"/>
                    </a:lnTo>
                    <a:lnTo>
                      <a:pt x="43" y="640"/>
                    </a:lnTo>
                    <a:lnTo>
                      <a:pt x="45" y="640"/>
                    </a:lnTo>
                    <a:lnTo>
                      <a:pt x="45" y="638"/>
                    </a:lnTo>
                    <a:lnTo>
                      <a:pt x="45" y="637"/>
                    </a:lnTo>
                    <a:lnTo>
                      <a:pt x="45" y="635"/>
                    </a:lnTo>
                    <a:lnTo>
                      <a:pt x="45" y="633"/>
                    </a:lnTo>
                    <a:lnTo>
                      <a:pt x="45" y="635"/>
                    </a:lnTo>
                    <a:lnTo>
                      <a:pt x="43" y="635"/>
                    </a:lnTo>
                    <a:lnTo>
                      <a:pt x="43" y="632"/>
                    </a:lnTo>
                    <a:lnTo>
                      <a:pt x="43" y="633"/>
                    </a:lnTo>
                    <a:lnTo>
                      <a:pt x="41" y="633"/>
                    </a:lnTo>
                    <a:lnTo>
                      <a:pt x="41" y="632"/>
                    </a:lnTo>
                    <a:lnTo>
                      <a:pt x="39" y="632"/>
                    </a:lnTo>
                    <a:lnTo>
                      <a:pt x="41" y="632"/>
                    </a:lnTo>
                    <a:lnTo>
                      <a:pt x="43" y="630"/>
                    </a:lnTo>
                    <a:lnTo>
                      <a:pt x="41" y="628"/>
                    </a:lnTo>
                    <a:lnTo>
                      <a:pt x="43" y="628"/>
                    </a:lnTo>
                    <a:lnTo>
                      <a:pt x="41" y="626"/>
                    </a:lnTo>
                    <a:lnTo>
                      <a:pt x="39" y="625"/>
                    </a:lnTo>
                    <a:lnTo>
                      <a:pt x="41" y="625"/>
                    </a:lnTo>
                    <a:lnTo>
                      <a:pt x="41" y="623"/>
                    </a:lnTo>
                    <a:lnTo>
                      <a:pt x="45" y="623"/>
                    </a:lnTo>
                    <a:lnTo>
                      <a:pt x="43" y="620"/>
                    </a:lnTo>
                    <a:lnTo>
                      <a:pt x="43" y="618"/>
                    </a:lnTo>
                    <a:lnTo>
                      <a:pt x="43" y="616"/>
                    </a:lnTo>
                    <a:lnTo>
                      <a:pt x="43" y="614"/>
                    </a:lnTo>
                    <a:lnTo>
                      <a:pt x="43" y="613"/>
                    </a:lnTo>
                    <a:lnTo>
                      <a:pt x="45" y="611"/>
                    </a:lnTo>
                    <a:lnTo>
                      <a:pt x="45" y="609"/>
                    </a:lnTo>
                    <a:lnTo>
                      <a:pt x="43" y="609"/>
                    </a:lnTo>
                    <a:lnTo>
                      <a:pt x="43" y="611"/>
                    </a:lnTo>
                    <a:lnTo>
                      <a:pt x="41" y="611"/>
                    </a:lnTo>
                    <a:lnTo>
                      <a:pt x="41" y="609"/>
                    </a:lnTo>
                    <a:lnTo>
                      <a:pt x="43" y="608"/>
                    </a:lnTo>
                    <a:lnTo>
                      <a:pt x="41" y="606"/>
                    </a:lnTo>
                    <a:lnTo>
                      <a:pt x="41" y="604"/>
                    </a:lnTo>
                    <a:lnTo>
                      <a:pt x="39" y="604"/>
                    </a:lnTo>
                    <a:lnTo>
                      <a:pt x="36" y="601"/>
                    </a:lnTo>
                    <a:lnTo>
                      <a:pt x="38" y="599"/>
                    </a:lnTo>
                    <a:lnTo>
                      <a:pt x="36" y="599"/>
                    </a:lnTo>
                    <a:lnTo>
                      <a:pt x="36" y="597"/>
                    </a:lnTo>
                    <a:lnTo>
                      <a:pt x="36" y="596"/>
                    </a:lnTo>
                    <a:lnTo>
                      <a:pt x="34" y="594"/>
                    </a:lnTo>
                    <a:lnTo>
                      <a:pt x="33" y="592"/>
                    </a:lnTo>
                    <a:lnTo>
                      <a:pt x="33" y="591"/>
                    </a:lnTo>
                    <a:lnTo>
                      <a:pt x="31" y="591"/>
                    </a:lnTo>
                    <a:lnTo>
                      <a:pt x="31" y="589"/>
                    </a:lnTo>
                    <a:lnTo>
                      <a:pt x="28" y="589"/>
                    </a:lnTo>
                    <a:lnTo>
                      <a:pt x="28" y="587"/>
                    </a:lnTo>
                    <a:lnTo>
                      <a:pt x="26" y="587"/>
                    </a:lnTo>
                    <a:lnTo>
                      <a:pt x="24" y="592"/>
                    </a:lnTo>
                    <a:lnTo>
                      <a:pt x="22" y="592"/>
                    </a:lnTo>
                    <a:lnTo>
                      <a:pt x="21" y="592"/>
                    </a:lnTo>
                    <a:lnTo>
                      <a:pt x="17" y="589"/>
                    </a:lnTo>
                    <a:lnTo>
                      <a:pt x="19" y="586"/>
                    </a:lnTo>
                    <a:lnTo>
                      <a:pt x="14" y="582"/>
                    </a:lnTo>
                    <a:lnTo>
                      <a:pt x="11" y="577"/>
                    </a:lnTo>
                    <a:lnTo>
                      <a:pt x="11" y="575"/>
                    </a:lnTo>
                    <a:lnTo>
                      <a:pt x="9" y="572"/>
                    </a:lnTo>
                    <a:lnTo>
                      <a:pt x="11" y="570"/>
                    </a:lnTo>
                    <a:lnTo>
                      <a:pt x="14" y="569"/>
                    </a:lnTo>
                    <a:lnTo>
                      <a:pt x="16" y="565"/>
                    </a:lnTo>
                    <a:lnTo>
                      <a:pt x="16" y="562"/>
                    </a:lnTo>
                    <a:lnTo>
                      <a:pt x="12" y="558"/>
                    </a:lnTo>
                    <a:lnTo>
                      <a:pt x="11" y="557"/>
                    </a:lnTo>
                    <a:lnTo>
                      <a:pt x="12" y="550"/>
                    </a:lnTo>
                    <a:lnTo>
                      <a:pt x="12" y="548"/>
                    </a:lnTo>
                    <a:lnTo>
                      <a:pt x="11" y="543"/>
                    </a:lnTo>
                    <a:lnTo>
                      <a:pt x="7" y="543"/>
                    </a:lnTo>
                    <a:lnTo>
                      <a:pt x="7" y="540"/>
                    </a:lnTo>
                    <a:lnTo>
                      <a:pt x="5" y="540"/>
                    </a:lnTo>
                    <a:lnTo>
                      <a:pt x="5" y="538"/>
                    </a:lnTo>
                    <a:lnTo>
                      <a:pt x="4" y="538"/>
                    </a:lnTo>
                    <a:lnTo>
                      <a:pt x="2" y="538"/>
                    </a:lnTo>
                    <a:lnTo>
                      <a:pt x="2" y="536"/>
                    </a:lnTo>
                    <a:lnTo>
                      <a:pt x="2" y="535"/>
                    </a:lnTo>
                    <a:lnTo>
                      <a:pt x="0" y="533"/>
                    </a:lnTo>
                    <a:lnTo>
                      <a:pt x="2" y="529"/>
                    </a:lnTo>
                    <a:lnTo>
                      <a:pt x="4" y="528"/>
                    </a:lnTo>
                    <a:lnTo>
                      <a:pt x="4" y="526"/>
                    </a:lnTo>
                    <a:lnTo>
                      <a:pt x="5" y="526"/>
                    </a:lnTo>
                    <a:lnTo>
                      <a:pt x="4" y="524"/>
                    </a:lnTo>
                    <a:lnTo>
                      <a:pt x="4" y="523"/>
                    </a:lnTo>
                    <a:lnTo>
                      <a:pt x="2" y="523"/>
                    </a:lnTo>
                    <a:lnTo>
                      <a:pt x="2" y="521"/>
                    </a:lnTo>
                    <a:lnTo>
                      <a:pt x="0" y="521"/>
                    </a:lnTo>
                    <a:lnTo>
                      <a:pt x="0" y="519"/>
                    </a:lnTo>
                    <a:lnTo>
                      <a:pt x="4" y="519"/>
                    </a:lnTo>
                    <a:lnTo>
                      <a:pt x="5" y="519"/>
                    </a:lnTo>
                    <a:lnTo>
                      <a:pt x="7" y="521"/>
                    </a:lnTo>
                    <a:lnTo>
                      <a:pt x="9" y="521"/>
                    </a:lnTo>
                    <a:lnTo>
                      <a:pt x="11" y="519"/>
                    </a:lnTo>
                    <a:lnTo>
                      <a:pt x="14" y="519"/>
                    </a:lnTo>
                    <a:lnTo>
                      <a:pt x="16" y="518"/>
                    </a:lnTo>
                    <a:lnTo>
                      <a:pt x="16" y="516"/>
                    </a:lnTo>
                    <a:lnTo>
                      <a:pt x="17" y="516"/>
                    </a:lnTo>
                    <a:lnTo>
                      <a:pt x="19" y="514"/>
                    </a:lnTo>
                    <a:lnTo>
                      <a:pt x="21" y="514"/>
                    </a:lnTo>
                    <a:lnTo>
                      <a:pt x="21" y="512"/>
                    </a:lnTo>
                    <a:lnTo>
                      <a:pt x="22" y="512"/>
                    </a:lnTo>
                    <a:lnTo>
                      <a:pt x="21" y="511"/>
                    </a:lnTo>
                    <a:lnTo>
                      <a:pt x="22" y="509"/>
                    </a:lnTo>
                    <a:lnTo>
                      <a:pt x="22" y="506"/>
                    </a:lnTo>
                    <a:lnTo>
                      <a:pt x="21" y="506"/>
                    </a:lnTo>
                    <a:lnTo>
                      <a:pt x="21" y="504"/>
                    </a:lnTo>
                    <a:lnTo>
                      <a:pt x="21" y="502"/>
                    </a:lnTo>
                    <a:lnTo>
                      <a:pt x="22" y="501"/>
                    </a:lnTo>
                    <a:lnTo>
                      <a:pt x="21" y="499"/>
                    </a:lnTo>
                    <a:lnTo>
                      <a:pt x="22" y="495"/>
                    </a:lnTo>
                    <a:lnTo>
                      <a:pt x="22" y="494"/>
                    </a:lnTo>
                    <a:lnTo>
                      <a:pt x="24" y="490"/>
                    </a:lnTo>
                    <a:lnTo>
                      <a:pt x="26" y="484"/>
                    </a:lnTo>
                    <a:lnTo>
                      <a:pt x="28" y="482"/>
                    </a:lnTo>
                    <a:lnTo>
                      <a:pt x="28" y="480"/>
                    </a:lnTo>
                    <a:lnTo>
                      <a:pt x="29" y="480"/>
                    </a:lnTo>
                    <a:lnTo>
                      <a:pt x="31" y="482"/>
                    </a:lnTo>
                    <a:lnTo>
                      <a:pt x="33" y="480"/>
                    </a:lnTo>
                    <a:lnTo>
                      <a:pt x="34" y="480"/>
                    </a:lnTo>
                    <a:lnTo>
                      <a:pt x="34" y="478"/>
                    </a:lnTo>
                    <a:lnTo>
                      <a:pt x="38" y="477"/>
                    </a:lnTo>
                    <a:lnTo>
                      <a:pt x="38" y="475"/>
                    </a:lnTo>
                    <a:lnTo>
                      <a:pt x="39" y="475"/>
                    </a:lnTo>
                    <a:lnTo>
                      <a:pt x="41" y="475"/>
                    </a:lnTo>
                    <a:lnTo>
                      <a:pt x="45" y="478"/>
                    </a:lnTo>
                    <a:lnTo>
                      <a:pt x="45" y="480"/>
                    </a:lnTo>
                    <a:lnTo>
                      <a:pt x="48" y="484"/>
                    </a:lnTo>
                    <a:lnTo>
                      <a:pt x="51" y="487"/>
                    </a:lnTo>
                    <a:lnTo>
                      <a:pt x="55" y="489"/>
                    </a:lnTo>
                    <a:lnTo>
                      <a:pt x="56" y="492"/>
                    </a:lnTo>
                    <a:lnTo>
                      <a:pt x="58" y="492"/>
                    </a:lnTo>
                    <a:lnTo>
                      <a:pt x="62" y="494"/>
                    </a:lnTo>
                    <a:lnTo>
                      <a:pt x="63" y="495"/>
                    </a:lnTo>
                    <a:lnTo>
                      <a:pt x="65" y="499"/>
                    </a:lnTo>
                    <a:lnTo>
                      <a:pt x="67" y="501"/>
                    </a:lnTo>
                    <a:lnTo>
                      <a:pt x="68" y="502"/>
                    </a:lnTo>
                    <a:lnTo>
                      <a:pt x="70" y="497"/>
                    </a:lnTo>
                    <a:lnTo>
                      <a:pt x="72" y="497"/>
                    </a:lnTo>
                    <a:lnTo>
                      <a:pt x="72" y="494"/>
                    </a:lnTo>
                    <a:lnTo>
                      <a:pt x="73" y="492"/>
                    </a:lnTo>
                    <a:lnTo>
                      <a:pt x="75" y="490"/>
                    </a:lnTo>
                    <a:lnTo>
                      <a:pt x="77" y="490"/>
                    </a:lnTo>
                    <a:lnTo>
                      <a:pt x="77" y="489"/>
                    </a:lnTo>
                    <a:lnTo>
                      <a:pt x="77" y="485"/>
                    </a:lnTo>
                    <a:lnTo>
                      <a:pt x="79" y="485"/>
                    </a:lnTo>
                    <a:lnTo>
                      <a:pt x="80" y="487"/>
                    </a:lnTo>
                    <a:lnTo>
                      <a:pt x="82" y="487"/>
                    </a:lnTo>
                    <a:lnTo>
                      <a:pt x="87" y="485"/>
                    </a:lnTo>
                    <a:lnTo>
                      <a:pt x="90" y="485"/>
                    </a:lnTo>
                    <a:lnTo>
                      <a:pt x="92" y="485"/>
                    </a:lnTo>
                    <a:lnTo>
                      <a:pt x="94" y="485"/>
                    </a:lnTo>
                    <a:lnTo>
                      <a:pt x="97" y="485"/>
                    </a:lnTo>
                    <a:lnTo>
                      <a:pt x="101" y="485"/>
                    </a:lnTo>
                    <a:lnTo>
                      <a:pt x="114" y="485"/>
                    </a:lnTo>
                    <a:lnTo>
                      <a:pt x="119" y="487"/>
                    </a:lnTo>
                    <a:lnTo>
                      <a:pt x="123" y="487"/>
                    </a:lnTo>
                    <a:lnTo>
                      <a:pt x="124" y="487"/>
                    </a:lnTo>
                    <a:lnTo>
                      <a:pt x="128" y="487"/>
                    </a:lnTo>
                    <a:lnTo>
                      <a:pt x="130" y="485"/>
                    </a:lnTo>
                    <a:lnTo>
                      <a:pt x="136" y="485"/>
                    </a:lnTo>
                    <a:lnTo>
                      <a:pt x="140" y="487"/>
                    </a:lnTo>
                    <a:lnTo>
                      <a:pt x="141" y="485"/>
                    </a:lnTo>
                    <a:lnTo>
                      <a:pt x="143" y="485"/>
                    </a:lnTo>
                    <a:lnTo>
                      <a:pt x="141" y="477"/>
                    </a:lnTo>
                    <a:lnTo>
                      <a:pt x="147" y="472"/>
                    </a:lnTo>
                    <a:lnTo>
                      <a:pt x="148" y="473"/>
                    </a:lnTo>
                    <a:lnTo>
                      <a:pt x="147" y="482"/>
                    </a:lnTo>
                    <a:lnTo>
                      <a:pt x="164" y="482"/>
                    </a:lnTo>
                    <a:lnTo>
                      <a:pt x="198" y="482"/>
                    </a:lnTo>
                    <a:lnTo>
                      <a:pt x="233" y="482"/>
                    </a:lnTo>
                    <a:lnTo>
                      <a:pt x="301" y="482"/>
                    </a:lnTo>
                    <a:lnTo>
                      <a:pt x="303" y="482"/>
                    </a:lnTo>
                    <a:lnTo>
                      <a:pt x="342" y="482"/>
                    </a:lnTo>
                    <a:lnTo>
                      <a:pt x="351" y="439"/>
                    </a:lnTo>
                    <a:lnTo>
                      <a:pt x="335" y="431"/>
                    </a:lnTo>
                    <a:lnTo>
                      <a:pt x="334" y="412"/>
                    </a:lnTo>
                    <a:lnTo>
                      <a:pt x="305" y="75"/>
                    </a:lnTo>
                    <a:lnTo>
                      <a:pt x="300" y="17"/>
                    </a:lnTo>
                    <a:lnTo>
                      <a:pt x="298" y="0"/>
                    </a:lnTo>
                    <a:lnTo>
                      <a:pt x="376" y="0"/>
                    </a:lnTo>
                    <a:lnTo>
                      <a:pt x="488" y="72"/>
                    </a:lnTo>
                    <a:lnTo>
                      <a:pt x="619" y="159"/>
                    </a:lnTo>
                    <a:lnTo>
                      <a:pt x="679" y="198"/>
                    </a:lnTo>
                    <a:lnTo>
                      <a:pt x="680" y="206"/>
                    </a:lnTo>
                    <a:lnTo>
                      <a:pt x="679" y="213"/>
                    </a:lnTo>
                    <a:lnTo>
                      <a:pt x="679" y="216"/>
                    </a:lnTo>
                    <a:lnTo>
                      <a:pt x="682" y="218"/>
                    </a:lnTo>
                    <a:lnTo>
                      <a:pt x="687" y="216"/>
                    </a:lnTo>
                    <a:lnTo>
                      <a:pt x="689" y="220"/>
                    </a:lnTo>
                    <a:lnTo>
                      <a:pt x="691" y="222"/>
                    </a:lnTo>
                    <a:lnTo>
                      <a:pt x="694" y="222"/>
                    </a:lnTo>
                    <a:lnTo>
                      <a:pt x="701" y="223"/>
                    </a:lnTo>
                    <a:lnTo>
                      <a:pt x="704" y="227"/>
                    </a:lnTo>
                    <a:lnTo>
                      <a:pt x="704" y="233"/>
                    </a:lnTo>
                    <a:lnTo>
                      <a:pt x="709" y="237"/>
                    </a:lnTo>
                    <a:lnTo>
                      <a:pt x="711" y="239"/>
                    </a:lnTo>
                    <a:lnTo>
                      <a:pt x="714" y="239"/>
                    </a:lnTo>
                    <a:lnTo>
                      <a:pt x="716" y="242"/>
                    </a:lnTo>
                    <a:lnTo>
                      <a:pt x="718" y="242"/>
                    </a:lnTo>
                    <a:lnTo>
                      <a:pt x="718" y="240"/>
                    </a:lnTo>
                    <a:lnTo>
                      <a:pt x="719" y="240"/>
                    </a:lnTo>
                    <a:lnTo>
                      <a:pt x="721" y="242"/>
                    </a:lnTo>
                    <a:lnTo>
                      <a:pt x="723" y="240"/>
                    </a:lnTo>
                    <a:lnTo>
                      <a:pt x="726" y="242"/>
                    </a:lnTo>
                    <a:lnTo>
                      <a:pt x="730" y="240"/>
                    </a:lnTo>
                    <a:lnTo>
                      <a:pt x="731" y="239"/>
                    </a:lnTo>
                    <a:lnTo>
                      <a:pt x="736" y="240"/>
                    </a:lnTo>
                    <a:lnTo>
                      <a:pt x="736" y="244"/>
                    </a:lnTo>
                    <a:lnTo>
                      <a:pt x="740" y="244"/>
                    </a:lnTo>
                    <a:lnTo>
                      <a:pt x="740" y="245"/>
                    </a:lnTo>
                    <a:lnTo>
                      <a:pt x="742" y="247"/>
                    </a:lnTo>
                    <a:lnTo>
                      <a:pt x="742" y="249"/>
                    </a:lnTo>
                    <a:lnTo>
                      <a:pt x="740" y="249"/>
                    </a:lnTo>
                    <a:lnTo>
                      <a:pt x="740" y="252"/>
                    </a:lnTo>
                    <a:lnTo>
                      <a:pt x="742" y="250"/>
                    </a:lnTo>
                    <a:lnTo>
                      <a:pt x="745" y="249"/>
                    </a:lnTo>
                    <a:lnTo>
                      <a:pt x="745" y="250"/>
                    </a:lnTo>
                    <a:lnTo>
                      <a:pt x="748" y="249"/>
                    </a:lnTo>
                    <a:lnTo>
                      <a:pt x="750" y="252"/>
                    </a:lnTo>
                    <a:lnTo>
                      <a:pt x="752" y="252"/>
                    </a:lnTo>
                    <a:lnTo>
                      <a:pt x="753" y="252"/>
                    </a:lnTo>
                    <a:lnTo>
                      <a:pt x="755" y="252"/>
                    </a:lnTo>
                    <a:lnTo>
                      <a:pt x="755" y="249"/>
                    </a:lnTo>
                    <a:lnTo>
                      <a:pt x="759" y="254"/>
                    </a:lnTo>
                    <a:lnTo>
                      <a:pt x="764" y="256"/>
                    </a:lnTo>
                    <a:lnTo>
                      <a:pt x="765" y="256"/>
                    </a:lnTo>
                    <a:lnTo>
                      <a:pt x="767" y="256"/>
                    </a:lnTo>
                    <a:lnTo>
                      <a:pt x="770" y="257"/>
                    </a:lnTo>
                    <a:lnTo>
                      <a:pt x="781" y="262"/>
                    </a:lnTo>
                    <a:lnTo>
                      <a:pt x="786" y="262"/>
                    </a:lnTo>
                    <a:lnTo>
                      <a:pt x="784" y="269"/>
                    </a:lnTo>
                    <a:lnTo>
                      <a:pt x="784" y="273"/>
                    </a:lnTo>
                    <a:lnTo>
                      <a:pt x="784" y="274"/>
                    </a:lnTo>
                    <a:lnTo>
                      <a:pt x="786" y="278"/>
                    </a:lnTo>
                    <a:lnTo>
                      <a:pt x="784" y="279"/>
                    </a:lnTo>
                    <a:lnTo>
                      <a:pt x="786" y="281"/>
                    </a:lnTo>
                    <a:lnTo>
                      <a:pt x="786" y="283"/>
                    </a:lnTo>
                    <a:lnTo>
                      <a:pt x="782" y="283"/>
                    </a:lnTo>
                    <a:lnTo>
                      <a:pt x="781" y="286"/>
                    </a:lnTo>
                    <a:lnTo>
                      <a:pt x="782" y="291"/>
                    </a:lnTo>
                    <a:lnTo>
                      <a:pt x="777" y="296"/>
                    </a:lnTo>
                    <a:lnTo>
                      <a:pt x="777" y="298"/>
                    </a:lnTo>
                    <a:lnTo>
                      <a:pt x="786" y="303"/>
                    </a:lnTo>
                    <a:lnTo>
                      <a:pt x="787" y="305"/>
                    </a:lnTo>
                    <a:lnTo>
                      <a:pt x="789" y="305"/>
                    </a:lnTo>
                    <a:lnTo>
                      <a:pt x="789" y="307"/>
                    </a:lnTo>
                    <a:lnTo>
                      <a:pt x="793" y="307"/>
                    </a:lnTo>
                    <a:lnTo>
                      <a:pt x="801" y="305"/>
                    </a:lnTo>
                    <a:lnTo>
                      <a:pt x="833" y="298"/>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Freeform 45">
                <a:extLst>
                  <a:ext uri="{FF2B5EF4-FFF2-40B4-BE49-F238E27FC236}">
                    <a16:creationId xmlns:a16="http://schemas.microsoft.com/office/drawing/2014/main" id="{C9B8F07B-79D8-4BFF-8840-14C7B427F157}"/>
                  </a:ext>
                </a:extLst>
              </p:cNvPr>
              <p:cNvSpPr>
                <a:spLocks/>
              </p:cNvSpPr>
              <p:nvPr/>
            </p:nvSpPr>
            <p:spPr bwMode="gray">
              <a:xfrm>
                <a:off x="5288749" y="2495403"/>
                <a:ext cx="993731" cy="742200"/>
              </a:xfrm>
              <a:custGeom>
                <a:avLst/>
                <a:gdLst>
                  <a:gd name="T0" fmla="*/ 766 w 802"/>
                  <a:gd name="T1" fmla="*/ 106 h 599"/>
                  <a:gd name="T2" fmla="*/ 782 w 802"/>
                  <a:gd name="T3" fmla="*/ 140 h 599"/>
                  <a:gd name="T4" fmla="*/ 790 w 802"/>
                  <a:gd name="T5" fmla="*/ 181 h 599"/>
                  <a:gd name="T6" fmla="*/ 776 w 802"/>
                  <a:gd name="T7" fmla="*/ 337 h 599"/>
                  <a:gd name="T8" fmla="*/ 700 w 802"/>
                  <a:gd name="T9" fmla="*/ 426 h 599"/>
                  <a:gd name="T10" fmla="*/ 688 w 802"/>
                  <a:gd name="T11" fmla="*/ 448 h 599"/>
                  <a:gd name="T12" fmla="*/ 674 w 802"/>
                  <a:gd name="T13" fmla="*/ 460 h 599"/>
                  <a:gd name="T14" fmla="*/ 668 w 802"/>
                  <a:gd name="T15" fmla="*/ 497 h 599"/>
                  <a:gd name="T16" fmla="*/ 663 w 802"/>
                  <a:gd name="T17" fmla="*/ 505 h 599"/>
                  <a:gd name="T18" fmla="*/ 657 w 802"/>
                  <a:gd name="T19" fmla="*/ 505 h 599"/>
                  <a:gd name="T20" fmla="*/ 654 w 802"/>
                  <a:gd name="T21" fmla="*/ 505 h 599"/>
                  <a:gd name="T22" fmla="*/ 646 w 802"/>
                  <a:gd name="T23" fmla="*/ 509 h 599"/>
                  <a:gd name="T24" fmla="*/ 640 w 802"/>
                  <a:gd name="T25" fmla="*/ 512 h 599"/>
                  <a:gd name="T26" fmla="*/ 637 w 802"/>
                  <a:gd name="T27" fmla="*/ 517 h 599"/>
                  <a:gd name="T28" fmla="*/ 632 w 802"/>
                  <a:gd name="T29" fmla="*/ 519 h 599"/>
                  <a:gd name="T30" fmla="*/ 625 w 802"/>
                  <a:gd name="T31" fmla="*/ 526 h 599"/>
                  <a:gd name="T32" fmla="*/ 613 w 802"/>
                  <a:gd name="T33" fmla="*/ 529 h 599"/>
                  <a:gd name="T34" fmla="*/ 601 w 802"/>
                  <a:gd name="T35" fmla="*/ 526 h 599"/>
                  <a:gd name="T36" fmla="*/ 562 w 802"/>
                  <a:gd name="T37" fmla="*/ 514 h 599"/>
                  <a:gd name="T38" fmla="*/ 501 w 802"/>
                  <a:gd name="T39" fmla="*/ 524 h 599"/>
                  <a:gd name="T40" fmla="*/ 445 w 802"/>
                  <a:gd name="T41" fmla="*/ 541 h 599"/>
                  <a:gd name="T42" fmla="*/ 418 w 802"/>
                  <a:gd name="T43" fmla="*/ 531 h 599"/>
                  <a:gd name="T44" fmla="*/ 389 w 802"/>
                  <a:gd name="T45" fmla="*/ 516 h 599"/>
                  <a:gd name="T46" fmla="*/ 357 w 802"/>
                  <a:gd name="T47" fmla="*/ 528 h 599"/>
                  <a:gd name="T48" fmla="*/ 340 w 802"/>
                  <a:gd name="T49" fmla="*/ 529 h 599"/>
                  <a:gd name="T50" fmla="*/ 324 w 802"/>
                  <a:gd name="T51" fmla="*/ 507 h 599"/>
                  <a:gd name="T52" fmla="*/ 304 w 802"/>
                  <a:gd name="T53" fmla="*/ 500 h 599"/>
                  <a:gd name="T54" fmla="*/ 256 w 802"/>
                  <a:gd name="T55" fmla="*/ 497 h 599"/>
                  <a:gd name="T56" fmla="*/ 204 w 802"/>
                  <a:gd name="T57" fmla="*/ 511 h 599"/>
                  <a:gd name="T58" fmla="*/ 176 w 802"/>
                  <a:gd name="T59" fmla="*/ 558 h 599"/>
                  <a:gd name="T60" fmla="*/ 175 w 802"/>
                  <a:gd name="T61" fmla="*/ 592 h 599"/>
                  <a:gd name="T62" fmla="*/ 171 w 802"/>
                  <a:gd name="T63" fmla="*/ 599 h 599"/>
                  <a:gd name="T64" fmla="*/ 166 w 802"/>
                  <a:gd name="T65" fmla="*/ 591 h 599"/>
                  <a:gd name="T66" fmla="*/ 148 w 802"/>
                  <a:gd name="T67" fmla="*/ 575 h 599"/>
                  <a:gd name="T68" fmla="*/ 136 w 802"/>
                  <a:gd name="T69" fmla="*/ 565 h 599"/>
                  <a:gd name="T70" fmla="*/ 127 w 802"/>
                  <a:gd name="T71" fmla="*/ 568 h 599"/>
                  <a:gd name="T72" fmla="*/ 117 w 802"/>
                  <a:gd name="T73" fmla="*/ 570 h 599"/>
                  <a:gd name="T74" fmla="*/ 112 w 802"/>
                  <a:gd name="T75" fmla="*/ 574 h 599"/>
                  <a:gd name="T76" fmla="*/ 117 w 802"/>
                  <a:gd name="T77" fmla="*/ 585 h 599"/>
                  <a:gd name="T78" fmla="*/ 97 w 802"/>
                  <a:gd name="T79" fmla="*/ 567 h 599"/>
                  <a:gd name="T80" fmla="*/ 105 w 802"/>
                  <a:gd name="T81" fmla="*/ 558 h 599"/>
                  <a:gd name="T82" fmla="*/ 98 w 802"/>
                  <a:gd name="T83" fmla="*/ 548 h 599"/>
                  <a:gd name="T84" fmla="*/ 86 w 802"/>
                  <a:gd name="T85" fmla="*/ 553 h 599"/>
                  <a:gd name="T86" fmla="*/ 42 w 802"/>
                  <a:gd name="T87" fmla="*/ 534 h 599"/>
                  <a:gd name="T88" fmla="*/ 54 w 802"/>
                  <a:gd name="T89" fmla="*/ 514 h 599"/>
                  <a:gd name="T90" fmla="*/ 47 w 802"/>
                  <a:gd name="T91" fmla="*/ 511 h 599"/>
                  <a:gd name="T92" fmla="*/ 34 w 802"/>
                  <a:gd name="T93" fmla="*/ 502 h 599"/>
                  <a:gd name="T94" fmla="*/ 23 w 802"/>
                  <a:gd name="T95" fmla="*/ 499 h 599"/>
                  <a:gd name="T96" fmla="*/ 13 w 802"/>
                  <a:gd name="T97" fmla="*/ 483 h 599"/>
                  <a:gd name="T98" fmla="*/ 12 w 802"/>
                  <a:gd name="T99" fmla="*/ 473 h 599"/>
                  <a:gd name="T100" fmla="*/ 6 w 802"/>
                  <a:gd name="T101" fmla="*/ 465 h 599"/>
                  <a:gd name="T102" fmla="*/ 3 w 802"/>
                  <a:gd name="T103" fmla="*/ 439 h 599"/>
                  <a:gd name="T104" fmla="*/ 18 w 802"/>
                  <a:gd name="T105" fmla="*/ 434 h 599"/>
                  <a:gd name="T106" fmla="*/ 59 w 802"/>
                  <a:gd name="T107" fmla="*/ 419 h 599"/>
                  <a:gd name="T108" fmla="*/ 146 w 802"/>
                  <a:gd name="T109" fmla="*/ 415 h 599"/>
                  <a:gd name="T110" fmla="*/ 180 w 802"/>
                  <a:gd name="T111" fmla="*/ 400 h 599"/>
                  <a:gd name="T112" fmla="*/ 193 w 802"/>
                  <a:gd name="T113" fmla="*/ 380 h 599"/>
                  <a:gd name="T114" fmla="*/ 207 w 802"/>
                  <a:gd name="T115" fmla="*/ 247 h 599"/>
                  <a:gd name="T116" fmla="*/ 319 w 802"/>
                  <a:gd name="T117" fmla="*/ 179 h 599"/>
                  <a:gd name="T118" fmla="*/ 600 w 802"/>
                  <a:gd name="T119" fmla="*/ 0 h 599"/>
                  <a:gd name="T120" fmla="*/ 710 w 802"/>
                  <a:gd name="T121" fmla="*/ 4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599">
                    <a:moveTo>
                      <a:pt x="751" y="27"/>
                    </a:moveTo>
                    <a:lnTo>
                      <a:pt x="758" y="58"/>
                    </a:lnTo>
                    <a:lnTo>
                      <a:pt x="761" y="79"/>
                    </a:lnTo>
                    <a:lnTo>
                      <a:pt x="761" y="104"/>
                    </a:lnTo>
                    <a:lnTo>
                      <a:pt x="766" y="106"/>
                    </a:lnTo>
                    <a:lnTo>
                      <a:pt x="768" y="109"/>
                    </a:lnTo>
                    <a:lnTo>
                      <a:pt x="775" y="118"/>
                    </a:lnTo>
                    <a:lnTo>
                      <a:pt x="783" y="130"/>
                    </a:lnTo>
                    <a:lnTo>
                      <a:pt x="778" y="135"/>
                    </a:lnTo>
                    <a:lnTo>
                      <a:pt x="782" y="140"/>
                    </a:lnTo>
                    <a:lnTo>
                      <a:pt x="785" y="141"/>
                    </a:lnTo>
                    <a:lnTo>
                      <a:pt x="788" y="147"/>
                    </a:lnTo>
                    <a:lnTo>
                      <a:pt x="795" y="155"/>
                    </a:lnTo>
                    <a:lnTo>
                      <a:pt x="802" y="162"/>
                    </a:lnTo>
                    <a:lnTo>
                      <a:pt x="790" y="181"/>
                    </a:lnTo>
                    <a:lnTo>
                      <a:pt x="790" y="182"/>
                    </a:lnTo>
                    <a:lnTo>
                      <a:pt x="782" y="242"/>
                    </a:lnTo>
                    <a:lnTo>
                      <a:pt x="780" y="281"/>
                    </a:lnTo>
                    <a:lnTo>
                      <a:pt x="778" y="323"/>
                    </a:lnTo>
                    <a:lnTo>
                      <a:pt x="776" y="337"/>
                    </a:lnTo>
                    <a:lnTo>
                      <a:pt x="773" y="340"/>
                    </a:lnTo>
                    <a:lnTo>
                      <a:pt x="751" y="363"/>
                    </a:lnTo>
                    <a:lnTo>
                      <a:pt x="719" y="397"/>
                    </a:lnTo>
                    <a:lnTo>
                      <a:pt x="707" y="414"/>
                    </a:lnTo>
                    <a:lnTo>
                      <a:pt x="700" y="426"/>
                    </a:lnTo>
                    <a:lnTo>
                      <a:pt x="693" y="431"/>
                    </a:lnTo>
                    <a:lnTo>
                      <a:pt x="690" y="439"/>
                    </a:lnTo>
                    <a:lnTo>
                      <a:pt x="691" y="446"/>
                    </a:lnTo>
                    <a:lnTo>
                      <a:pt x="690" y="448"/>
                    </a:lnTo>
                    <a:lnTo>
                      <a:pt x="688" y="448"/>
                    </a:lnTo>
                    <a:lnTo>
                      <a:pt x="685" y="451"/>
                    </a:lnTo>
                    <a:lnTo>
                      <a:pt x="685" y="456"/>
                    </a:lnTo>
                    <a:lnTo>
                      <a:pt x="683" y="458"/>
                    </a:lnTo>
                    <a:lnTo>
                      <a:pt x="680" y="458"/>
                    </a:lnTo>
                    <a:lnTo>
                      <a:pt x="674" y="460"/>
                    </a:lnTo>
                    <a:lnTo>
                      <a:pt x="674" y="465"/>
                    </a:lnTo>
                    <a:lnTo>
                      <a:pt x="676" y="477"/>
                    </a:lnTo>
                    <a:lnTo>
                      <a:pt x="680" y="485"/>
                    </a:lnTo>
                    <a:lnTo>
                      <a:pt x="683" y="499"/>
                    </a:lnTo>
                    <a:lnTo>
                      <a:pt x="668" y="497"/>
                    </a:lnTo>
                    <a:lnTo>
                      <a:pt x="664" y="502"/>
                    </a:lnTo>
                    <a:lnTo>
                      <a:pt x="663" y="502"/>
                    </a:lnTo>
                    <a:lnTo>
                      <a:pt x="663" y="504"/>
                    </a:lnTo>
                    <a:lnTo>
                      <a:pt x="661" y="504"/>
                    </a:lnTo>
                    <a:lnTo>
                      <a:pt x="663" y="505"/>
                    </a:lnTo>
                    <a:lnTo>
                      <a:pt x="661" y="505"/>
                    </a:lnTo>
                    <a:lnTo>
                      <a:pt x="661" y="507"/>
                    </a:lnTo>
                    <a:lnTo>
                      <a:pt x="659" y="507"/>
                    </a:lnTo>
                    <a:lnTo>
                      <a:pt x="657" y="507"/>
                    </a:lnTo>
                    <a:lnTo>
                      <a:pt x="657" y="505"/>
                    </a:lnTo>
                    <a:lnTo>
                      <a:pt x="656" y="507"/>
                    </a:lnTo>
                    <a:lnTo>
                      <a:pt x="654" y="507"/>
                    </a:lnTo>
                    <a:lnTo>
                      <a:pt x="652" y="507"/>
                    </a:lnTo>
                    <a:lnTo>
                      <a:pt x="654" y="507"/>
                    </a:lnTo>
                    <a:lnTo>
                      <a:pt x="654" y="505"/>
                    </a:lnTo>
                    <a:lnTo>
                      <a:pt x="652" y="507"/>
                    </a:lnTo>
                    <a:lnTo>
                      <a:pt x="651" y="507"/>
                    </a:lnTo>
                    <a:lnTo>
                      <a:pt x="647" y="507"/>
                    </a:lnTo>
                    <a:lnTo>
                      <a:pt x="647" y="509"/>
                    </a:lnTo>
                    <a:lnTo>
                      <a:pt x="646" y="509"/>
                    </a:lnTo>
                    <a:lnTo>
                      <a:pt x="644" y="509"/>
                    </a:lnTo>
                    <a:lnTo>
                      <a:pt x="644" y="511"/>
                    </a:lnTo>
                    <a:lnTo>
                      <a:pt x="642" y="509"/>
                    </a:lnTo>
                    <a:lnTo>
                      <a:pt x="642" y="511"/>
                    </a:lnTo>
                    <a:lnTo>
                      <a:pt x="640" y="512"/>
                    </a:lnTo>
                    <a:lnTo>
                      <a:pt x="642" y="514"/>
                    </a:lnTo>
                    <a:lnTo>
                      <a:pt x="639" y="514"/>
                    </a:lnTo>
                    <a:lnTo>
                      <a:pt x="640" y="514"/>
                    </a:lnTo>
                    <a:lnTo>
                      <a:pt x="637" y="516"/>
                    </a:lnTo>
                    <a:lnTo>
                      <a:pt x="637" y="517"/>
                    </a:lnTo>
                    <a:lnTo>
                      <a:pt x="635" y="517"/>
                    </a:lnTo>
                    <a:lnTo>
                      <a:pt x="635" y="519"/>
                    </a:lnTo>
                    <a:lnTo>
                      <a:pt x="635" y="517"/>
                    </a:lnTo>
                    <a:lnTo>
                      <a:pt x="634" y="519"/>
                    </a:lnTo>
                    <a:lnTo>
                      <a:pt x="632" y="519"/>
                    </a:lnTo>
                    <a:lnTo>
                      <a:pt x="630" y="519"/>
                    </a:lnTo>
                    <a:lnTo>
                      <a:pt x="629" y="522"/>
                    </a:lnTo>
                    <a:lnTo>
                      <a:pt x="627" y="522"/>
                    </a:lnTo>
                    <a:lnTo>
                      <a:pt x="627" y="526"/>
                    </a:lnTo>
                    <a:lnTo>
                      <a:pt x="625" y="526"/>
                    </a:lnTo>
                    <a:lnTo>
                      <a:pt x="623" y="528"/>
                    </a:lnTo>
                    <a:lnTo>
                      <a:pt x="625" y="529"/>
                    </a:lnTo>
                    <a:lnTo>
                      <a:pt x="623" y="531"/>
                    </a:lnTo>
                    <a:lnTo>
                      <a:pt x="615" y="529"/>
                    </a:lnTo>
                    <a:lnTo>
                      <a:pt x="613" y="529"/>
                    </a:lnTo>
                    <a:lnTo>
                      <a:pt x="612" y="528"/>
                    </a:lnTo>
                    <a:lnTo>
                      <a:pt x="610" y="528"/>
                    </a:lnTo>
                    <a:lnTo>
                      <a:pt x="608" y="528"/>
                    </a:lnTo>
                    <a:lnTo>
                      <a:pt x="606" y="528"/>
                    </a:lnTo>
                    <a:lnTo>
                      <a:pt x="601" y="526"/>
                    </a:lnTo>
                    <a:lnTo>
                      <a:pt x="600" y="524"/>
                    </a:lnTo>
                    <a:lnTo>
                      <a:pt x="593" y="521"/>
                    </a:lnTo>
                    <a:lnTo>
                      <a:pt x="584" y="519"/>
                    </a:lnTo>
                    <a:lnTo>
                      <a:pt x="576" y="516"/>
                    </a:lnTo>
                    <a:lnTo>
                      <a:pt x="562" y="514"/>
                    </a:lnTo>
                    <a:lnTo>
                      <a:pt x="538" y="516"/>
                    </a:lnTo>
                    <a:lnTo>
                      <a:pt x="532" y="516"/>
                    </a:lnTo>
                    <a:lnTo>
                      <a:pt x="521" y="519"/>
                    </a:lnTo>
                    <a:lnTo>
                      <a:pt x="508" y="521"/>
                    </a:lnTo>
                    <a:lnTo>
                      <a:pt x="501" y="524"/>
                    </a:lnTo>
                    <a:lnTo>
                      <a:pt x="498" y="526"/>
                    </a:lnTo>
                    <a:lnTo>
                      <a:pt x="486" y="538"/>
                    </a:lnTo>
                    <a:lnTo>
                      <a:pt x="481" y="543"/>
                    </a:lnTo>
                    <a:lnTo>
                      <a:pt x="465" y="543"/>
                    </a:lnTo>
                    <a:lnTo>
                      <a:pt x="445" y="541"/>
                    </a:lnTo>
                    <a:lnTo>
                      <a:pt x="430" y="536"/>
                    </a:lnTo>
                    <a:lnTo>
                      <a:pt x="428" y="534"/>
                    </a:lnTo>
                    <a:lnTo>
                      <a:pt x="423" y="531"/>
                    </a:lnTo>
                    <a:lnTo>
                      <a:pt x="421" y="529"/>
                    </a:lnTo>
                    <a:lnTo>
                      <a:pt x="418" y="531"/>
                    </a:lnTo>
                    <a:lnTo>
                      <a:pt x="409" y="522"/>
                    </a:lnTo>
                    <a:lnTo>
                      <a:pt x="408" y="522"/>
                    </a:lnTo>
                    <a:lnTo>
                      <a:pt x="404" y="519"/>
                    </a:lnTo>
                    <a:lnTo>
                      <a:pt x="401" y="519"/>
                    </a:lnTo>
                    <a:lnTo>
                      <a:pt x="389" y="516"/>
                    </a:lnTo>
                    <a:lnTo>
                      <a:pt x="387" y="516"/>
                    </a:lnTo>
                    <a:lnTo>
                      <a:pt x="379" y="522"/>
                    </a:lnTo>
                    <a:lnTo>
                      <a:pt x="367" y="529"/>
                    </a:lnTo>
                    <a:lnTo>
                      <a:pt x="363" y="529"/>
                    </a:lnTo>
                    <a:lnTo>
                      <a:pt x="357" y="528"/>
                    </a:lnTo>
                    <a:lnTo>
                      <a:pt x="352" y="533"/>
                    </a:lnTo>
                    <a:lnTo>
                      <a:pt x="350" y="534"/>
                    </a:lnTo>
                    <a:lnTo>
                      <a:pt x="343" y="533"/>
                    </a:lnTo>
                    <a:lnTo>
                      <a:pt x="341" y="531"/>
                    </a:lnTo>
                    <a:lnTo>
                      <a:pt x="340" y="529"/>
                    </a:lnTo>
                    <a:lnTo>
                      <a:pt x="338" y="529"/>
                    </a:lnTo>
                    <a:lnTo>
                      <a:pt x="338" y="528"/>
                    </a:lnTo>
                    <a:lnTo>
                      <a:pt x="329" y="516"/>
                    </a:lnTo>
                    <a:lnTo>
                      <a:pt x="324" y="509"/>
                    </a:lnTo>
                    <a:lnTo>
                      <a:pt x="324" y="507"/>
                    </a:lnTo>
                    <a:lnTo>
                      <a:pt x="321" y="505"/>
                    </a:lnTo>
                    <a:lnTo>
                      <a:pt x="319" y="505"/>
                    </a:lnTo>
                    <a:lnTo>
                      <a:pt x="318" y="504"/>
                    </a:lnTo>
                    <a:lnTo>
                      <a:pt x="311" y="499"/>
                    </a:lnTo>
                    <a:lnTo>
                      <a:pt x="304" y="500"/>
                    </a:lnTo>
                    <a:lnTo>
                      <a:pt x="289" y="495"/>
                    </a:lnTo>
                    <a:lnTo>
                      <a:pt x="272" y="490"/>
                    </a:lnTo>
                    <a:lnTo>
                      <a:pt x="263" y="492"/>
                    </a:lnTo>
                    <a:lnTo>
                      <a:pt x="260" y="495"/>
                    </a:lnTo>
                    <a:lnTo>
                      <a:pt x="256" y="497"/>
                    </a:lnTo>
                    <a:lnTo>
                      <a:pt x="243" y="497"/>
                    </a:lnTo>
                    <a:lnTo>
                      <a:pt x="241" y="497"/>
                    </a:lnTo>
                    <a:lnTo>
                      <a:pt x="238" y="495"/>
                    </a:lnTo>
                    <a:lnTo>
                      <a:pt x="217" y="499"/>
                    </a:lnTo>
                    <a:lnTo>
                      <a:pt x="204" y="511"/>
                    </a:lnTo>
                    <a:lnTo>
                      <a:pt x="200" y="511"/>
                    </a:lnTo>
                    <a:lnTo>
                      <a:pt x="200" y="526"/>
                    </a:lnTo>
                    <a:lnTo>
                      <a:pt x="199" y="534"/>
                    </a:lnTo>
                    <a:lnTo>
                      <a:pt x="192" y="546"/>
                    </a:lnTo>
                    <a:lnTo>
                      <a:pt x="176" y="558"/>
                    </a:lnTo>
                    <a:lnTo>
                      <a:pt x="176" y="570"/>
                    </a:lnTo>
                    <a:lnTo>
                      <a:pt x="176" y="579"/>
                    </a:lnTo>
                    <a:lnTo>
                      <a:pt x="178" y="585"/>
                    </a:lnTo>
                    <a:lnTo>
                      <a:pt x="175" y="589"/>
                    </a:lnTo>
                    <a:lnTo>
                      <a:pt x="175" y="592"/>
                    </a:lnTo>
                    <a:lnTo>
                      <a:pt x="178" y="594"/>
                    </a:lnTo>
                    <a:lnTo>
                      <a:pt x="178" y="597"/>
                    </a:lnTo>
                    <a:lnTo>
                      <a:pt x="176" y="599"/>
                    </a:lnTo>
                    <a:lnTo>
                      <a:pt x="175" y="599"/>
                    </a:lnTo>
                    <a:lnTo>
                      <a:pt x="171" y="599"/>
                    </a:lnTo>
                    <a:lnTo>
                      <a:pt x="173" y="596"/>
                    </a:lnTo>
                    <a:lnTo>
                      <a:pt x="171" y="596"/>
                    </a:lnTo>
                    <a:lnTo>
                      <a:pt x="170" y="594"/>
                    </a:lnTo>
                    <a:lnTo>
                      <a:pt x="168" y="592"/>
                    </a:lnTo>
                    <a:lnTo>
                      <a:pt x="166" y="591"/>
                    </a:lnTo>
                    <a:lnTo>
                      <a:pt x="159" y="591"/>
                    </a:lnTo>
                    <a:lnTo>
                      <a:pt x="156" y="585"/>
                    </a:lnTo>
                    <a:lnTo>
                      <a:pt x="158" y="584"/>
                    </a:lnTo>
                    <a:lnTo>
                      <a:pt x="151" y="577"/>
                    </a:lnTo>
                    <a:lnTo>
                      <a:pt x="148" y="575"/>
                    </a:lnTo>
                    <a:lnTo>
                      <a:pt x="144" y="570"/>
                    </a:lnTo>
                    <a:lnTo>
                      <a:pt x="142" y="570"/>
                    </a:lnTo>
                    <a:lnTo>
                      <a:pt x="137" y="565"/>
                    </a:lnTo>
                    <a:lnTo>
                      <a:pt x="136" y="563"/>
                    </a:lnTo>
                    <a:lnTo>
                      <a:pt x="136" y="565"/>
                    </a:lnTo>
                    <a:lnTo>
                      <a:pt x="132" y="565"/>
                    </a:lnTo>
                    <a:lnTo>
                      <a:pt x="132" y="567"/>
                    </a:lnTo>
                    <a:lnTo>
                      <a:pt x="131" y="567"/>
                    </a:lnTo>
                    <a:lnTo>
                      <a:pt x="127" y="570"/>
                    </a:lnTo>
                    <a:lnTo>
                      <a:pt x="127" y="568"/>
                    </a:lnTo>
                    <a:lnTo>
                      <a:pt x="124" y="568"/>
                    </a:lnTo>
                    <a:lnTo>
                      <a:pt x="122" y="570"/>
                    </a:lnTo>
                    <a:lnTo>
                      <a:pt x="120" y="570"/>
                    </a:lnTo>
                    <a:lnTo>
                      <a:pt x="119" y="572"/>
                    </a:lnTo>
                    <a:lnTo>
                      <a:pt x="117" y="570"/>
                    </a:lnTo>
                    <a:lnTo>
                      <a:pt x="117" y="572"/>
                    </a:lnTo>
                    <a:lnTo>
                      <a:pt x="115" y="572"/>
                    </a:lnTo>
                    <a:lnTo>
                      <a:pt x="112" y="572"/>
                    </a:lnTo>
                    <a:lnTo>
                      <a:pt x="114" y="574"/>
                    </a:lnTo>
                    <a:lnTo>
                      <a:pt x="112" y="574"/>
                    </a:lnTo>
                    <a:lnTo>
                      <a:pt x="114" y="575"/>
                    </a:lnTo>
                    <a:lnTo>
                      <a:pt x="112" y="575"/>
                    </a:lnTo>
                    <a:lnTo>
                      <a:pt x="114" y="577"/>
                    </a:lnTo>
                    <a:lnTo>
                      <a:pt x="114" y="579"/>
                    </a:lnTo>
                    <a:lnTo>
                      <a:pt x="117" y="585"/>
                    </a:lnTo>
                    <a:lnTo>
                      <a:pt x="115" y="585"/>
                    </a:lnTo>
                    <a:lnTo>
                      <a:pt x="115" y="587"/>
                    </a:lnTo>
                    <a:lnTo>
                      <a:pt x="114" y="587"/>
                    </a:lnTo>
                    <a:lnTo>
                      <a:pt x="114" y="589"/>
                    </a:lnTo>
                    <a:lnTo>
                      <a:pt x="97" y="567"/>
                    </a:lnTo>
                    <a:lnTo>
                      <a:pt x="98" y="565"/>
                    </a:lnTo>
                    <a:lnTo>
                      <a:pt x="102" y="563"/>
                    </a:lnTo>
                    <a:lnTo>
                      <a:pt x="107" y="563"/>
                    </a:lnTo>
                    <a:lnTo>
                      <a:pt x="107" y="560"/>
                    </a:lnTo>
                    <a:lnTo>
                      <a:pt x="105" y="558"/>
                    </a:lnTo>
                    <a:lnTo>
                      <a:pt x="105" y="555"/>
                    </a:lnTo>
                    <a:lnTo>
                      <a:pt x="103" y="553"/>
                    </a:lnTo>
                    <a:lnTo>
                      <a:pt x="102" y="551"/>
                    </a:lnTo>
                    <a:lnTo>
                      <a:pt x="102" y="550"/>
                    </a:lnTo>
                    <a:lnTo>
                      <a:pt x="98" y="548"/>
                    </a:lnTo>
                    <a:lnTo>
                      <a:pt x="93" y="548"/>
                    </a:lnTo>
                    <a:lnTo>
                      <a:pt x="91" y="546"/>
                    </a:lnTo>
                    <a:lnTo>
                      <a:pt x="91" y="550"/>
                    </a:lnTo>
                    <a:lnTo>
                      <a:pt x="90" y="550"/>
                    </a:lnTo>
                    <a:lnTo>
                      <a:pt x="86" y="553"/>
                    </a:lnTo>
                    <a:lnTo>
                      <a:pt x="71" y="553"/>
                    </a:lnTo>
                    <a:lnTo>
                      <a:pt x="71" y="551"/>
                    </a:lnTo>
                    <a:lnTo>
                      <a:pt x="59" y="543"/>
                    </a:lnTo>
                    <a:lnTo>
                      <a:pt x="49" y="534"/>
                    </a:lnTo>
                    <a:lnTo>
                      <a:pt x="42" y="534"/>
                    </a:lnTo>
                    <a:lnTo>
                      <a:pt x="42" y="516"/>
                    </a:lnTo>
                    <a:lnTo>
                      <a:pt x="46" y="516"/>
                    </a:lnTo>
                    <a:lnTo>
                      <a:pt x="49" y="517"/>
                    </a:lnTo>
                    <a:lnTo>
                      <a:pt x="52" y="517"/>
                    </a:lnTo>
                    <a:lnTo>
                      <a:pt x="54" y="514"/>
                    </a:lnTo>
                    <a:lnTo>
                      <a:pt x="54" y="516"/>
                    </a:lnTo>
                    <a:lnTo>
                      <a:pt x="57" y="516"/>
                    </a:lnTo>
                    <a:lnTo>
                      <a:pt x="56" y="514"/>
                    </a:lnTo>
                    <a:lnTo>
                      <a:pt x="49" y="512"/>
                    </a:lnTo>
                    <a:lnTo>
                      <a:pt x="47" y="511"/>
                    </a:lnTo>
                    <a:lnTo>
                      <a:pt x="44" y="509"/>
                    </a:lnTo>
                    <a:lnTo>
                      <a:pt x="44" y="507"/>
                    </a:lnTo>
                    <a:lnTo>
                      <a:pt x="42" y="504"/>
                    </a:lnTo>
                    <a:lnTo>
                      <a:pt x="37" y="502"/>
                    </a:lnTo>
                    <a:lnTo>
                      <a:pt x="34" y="502"/>
                    </a:lnTo>
                    <a:lnTo>
                      <a:pt x="32" y="502"/>
                    </a:lnTo>
                    <a:lnTo>
                      <a:pt x="32" y="500"/>
                    </a:lnTo>
                    <a:lnTo>
                      <a:pt x="30" y="499"/>
                    </a:lnTo>
                    <a:lnTo>
                      <a:pt x="25" y="499"/>
                    </a:lnTo>
                    <a:lnTo>
                      <a:pt x="23" y="499"/>
                    </a:lnTo>
                    <a:lnTo>
                      <a:pt x="23" y="495"/>
                    </a:lnTo>
                    <a:lnTo>
                      <a:pt x="22" y="494"/>
                    </a:lnTo>
                    <a:lnTo>
                      <a:pt x="17" y="488"/>
                    </a:lnTo>
                    <a:lnTo>
                      <a:pt x="15" y="485"/>
                    </a:lnTo>
                    <a:lnTo>
                      <a:pt x="13" y="483"/>
                    </a:lnTo>
                    <a:lnTo>
                      <a:pt x="13" y="482"/>
                    </a:lnTo>
                    <a:lnTo>
                      <a:pt x="12" y="480"/>
                    </a:lnTo>
                    <a:lnTo>
                      <a:pt x="12" y="478"/>
                    </a:lnTo>
                    <a:lnTo>
                      <a:pt x="10" y="477"/>
                    </a:lnTo>
                    <a:lnTo>
                      <a:pt x="12" y="473"/>
                    </a:lnTo>
                    <a:lnTo>
                      <a:pt x="12" y="471"/>
                    </a:lnTo>
                    <a:lnTo>
                      <a:pt x="12" y="470"/>
                    </a:lnTo>
                    <a:lnTo>
                      <a:pt x="12" y="468"/>
                    </a:lnTo>
                    <a:lnTo>
                      <a:pt x="8" y="465"/>
                    </a:lnTo>
                    <a:lnTo>
                      <a:pt x="6" y="465"/>
                    </a:lnTo>
                    <a:lnTo>
                      <a:pt x="1" y="460"/>
                    </a:lnTo>
                    <a:lnTo>
                      <a:pt x="0" y="456"/>
                    </a:lnTo>
                    <a:lnTo>
                      <a:pt x="3" y="444"/>
                    </a:lnTo>
                    <a:lnTo>
                      <a:pt x="1" y="441"/>
                    </a:lnTo>
                    <a:lnTo>
                      <a:pt x="3" y="439"/>
                    </a:lnTo>
                    <a:lnTo>
                      <a:pt x="3" y="437"/>
                    </a:lnTo>
                    <a:lnTo>
                      <a:pt x="3" y="432"/>
                    </a:lnTo>
                    <a:lnTo>
                      <a:pt x="12" y="434"/>
                    </a:lnTo>
                    <a:lnTo>
                      <a:pt x="18" y="432"/>
                    </a:lnTo>
                    <a:lnTo>
                      <a:pt x="18" y="434"/>
                    </a:lnTo>
                    <a:lnTo>
                      <a:pt x="27" y="436"/>
                    </a:lnTo>
                    <a:lnTo>
                      <a:pt x="30" y="434"/>
                    </a:lnTo>
                    <a:lnTo>
                      <a:pt x="40" y="434"/>
                    </a:lnTo>
                    <a:lnTo>
                      <a:pt x="57" y="419"/>
                    </a:lnTo>
                    <a:lnTo>
                      <a:pt x="59" y="419"/>
                    </a:lnTo>
                    <a:lnTo>
                      <a:pt x="74" y="417"/>
                    </a:lnTo>
                    <a:lnTo>
                      <a:pt x="86" y="417"/>
                    </a:lnTo>
                    <a:lnTo>
                      <a:pt x="122" y="414"/>
                    </a:lnTo>
                    <a:lnTo>
                      <a:pt x="129" y="414"/>
                    </a:lnTo>
                    <a:lnTo>
                      <a:pt x="146" y="415"/>
                    </a:lnTo>
                    <a:lnTo>
                      <a:pt x="170" y="415"/>
                    </a:lnTo>
                    <a:lnTo>
                      <a:pt x="171" y="415"/>
                    </a:lnTo>
                    <a:lnTo>
                      <a:pt x="171" y="409"/>
                    </a:lnTo>
                    <a:lnTo>
                      <a:pt x="175" y="407"/>
                    </a:lnTo>
                    <a:lnTo>
                      <a:pt x="180" y="400"/>
                    </a:lnTo>
                    <a:lnTo>
                      <a:pt x="187" y="398"/>
                    </a:lnTo>
                    <a:lnTo>
                      <a:pt x="188" y="395"/>
                    </a:lnTo>
                    <a:lnTo>
                      <a:pt x="190" y="386"/>
                    </a:lnTo>
                    <a:lnTo>
                      <a:pt x="193" y="383"/>
                    </a:lnTo>
                    <a:lnTo>
                      <a:pt x="193" y="380"/>
                    </a:lnTo>
                    <a:lnTo>
                      <a:pt x="197" y="364"/>
                    </a:lnTo>
                    <a:lnTo>
                      <a:pt x="197" y="335"/>
                    </a:lnTo>
                    <a:lnTo>
                      <a:pt x="207" y="332"/>
                    </a:lnTo>
                    <a:lnTo>
                      <a:pt x="207" y="281"/>
                    </a:lnTo>
                    <a:lnTo>
                      <a:pt x="207" y="247"/>
                    </a:lnTo>
                    <a:lnTo>
                      <a:pt x="205" y="223"/>
                    </a:lnTo>
                    <a:lnTo>
                      <a:pt x="229" y="218"/>
                    </a:lnTo>
                    <a:lnTo>
                      <a:pt x="287" y="208"/>
                    </a:lnTo>
                    <a:lnTo>
                      <a:pt x="289" y="204"/>
                    </a:lnTo>
                    <a:lnTo>
                      <a:pt x="319" y="179"/>
                    </a:lnTo>
                    <a:lnTo>
                      <a:pt x="370" y="136"/>
                    </a:lnTo>
                    <a:lnTo>
                      <a:pt x="448" y="89"/>
                    </a:lnTo>
                    <a:lnTo>
                      <a:pt x="510" y="53"/>
                    </a:lnTo>
                    <a:lnTo>
                      <a:pt x="552" y="27"/>
                    </a:lnTo>
                    <a:lnTo>
                      <a:pt x="600" y="0"/>
                    </a:lnTo>
                    <a:lnTo>
                      <a:pt x="651" y="12"/>
                    </a:lnTo>
                    <a:lnTo>
                      <a:pt x="671" y="16"/>
                    </a:lnTo>
                    <a:lnTo>
                      <a:pt x="678" y="19"/>
                    </a:lnTo>
                    <a:lnTo>
                      <a:pt x="685" y="24"/>
                    </a:lnTo>
                    <a:lnTo>
                      <a:pt x="710" y="44"/>
                    </a:lnTo>
                    <a:lnTo>
                      <a:pt x="751" y="27"/>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46">
                <a:extLst>
                  <a:ext uri="{FF2B5EF4-FFF2-40B4-BE49-F238E27FC236}">
                    <a16:creationId xmlns:a16="http://schemas.microsoft.com/office/drawing/2014/main" id="{1555B7C8-926E-4236-9109-77A06C47E237}"/>
                  </a:ext>
                </a:extLst>
              </p:cNvPr>
              <p:cNvSpPr>
                <a:spLocks noEditPoints="1"/>
              </p:cNvSpPr>
              <p:nvPr/>
            </p:nvSpPr>
            <p:spPr bwMode="gray">
              <a:xfrm>
                <a:off x="5446111" y="3102546"/>
                <a:ext cx="754588" cy="603423"/>
              </a:xfrm>
              <a:custGeom>
                <a:avLst/>
                <a:gdLst>
                  <a:gd name="T0" fmla="*/ 593 w 609"/>
                  <a:gd name="T1" fmla="*/ 77 h 487"/>
                  <a:gd name="T2" fmla="*/ 607 w 609"/>
                  <a:gd name="T3" fmla="*/ 92 h 487"/>
                  <a:gd name="T4" fmla="*/ 580 w 609"/>
                  <a:gd name="T5" fmla="*/ 133 h 487"/>
                  <a:gd name="T6" fmla="*/ 547 w 609"/>
                  <a:gd name="T7" fmla="*/ 182 h 487"/>
                  <a:gd name="T8" fmla="*/ 534 w 609"/>
                  <a:gd name="T9" fmla="*/ 216 h 487"/>
                  <a:gd name="T10" fmla="*/ 512 w 609"/>
                  <a:gd name="T11" fmla="*/ 259 h 487"/>
                  <a:gd name="T12" fmla="*/ 485 w 609"/>
                  <a:gd name="T13" fmla="*/ 298 h 487"/>
                  <a:gd name="T14" fmla="*/ 457 w 609"/>
                  <a:gd name="T15" fmla="*/ 345 h 487"/>
                  <a:gd name="T16" fmla="*/ 437 w 609"/>
                  <a:gd name="T17" fmla="*/ 373 h 487"/>
                  <a:gd name="T18" fmla="*/ 413 w 609"/>
                  <a:gd name="T19" fmla="*/ 351 h 487"/>
                  <a:gd name="T20" fmla="*/ 379 w 609"/>
                  <a:gd name="T21" fmla="*/ 347 h 487"/>
                  <a:gd name="T22" fmla="*/ 342 w 609"/>
                  <a:gd name="T23" fmla="*/ 383 h 487"/>
                  <a:gd name="T24" fmla="*/ 316 w 609"/>
                  <a:gd name="T25" fmla="*/ 420 h 487"/>
                  <a:gd name="T26" fmla="*/ 299 w 609"/>
                  <a:gd name="T27" fmla="*/ 458 h 487"/>
                  <a:gd name="T28" fmla="*/ 286 w 609"/>
                  <a:gd name="T29" fmla="*/ 456 h 487"/>
                  <a:gd name="T30" fmla="*/ 286 w 609"/>
                  <a:gd name="T31" fmla="*/ 466 h 487"/>
                  <a:gd name="T32" fmla="*/ 240 w 609"/>
                  <a:gd name="T33" fmla="*/ 471 h 487"/>
                  <a:gd name="T34" fmla="*/ 226 w 609"/>
                  <a:gd name="T35" fmla="*/ 466 h 487"/>
                  <a:gd name="T36" fmla="*/ 214 w 609"/>
                  <a:gd name="T37" fmla="*/ 465 h 487"/>
                  <a:gd name="T38" fmla="*/ 206 w 609"/>
                  <a:gd name="T39" fmla="*/ 459 h 487"/>
                  <a:gd name="T40" fmla="*/ 206 w 609"/>
                  <a:gd name="T41" fmla="*/ 471 h 487"/>
                  <a:gd name="T42" fmla="*/ 199 w 609"/>
                  <a:gd name="T43" fmla="*/ 476 h 487"/>
                  <a:gd name="T44" fmla="*/ 180 w 609"/>
                  <a:gd name="T45" fmla="*/ 480 h 487"/>
                  <a:gd name="T46" fmla="*/ 167 w 609"/>
                  <a:gd name="T47" fmla="*/ 480 h 487"/>
                  <a:gd name="T48" fmla="*/ 141 w 609"/>
                  <a:gd name="T49" fmla="*/ 451 h 487"/>
                  <a:gd name="T50" fmla="*/ 145 w 609"/>
                  <a:gd name="T51" fmla="*/ 424 h 487"/>
                  <a:gd name="T52" fmla="*/ 129 w 609"/>
                  <a:gd name="T53" fmla="*/ 419 h 487"/>
                  <a:gd name="T54" fmla="*/ 106 w 609"/>
                  <a:gd name="T55" fmla="*/ 393 h 487"/>
                  <a:gd name="T56" fmla="*/ 4 w 609"/>
                  <a:gd name="T57" fmla="*/ 359 h 487"/>
                  <a:gd name="T58" fmla="*/ 4 w 609"/>
                  <a:gd name="T59" fmla="*/ 318 h 487"/>
                  <a:gd name="T60" fmla="*/ 5 w 609"/>
                  <a:gd name="T61" fmla="*/ 271 h 487"/>
                  <a:gd name="T62" fmla="*/ 5 w 609"/>
                  <a:gd name="T63" fmla="*/ 249 h 487"/>
                  <a:gd name="T64" fmla="*/ 24 w 609"/>
                  <a:gd name="T65" fmla="*/ 225 h 487"/>
                  <a:gd name="T66" fmla="*/ 46 w 609"/>
                  <a:gd name="T67" fmla="*/ 182 h 487"/>
                  <a:gd name="T68" fmla="*/ 49 w 609"/>
                  <a:gd name="T69" fmla="*/ 109 h 487"/>
                  <a:gd name="T70" fmla="*/ 114 w 609"/>
                  <a:gd name="T71" fmla="*/ 7 h 487"/>
                  <a:gd name="T72" fmla="*/ 211 w 609"/>
                  <a:gd name="T73" fmla="*/ 39 h 487"/>
                  <a:gd name="T74" fmla="*/ 291 w 609"/>
                  <a:gd name="T75" fmla="*/ 41 h 487"/>
                  <a:gd name="T76" fmla="*/ 449 w 609"/>
                  <a:gd name="T77" fmla="*/ 26 h 487"/>
                  <a:gd name="T78" fmla="*/ 500 w 609"/>
                  <a:gd name="T79" fmla="*/ 32 h 487"/>
                  <a:gd name="T80" fmla="*/ 517 w 609"/>
                  <a:gd name="T81" fmla="*/ 21 h 487"/>
                  <a:gd name="T82" fmla="*/ 534 w 609"/>
                  <a:gd name="T83" fmla="*/ 15 h 487"/>
                  <a:gd name="T84" fmla="*/ 219 w 609"/>
                  <a:gd name="T85" fmla="*/ 482 h 487"/>
                  <a:gd name="T86" fmla="*/ 226 w 609"/>
                  <a:gd name="T87" fmla="*/ 480 h 487"/>
                  <a:gd name="T88" fmla="*/ 247 w 609"/>
                  <a:gd name="T89" fmla="*/ 476 h 487"/>
                  <a:gd name="T90" fmla="*/ 223 w 609"/>
                  <a:gd name="T91" fmla="*/ 470 h 487"/>
                  <a:gd name="T92" fmla="*/ 281 w 609"/>
                  <a:gd name="T93" fmla="*/ 454 h 487"/>
                  <a:gd name="T94" fmla="*/ 228 w 609"/>
                  <a:gd name="T95" fmla="*/ 473 h 487"/>
                  <a:gd name="T96" fmla="*/ 216 w 609"/>
                  <a:gd name="T97" fmla="*/ 478 h 487"/>
                  <a:gd name="T98" fmla="*/ 225 w 609"/>
                  <a:gd name="T99" fmla="*/ 473 h 487"/>
                  <a:gd name="T100" fmla="*/ 282 w 609"/>
                  <a:gd name="T101" fmla="*/ 453 h 487"/>
                  <a:gd name="T102" fmla="*/ 175 w 609"/>
                  <a:gd name="T103" fmla="*/ 478 h 487"/>
                  <a:gd name="T104" fmla="*/ 276 w 609"/>
                  <a:gd name="T105" fmla="*/ 446 h 487"/>
                  <a:gd name="T106" fmla="*/ 247 w 609"/>
                  <a:gd name="T107" fmla="*/ 475 h 487"/>
                  <a:gd name="T108" fmla="*/ 286 w 609"/>
                  <a:gd name="T109" fmla="*/ 458 h 487"/>
                  <a:gd name="T110" fmla="*/ 226 w 609"/>
                  <a:gd name="T111" fmla="*/ 475 h 487"/>
                  <a:gd name="T112" fmla="*/ 282 w 609"/>
                  <a:gd name="T113" fmla="*/ 456 h 487"/>
                  <a:gd name="T114" fmla="*/ 233 w 609"/>
                  <a:gd name="T115" fmla="*/ 471 h 487"/>
                  <a:gd name="T116" fmla="*/ 219 w 609"/>
                  <a:gd name="T117" fmla="*/ 466 h 487"/>
                  <a:gd name="T118" fmla="*/ 226 w 609"/>
                  <a:gd name="T119" fmla="*/ 47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9" h="487">
                    <a:moveTo>
                      <a:pt x="556" y="9"/>
                    </a:moveTo>
                    <a:lnTo>
                      <a:pt x="566" y="24"/>
                    </a:lnTo>
                    <a:lnTo>
                      <a:pt x="571" y="32"/>
                    </a:lnTo>
                    <a:lnTo>
                      <a:pt x="578" y="39"/>
                    </a:lnTo>
                    <a:lnTo>
                      <a:pt x="580" y="53"/>
                    </a:lnTo>
                    <a:lnTo>
                      <a:pt x="583" y="68"/>
                    </a:lnTo>
                    <a:lnTo>
                      <a:pt x="583" y="70"/>
                    </a:lnTo>
                    <a:lnTo>
                      <a:pt x="583" y="72"/>
                    </a:lnTo>
                    <a:lnTo>
                      <a:pt x="583" y="73"/>
                    </a:lnTo>
                    <a:lnTo>
                      <a:pt x="585" y="77"/>
                    </a:lnTo>
                    <a:lnTo>
                      <a:pt x="588" y="75"/>
                    </a:lnTo>
                    <a:lnTo>
                      <a:pt x="588" y="77"/>
                    </a:lnTo>
                    <a:lnTo>
                      <a:pt x="588" y="75"/>
                    </a:lnTo>
                    <a:lnTo>
                      <a:pt x="590" y="77"/>
                    </a:lnTo>
                    <a:lnTo>
                      <a:pt x="590" y="75"/>
                    </a:lnTo>
                    <a:lnTo>
                      <a:pt x="593" y="77"/>
                    </a:lnTo>
                    <a:lnTo>
                      <a:pt x="595" y="75"/>
                    </a:lnTo>
                    <a:lnTo>
                      <a:pt x="597" y="77"/>
                    </a:lnTo>
                    <a:lnTo>
                      <a:pt x="598" y="77"/>
                    </a:lnTo>
                    <a:lnTo>
                      <a:pt x="598" y="78"/>
                    </a:lnTo>
                    <a:lnTo>
                      <a:pt x="600" y="78"/>
                    </a:lnTo>
                    <a:lnTo>
                      <a:pt x="600" y="80"/>
                    </a:lnTo>
                    <a:lnTo>
                      <a:pt x="602" y="80"/>
                    </a:lnTo>
                    <a:lnTo>
                      <a:pt x="602" y="82"/>
                    </a:lnTo>
                    <a:lnTo>
                      <a:pt x="604" y="84"/>
                    </a:lnTo>
                    <a:lnTo>
                      <a:pt x="605" y="84"/>
                    </a:lnTo>
                    <a:lnTo>
                      <a:pt x="604" y="85"/>
                    </a:lnTo>
                    <a:lnTo>
                      <a:pt x="605" y="85"/>
                    </a:lnTo>
                    <a:lnTo>
                      <a:pt x="607" y="85"/>
                    </a:lnTo>
                    <a:lnTo>
                      <a:pt x="609" y="85"/>
                    </a:lnTo>
                    <a:lnTo>
                      <a:pt x="605" y="90"/>
                    </a:lnTo>
                    <a:lnTo>
                      <a:pt x="607" y="92"/>
                    </a:lnTo>
                    <a:lnTo>
                      <a:pt x="605" y="92"/>
                    </a:lnTo>
                    <a:lnTo>
                      <a:pt x="607" y="97"/>
                    </a:lnTo>
                    <a:lnTo>
                      <a:pt x="605" y="97"/>
                    </a:lnTo>
                    <a:lnTo>
                      <a:pt x="607" y="99"/>
                    </a:lnTo>
                    <a:lnTo>
                      <a:pt x="604" y="101"/>
                    </a:lnTo>
                    <a:lnTo>
                      <a:pt x="605" y="106"/>
                    </a:lnTo>
                    <a:lnTo>
                      <a:pt x="602" y="109"/>
                    </a:lnTo>
                    <a:lnTo>
                      <a:pt x="607" y="112"/>
                    </a:lnTo>
                    <a:lnTo>
                      <a:pt x="607" y="114"/>
                    </a:lnTo>
                    <a:lnTo>
                      <a:pt x="605" y="118"/>
                    </a:lnTo>
                    <a:lnTo>
                      <a:pt x="605" y="119"/>
                    </a:lnTo>
                    <a:lnTo>
                      <a:pt x="597" y="121"/>
                    </a:lnTo>
                    <a:lnTo>
                      <a:pt x="595" y="124"/>
                    </a:lnTo>
                    <a:lnTo>
                      <a:pt x="590" y="126"/>
                    </a:lnTo>
                    <a:lnTo>
                      <a:pt x="581" y="133"/>
                    </a:lnTo>
                    <a:lnTo>
                      <a:pt x="580" y="133"/>
                    </a:lnTo>
                    <a:lnTo>
                      <a:pt x="573" y="129"/>
                    </a:lnTo>
                    <a:lnTo>
                      <a:pt x="570" y="136"/>
                    </a:lnTo>
                    <a:lnTo>
                      <a:pt x="568" y="138"/>
                    </a:lnTo>
                    <a:lnTo>
                      <a:pt x="566" y="141"/>
                    </a:lnTo>
                    <a:lnTo>
                      <a:pt x="564" y="141"/>
                    </a:lnTo>
                    <a:lnTo>
                      <a:pt x="563" y="145"/>
                    </a:lnTo>
                    <a:lnTo>
                      <a:pt x="558" y="146"/>
                    </a:lnTo>
                    <a:lnTo>
                      <a:pt x="558" y="153"/>
                    </a:lnTo>
                    <a:lnTo>
                      <a:pt x="554" y="157"/>
                    </a:lnTo>
                    <a:lnTo>
                      <a:pt x="553" y="160"/>
                    </a:lnTo>
                    <a:lnTo>
                      <a:pt x="553" y="162"/>
                    </a:lnTo>
                    <a:lnTo>
                      <a:pt x="549" y="163"/>
                    </a:lnTo>
                    <a:lnTo>
                      <a:pt x="549" y="167"/>
                    </a:lnTo>
                    <a:lnTo>
                      <a:pt x="551" y="170"/>
                    </a:lnTo>
                    <a:lnTo>
                      <a:pt x="549" y="172"/>
                    </a:lnTo>
                    <a:lnTo>
                      <a:pt x="547" y="182"/>
                    </a:lnTo>
                    <a:lnTo>
                      <a:pt x="546" y="184"/>
                    </a:lnTo>
                    <a:lnTo>
                      <a:pt x="546" y="187"/>
                    </a:lnTo>
                    <a:lnTo>
                      <a:pt x="542" y="189"/>
                    </a:lnTo>
                    <a:lnTo>
                      <a:pt x="539" y="191"/>
                    </a:lnTo>
                    <a:lnTo>
                      <a:pt x="537" y="192"/>
                    </a:lnTo>
                    <a:lnTo>
                      <a:pt x="536" y="194"/>
                    </a:lnTo>
                    <a:lnTo>
                      <a:pt x="536" y="196"/>
                    </a:lnTo>
                    <a:lnTo>
                      <a:pt x="537" y="197"/>
                    </a:lnTo>
                    <a:lnTo>
                      <a:pt x="537" y="199"/>
                    </a:lnTo>
                    <a:lnTo>
                      <a:pt x="536" y="201"/>
                    </a:lnTo>
                    <a:lnTo>
                      <a:pt x="536" y="203"/>
                    </a:lnTo>
                    <a:lnTo>
                      <a:pt x="539" y="204"/>
                    </a:lnTo>
                    <a:lnTo>
                      <a:pt x="536" y="208"/>
                    </a:lnTo>
                    <a:lnTo>
                      <a:pt x="536" y="211"/>
                    </a:lnTo>
                    <a:lnTo>
                      <a:pt x="536" y="213"/>
                    </a:lnTo>
                    <a:lnTo>
                      <a:pt x="534" y="216"/>
                    </a:lnTo>
                    <a:lnTo>
                      <a:pt x="534" y="218"/>
                    </a:lnTo>
                    <a:lnTo>
                      <a:pt x="532" y="218"/>
                    </a:lnTo>
                    <a:lnTo>
                      <a:pt x="532" y="220"/>
                    </a:lnTo>
                    <a:lnTo>
                      <a:pt x="525" y="221"/>
                    </a:lnTo>
                    <a:lnTo>
                      <a:pt x="522" y="223"/>
                    </a:lnTo>
                    <a:lnTo>
                      <a:pt x="520" y="225"/>
                    </a:lnTo>
                    <a:lnTo>
                      <a:pt x="517" y="226"/>
                    </a:lnTo>
                    <a:lnTo>
                      <a:pt x="517" y="228"/>
                    </a:lnTo>
                    <a:lnTo>
                      <a:pt x="519" y="230"/>
                    </a:lnTo>
                    <a:lnTo>
                      <a:pt x="519" y="235"/>
                    </a:lnTo>
                    <a:lnTo>
                      <a:pt x="517" y="238"/>
                    </a:lnTo>
                    <a:lnTo>
                      <a:pt x="519" y="240"/>
                    </a:lnTo>
                    <a:lnTo>
                      <a:pt x="517" y="247"/>
                    </a:lnTo>
                    <a:lnTo>
                      <a:pt x="513" y="250"/>
                    </a:lnTo>
                    <a:lnTo>
                      <a:pt x="513" y="257"/>
                    </a:lnTo>
                    <a:lnTo>
                      <a:pt x="512" y="259"/>
                    </a:lnTo>
                    <a:lnTo>
                      <a:pt x="508" y="259"/>
                    </a:lnTo>
                    <a:lnTo>
                      <a:pt x="508" y="262"/>
                    </a:lnTo>
                    <a:lnTo>
                      <a:pt x="507" y="266"/>
                    </a:lnTo>
                    <a:lnTo>
                      <a:pt x="505" y="264"/>
                    </a:lnTo>
                    <a:lnTo>
                      <a:pt x="503" y="267"/>
                    </a:lnTo>
                    <a:lnTo>
                      <a:pt x="498" y="266"/>
                    </a:lnTo>
                    <a:lnTo>
                      <a:pt x="496" y="266"/>
                    </a:lnTo>
                    <a:lnTo>
                      <a:pt x="496" y="267"/>
                    </a:lnTo>
                    <a:lnTo>
                      <a:pt x="493" y="272"/>
                    </a:lnTo>
                    <a:lnTo>
                      <a:pt x="485" y="274"/>
                    </a:lnTo>
                    <a:lnTo>
                      <a:pt x="485" y="277"/>
                    </a:lnTo>
                    <a:lnTo>
                      <a:pt x="485" y="279"/>
                    </a:lnTo>
                    <a:lnTo>
                      <a:pt x="486" y="286"/>
                    </a:lnTo>
                    <a:lnTo>
                      <a:pt x="485" y="289"/>
                    </a:lnTo>
                    <a:lnTo>
                      <a:pt x="483" y="293"/>
                    </a:lnTo>
                    <a:lnTo>
                      <a:pt x="485" y="298"/>
                    </a:lnTo>
                    <a:lnTo>
                      <a:pt x="483" y="300"/>
                    </a:lnTo>
                    <a:lnTo>
                      <a:pt x="481" y="301"/>
                    </a:lnTo>
                    <a:lnTo>
                      <a:pt x="481" y="303"/>
                    </a:lnTo>
                    <a:lnTo>
                      <a:pt x="478" y="305"/>
                    </a:lnTo>
                    <a:lnTo>
                      <a:pt x="474" y="311"/>
                    </a:lnTo>
                    <a:lnTo>
                      <a:pt x="473" y="315"/>
                    </a:lnTo>
                    <a:lnTo>
                      <a:pt x="474" y="322"/>
                    </a:lnTo>
                    <a:lnTo>
                      <a:pt x="469" y="323"/>
                    </a:lnTo>
                    <a:lnTo>
                      <a:pt x="466" y="327"/>
                    </a:lnTo>
                    <a:lnTo>
                      <a:pt x="462" y="334"/>
                    </a:lnTo>
                    <a:lnTo>
                      <a:pt x="462" y="335"/>
                    </a:lnTo>
                    <a:lnTo>
                      <a:pt x="464" y="342"/>
                    </a:lnTo>
                    <a:lnTo>
                      <a:pt x="464" y="344"/>
                    </a:lnTo>
                    <a:lnTo>
                      <a:pt x="464" y="345"/>
                    </a:lnTo>
                    <a:lnTo>
                      <a:pt x="459" y="345"/>
                    </a:lnTo>
                    <a:lnTo>
                      <a:pt x="457" y="345"/>
                    </a:lnTo>
                    <a:lnTo>
                      <a:pt x="456" y="349"/>
                    </a:lnTo>
                    <a:lnTo>
                      <a:pt x="454" y="349"/>
                    </a:lnTo>
                    <a:lnTo>
                      <a:pt x="452" y="352"/>
                    </a:lnTo>
                    <a:lnTo>
                      <a:pt x="451" y="356"/>
                    </a:lnTo>
                    <a:lnTo>
                      <a:pt x="452" y="356"/>
                    </a:lnTo>
                    <a:lnTo>
                      <a:pt x="451" y="357"/>
                    </a:lnTo>
                    <a:lnTo>
                      <a:pt x="452" y="357"/>
                    </a:lnTo>
                    <a:lnTo>
                      <a:pt x="451" y="359"/>
                    </a:lnTo>
                    <a:lnTo>
                      <a:pt x="452" y="361"/>
                    </a:lnTo>
                    <a:lnTo>
                      <a:pt x="451" y="362"/>
                    </a:lnTo>
                    <a:lnTo>
                      <a:pt x="451" y="366"/>
                    </a:lnTo>
                    <a:lnTo>
                      <a:pt x="447" y="368"/>
                    </a:lnTo>
                    <a:lnTo>
                      <a:pt x="444" y="368"/>
                    </a:lnTo>
                    <a:lnTo>
                      <a:pt x="444" y="371"/>
                    </a:lnTo>
                    <a:lnTo>
                      <a:pt x="440" y="373"/>
                    </a:lnTo>
                    <a:lnTo>
                      <a:pt x="437" y="373"/>
                    </a:lnTo>
                    <a:lnTo>
                      <a:pt x="435" y="371"/>
                    </a:lnTo>
                    <a:lnTo>
                      <a:pt x="434" y="373"/>
                    </a:lnTo>
                    <a:lnTo>
                      <a:pt x="430" y="369"/>
                    </a:lnTo>
                    <a:lnTo>
                      <a:pt x="428" y="371"/>
                    </a:lnTo>
                    <a:lnTo>
                      <a:pt x="427" y="371"/>
                    </a:lnTo>
                    <a:lnTo>
                      <a:pt x="427" y="364"/>
                    </a:lnTo>
                    <a:lnTo>
                      <a:pt x="425" y="362"/>
                    </a:lnTo>
                    <a:lnTo>
                      <a:pt x="423" y="362"/>
                    </a:lnTo>
                    <a:lnTo>
                      <a:pt x="422" y="364"/>
                    </a:lnTo>
                    <a:lnTo>
                      <a:pt x="418" y="364"/>
                    </a:lnTo>
                    <a:lnTo>
                      <a:pt x="418" y="362"/>
                    </a:lnTo>
                    <a:lnTo>
                      <a:pt x="417" y="359"/>
                    </a:lnTo>
                    <a:lnTo>
                      <a:pt x="415" y="357"/>
                    </a:lnTo>
                    <a:lnTo>
                      <a:pt x="413" y="357"/>
                    </a:lnTo>
                    <a:lnTo>
                      <a:pt x="413" y="356"/>
                    </a:lnTo>
                    <a:lnTo>
                      <a:pt x="413" y="351"/>
                    </a:lnTo>
                    <a:lnTo>
                      <a:pt x="411" y="349"/>
                    </a:lnTo>
                    <a:lnTo>
                      <a:pt x="410" y="351"/>
                    </a:lnTo>
                    <a:lnTo>
                      <a:pt x="408" y="349"/>
                    </a:lnTo>
                    <a:lnTo>
                      <a:pt x="406" y="347"/>
                    </a:lnTo>
                    <a:lnTo>
                      <a:pt x="406" y="345"/>
                    </a:lnTo>
                    <a:lnTo>
                      <a:pt x="403" y="345"/>
                    </a:lnTo>
                    <a:lnTo>
                      <a:pt x="401" y="344"/>
                    </a:lnTo>
                    <a:lnTo>
                      <a:pt x="401" y="340"/>
                    </a:lnTo>
                    <a:lnTo>
                      <a:pt x="400" y="340"/>
                    </a:lnTo>
                    <a:lnTo>
                      <a:pt x="398" y="351"/>
                    </a:lnTo>
                    <a:lnTo>
                      <a:pt x="396" y="352"/>
                    </a:lnTo>
                    <a:lnTo>
                      <a:pt x="394" y="352"/>
                    </a:lnTo>
                    <a:lnTo>
                      <a:pt x="383" y="354"/>
                    </a:lnTo>
                    <a:lnTo>
                      <a:pt x="381" y="351"/>
                    </a:lnTo>
                    <a:lnTo>
                      <a:pt x="381" y="349"/>
                    </a:lnTo>
                    <a:lnTo>
                      <a:pt x="379" y="347"/>
                    </a:lnTo>
                    <a:lnTo>
                      <a:pt x="381" y="347"/>
                    </a:lnTo>
                    <a:lnTo>
                      <a:pt x="379" y="345"/>
                    </a:lnTo>
                    <a:lnTo>
                      <a:pt x="369" y="354"/>
                    </a:lnTo>
                    <a:lnTo>
                      <a:pt x="366" y="359"/>
                    </a:lnTo>
                    <a:lnTo>
                      <a:pt x="360" y="359"/>
                    </a:lnTo>
                    <a:lnTo>
                      <a:pt x="359" y="361"/>
                    </a:lnTo>
                    <a:lnTo>
                      <a:pt x="359" y="366"/>
                    </a:lnTo>
                    <a:lnTo>
                      <a:pt x="357" y="373"/>
                    </a:lnTo>
                    <a:lnTo>
                      <a:pt x="354" y="373"/>
                    </a:lnTo>
                    <a:lnTo>
                      <a:pt x="354" y="371"/>
                    </a:lnTo>
                    <a:lnTo>
                      <a:pt x="352" y="373"/>
                    </a:lnTo>
                    <a:lnTo>
                      <a:pt x="350" y="371"/>
                    </a:lnTo>
                    <a:lnTo>
                      <a:pt x="350" y="374"/>
                    </a:lnTo>
                    <a:lnTo>
                      <a:pt x="349" y="376"/>
                    </a:lnTo>
                    <a:lnTo>
                      <a:pt x="344" y="376"/>
                    </a:lnTo>
                    <a:lnTo>
                      <a:pt x="342" y="383"/>
                    </a:lnTo>
                    <a:lnTo>
                      <a:pt x="338" y="381"/>
                    </a:lnTo>
                    <a:lnTo>
                      <a:pt x="338" y="383"/>
                    </a:lnTo>
                    <a:lnTo>
                      <a:pt x="335" y="390"/>
                    </a:lnTo>
                    <a:lnTo>
                      <a:pt x="330" y="391"/>
                    </a:lnTo>
                    <a:lnTo>
                      <a:pt x="327" y="395"/>
                    </a:lnTo>
                    <a:lnTo>
                      <a:pt x="320" y="402"/>
                    </a:lnTo>
                    <a:lnTo>
                      <a:pt x="316" y="403"/>
                    </a:lnTo>
                    <a:lnTo>
                      <a:pt x="316" y="405"/>
                    </a:lnTo>
                    <a:lnTo>
                      <a:pt x="313" y="407"/>
                    </a:lnTo>
                    <a:lnTo>
                      <a:pt x="313" y="408"/>
                    </a:lnTo>
                    <a:lnTo>
                      <a:pt x="315" y="408"/>
                    </a:lnTo>
                    <a:lnTo>
                      <a:pt x="315" y="410"/>
                    </a:lnTo>
                    <a:lnTo>
                      <a:pt x="313" y="414"/>
                    </a:lnTo>
                    <a:lnTo>
                      <a:pt x="313" y="415"/>
                    </a:lnTo>
                    <a:lnTo>
                      <a:pt x="316" y="419"/>
                    </a:lnTo>
                    <a:lnTo>
                      <a:pt x="316" y="420"/>
                    </a:lnTo>
                    <a:lnTo>
                      <a:pt x="313" y="427"/>
                    </a:lnTo>
                    <a:lnTo>
                      <a:pt x="313" y="429"/>
                    </a:lnTo>
                    <a:lnTo>
                      <a:pt x="311" y="434"/>
                    </a:lnTo>
                    <a:lnTo>
                      <a:pt x="311" y="441"/>
                    </a:lnTo>
                    <a:lnTo>
                      <a:pt x="310" y="444"/>
                    </a:lnTo>
                    <a:lnTo>
                      <a:pt x="308" y="444"/>
                    </a:lnTo>
                    <a:lnTo>
                      <a:pt x="306" y="446"/>
                    </a:lnTo>
                    <a:lnTo>
                      <a:pt x="306" y="448"/>
                    </a:lnTo>
                    <a:lnTo>
                      <a:pt x="304" y="449"/>
                    </a:lnTo>
                    <a:lnTo>
                      <a:pt x="306" y="449"/>
                    </a:lnTo>
                    <a:lnTo>
                      <a:pt x="303" y="453"/>
                    </a:lnTo>
                    <a:lnTo>
                      <a:pt x="303" y="454"/>
                    </a:lnTo>
                    <a:lnTo>
                      <a:pt x="301" y="454"/>
                    </a:lnTo>
                    <a:lnTo>
                      <a:pt x="301" y="458"/>
                    </a:lnTo>
                    <a:lnTo>
                      <a:pt x="299" y="459"/>
                    </a:lnTo>
                    <a:lnTo>
                      <a:pt x="299" y="458"/>
                    </a:lnTo>
                    <a:lnTo>
                      <a:pt x="298" y="459"/>
                    </a:lnTo>
                    <a:lnTo>
                      <a:pt x="296" y="461"/>
                    </a:lnTo>
                    <a:lnTo>
                      <a:pt x="298" y="465"/>
                    </a:lnTo>
                    <a:lnTo>
                      <a:pt x="296" y="465"/>
                    </a:lnTo>
                    <a:lnTo>
                      <a:pt x="293" y="465"/>
                    </a:lnTo>
                    <a:lnTo>
                      <a:pt x="294" y="463"/>
                    </a:lnTo>
                    <a:lnTo>
                      <a:pt x="294" y="461"/>
                    </a:lnTo>
                    <a:lnTo>
                      <a:pt x="293" y="463"/>
                    </a:lnTo>
                    <a:lnTo>
                      <a:pt x="291" y="463"/>
                    </a:lnTo>
                    <a:lnTo>
                      <a:pt x="289" y="461"/>
                    </a:lnTo>
                    <a:lnTo>
                      <a:pt x="291" y="459"/>
                    </a:lnTo>
                    <a:lnTo>
                      <a:pt x="289" y="461"/>
                    </a:lnTo>
                    <a:lnTo>
                      <a:pt x="287" y="459"/>
                    </a:lnTo>
                    <a:lnTo>
                      <a:pt x="287" y="458"/>
                    </a:lnTo>
                    <a:lnTo>
                      <a:pt x="286" y="458"/>
                    </a:lnTo>
                    <a:lnTo>
                      <a:pt x="286" y="456"/>
                    </a:lnTo>
                    <a:lnTo>
                      <a:pt x="284" y="456"/>
                    </a:lnTo>
                    <a:lnTo>
                      <a:pt x="284" y="454"/>
                    </a:lnTo>
                    <a:lnTo>
                      <a:pt x="282" y="453"/>
                    </a:lnTo>
                    <a:lnTo>
                      <a:pt x="282" y="451"/>
                    </a:lnTo>
                    <a:lnTo>
                      <a:pt x="281" y="449"/>
                    </a:lnTo>
                    <a:lnTo>
                      <a:pt x="279" y="448"/>
                    </a:lnTo>
                    <a:lnTo>
                      <a:pt x="279" y="446"/>
                    </a:lnTo>
                    <a:lnTo>
                      <a:pt x="277" y="446"/>
                    </a:lnTo>
                    <a:lnTo>
                      <a:pt x="277" y="448"/>
                    </a:lnTo>
                    <a:lnTo>
                      <a:pt x="276" y="444"/>
                    </a:lnTo>
                    <a:lnTo>
                      <a:pt x="276" y="448"/>
                    </a:lnTo>
                    <a:lnTo>
                      <a:pt x="276" y="451"/>
                    </a:lnTo>
                    <a:lnTo>
                      <a:pt x="279" y="456"/>
                    </a:lnTo>
                    <a:lnTo>
                      <a:pt x="281" y="458"/>
                    </a:lnTo>
                    <a:lnTo>
                      <a:pt x="286" y="461"/>
                    </a:lnTo>
                    <a:lnTo>
                      <a:pt x="286" y="466"/>
                    </a:lnTo>
                    <a:lnTo>
                      <a:pt x="286" y="468"/>
                    </a:lnTo>
                    <a:lnTo>
                      <a:pt x="286" y="470"/>
                    </a:lnTo>
                    <a:lnTo>
                      <a:pt x="284" y="471"/>
                    </a:lnTo>
                    <a:lnTo>
                      <a:pt x="284" y="473"/>
                    </a:lnTo>
                    <a:lnTo>
                      <a:pt x="277" y="473"/>
                    </a:lnTo>
                    <a:lnTo>
                      <a:pt x="265" y="473"/>
                    </a:lnTo>
                    <a:lnTo>
                      <a:pt x="253" y="475"/>
                    </a:lnTo>
                    <a:lnTo>
                      <a:pt x="250" y="476"/>
                    </a:lnTo>
                    <a:lnTo>
                      <a:pt x="250" y="475"/>
                    </a:lnTo>
                    <a:lnTo>
                      <a:pt x="247" y="473"/>
                    </a:lnTo>
                    <a:lnTo>
                      <a:pt x="247" y="471"/>
                    </a:lnTo>
                    <a:lnTo>
                      <a:pt x="245" y="473"/>
                    </a:lnTo>
                    <a:lnTo>
                      <a:pt x="243" y="471"/>
                    </a:lnTo>
                    <a:lnTo>
                      <a:pt x="242" y="473"/>
                    </a:lnTo>
                    <a:lnTo>
                      <a:pt x="242" y="471"/>
                    </a:lnTo>
                    <a:lnTo>
                      <a:pt x="240" y="471"/>
                    </a:lnTo>
                    <a:lnTo>
                      <a:pt x="238" y="471"/>
                    </a:lnTo>
                    <a:lnTo>
                      <a:pt x="236" y="470"/>
                    </a:lnTo>
                    <a:lnTo>
                      <a:pt x="236" y="471"/>
                    </a:lnTo>
                    <a:lnTo>
                      <a:pt x="235" y="470"/>
                    </a:lnTo>
                    <a:lnTo>
                      <a:pt x="233" y="470"/>
                    </a:lnTo>
                    <a:lnTo>
                      <a:pt x="233" y="471"/>
                    </a:lnTo>
                    <a:lnTo>
                      <a:pt x="233" y="473"/>
                    </a:lnTo>
                    <a:lnTo>
                      <a:pt x="235" y="473"/>
                    </a:lnTo>
                    <a:lnTo>
                      <a:pt x="236" y="473"/>
                    </a:lnTo>
                    <a:lnTo>
                      <a:pt x="236" y="475"/>
                    </a:lnTo>
                    <a:lnTo>
                      <a:pt x="233" y="475"/>
                    </a:lnTo>
                    <a:lnTo>
                      <a:pt x="231" y="471"/>
                    </a:lnTo>
                    <a:lnTo>
                      <a:pt x="228" y="468"/>
                    </a:lnTo>
                    <a:lnTo>
                      <a:pt x="228" y="466"/>
                    </a:lnTo>
                    <a:lnTo>
                      <a:pt x="228" y="465"/>
                    </a:lnTo>
                    <a:lnTo>
                      <a:pt x="226" y="466"/>
                    </a:lnTo>
                    <a:lnTo>
                      <a:pt x="225" y="465"/>
                    </a:lnTo>
                    <a:lnTo>
                      <a:pt x="223" y="463"/>
                    </a:lnTo>
                    <a:lnTo>
                      <a:pt x="225" y="463"/>
                    </a:lnTo>
                    <a:lnTo>
                      <a:pt x="225" y="461"/>
                    </a:lnTo>
                    <a:lnTo>
                      <a:pt x="223" y="463"/>
                    </a:lnTo>
                    <a:lnTo>
                      <a:pt x="223" y="461"/>
                    </a:lnTo>
                    <a:lnTo>
                      <a:pt x="223" y="463"/>
                    </a:lnTo>
                    <a:lnTo>
                      <a:pt x="219" y="465"/>
                    </a:lnTo>
                    <a:lnTo>
                      <a:pt x="219" y="466"/>
                    </a:lnTo>
                    <a:lnTo>
                      <a:pt x="218" y="465"/>
                    </a:lnTo>
                    <a:lnTo>
                      <a:pt x="218" y="463"/>
                    </a:lnTo>
                    <a:lnTo>
                      <a:pt x="218" y="468"/>
                    </a:lnTo>
                    <a:lnTo>
                      <a:pt x="216" y="470"/>
                    </a:lnTo>
                    <a:lnTo>
                      <a:pt x="214" y="465"/>
                    </a:lnTo>
                    <a:lnTo>
                      <a:pt x="213" y="465"/>
                    </a:lnTo>
                    <a:lnTo>
                      <a:pt x="214" y="465"/>
                    </a:lnTo>
                    <a:lnTo>
                      <a:pt x="216" y="470"/>
                    </a:lnTo>
                    <a:lnTo>
                      <a:pt x="214" y="470"/>
                    </a:lnTo>
                    <a:lnTo>
                      <a:pt x="213" y="470"/>
                    </a:lnTo>
                    <a:lnTo>
                      <a:pt x="211" y="470"/>
                    </a:lnTo>
                    <a:lnTo>
                      <a:pt x="211" y="468"/>
                    </a:lnTo>
                    <a:lnTo>
                      <a:pt x="208" y="466"/>
                    </a:lnTo>
                    <a:lnTo>
                      <a:pt x="208" y="463"/>
                    </a:lnTo>
                    <a:lnTo>
                      <a:pt x="209" y="463"/>
                    </a:lnTo>
                    <a:lnTo>
                      <a:pt x="208" y="461"/>
                    </a:lnTo>
                    <a:lnTo>
                      <a:pt x="208" y="463"/>
                    </a:lnTo>
                    <a:lnTo>
                      <a:pt x="208" y="461"/>
                    </a:lnTo>
                    <a:lnTo>
                      <a:pt x="208" y="459"/>
                    </a:lnTo>
                    <a:lnTo>
                      <a:pt x="209" y="458"/>
                    </a:lnTo>
                    <a:lnTo>
                      <a:pt x="208" y="459"/>
                    </a:lnTo>
                    <a:lnTo>
                      <a:pt x="206" y="458"/>
                    </a:lnTo>
                    <a:lnTo>
                      <a:pt x="206" y="459"/>
                    </a:lnTo>
                    <a:lnTo>
                      <a:pt x="208" y="461"/>
                    </a:lnTo>
                    <a:lnTo>
                      <a:pt x="208" y="466"/>
                    </a:lnTo>
                    <a:lnTo>
                      <a:pt x="211" y="468"/>
                    </a:lnTo>
                    <a:lnTo>
                      <a:pt x="211" y="470"/>
                    </a:lnTo>
                    <a:lnTo>
                      <a:pt x="209" y="471"/>
                    </a:lnTo>
                    <a:lnTo>
                      <a:pt x="209" y="473"/>
                    </a:lnTo>
                    <a:lnTo>
                      <a:pt x="211" y="480"/>
                    </a:lnTo>
                    <a:lnTo>
                      <a:pt x="213" y="482"/>
                    </a:lnTo>
                    <a:lnTo>
                      <a:pt x="208" y="482"/>
                    </a:lnTo>
                    <a:lnTo>
                      <a:pt x="204" y="482"/>
                    </a:lnTo>
                    <a:lnTo>
                      <a:pt x="204" y="476"/>
                    </a:lnTo>
                    <a:lnTo>
                      <a:pt x="204" y="475"/>
                    </a:lnTo>
                    <a:lnTo>
                      <a:pt x="206" y="471"/>
                    </a:lnTo>
                    <a:lnTo>
                      <a:pt x="206" y="470"/>
                    </a:lnTo>
                    <a:lnTo>
                      <a:pt x="206" y="468"/>
                    </a:lnTo>
                    <a:lnTo>
                      <a:pt x="206" y="471"/>
                    </a:lnTo>
                    <a:lnTo>
                      <a:pt x="204" y="473"/>
                    </a:lnTo>
                    <a:lnTo>
                      <a:pt x="204" y="478"/>
                    </a:lnTo>
                    <a:lnTo>
                      <a:pt x="202" y="475"/>
                    </a:lnTo>
                    <a:lnTo>
                      <a:pt x="201" y="475"/>
                    </a:lnTo>
                    <a:lnTo>
                      <a:pt x="202" y="475"/>
                    </a:lnTo>
                    <a:lnTo>
                      <a:pt x="202" y="478"/>
                    </a:lnTo>
                    <a:lnTo>
                      <a:pt x="204" y="480"/>
                    </a:lnTo>
                    <a:lnTo>
                      <a:pt x="204" y="483"/>
                    </a:lnTo>
                    <a:lnTo>
                      <a:pt x="201" y="483"/>
                    </a:lnTo>
                    <a:lnTo>
                      <a:pt x="199" y="482"/>
                    </a:lnTo>
                    <a:lnTo>
                      <a:pt x="199" y="476"/>
                    </a:lnTo>
                    <a:lnTo>
                      <a:pt x="197" y="475"/>
                    </a:lnTo>
                    <a:lnTo>
                      <a:pt x="196" y="473"/>
                    </a:lnTo>
                    <a:lnTo>
                      <a:pt x="196" y="475"/>
                    </a:lnTo>
                    <a:lnTo>
                      <a:pt x="197" y="475"/>
                    </a:lnTo>
                    <a:lnTo>
                      <a:pt x="199" y="476"/>
                    </a:lnTo>
                    <a:lnTo>
                      <a:pt x="199" y="482"/>
                    </a:lnTo>
                    <a:lnTo>
                      <a:pt x="197" y="482"/>
                    </a:lnTo>
                    <a:lnTo>
                      <a:pt x="199" y="482"/>
                    </a:lnTo>
                    <a:lnTo>
                      <a:pt x="199" y="483"/>
                    </a:lnTo>
                    <a:lnTo>
                      <a:pt x="191" y="483"/>
                    </a:lnTo>
                    <a:lnTo>
                      <a:pt x="189" y="483"/>
                    </a:lnTo>
                    <a:lnTo>
                      <a:pt x="187" y="482"/>
                    </a:lnTo>
                    <a:lnTo>
                      <a:pt x="185" y="478"/>
                    </a:lnTo>
                    <a:lnTo>
                      <a:pt x="184" y="478"/>
                    </a:lnTo>
                    <a:lnTo>
                      <a:pt x="182" y="480"/>
                    </a:lnTo>
                    <a:lnTo>
                      <a:pt x="182" y="478"/>
                    </a:lnTo>
                    <a:lnTo>
                      <a:pt x="180" y="476"/>
                    </a:lnTo>
                    <a:lnTo>
                      <a:pt x="182" y="480"/>
                    </a:lnTo>
                    <a:lnTo>
                      <a:pt x="180" y="478"/>
                    </a:lnTo>
                    <a:lnTo>
                      <a:pt x="179" y="478"/>
                    </a:lnTo>
                    <a:lnTo>
                      <a:pt x="180" y="480"/>
                    </a:lnTo>
                    <a:lnTo>
                      <a:pt x="179" y="483"/>
                    </a:lnTo>
                    <a:lnTo>
                      <a:pt x="180" y="485"/>
                    </a:lnTo>
                    <a:lnTo>
                      <a:pt x="174" y="487"/>
                    </a:lnTo>
                    <a:lnTo>
                      <a:pt x="174" y="483"/>
                    </a:lnTo>
                    <a:lnTo>
                      <a:pt x="174" y="482"/>
                    </a:lnTo>
                    <a:lnTo>
                      <a:pt x="175" y="482"/>
                    </a:lnTo>
                    <a:lnTo>
                      <a:pt x="177" y="480"/>
                    </a:lnTo>
                    <a:lnTo>
                      <a:pt x="175" y="478"/>
                    </a:lnTo>
                    <a:lnTo>
                      <a:pt x="172" y="480"/>
                    </a:lnTo>
                    <a:lnTo>
                      <a:pt x="172" y="482"/>
                    </a:lnTo>
                    <a:lnTo>
                      <a:pt x="170" y="482"/>
                    </a:lnTo>
                    <a:lnTo>
                      <a:pt x="172" y="483"/>
                    </a:lnTo>
                    <a:lnTo>
                      <a:pt x="172" y="485"/>
                    </a:lnTo>
                    <a:lnTo>
                      <a:pt x="167" y="483"/>
                    </a:lnTo>
                    <a:lnTo>
                      <a:pt x="168" y="482"/>
                    </a:lnTo>
                    <a:lnTo>
                      <a:pt x="167" y="480"/>
                    </a:lnTo>
                    <a:lnTo>
                      <a:pt x="167" y="482"/>
                    </a:lnTo>
                    <a:lnTo>
                      <a:pt x="167" y="483"/>
                    </a:lnTo>
                    <a:lnTo>
                      <a:pt x="163" y="482"/>
                    </a:lnTo>
                    <a:lnTo>
                      <a:pt x="162" y="480"/>
                    </a:lnTo>
                    <a:lnTo>
                      <a:pt x="162" y="478"/>
                    </a:lnTo>
                    <a:lnTo>
                      <a:pt x="163" y="476"/>
                    </a:lnTo>
                    <a:lnTo>
                      <a:pt x="160" y="478"/>
                    </a:lnTo>
                    <a:lnTo>
                      <a:pt x="158" y="476"/>
                    </a:lnTo>
                    <a:lnTo>
                      <a:pt x="157" y="476"/>
                    </a:lnTo>
                    <a:lnTo>
                      <a:pt x="155" y="473"/>
                    </a:lnTo>
                    <a:lnTo>
                      <a:pt x="153" y="473"/>
                    </a:lnTo>
                    <a:lnTo>
                      <a:pt x="153" y="471"/>
                    </a:lnTo>
                    <a:lnTo>
                      <a:pt x="151" y="471"/>
                    </a:lnTo>
                    <a:lnTo>
                      <a:pt x="145" y="461"/>
                    </a:lnTo>
                    <a:lnTo>
                      <a:pt x="141" y="454"/>
                    </a:lnTo>
                    <a:lnTo>
                      <a:pt x="141" y="451"/>
                    </a:lnTo>
                    <a:lnTo>
                      <a:pt x="138" y="442"/>
                    </a:lnTo>
                    <a:lnTo>
                      <a:pt x="141" y="442"/>
                    </a:lnTo>
                    <a:lnTo>
                      <a:pt x="141" y="441"/>
                    </a:lnTo>
                    <a:lnTo>
                      <a:pt x="138" y="442"/>
                    </a:lnTo>
                    <a:lnTo>
                      <a:pt x="136" y="441"/>
                    </a:lnTo>
                    <a:lnTo>
                      <a:pt x="134" y="431"/>
                    </a:lnTo>
                    <a:lnTo>
                      <a:pt x="136" y="431"/>
                    </a:lnTo>
                    <a:lnTo>
                      <a:pt x="136" y="432"/>
                    </a:lnTo>
                    <a:lnTo>
                      <a:pt x="136" y="431"/>
                    </a:lnTo>
                    <a:lnTo>
                      <a:pt x="140" y="431"/>
                    </a:lnTo>
                    <a:lnTo>
                      <a:pt x="141" y="432"/>
                    </a:lnTo>
                    <a:lnTo>
                      <a:pt x="146" y="431"/>
                    </a:lnTo>
                    <a:lnTo>
                      <a:pt x="146" y="429"/>
                    </a:lnTo>
                    <a:lnTo>
                      <a:pt x="145" y="429"/>
                    </a:lnTo>
                    <a:lnTo>
                      <a:pt x="145" y="427"/>
                    </a:lnTo>
                    <a:lnTo>
                      <a:pt x="145" y="424"/>
                    </a:lnTo>
                    <a:lnTo>
                      <a:pt x="148" y="424"/>
                    </a:lnTo>
                    <a:lnTo>
                      <a:pt x="150" y="422"/>
                    </a:lnTo>
                    <a:lnTo>
                      <a:pt x="151" y="422"/>
                    </a:lnTo>
                    <a:lnTo>
                      <a:pt x="150" y="422"/>
                    </a:lnTo>
                    <a:lnTo>
                      <a:pt x="148" y="424"/>
                    </a:lnTo>
                    <a:lnTo>
                      <a:pt x="145" y="424"/>
                    </a:lnTo>
                    <a:lnTo>
                      <a:pt x="141" y="429"/>
                    </a:lnTo>
                    <a:lnTo>
                      <a:pt x="140" y="427"/>
                    </a:lnTo>
                    <a:lnTo>
                      <a:pt x="140" y="425"/>
                    </a:lnTo>
                    <a:lnTo>
                      <a:pt x="140" y="427"/>
                    </a:lnTo>
                    <a:lnTo>
                      <a:pt x="140" y="429"/>
                    </a:lnTo>
                    <a:lnTo>
                      <a:pt x="136" y="429"/>
                    </a:lnTo>
                    <a:lnTo>
                      <a:pt x="131" y="427"/>
                    </a:lnTo>
                    <a:lnTo>
                      <a:pt x="129" y="425"/>
                    </a:lnTo>
                    <a:lnTo>
                      <a:pt x="126" y="422"/>
                    </a:lnTo>
                    <a:lnTo>
                      <a:pt x="129" y="419"/>
                    </a:lnTo>
                    <a:lnTo>
                      <a:pt x="138" y="420"/>
                    </a:lnTo>
                    <a:lnTo>
                      <a:pt x="138" y="419"/>
                    </a:lnTo>
                    <a:lnTo>
                      <a:pt x="138" y="417"/>
                    </a:lnTo>
                    <a:lnTo>
                      <a:pt x="136" y="419"/>
                    </a:lnTo>
                    <a:lnTo>
                      <a:pt x="134" y="419"/>
                    </a:lnTo>
                    <a:lnTo>
                      <a:pt x="134" y="417"/>
                    </a:lnTo>
                    <a:lnTo>
                      <a:pt x="134" y="414"/>
                    </a:lnTo>
                    <a:lnTo>
                      <a:pt x="133" y="419"/>
                    </a:lnTo>
                    <a:lnTo>
                      <a:pt x="129" y="417"/>
                    </a:lnTo>
                    <a:lnTo>
                      <a:pt x="128" y="419"/>
                    </a:lnTo>
                    <a:lnTo>
                      <a:pt x="126" y="419"/>
                    </a:lnTo>
                    <a:lnTo>
                      <a:pt x="123" y="414"/>
                    </a:lnTo>
                    <a:lnTo>
                      <a:pt x="123" y="410"/>
                    </a:lnTo>
                    <a:lnTo>
                      <a:pt x="121" y="410"/>
                    </a:lnTo>
                    <a:lnTo>
                      <a:pt x="116" y="402"/>
                    </a:lnTo>
                    <a:lnTo>
                      <a:pt x="106" y="393"/>
                    </a:lnTo>
                    <a:lnTo>
                      <a:pt x="95" y="383"/>
                    </a:lnTo>
                    <a:lnTo>
                      <a:pt x="90" y="381"/>
                    </a:lnTo>
                    <a:lnTo>
                      <a:pt x="85" y="380"/>
                    </a:lnTo>
                    <a:lnTo>
                      <a:pt x="63" y="376"/>
                    </a:lnTo>
                    <a:lnTo>
                      <a:pt x="58" y="376"/>
                    </a:lnTo>
                    <a:lnTo>
                      <a:pt x="38" y="378"/>
                    </a:lnTo>
                    <a:lnTo>
                      <a:pt x="27" y="378"/>
                    </a:lnTo>
                    <a:lnTo>
                      <a:pt x="9" y="380"/>
                    </a:lnTo>
                    <a:lnTo>
                      <a:pt x="2" y="380"/>
                    </a:lnTo>
                    <a:lnTo>
                      <a:pt x="2" y="373"/>
                    </a:lnTo>
                    <a:lnTo>
                      <a:pt x="4" y="369"/>
                    </a:lnTo>
                    <a:lnTo>
                      <a:pt x="4" y="366"/>
                    </a:lnTo>
                    <a:lnTo>
                      <a:pt x="5" y="362"/>
                    </a:lnTo>
                    <a:lnTo>
                      <a:pt x="7" y="361"/>
                    </a:lnTo>
                    <a:lnTo>
                      <a:pt x="5" y="361"/>
                    </a:lnTo>
                    <a:lnTo>
                      <a:pt x="4" y="359"/>
                    </a:lnTo>
                    <a:lnTo>
                      <a:pt x="4" y="357"/>
                    </a:lnTo>
                    <a:lnTo>
                      <a:pt x="4" y="356"/>
                    </a:lnTo>
                    <a:lnTo>
                      <a:pt x="4" y="352"/>
                    </a:lnTo>
                    <a:lnTo>
                      <a:pt x="2" y="351"/>
                    </a:lnTo>
                    <a:lnTo>
                      <a:pt x="4" y="349"/>
                    </a:lnTo>
                    <a:lnTo>
                      <a:pt x="7" y="345"/>
                    </a:lnTo>
                    <a:lnTo>
                      <a:pt x="4" y="344"/>
                    </a:lnTo>
                    <a:lnTo>
                      <a:pt x="5" y="340"/>
                    </a:lnTo>
                    <a:lnTo>
                      <a:pt x="5" y="335"/>
                    </a:lnTo>
                    <a:lnTo>
                      <a:pt x="4" y="335"/>
                    </a:lnTo>
                    <a:lnTo>
                      <a:pt x="4" y="327"/>
                    </a:lnTo>
                    <a:lnTo>
                      <a:pt x="5" y="327"/>
                    </a:lnTo>
                    <a:lnTo>
                      <a:pt x="7" y="327"/>
                    </a:lnTo>
                    <a:lnTo>
                      <a:pt x="7" y="323"/>
                    </a:lnTo>
                    <a:lnTo>
                      <a:pt x="4" y="322"/>
                    </a:lnTo>
                    <a:lnTo>
                      <a:pt x="4" y="318"/>
                    </a:lnTo>
                    <a:lnTo>
                      <a:pt x="4" y="308"/>
                    </a:lnTo>
                    <a:lnTo>
                      <a:pt x="0" y="303"/>
                    </a:lnTo>
                    <a:lnTo>
                      <a:pt x="2" y="301"/>
                    </a:lnTo>
                    <a:lnTo>
                      <a:pt x="4" y="293"/>
                    </a:lnTo>
                    <a:lnTo>
                      <a:pt x="4" y="289"/>
                    </a:lnTo>
                    <a:lnTo>
                      <a:pt x="4" y="288"/>
                    </a:lnTo>
                    <a:lnTo>
                      <a:pt x="4" y="286"/>
                    </a:lnTo>
                    <a:lnTo>
                      <a:pt x="2" y="284"/>
                    </a:lnTo>
                    <a:lnTo>
                      <a:pt x="2" y="281"/>
                    </a:lnTo>
                    <a:lnTo>
                      <a:pt x="2" y="279"/>
                    </a:lnTo>
                    <a:lnTo>
                      <a:pt x="2" y="277"/>
                    </a:lnTo>
                    <a:lnTo>
                      <a:pt x="2" y="276"/>
                    </a:lnTo>
                    <a:lnTo>
                      <a:pt x="4" y="274"/>
                    </a:lnTo>
                    <a:lnTo>
                      <a:pt x="5" y="272"/>
                    </a:lnTo>
                    <a:lnTo>
                      <a:pt x="4" y="272"/>
                    </a:lnTo>
                    <a:lnTo>
                      <a:pt x="5" y="271"/>
                    </a:lnTo>
                    <a:lnTo>
                      <a:pt x="4" y="269"/>
                    </a:lnTo>
                    <a:lnTo>
                      <a:pt x="5" y="269"/>
                    </a:lnTo>
                    <a:lnTo>
                      <a:pt x="4" y="267"/>
                    </a:lnTo>
                    <a:lnTo>
                      <a:pt x="4" y="264"/>
                    </a:lnTo>
                    <a:lnTo>
                      <a:pt x="5" y="260"/>
                    </a:lnTo>
                    <a:lnTo>
                      <a:pt x="4" y="260"/>
                    </a:lnTo>
                    <a:lnTo>
                      <a:pt x="4" y="259"/>
                    </a:lnTo>
                    <a:lnTo>
                      <a:pt x="4" y="257"/>
                    </a:lnTo>
                    <a:lnTo>
                      <a:pt x="5" y="255"/>
                    </a:lnTo>
                    <a:lnTo>
                      <a:pt x="5" y="254"/>
                    </a:lnTo>
                    <a:lnTo>
                      <a:pt x="4" y="254"/>
                    </a:lnTo>
                    <a:lnTo>
                      <a:pt x="5" y="254"/>
                    </a:lnTo>
                    <a:lnTo>
                      <a:pt x="5" y="252"/>
                    </a:lnTo>
                    <a:lnTo>
                      <a:pt x="4" y="250"/>
                    </a:lnTo>
                    <a:lnTo>
                      <a:pt x="5" y="250"/>
                    </a:lnTo>
                    <a:lnTo>
                      <a:pt x="5" y="249"/>
                    </a:lnTo>
                    <a:lnTo>
                      <a:pt x="7" y="247"/>
                    </a:lnTo>
                    <a:lnTo>
                      <a:pt x="5" y="245"/>
                    </a:lnTo>
                    <a:lnTo>
                      <a:pt x="7" y="245"/>
                    </a:lnTo>
                    <a:lnTo>
                      <a:pt x="5" y="245"/>
                    </a:lnTo>
                    <a:lnTo>
                      <a:pt x="7" y="243"/>
                    </a:lnTo>
                    <a:lnTo>
                      <a:pt x="5" y="243"/>
                    </a:lnTo>
                    <a:lnTo>
                      <a:pt x="10" y="243"/>
                    </a:lnTo>
                    <a:lnTo>
                      <a:pt x="12" y="242"/>
                    </a:lnTo>
                    <a:lnTo>
                      <a:pt x="14" y="242"/>
                    </a:lnTo>
                    <a:lnTo>
                      <a:pt x="15" y="243"/>
                    </a:lnTo>
                    <a:lnTo>
                      <a:pt x="21" y="242"/>
                    </a:lnTo>
                    <a:lnTo>
                      <a:pt x="24" y="237"/>
                    </a:lnTo>
                    <a:lnTo>
                      <a:pt x="24" y="233"/>
                    </a:lnTo>
                    <a:lnTo>
                      <a:pt x="26" y="232"/>
                    </a:lnTo>
                    <a:lnTo>
                      <a:pt x="24" y="228"/>
                    </a:lnTo>
                    <a:lnTo>
                      <a:pt x="24" y="225"/>
                    </a:lnTo>
                    <a:lnTo>
                      <a:pt x="24" y="223"/>
                    </a:lnTo>
                    <a:lnTo>
                      <a:pt x="26" y="221"/>
                    </a:lnTo>
                    <a:lnTo>
                      <a:pt x="31" y="213"/>
                    </a:lnTo>
                    <a:lnTo>
                      <a:pt x="32" y="213"/>
                    </a:lnTo>
                    <a:lnTo>
                      <a:pt x="34" y="211"/>
                    </a:lnTo>
                    <a:lnTo>
                      <a:pt x="32" y="208"/>
                    </a:lnTo>
                    <a:lnTo>
                      <a:pt x="34" y="206"/>
                    </a:lnTo>
                    <a:lnTo>
                      <a:pt x="34" y="204"/>
                    </a:lnTo>
                    <a:lnTo>
                      <a:pt x="39" y="203"/>
                    </a:lnTo>
                    <a:lnTo>
                      <a:pt x="44" y="203"/>
                    </a:lnTo>
                    <a:lnTo>
                      <a:pt x="48" y="197"/>
                    </a:lnTo>
                    <a:lnTo>
                      <a:pt x="48" y="192"/>
                    </a:lnTo>
                    <a:lnTo>
                      <a:pt x="51" y="191"/>
                    </a:lnTo>
                    <a:lnTo>
                      <a:pt x="51" y="187"/>
                    </a:lnTo>
                    <a:lnTo>
                      <a:pt x="48" y="184"/>
                    </a:lnTo>
                    <a:lnTo>
                      <a:pt x="46" y="182"/>
                    </a:lnTo>
                    <a:lnTo>
                      <a:pt x="49" y="174"/>
                    </a:lnTo>
                    <a:lnTo>
                      <a:pt x="51" y="172"/>
                    </a:lnTo>
                    <a:lnTo>
                      <a:pt x="56" y="175"/>
                    </a:lnTo>
                    <a:lnTo>
                      <a:pt x="58" y="170"/>
                    </a:lnTo>
                    <a:lnTo>
                      <a:pt x="60" y="165"/>
                    </a:lnTo>
                    <a:lnTo>
                      <a:pt x="60" y="160"/>
                    </a:lnTo>
                    <a:lnTo>
                      <a:pt x="56" y="158"/>
                    </a:lnTo>
                    <a:lnTo>
                      <a:pt x="55" y="155"/>
                    </a:lnTo>
                    <a:lnTo>
                      <a:pt x="56" y="148"/>
                    </a:lnTo>
                    <a:lnTo>
                      <a:pt x="56" y="145"/>
                    </a:lnTo>
                    <a:lnTo>
                      <a:pt x="53" y="143"/>
                    </a:lnTo>
                    <a:lnTo>
                      <a:pt x="55" y="140"/>
                    </a:lnTo>
                    <a:lnTo>
                      <a:pt x="51" y="138"/>
                    </a:lnTo>
                    <a:lnTo>
                      <a:pt x="41" y="123"/>
                    </a:lnTo>
                    <a:lnTo>
                      <a:pt x="48" y="109"/>
                    </a:lnTo>
                    <a:lnTo>
                      <a:pt x="49" y="109"/>
                    </a:lnTo>
                    <a:lnTo>
                      <a:pt x="51" y="107"/>
                    </a:lnTo>
                    <a:lnTo>
                      <a:pt x="51" y="104"/>
                    </a:lnTo>
                    <a:lnTo>
                      <a:pt x="48" y="102"/>
                    </a:lnTo>
                    <a:lnTo>
                      <a:pt x="48" y="99"/>
                    </a:lnTo>
                    <a:lnTo>
                      <a:pt x="51" y="95"/>
                    </a:lnTo>
                    <a:lnTo>
                      <a:pt x="49" y="89"/>
                    </a:lnTo>
                    <a:lnTo>
                      <a:pt x="49" y="80"/>
                    </a:lnTo>
                    <a:lnTo>
                      <a:pt x="49" y="68"/>
                    </a:lnTo>
                    <a:lnTo>
                      <a:pt x="65" y="56"/>
                    </a:lnTo>
                    <a:lnTo>
                      <a:pt x="72" y="44"/>
                    </a:lnTo>
                    <a:lnTo>
                      <a:pt x="73" y="36"/>
                    </a:lnTo>
                    <a:lnTo>
                      <a:pt x="73" y="21"/>
                    </a:lnTo>
                    <a:lnTo>
                      <a:pt x="77" y="21"/>
                    </a:lnTo>
                    <a:lnTo>
                      <a:pt x="90" y="9"/>
                    </a:lnTo>
                    <a:lnTo>
                      <a:pt x="111" y="5"/>
                    </a:lnTo>
                    <a:lnTo>
                      <a:pt x="114" y="7"/>
                    </a:lnTo>
                    <a:lnTo>
                      <a:pt x="116" y="7"/>
                    </a:lnTo>
                    <a:lnTo>
                      <a:pt x="129" y="7"/>
                    </a:lnTo>
                    <a:lnTo>
                      <a:pt x="133" y="5"/>
                    </a:lnTo>
                    <a:lnTo>
                      <a:pt x="136" y="2"/>
                    </a:lnTo>
                    <a:lnTo>
                      <a:pt x="145" y="0"/>
                    </a:lnTo>
                    <a:lnTo>
                      <a:pt x="162" y="5"/>
                    </a:lnTo>
                    <a:lnTo>
                      <a:pt x="177" y="10"/>
                    </a:lnTo>
                    <a:lnTo>
                      <a:pt x="184" y="9"/>
                    </a:lnTo>
                    <a:lnTo>
                      <a:pt x="191" y="14"/>
                    </a:lnTo>
                    <a:lnTo>
                      <a:pt x="192" y="15"/>
                    </a:lnTo>
                    <a:lnTo>
                      <a:pt x="194" y="15"/>
                    </a:lnTo>
                    <a:lnTo>
                      <a:pt x="197" y="17"/>
                    </a:lnTo>
                    <a:lnTo>
                      <a:pt x="197" y="19"/>
                    </a:lnTo>
                    <a:lnTo>
                      <a:pt x="202" y="26"/>
                    </a:lnTo>
                    <a:lnTo>
                      <a:pt x="211" y="38"/>
                    </a:lnTo>
                    <a:lnTo>
                      <a:pt x="211" y="39"/>
                    </a:lnTo>
                    <a:lnTo>
                      <a:pt x="213" y="39"/>
                    </a:lnTo>
                    <a:lnTo>
                      <a:pt x="214" y="41"/>
                    </a:lnTo>
                    <a:lnTo>
                      <a:pt x="216" y="43"/>
                    </a:lnTo>
                    <a:lnTo>
                      <a:pt x="223" y="44"/>
                    </a:lnTo>
                    <a:lnTo>
                      <a:pt x="225" y="43"/>
                    </a:lnTo>
                    <a:lnTo>
                      <a:pt x="230" y="38"/>
                    </a:lnTo>
                    <a:lnTo>
                      <a:pt x="236" y="39"/>
                    </a:lnTo>
                    <a:lnTo>
                      <a:pt x="240" y="39"/>
                    </a:lnTo>
                    <a:lnTo>
                      <a:pt x="252" y="32"/>
                    </a:lnTo>
                    <a:lnTo>
                      <a:pt x="260" y="26"/>
                    </a:lnTo>
                    <a:lnTo>
                      <a:pt x="262" y="26"/>
                    </a:lnTo>
                    <a:lnTo>
                      <a:pt x="274" y="29"/>
                    </a:lnTo>
                    <a:lnTo>
                      <a:pt x="277" y="29"/>
                    </a:lnTo>
                    <a:lnTo>
                      <a:pt x="281" y="32"/>
                    </a:lnTo>
                    <a:lnTo>
                      <a:pt x="282" y="32"/>
                    </a:lnTo>
                    <a:lnTo>
                      <a:pt x="291" y="41"/>
                    </a:lnTo>
                    <a:lnTo>
                      <a:pt x="294" y="39"/>
                    </a:lnTo>
                    <a:lnTo>
                      <a:pt x="296" y="41"/>
                    </a:lnTo>
                    <a:lnTo>
                      <a:pt x="301" y="44"/>
                    </a:lnTo>
                    <a:lnTo>
                      <a:pt x="303" y="46"/>
                    </a:lnTo>
                    <a:lnTo>
                      <a:pt x="318" y="51"/>
                    </a:lnTo>
                    <a:lnTo>
                      <a:pt x="338" y="53"/>
                    </a:lnTo>
                    <a:lnTo>
                      <a:pt x="354" y="53"/>
                    </a:lnTo>
                    <a:lnTo>
                      <a:pt x="359" y="48"/>
                    </a:lnTo>
                    <a:lnTo>
                      <a:pt x="371" y="36"/>
                    </a:lnTo>
                    <a:lnTo>
                      <a:pt x="374" y="34"/>
                    </a:lnTo>
                    <a:lnTo>
                      <a:pt x="381" y="31"/>
                    </a:lnTo>
                    <a:lnTo>
                      <a:pt x="394" y="29"/>
                    </a:lnTo>
                    <a:lnTo>
                      <a:pt x="405" y="26"/>
                    </a:lnTo>
                    <a:lnTo>
                      <a:pt x="411" y="26"/>
                    </a:lnTo>
                    <a:lnTo>
                      <a:pt x="435" y="24"/>
                    </a:lnTo>
                    <a:lnTo>
                      <a:pt x="449" y="26"/>
                    </a:lnTo>
                    <a:lnTo>
                      <a:pt x="457" y="29"/>
                    </a:lnTo>
                    <a:lnTo>
                      <a:pt x="466" y="31"/>
                    </a:lnTo>
                    <a:lnTo>
                      <a:pt x="473" y="34"/>
                    </a:lnTo>
                    <a:lnTo>
                      <a:pt x="474" y="36"/>
                    </a:lnTo>
                    <a:lnTo>
                      <a:pt x="479" y="38"/>
                    </a:lnTo>
                    <a:lnTo>
                      <a:pt x="481" y="38"/>
                    </a:lnTo>
                    <a:lnTo>
                      <a:pt x="483" y="38"/>
                    </a:lnTo>
                    <a:lnTo>
                      <a:pt x="485" y="38"/>
                    </a:lnTo>
                    <a:lnTo>
                      <a:pt x="486" y="39"/>
                    </a:lnTo>
                    <a:lnTo>
                      <a:pt x="488" y="39"/>
                    </a:lnTo>
                    <a:lnTo>
                      <a:pt x="496" y="41"/>
                    </a:lnTo>
                    <a:lnTo>
                      <a:pt x="498" y="39"/>
                    </a:lnTo>
                    <a:lnTo>
                      <a:pt x="496" y="38"/>
                    </a:lnTo>
                    <a:lnTo>
                      <a:pt x="498" y="36"/>
                    </a:lnTo>
                    <a:lnTo>
                      <a:pt x="500" y="36"/>
                    </a:lnTo>
                    <a:lnTo>
                      <a:pt x="500" y="32"/>
                    </a:lnTo>
                    <a:lnTo>
                      <a:pt x="502" y="32"/>
                    </a:lnTo>
                    <a:lnTo>
                      <a:pt x="503" y="29"/>
                    </a:lnTo>
                    <a:lnTo>
                      <a:pt x="505" y="29"/>
                    </a:lnTo>
                    <a:lnTo>
                      <a:pt x="507" y="29"/>
                    </a:lnTo>
                    <a:lnTo>
                      <a:pt x="508" y="27"/>
                    </a:lnTo>
                    <a:lnTo>
                      <a:pt x="508" y="29"/>
                    </a:lnTo>
                    <a:lnTo>
                      <a:pt x="508" y="27"/>
                    </a:lnTo>
                    <a:lnTo>
                      <a:pt x="510" y="27"/>
                    </a:lnTo>
                    <a:lnTo>
                      <a:pt x="510" y="26"/>
                    </a:lnTo>
                    <a:lnTo>
                      <a:pt x="513" y="24"/>
                    </a:lnTo>
                    <a:lnTo>
                      <a:pt x="512" y="24"/>
                    </a:lnTo>
                    <a:lnTo>
                      <a:pt x="515" y="24"/>
                    </a:lnTo>
                    <a:lnTo>
                      <a:pt x="513" y="22"/>
                    </a:lnTo>
                    <a:lnTo>
                      <a:pt x="515" y="21"/>
                    </a:lnTo>
                    <a:lnTo>
                      <a:pt x="515" y="19"/>
                    </a:lnTo>
                    <a:lnTo>
                      <a:pt x="517" y="21"/>
                    </a:lnTo>
                    <a:lnTo>
                      <a:pt x="517" y="19"/>
                    </a:lnTo>
                    <a:lnTo>
                      <a:pt x="519" y="19"/>
                    </a:lnTo>
                    <a:lnTo>
                      <a:pt x="520" y="19"/>
                    </a:lnTo>
                    <a:lnTo>
                      <a:pt x="520" y="17"/>
                    </a:lnTo>
                    <a:lnTo>
                      <a:pt x="524" y="17"/>
                    </a:lnTo>
                    <a:lnTo>
                      <a:pt x="525" y="17"/>
                    </a:lnTo>
                    <a:lnTo>
                      <a:pt x="527" y="15"/>
                    </a:lnTo>
                    <a:lnTo>
                      <a:pt x="527" y="17"/>
                    </a:lnTo>
                    <a:lnTo>
                      <a:pt x="525" y="17"/>
                    </a:lnTo>
                    <a:lnTo>
                      <a:pt x="527" y="17"/>
                    </a:lnTo>
                    <a:lnTo>
                      <a:pt x="529" y="17"/>
                    </a:lnTo>
                    <a:lnTo>
                      <a:pt x="530" y="15"/>
                    </a:lnTo>
                    <a:lnTo>
                      <a:pt x="530" y="17"/>
                    </a:lnTo>
                    <a:lnTo>
                      <a:pt x="532" y="17"/>
                    </a:lnTo>
                    <a:lnTo>
                      <a:pt x="534" y="17"/>
                    </a:lnTo>
                    <a:lnTo>
                      <a:pt x="534" y="15"/>
                    </a:lnTo>
                    <a:lnTo>
                      <a:pt x="536" y="15"/>
                    </a:lnTo>
                    <a:lnTo>
                      <a:pt x="534" y="14"/>
                    </a:lnTo>
                    <a:lnTo>
                      <a:pt x="536" y="14"/>
                    </a:lnTo>
                    <a:lnTo>
                      <a:pt x="536" y="12"/>
                    </a:lnTo>
                    <a:lnTo>
                      <a:pt x="537" y="12"/>
                    </a:lnTo>
                    <a:lnTo>
                      <a:pt x="541" y="7"/>
                    </a:lnTo>
                    <a:lnTo>
                      <a:pt x="556" y="9"/>
                    </a:lnTo>
                    <a:close/>
                    <a:moveTo>
                      <a:pt x="213" y="470"/>
                    </a:moveTo>
                    <a:lnTo>
                      <a:pt x="214" y="470"/>
                    </a:lnTo>
                    <a:lnTo>
                      <a:pt x="216" y="470"/>
                    </a:lnTo>
                    <a:lnTo>
                      <a:pt x="214" y="471"/>
                    </a:lnTo>
                    <a:lnTo>
                      <a:pt x="218" y="473"/>
                    </a:lnTo>
                    <a:lnTo>
                      <a:pt x="219" y="478"/>
                    </a:lnTo>
                    <a:lnTo>
                      <a:pt x="221" y="480"/>
                    </a:lnTo>
                    <a:lnTo>
                      <a:pt x="219" y="480"/>
                    </a:lnTo>
                    <a:lnTo>
                      <a:pt x="219" y="482"/>
                    </a:lnTo>
                    <a:lnTo>
                      <a:pt x="218" y="480"/>
                    </a:lnTo>
                    <a:lnTo>
                      <a:pt x="216" y="478"/>
                    </a:lnTo>
                    <a:lnTo>
                      <a:pt x="214" y="476"/>
                    </a:lnTo>
                    <a:lnTo>
                      <a:pt x="214" y="475"/>
                    </a:lnTo>
                    <a:lnTo>
                      <a:pt x="214" y="476"/>
                    </a:lnTo>
                    <a:lnTo>
                      <a:pt x="213" y="478"/>
                    </a:lnTo>
                    <a:lnTo>
                      <a:pt x="213" y="476"/>
                    </a:lnTo>
                    <a:lnTo>
                      <a:pt x="211" y="476"/>
                    </a:lnTo>
                    <a:lnTo>
                      <a:pt x="209" y="471"/>
                    </a:lnTo>
                    <a:lnTo>
                      <a:pt x="211" y="470"/>
                    </a:lnTo>
                    <a:lnTo>
                      <a:pt x="213" y="470"/>
                    </a:lnTo>
                    <a:close/>
                    <a:moveTo>
                      <a:pt x="236" y="475"/>
                    </a:moveTo>
                    <a:lnTo>
                      <a:pt x="235" y="476"/>
                    </a:lnTo>
                    <a:lnTo>
                      <a:pt x="236" y="478"/>
                    </a:lnTo>
                    <a:lnTo>
                      <a:pt x="230" y="480"/>
                    </a:lnTo>
                    <a:lnTo>
                      <a:pt x="226" y="480"/>
                    </a:lnTo>
                    <a:lnTo>
                      <a:pt x="231" y="473"/>
                    </a:lnTo>
                    <a:lnTo>
                      <a:pt x="233" y="475"/>
                    </a:lnTo>
                    <a:lnTo>
                      <a:pt x="236" y="475"/>
                    </a:lnTo>
                    <a:close/>
                    <a:moveTo>
                      <a:pt x="185" y="478"/>
                    </a:moveTo>
                    <a:lnTo>
                      <a:pt x="185" y="480"/>
                    </a:lnTo>
                    <a:lnTo>
                      <a:pt x="187" y="482"/>
                    </a:lnTo>
                    <a:lnTo>
                      <a:pt x="191" y="485"/>
                    </a:lnTo>
                    <a:lnTo>
                      <a:pt x="184" y="485"/>
                    </a:lnTo>
                    <a:lnTo>
                      <a:pt x="180" y="485"/>
                    </a:lnTo>
                    <a:lnTo>
                      <a:pt x="182" y="482"/>
                    </a:lnTo>
                    <a:lnTo>
                      <a:pt x="185" y="478"/>
                    </a:lnTo>
                    <a:close/>
                    <a:moveTo>
                      <a:pt x="240" y="475"/>
                    </a:moveTo>
                    <a:lnTo>
                      <a:pt x="242" y="475"/>
                    </a:lnTo>
                    <a:lnTo>
                      <a:pt x="247" y="476"/>
                    </a:lnTo>
                    <a:lnTo>
                      <a:pt x="247" y="475"/>
                    </a:lnTo>
                    <a:lnTo>
                      <a:pt x="247" y="476"/>
                    </a:lnTo>
                    <a:lnTo>
                      <a:pt x="248" y="475"/>
                    </a:lnTo>
                    <a:lnTo>
                      <a:pt x="248" y="476"/>
                    </a:lnTo>
                    <a:lnTo>
                      <a:pt x="242" y="478"/>
                    </a:lnTo>
                    <a:lnTo>
                      <a:pt x="236" y="476"/>
                    </a:lnTo>
                    <a:lnTo>
                      <a:pt x="236" y="475"/>
                    </a:lnTo>
                    <a:lnTo>
                      <a:pt x="238" y="475"/>
                    </a:lnTo>
                    <a:lnTo>
                      <a:pt x="240" y="473"/>
                    </a:lnTo>
                    <a:lnTo>
                      <a:pt x="240" y="475"/>
                    </a:lnTo>
                    <a:close/>
                    <a:moveTo>
                      <a:pt x="221" y="465"/>
                    </a:moveTo>
                    <a:lnTo>
                      <a:pt x="223" y="465"/>
                    </a:lnTo>
                    <a:lnTo>
                      <a:pt x="225" y="466"/>
                    </a:lnTo>
                    <a:lnTo>
                      <a:pt x="225" y="468"/>
                    </a:lnTo>
                    <a:lnTo>
                      <a:pt x="226" y="471"/>
                    </a:lnTo>
                    <a:lnTo>
                      <a:pt x="225" y="471"/>
                    </a:lnTo>
                    <a:lnTo>
                      <a:pt x="225" y="470"/>
                    </a:lnTo>
                    <a:lnTo>
                      <a:pt x="223" y="470"/>
                    </a:lnTo>
                    <a:lnTo>
                      <a:pt x="223" y="471"/>
                    </a:lnTo>
                    <a:lnTo>
                      <a:pt x="223" y="468"/>
                    </a:lnTo>
                    <a:lnTo>
                      <a:pt x="221" y="468"/>
                    </a:lnTo>
                    <a:lnTo>
                      <a:pt x="219" y="465"/>
                    </a:lnTo>
                    <a:lnTo>
                      <a:pt x="221" y="465"/>
                    </a:lnTo>
                    <a:close/>
                    <a:moveTo>
                      <a:pt x="221" y="478"/>
                    </a:moveTo>
                    <a:lnTo>
                      <a:pt x="219" y="470"/>
                    </a:lnTo>
                    <a:lnTo>
                      <a:pt x="221" y="471"/>
                    </a:lnTo>
                    <a:lnTo>
                      <a:pt x="223" y="475"/>
                    </a:lnTo>
                    <a:lnTo>
                      <a:pt x="223" y="478"/>
                    </a:lnTo>
                    <a:lnTo>
                      <a:pt x="221" y="478"/>
                    </a:lnTo>
                    <a:close/>
                    <a:moveTo>
                      <a:pt x="279" y="451"/>
                    </a:moveTo>
                    <a:lnTo>
                      <a:pt x="282" y="453"/>
                    </a:lnTo>
                    <a:lnTo>
                      <a:pt x="284" y="458"/>
                    </a:lnTo>
                    <a:lnTo>
                      <a:pt x="282" y="456"/>
                    </a:lnTo>
                    <a:lnTo>
                      <a:pt x="281" y="454"/>
                    </a:lnTo>
                    <a:lnTo>
                      <a:pt x="279" y="453"/>
                    </a:lnTo>
                    <a:lnTo>
                      <a:pt x="279" y="451"/>
                    </a:lnTo>
                    <a:lnTo>
                      <a:pt x="279" y="453"/>
                    </a:lnTo>
                    <a:lnTo>
                      <a:pt x="277" y="451"/>
                    </a:lnTo>
                    <a:lnTo>
                      <a:pt x="276" y="446"/>
                    </a:lnTo>
                    <a:lnTo>
                      <a:pt x="277" y="448"/>
                    </a:lnTo>
                    <a:lnTo>
                      <a:pt x="277" y="449"/>
                    </a:lnTo>
                    <a:lnTo>
                      <a:pt x="279" y="451"/>
                    </a:lnTo>
                    <a:close/>
                    <a:moveTo>
                      <a:pt x="225" y="471"/>
                    </a:moveTo>
                    <a:lnTo>
                      <a:pt x="226" y="471"/>
                    </a:lnTo>
                    <a:lnTo>
                      <a:pt x="228" y="473"/>
                    </a:lnTo>
                    <a:lnTo>
                      <a:pt x="228" y="476"/>
                    </a:lnTo>
                    <a:lnTo>
                      <a:pt x="225" y="476"/>
                    </a:lnTo>
                    <a:lnTo>
                      <a:pt x="225" y="475"/>
                    </a:lnTo>
                    <a:lnTo>
                      <a:pt x="226" y="475"/>
                    </a:lnTo>
                    <a:lnTo>
                      <a:pt x="228" y="473"/>
                    </a:lnTo>
                    <a:lnTo>
                      <a:pt x="226" y="473"/>
                    </a:lnTo>
                    <a:lnTo>
                      <a:pt x="225" y="475"/>
                    </a:lnTo>
                    <a:lnTo>
                      <a:pt x="225" y="473"/>
                    </a:lnTo>
                    <a:lnTo>
                      <a:pt x="225" y="471"/>
                    </a:lnTo>
                    <a:lnTo>
                      <a:pt x="223" y="471"/>
                    </a:lnTo>
                    <a:lnTo>
                      <a:pt x="225" y="470"/>
                    </a:lnTo>
                    <a:lnTo>
                      <a:pt x="225" y="471"/>
                    </a:lnTo>
                    <a:close/>
                    <a:moveTo>
                      <a:pt x="216" y="478"/>
                    </a:moveTo>
                    <a:lnTo>
                      <a:pt x="218" y="480"/>
                    </a:lnTo>
                    <a:lnTo>
                      <a:pt x="213" y="480"/>
                    </a:lnTo>
                    <a:lnTo>
                      <a:pt x="211" y="478"/>
                    </a:lnTo>
                    <a:lnTo>
                      <a:pt x="213" y="476"/>
                    </a:lnTo>
                    <a:lnTo>
                      <a:pt x="213" y="478"/>
                    </a:lnTo>
                    <a:lnTo>
                      <a:pt x="214" y="476"/>
                    </a:lnTo>
                    <a:lnTo>
                      <a:pt x="214" y="478"/>
                    </a:lnTo>
                    <a:lnTo>
                      <a:pt x="216" y="478"/>
                    </a:lnTo>
                    <a:close/>
                    <a:moveTo>
                      <a:pt x="245" y="473"/>
                    </a:moveTo>
                    <a:lnTo>
                      <a:pt x="247" y="473"/>
                    </a:lnTo>
                    <a:lnTo>
                      <a:pt x="247" y="475"/>
                    </a:lnTo>
                    <a:lnTo>
                      <a:pt x="245" y="475"/>
                    </a:lnTo>
                    <a:lnTo>
                      <a:pt x="243" y="475"/>
                    </a:lnTo>
                    <a:lnTo>
                      <a:pt x="243" y="473"/>
                    </a:lnTo>
                    <a:lnTo>
                      <a:pt x="242" y="473"/>
                    </a:lnTo>
                    <a:lnTo>
                      <a:pt x="242" y="475"/>
                    </a:lnTo>
                    <a:lnTo>
                      <a:pt x="240" y="475"/>
                    </a:lnTo>
                    <a:lnTo>
                      <a:pt x="240" y="473"/>
                    </a:lnTo>
                    <a:lnTo>
                      <a:pt x="242" y="473"/>
                    </a:lnTo>
                    <a:lnTo>
                      <a:pt x="242" y="471"/>
                    </a:lnTo>
                    <a:lnTo>
                      <a:pt x="243" y="471"/>
                    </a:lnTo>
                    <a:lnTo>
                      <a:pt x="245" y="473"/>
                    </a:lnTo>
                    <a:close/>
                    <a:moveTo>
                      <a:pt x="225" y="471"/>
                    </a:moveTo>
                    <a:lnTo>
                      <a:pt x="225" y="473"/>
                    </a:lnTo>
                    <a:lnTo>
                      <a:pt x="225" y="476"/>
                    </a:lnTo>
                    <a:lnTo>
                      <a:pt x="223" y="476"/>
                    </a:lnTo>
                    <a:lnTo>
                      <a:pt x="223" y="475"/>
                    </a:lnTo>
                    <a:lnTo>
                      <a:pt x="223" y="471"/>
                    </a:lnTo>
                    <a:lnTo>
                      <a:pt x="225" y="471"/>
                    </a:lnTo>
                    <a:close/>
                    <a:moveTo>
                      <a:pt x="226" y="468"/>
                    </a:moveTo>
                    <a:lnTo>
                      <a:pt x="228" y="470"/>
                    </a:lnTo>
                    <a:lnTo>
                      <a:pt x="228" y="471"/>
                    </a:lnTo>
                    <a:lnTo>
                      <a:pt x="226" y="471"/>
                    </a:lnTo>
                    <a:lnTo>
                      <a:pt x="226" y="468"/>
                    </a:lnTo>
                    <a:lnTo>
                      <a:pt x="225" y="466"/>
                    </a:lnTo>
                    <a:lnTo>
                      <a:pt x="226" y="468"/>
                    </a:lnTo>
                    <a:close/>
                    <a:moveTo>
                      <a:pt x="279" y="448"/>
                    </a:moveTo>
                    <a:lnTo>
                      <a:pt x="281" y="449"/>
                    </a:lnTo>
                    <a:lnTo>
                      <a:pt x="282" y="451"/>
                    </a:lnTo>
                    <a:lnTo>
                      <a:pt x="282" y="453"/>
                    </a:lnTo>
                    <a:lnTo>
                      <a:pt x="277" y="449"/>
                    </a:lnTo>
                    <a:lnTo>
                      <a:pt x="277" y="448"/>
                    </a:lnTo>
                    <a:lnTo>
                      <a:pt x="277" y="446"/>
                    </a:lnTo>
                    <a:lnTo>
                      <a:pt x="279" y="448"/>
                    </a:lnTo>
                    <a:close/>
                    <a:moveTo>
                      <a:pt x="221" y="468"/>
                    </a:moveTo>
                    <a:lnTo>
                      <a:pt x="223" y="468"/>
                    </a:lnTo>
                    <a:lnTo>
                      <a:pt x="223" y="471"/>
                    </a:lnTo>
                    <a:lnTo>
                      <a:pt x="221" y="470"/>
                    </a:lnTo>
                    <a:lnTo>
                      <a:pt x="219" y="470"/>
                    </a:lnTo>
                    <a:lnTo>
                      <a:pt x="219" y="468"/>
                    </a:lnTo>
                    <a:lnTo>
                      <a:pt x="221" y="468"/>
                    </a:lnTo>
                    <a:lnTo>
                      <a:pt x="219" y="466"/>
                    </a:lnTo>
                    <a:lnTo>
                      <a:pt x="221" y="466"/>
                    </a:lnTo>
                    <a:lnTo>
                      <a:pt x="221" y="468"/>
                    </a:lnTo>
                    <a:close/>
                    <a:moveTo>
                      <a:pt x="174" y="478"/>
                    </a:moveTo>
                    <a:lnTo>
                      <a:pt x="175" y="478"/>
                    </a:lnTo>
                    <a:lnTo>
                      <a:pt x="175" y="482"/>
                    </a:lnTo>
                    <a:lnTo>
                      <a:pt x="174" y="482"/>
                    </a:lnTo>
                    <a:lnTo>
                      <a:pt x="174" y="478"/>
                    </a:lnTo>
                    <a:close/>
                    <a:moveTo>
                      <a:pt x="218" y="475"/>
                    </a:moveTo>
                    <a:lnTo>
                      <a:pt x="218" y="471"/>
                    </a:lnTo>
                    <a:lnTo>
                      <a:pt x="216" y="471"/>
                    </a:lnTo>
                    <a:lnTo>
                      <a:pt x="216" y="470"/>
                    </a:lnTo>
                    <a:lnTo>
                      <a:pt x="218" y="470"/>
                    </a:lnTo>
                    <a:lnTo>
                      <a:pt x="218" y="475"/>
                    </a:lnTo>
                    <a:close/>
                    <a:moveTo>
                      <a:pt x="236" y="471"/>
                    </a:moveTo>
                    <a:lnTo>
                      <a:pt x="240" y="471"/>
                    </a:lnTo>
                    <a:lnTo>
                      <a:pt x="240" y="475"/>
                    </a:lnTo>
                    <a:lnTo>
                      <a:pt x="236" y="475"/>
                    </a:lnTo>
                    <a:lnTo>
                      <a:pt x="236" y="471"/>
                    </a:lnTo>
                    <a:close/>
                    <a:moveTo>
                      <a:pt x="277" y="448"/>
                    </a:moveTo>
                    <a:lnTo>
                      <a:pt x="276" y="446"/>
                    </a:lnTo>
                    <a:lnTo>
                      <a:pt x="276" y="444"/>
                    </a:lnTo>
                    <a:lnTo>
                      <a:pt x="277" y="448"/>
                    </a:lnTo>
                    <a:close/>
                    <a:moveTo>
                      <a:pt x="282" y="458"/>
                    </a:moveTo>
                    <a:lnTo>
                      <a:pt x="279" y="454"/>
                    </a:lnTo>
                    <a:lnTo>
                      <a:pt x="279" y="453"/>
                    </a:lnTo>
                    <a:lnTo>
                      <a:pt x="282" y="458"/>
                    </a:lnTo>
                    <a:close/>
                    <a:moveTo>
                      <a:pt x="286" y="468"/>
                    </a:moveTo>
                    <a:lnTo>
                      <a:pt x="287" y="468"/>
                    </a:lnTo>
                    <a:lnTo>
                      <a:pt x="287" y="470"/>
                    </a:lnTo>
                    <a:lnTo>
                      <a:pt x="286" y="470"/>
                    </a:lnTo>
                    <a:lnTo>
                      <a:pt x="286" y="468"/>
                    </a:lnTo>
                    <a:close/>
                    <a:moveTo>
                      <a:pt x="236" y="475"/>
                    </a:moveTo>
                    <a:lnTo>
                      <a:pt x="236" y="473"/>
                    </a:lnTo>
                    <a:lnTo>
                      <a:pt x="236" y="471"/>
                    </a:lnTo>
                    <a:lnTo>
                      <a:pt x="236" y="475"/>
                    </a:lnTo>
                    <a:close/>
                    <a:moveTo>
                      <a:pt x="247" y="475"/>
                    </a:moveTo>
                    <a:lnTo>
                      <a:pt x="245" y="475"/>
                    </a:lnTo>
                    <a:lnTo>
                      <a:pt x="247" y="475"/>
                    </a:lnTo>
                    <a:lnTo>
                      <a:pt x="248" y="475"/>
                    </a:lnTo>
                    <a:lnTo>
                      <a:pt x="247" y="475"/>
                    </a:lnTo>
                    <a:close/>
                    <a:moveTo>
                      <a:pt x="279" y="453"/>
                    </a:moveTo>
                    <a:lnTo>
                      <a:pt x="281" y="453"/>
                    </a:lnTo>
                    <a:lnTo>
                      <a:pt x="281" y="456"/>
                    </a:lnTo>
                    <a:lnTo>
                      <a:pt x="279" y="456"/>
                    </a:lnTo>
                    <a:lnTo>
                      <a:pt x="279" y="453"/>
                    </a:lnTo>
                    <a:close/>
                    <a:moveTo>
                      <a:pt x="221" y="463"/>
                    </a:moveTo>
                    <a:lnTo>
                      <a:pt x="223" y="463"/>
                    </a:lnTo>
                    <a:lnTo>
                      <a:pt x="223" y="465"/>
                    </a:lnTo>
                    <a:lnTo>
                      <a:pt x="221" y="465"/>
                    </a:lnTo>
                    <a:lnTo>
                      <a:pt x="221" y="463"/>
                    </a:lnTo>
                    <a:close/>
                    <a:moveTo>
                      <a:pt x="284" y="458"/>
                    </a:moveTo>
                    <a:lnTo>
                      <a:pt x="286" y="458"/>
                    </a:lnTo>
                    <a:lnTo>
                      <a:pt x="286" y="459"/>
                    </a:lnTo>
                    <a:lnTo>
                      <a:pt x="284" y="459"/>
                    </a:lnTo>
                    <a:lnTo>
                      <a:pt x="284" y="458"/>
                    </a:lnTo>
                    <a:close/>
                    <a:moveTo>
                      <a:pt x="218" y="466"/>
                    </a:moveTo>
                    <a:lnTo>
                      <a:pt x="219" y="466"/>
                    </a:lnTo>
                    <a:lnTo>
                      <a:pt x="219" y="468"/>
                    </a:lnTo>
                    <a:lnTo>
                      <a:pt x="218" y="468"/>
                    </a:lnTo>
                    <a:lnTo>
                      <a:pt x="218" y="466"/>
                    </a:lnTo>
                    <a:close/>
                    <a:moveTo>
                      <a:pt x="235" y="470"/>
                    </a:moveTo>
                    <a:lnTo>
                      <a:pt x="236" y="470"/>
                    </a:lnTo>
                    <a:lnTo>
                      <a:pt x="236" y="473"/>
                    </a:lnTo>
                    <a:lnTo>
                      <a:pt x="235" y="473"/>
                    </a:lnTo>
                    <a:lnTo>
                      <a:pt x="235" y="470"/>
                    </a:lnTo>
                    <a:close/>
                    <a:moveTo>
                      <a:pt x="225" y="473"/>
                    </a:moveTo>
                    <a:lnTo>
                      <a:pt x="226" y="473"/>
                    </a:lnTo>
                    <a:lnTo>
                      <a:pt x="226" y="475"/>
                    </a:lnTo>
                    <a:lnTo>
                      <a:pt x="225" y="475"/>
                    </a:lnTo>
                    <a:lnTo>
                      <a:pt x="225" y="473"/>
                    </a:lnTo>
                    <a:close/>
                    <a:moveTo>
                      <a:pt x="242" y="473"/>
                    </a:moveTo>
                    <a:lnTo>
                      <a:pt x="243" y="473"/>
                    </a:lnTo>
                    <a:lnTo>
                      <a:pt x="243" y="475"/>
                    </a:lnTo>
                    <a:lnTo>
                      <a:pt x="242" y="475"/>
                    </a:lnTo>
                    <a:lnTo>
                      <a:pt x="242" y="473"/>
                    </a:lnTo>
                    <a:close/>
                    <a:moveTo>
                      <a:pt x="141" y="431"/>
                    </a:moveTo>
                    <a:lnTo>
                      <a:pt x="145" y="431"/>
                    </a:lnTo>
                    <a:lnTo>
                      <a:pt x="141" y="431"/>
                    </a:lnTo>
                    <a:close/>
                    <a:moveTo>
                      <a:pt x="143" y="429"/>
                    </a:moveTo>
                    <a:lnTo>
                      <a:pt x="145" y="429"/>
                    </a:lnTo>
                    <a:lnTo>
                      <a:pt x="145" y="431"/>
                    </a:lnTo>
                    <a:lnTo>
                      <a:pt x="143" y="431"/>
                    </a:lnTo>
                    <a:lnTo>
                      <a:pt x="143" y="429"/>
                    </a:lnTo>
                    <a:close/>
                    <a:moveTo>
                      <a:pt x="282" y="456"/>
                    </a:moveTo>
                    <a:lnTo>
                      <a:pt x="284" y="456"/>
                    </a:lnTo>
                    <a:lnTo>
                      <a:pt x="284" y="458"/>
                    </a:lnTo>
                    <a:lnTo>
                      <a:pt x="282" y="458"/>
                    </a:lnTo>
                    <a:lnTo>
                      <a:pt x="282" y="456"/>
                    </a:lnTo>
                    <a:close/>
                    <a:moveTo>
                      <a:pt x="223" y="461"/>
                    </a:moveTo>
                    <a:lnTo>
                      <a:pt x="223" y="463"/>
                    </a:lnTo>
                    <a:lnTo>
                      <a:pt x="223" y="461"/>
                    </a:lnTo>
                    <a:close/>
                    <a:moveTo>
                      <a:pt x="233" y="471"/>
                    </a:moveTo>
                    <a:lnTo>
                      <a:pt x="235" y="471"/>
                    </a:lnTo>
                    <a:lnTo>
                      <a:pt x="233" y="471"/>
                    </a:lnTo>
                    <a:close/>
                    <a:moveTo>
                      <a:pt x="284" y="456"/>
                    </a:moveTo>
                    <a:lnTo>
                      <a:pt x="286" y="456"/>
                    </a:lnTo>
                    <a:lnTo>
                      <a:pt x="286" y="458"/>
                    </a:lnTo>
                    <a:lnTo>
                      <a:pt x="284" y="458"/>
                    </a:lnTo>
                    <a:lnTo>
                      <a:pt x="284" y="456"/>
                    </a:lnTo>
                    <a:close/>
                    <a:moveTo>
                      <a:pt x="233" y="471"/>
                    </a:moveTo>
                    <a:lnTo>
                      <a:pt x="235" y="471"/>
                    </a:lnTo>
                    <a:lnTo>
                      <a:pt x="235" y="473"/>
                    </a:lnTo>
                    <a:lnTo>
                      <a:pt x="233" y="473"/>
                    </a:lnTo>
                    <a:lnTo>
                      <a:pt x="233" y="471"/>
                    </a:lnTo>
                    <a:close/>
                    <a:moveTo>
                      <a:pt x="238" y="473"/>
                    </a:moveTo>
                    <a:lnTo>
                      <a:pt x="240" y="473"/>
                    </a:lnTo>
                    <a:lnTo>
                      <a:pt x="238" y="473"/>
                    </a:lnTo>
                    <a:close/>
                    <a:moveTo>
                      <a:pt x="233" y="470"/>
                    </a:moveTo>
                    <a:lnTo>
                      <a:pt x="235" y="470"/>
                    </a:lnTo>
                    <a:lnTo>
                      <a:pt x="235" y="471"/>
                    </a:lnTo>
                    <a:lnTo>
                      <a:pt x="233" y="471"/>
                    </a:lnTo>
                    <a:lnTo>
                      <a:pt x="233" y="470"/>
                    </a:lnTo>
                    <a:close/>
                    <a:moveTo>
                      <a:pt x="219" y="465"/>
                    </a:moveTo>
                    <a:lnTo>
                      <a:pt x="221" y="465"/>
                    </a:lnTo>
                    <a:lnTo>
                      <a:pt x="221" y="466"/>
                    </a:lnTo>
                    <a:lnTo>
                      <a:pt x="219" y="466"/>
                    </a:lnTo>
                    <a:lnTo>
                      <a:pt x="219" y="465"/>
                    </a:lnTo>
                    <a:close/>
                    <a:moveTo>
                      <a:pt x="143" y="429"/>
                    </a:moveTo>
                    <a:lnTo>
                      <a:pt x="145" y="429"/>
                    </a:lnTo>
                    <a:lnTo>
                      <a:pt x="143" y="429"/>
                    </a:lnTo>
                    <a:close/>
                    <a:moveTo>
                      <a:pt x="153" y="473"/>
                    </a:moveTo>
                    <a:lnTo>
                      <a:pt x="155" y="473"/>
                    </a:lnTo>
                    <a:lnTo>
                      <a:pt x="155" y="475"/>
                    </a:lnTo>
                    <a:lnTo>
                      <a:pt x="153" y="475"/>
                    </a:lnTo>
                    <a:lnTo>
                      <a:pt x="153" y="473"/>
                    </a:lnTo>
                    <a:close/>
                    <a:moveTo>
                      <a:pt x="235" y="471"/>
                    </a:moveTo>
                    <a:lnTo>
                      <a:pt x="236" y="471"/>
                    </a:lnTo>
                    <a:lnTo>
                      <a:pt x="236" y="473"/>
                    </a:lnTo>
                    <a:lnTo>
                      <a:pt x="235" y="473"/>
                    </a:lnTo>
                    <a:lnTo>
                      <a:pt x="235" y="471"/>
                    </a:lnTo>
                    <a:close/>
                    <a:moveTo>
                      <a:pt x="226" y="468"/>
                    </a:moveTo>
                    <a:lnTo>
                      <a:pt x="226" y="470"/>
                    </a:lnTo>
                    <a:lnTo>
                      <a:pt x="226" y="468"/>
                    </a:lnTo>
                    <a:close/>
                    <a:moveTo>
                      <a:pt x="299" y="458"/>
                    </a:moveTo>
                    <a:lnTo>
                      <a:pt x="299" y="459"/>
                    </a:lnTo>
                    <a:lnTo>
                      <a:pt x="299" y="458"/>
                    </a:lnTo>
                    <a:close/>
                    <a:moveTo>
                      <a:pt x="180" y="482"/>
                    </a:moveTo>
                    <a:lnTo>
                      <a:pt x="182" y="482"/>
                    </a:lnTo>
                    <a:lnTo>
                      <a:pt x="180" y="482"/>
                    </a:lnTo>
                    <a:close/>
                    <a:moveTo>
                      <a:pt x="281" y="451"/>
                    </a:moveTo>
                    <a:lnTo>
                      <a:pt x="281" y="453"/>
                    </a:lnTo>
                    <a:lnTo>
                      <a:pt x="281" y="451"/>
                    </a:lnTo>
                    <a:close/>
                    <a:moveTo>
                      <a:pt x="281" y="454"/>
                    </a:moveTo>
                    <a:lnTo>
                      <a:pt x="281" y="456"/>
                    </a:lnTo>
                    <a:lnTo>
                      <a:pt x="281" y="454"/>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reeform 50">
                <a:extLst>
                  <a:ext uri="{FF2B5EF4-FFF2-40B4-BE49-F238E27FC236}">
                    <a16:creationId xmlns:a16="http://schemas.microsoft.com/office/drawing/2014/main" id="{0E312FCD-EA94-45E3-8E8E-C586F8849395}"/>
                  </a:ext>
                </a:extLst>
              </p:cNvPr>
              <p:cNvSpPr>
                <a:spLocks noEditPoints="1"/>
              </p:cNvSpPr>
              <p:nvPr/>
            </p:nvSpPr>
            <p:spPr bwMode="gray">
              <a:xfrm>
                <a:off x="4178550" y="2925358"/>
                <a:ext cx="387828" cy="273834"/>
              </a:xfrm>
              <a:custGeom>
                <a:avLst/>
                <a:gdLst>
                  <a:gd name="T0" fmla="*/ 270 w 313"/>
                  <a:gd name="T1" fmla="*/ 107 h 221"/>
                  <a:gd name="T2" fmla="*/ 279 w 313"/>
                  <a:gd name="T3" fmla="*/ 121 h 221"/>
                  <a:gd name="T4" fmla="*/ 279 w 313"/>
                  <a:gd name="T5" fmla="*/ 153 h 221"/>
                  <a:gd name="T6" fmla="*/ 296 w 313"/>
                  <a:gd name="T7" fmla="*/ 167 h 221"/>
                  <a:gd name="T8" fmla="*/ 304 w 313"/>
                  <a:gd name="T9" fmla="*/ 179 h 221"/>
                  <a:gd name="T10" fmla="*/ 313 w 313"/>
                  <a:gd name="T11" fmla="*/ 189 h 221"/>
                  <a:gd name="T12" fmla="*/ 309 w 313"/>
                  <a:gd name="T13" fmla="*/ 204 h 221"/>
                  <a:gd name="T14" fmla="*/ 311 w 313"/>
                  <a:gd name="T15" fmla="*/ 213 h 221"/>
                  <a:gd name="T16" fmla="*/ 292 w 313"/>
                  <a:gd name="T17" fmla="*/ 218 h 221"/>
                  <a:gd name="T18" fmla="*/ 256 w 313"/>
                  <a:gd name="T19" fmla="*/ 216 h 221"/>
                  <a:gd name="T20" fmla="*/ 233 w 313"/>
                  <a:gd name="T21" fmla="*/ 213 h 221"/>
                  <a:gd name="T22" fmla="*/ 217 w 313"/>
                  <a:gd name="T23" fmla="*/ 204 h 221"/>
                  <a:gd name="T24" fmla="*/ 132 w 313"/>
                  <a:gd name="T25" fmla="*/ 203 h 221"/>
                  <a:gd name="T26" fmla="*/ 68 w 313"/>
                  <a:gd name="T27" fmla="*/ 215 h 221"/>
                  <a:gd name="T28" fmla="*/ 37 w 313"/>
                  <a:gd name="T29" fmla="*/ 215 h 221"/>
                  <a:gd name="T30" fmla="*/ 44 w 313"/>
                  <a:gd name="T31" fmla="*/ 216 h 221"/>
                  <a:gd name="T32" fmla="*/ 54 w 313"/>
                  <a:gd name="T33" fmla="*/ 208 h 221"/>
                  <a:gd name="T34" fmla="*/ 51 w 313"/>
                  <a:gd name="T35" fmla="*/ 203 h 221"/>
                  <a:gd name="T36" fmla="*/ 44 w 313"/>
                  <a:gd name="T37" fmla="*/ 191 h 221"/>
                  <a:gd name="T38" fmla="*/ 42 w 313"/>
                  <a:gd name="T39" fmla="*/ 201 h 221"/>
                  <a:gd name="T40" fmla="*/ 41 w 313"/>
                  <a:gd name="T41" fmla="*/ 184 h 221"/>
                  <a:gd name="T42" fmla="*/ 98 w 313"/>
                  <a:gd name="T43" fmla="*/ 169 h 221"/>
                  <a:gd name="T44" fmla="*/ 132 w 313"/>
                  <a:gd name="T45" fmla="*/ 164 h 221"/>
                  <a:gd name="T46" fmla="*/ 158 w 313"/>
                  <a:gd name="T47" fmla="*/ 174 h 221"/>
                  <a:gd name="T48" fmla="*/ 187 w 313"/>
                  <a:gd name="T49" fmla="*/ 169 h 221"/>
                  <a:gd name="T50" fmla="*/ 158 w 313"/>
                  <a:gd name="T51" fmla="*/ 162 h 221"/>
                  <a:gd name="T52" fmla="*/ 129 w 313"/>
                  <a:gd name="T53" fmla="*/ 147 h 221"/>
                  <a:gd name="T54" fmla="*/ 78 w 313"/>
                  <a:gd name="T55" fmla="*/ 157 h 221"/>
                  <a:gd name="T56" fmla="*/ 49 w 313"/>
                  <a:gd name="T57" fmla="*/ 157 h 221"/>
                  <a:gd name="T58" fmla="*/ 54 w 313"/>
                  <a:gd name="T59" fmla="*/ 143 h 221"/>
                  <a:gd name="T60" fmla="*/ 49 w 313"/>
                  <a:gd name="T61" fmla="*/ 136 h 221"/>
                  <a:gd name="T62" fmla="*/ 37 w 313"/>
                  <a:gd name="T63" fmla="*/ 131 h 221"/>
                  <a:gd name="T64" fmla="*/ 17 w 313"/>
                  <a:gd name="T65" fmla="*/ 102 h 221"/>
                  <a:gd name="T66" fmla="*/ 3 w 313"/>
                  <a:gd name="T67" fmla="*/ 102 h 221"/>
                  <a:gd name="T68" fmla="*/ 51 w 313"/>
                  <a:gd name="T69" fmla="*/ 44 h 221"/>
                  <a:gd name="T70" fmla="*/ 59 w 313"/>
                  <a:gd name="T71" fmla="*/ 22 h 221"/>
                  <a:gd name="T72" fmla="*/ 68 w 313"/>
                  <a:gd name="T73" fmla="*/ 9 h 221"/>
                  <a:gd name="T74" fmla="*/ 86 w 313"/>
                  <a:gd name="T75" fmla="*/ 9 h 221"/>
                  <a:gd name="T76" fmla="*/ 117 w 313"/>
                  <a:gd name="T77" fmla="*/ 7 h 221"/>
                  <a:gd name="T78" fmla="*/ 131 w 313"/>
                  <a:gd name="T79" fmla="*/ 0 h 221"/>
                  <a:gd name="T80" fmla="*/ 141 w 313"/>
                  <a:gd name="T81" fmla="*/ 4 h 221"/>
                  <a:gd name="T82" fmla="*/ 161 w 313"/>
                  <a:gd name="T83" fmla="*/ 2 h 221"/>
                  <a:gd name="T84" fmla="*/ 177 w 313"/>
                  <a:gd name="T85" fmla="*/ 17 h 221"/>
                  <a:gd name="T86" fmla="*/ 185 w 313"/>
                  <a:gd name="T87" fmla="*/ 27 h 221"/>
                  <a:gd name="T88" fmla="*/ 204 w 313"/>
                  <a:gd name="T89" fmla="*/ 29 h 221"/>
                  <a:gd name="T90" fmla="*/ 216 w 313"/>
                  <a:gd name="T91" fmla="*/ 46 h 221"/>
                  <a:gd name="T92" fmla="*/ 231 w 313"/>
                  <a:gd name="T93" fmla="*/ 60 h 221"/>
                  <a:gd name="T94" fmla="*/ 238 w 313"/>
                  <a:gd name="T95" fmla="*/ 75 h 221"/>
                  <a:gd name="T96" fmla="*/ 258 w 313"/>
                  <a:gd name="T97" fmla="*/ 90 h 221"/>
                  <a:gd name="T98" fmla="*/ 51 w 313"/>
                  <a:gd name="T99" fmla="*/ 141 h 221"/>
                  <a:gd name="T100" fmla="*/ 52 w 313"/>
                  <a:gd name="T101" fmla="*/ 145 h 221"/>
                  <a:gd name="T102" fmla="*/ 52 w 313"/>
                  <a:gd name="T103" fmla="*/ 143 h 221"/>
                  <a:gd name="T104" fmla="*/ 44 w 313"/>
                  <a:gd name="T105" fmla="*/ 201 h 221"/>
                  <a:gd name="T106" fmla="*/ 46 w 313"/>
                  <a:gd name="T107" fmla="*/ 192 h 221"/>
                  <a:gd name="T108" fmla="*/ 41 w 313"/>
                  <a:gd name="T109" fmla="*/ 143 h 221"/>
                  <a:gd name="T110" fmla="*/ 46 w 313"/>
                  <a:gd name="T111" fmla="*/ 201 h 221"/>
                  <a:gd name="T112" fmla="*/ 46 w 313"/>
                  <a:gd name="T113" fmla="*/ 198 h 221"/>
                  <a:gd name="T114" fmla="*/ 44 w 313"/>
                  <a:gd name="T115" fmla="*/ 211 h 221"/>
                  <a:gd name="T116" fmla="*/ 47 w 313"/>
                  <a:gd name="T117" fmla="*/ 147 h 221"/>
                  <a:gd name="T118" fmla="*/ 42 w 313"/>
                  <a:gd name="T119" fmla="*/ 215 h 221"/>
                  <a:gd name="T120" fmla="*/ 39 w 313"/>
                  <a:gd name="T121" fmla="*/ 145 h 221"/>
                  <a:gd name="T122" fmla="*/ 42 w 313"/>
                  <a:gd name="T123" fmla="*/ 215 h 221"/>
                  <a:gd name="T124" fmla="*/ 51 w 313"/>
                  <a:gd name="T125"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 h="221">
                    <a:moveTo>
                      <a:pt x="268" y="97"/>
                    </a:moveTo>
                    <a:lnTo>
                      <a:pt x="268" y="99"/>
                    </a:lnTo>
                    <a:lnTo>
                      <a:pt x="270" y="99"/>
                    </a:lnTo>
                    <a:lnTo>
                      <a:pt x="270" y="101"/>
                    </a:lnTo>
                    <a:lnTo>
                      <a:pt x="272" y="101"/>
                    </a:lnTo>
                    <a:lnTo>
                      <a:pt x="272" y="102"/>
                    </a:lnTo>
                    <a:lnTo>
                      <a:pt x="273" y="104"/>
                    </a:lnTo>
                    <a:lnTo>
                      <a:pt x="272" y="104"/>
                    </a:lnTo>
                    <a:lnTo>
                      <a:pt x="272" y="106"/>
                    </a:lnTo>
                    <a:lnTo>
                      <a:pt x="270" y="107"/>
                    </a:lnTo>
                    <a:lnTo>
                      <a:pt x="268" y="111"/>
                    </a:lnTo>
                    <a:lnTo>
                      <a:pt x="270" y="113"/>
                    </a:lnTo>
                    <a:lnTo>
                      <a:pt x="270" y="114"/>
                    </a:lnTo>
                    <a:lnTo>
                      <a:pt x="270" y="116"/>
                    </a:lnTo>
                    <a:lnTo>
                      <a:pt x="272" y="116"/>
                    </a:lnTo>
                    <a:lnTo>
                      <a:pt x="273" y="116"/>
                    </a:lnTo>
                    <a:lnTo>
                      <a:pt x="273" y="118"/>
                    </a:lnTo>
                    <a:lnTo>
                      <a:pt x="275" y="118"/>
                    </a:lnTo>
                    <a:lnTo>
                      <a:pt x="275" y="121"/>
                    </a:lnTo>
                    <a:lnTo>
                      <a:pt x="279" y="121"/>
                    </a:lnTo>
                    <a:lnTo>
                      <a:pt x="280" y="126"/>
                    </a:lnTo>
                    <a:lnTo>
                      <a:pt x="280" y="128"/>
                    </a:lnTo>
                    <a:lnTo>
                      <a:pt x="279" y="135"/>
                    </a:lnTo>
                    <a:lnTo>
                      <a:pt x="280" y="136"/>
                    </a:lnTo>
                    <a:lnTo>
                      <a:pt x="284" y="140"/>
                    </a:lnTo>
                    <a:lnTo>
                      <a:pt x="284" y="143"/>
                    </a:lnTo>
                    <a:lnTo>
                      <a:pt x="282" y="147"/>
                    </a:lnTo>
                    <a:lnTo>
                      <a:pt x="279" y="148"/>
                    </a:lnTo>
                    <a:lnTo>
                      <a:pt x="277" y="150"/>
                    </a:lnTo>
                    <a:lnTo>
                      <a:pt x="279" y="153"/>
                    </a:lnTo>
                    <a:lnTo>
                      <a:pt x="279" y="155"/>
                    </a:lnTo>
                    <a:lnTo>
                      <a:pt x="282" y="160"/>
                    </a:lnTo>
                    <a:lnTo>
                      <a:pt x="287" y="164"/>
                    </a:lnTo>
                    <a:lnTo>
                      <a:pt x="285" y="167"/>
                    </a:lnTo>
                    <a:lnTo>
                      <a:pt x="289" y="170"/>
                    </a:lnTo>
                    <a:lnTo>
                      <a:pt x="290" y="170"/>
                    </a:lnTo>
                    <a:lnTo>
                      <a:pt x="292" y="170"/>
                    </a:lnTo>
                    <a:lnTo>
                      <a:pt x="294" y="165"/>
                    </a:lnTo>
                    <a:lnTo>
                      <a:pt x="296" y="165"/>
                    </a:lnTo>
                    <a:lnTo>
                      <a:pt x="296" y="167"/>
                    </a:lnTo>
                    <a:lnTo>
                      <a:pt x="299" y="167"/>
                    </a:lnTo>
                    <a:lnTo>
                      <a:pt x="299" y="169"/>
                    </a:lnTo>
                    <a:lnTo>
                      <a:pt x="301" y="169"/>
                    </a:lnTo>
                    <a:lnTo>
                      <a:pt x="301" y="170"/>
                    </a:lnTo>
                    <a:lnTo>
                      <a:pt x="302" y="172"/>
                    </a:lnTo>
                    <a:lnTo>
                      <a:pt x="304" y="174"/>
                    </a:lnTo>
                    <a:lnTo>
                      <a:pt x="304" y="175"/>
                    </a:lnTo>
                    <a:lnTo>
                      <a:pt x="304" y="177"/>
                    </a:lnTo>
                    <a:lnTo>
                      <a:pt x="306" y="177"/>
                    </a:lnTo>
                    <a:lnTo>
                      <a:pt x="304" y="179"/>
                    </a:lnTo>
                    <a:lnTo>
                      <a:pt x="307" y="182"/>
                    </a:lnTo>
                    <a:lnTo>
                      <a:pt x="309" y="182"/>
                    </a:lnTo>
                    <a:lnTo>
                      <a:pt x="309" y="184"/>
                    </a:lnTo>
                    <a:lnTo>
                      <a:pt x="311" y="186"/>
                    </a:lnTo>
                    <a:lnTo>
                      <a:pt x="309" y="187"/>
                    </a:lnTo>
                    <a:lnTo>
                      <a:pt x="309" y="189"/>
                    </a:lnTo>
                    <a:lnTo>
                      <a:pt x="311" y="189"/>
                    </a:lnTo>
                    <a:lnTo>
                      <a:pt x="311" y="187"/>
                    </a:lnTo>
                    <a:lnTo>
                      <a:pt x="313" y="187"/>
                    </a:lnTo>
                    <a:lnTo>
                      <a:pt x="313" y="189"/>
                    </a:lnTo>
                    <a:lnTo>
                      <a:pt x="311" y="191"/>
                    </a:lnTo>
                    <a:lnTo>
                      <a:pt x="311" y="192"/>
                    </a:lnTo>
                    <a:lnTo>
                      <a:pt x="311" y="194"/>
                    </a:lnTo>
                    <a:lnTo>
                      <a:pt x="311" y="196"/>
                    </a:lnTo>
                    <a:lnTo>
                      <a:pt x="311" y="198"/>
                    </a:lnTo>
                    <a:lnTo>
                      <a:pt x="313" y="201"/>
                    </a:lnTo>
                    <a:lnTo>
                      <a:pt x="309" y="201"/>
                    </a:lnTo>
                    <a:lnTo>
                      <a:pt x="309" y="203"/>
                    </a:lnTo>
                    <a:lnTo>
                      <a:pt x="307" y="203"/>
                    </a:lnTo>
                    <a:lnTo>
                      <a:pt x="309" y="204"/>
                    </a:lnTo>
                    <a:lnTo>
                      <a:pt x="311" y="206"/>
                    </a:lnTo>
                    <a:lnTo>
                      <a:pt x="309" y="206"/>
                    </a:lnTo>
                    <a:lnTo>
                      <a:pt x="311" y="208"/>
                    </a:lnTo>
                    <a:lnTo>
                      <a:pt x="309" y="210"/>
                    </a:lnTo>
                    <a:lnTo>
                      <a:pt x="307" y="210"/>
                    </a:lnTo>
                    <a:lnTo>
                      <a:pt x="309" y="210"/>
                    </a:lnTo>
                    <a:lnTo>
                      <a:pt x="309" y="211"/>
                    </a:lnTo>
                    <a:lnTo>
                      <a:pt x="311" y="211"/>
                    </a:lnTo>
                    <a:lnTo>
                      <a:pt x="311" y="210"/>
                    </a:lnTo>
                    <a:lnTo>
                      <a:pt x="311" y="213"/>
                    </a:lnTo>
                    <a:lnTo>
                      <a:pt x="313" y="213"/>
                    </a:lnTo>
                    <a:lnTo>
                      <a:pt x="313" y="211"/>
                    </a:lnTo>
                    <a:lnTo>
                      <a:pt x="313" y="213"/>
                    </a:lnTo>
                    <a:lnTo>
                      <a:pt x="313" y="215"/>
                    </a:lnTo>
                    <a:lnTo>
                      <a:pt x="313" y="216"/>
                    </a:lnTo>
                    <a:lnTo>
                      <a:pt x="307" y="215"/>
                    </a:lnTo>
                    <a:lnTo>
                      <a:pt x="304" y="215"/>
                    </a:lnTo>
                    <a:lnTo>
                      <a:pt x="297" y="216"/>
                    </a:lnTo>
                    <a:lnTo>
                      <a:pt x="296" y="218"/>
                    </a:lnTo>
                    <a:lnTo>
                      <a:pt x="292" y="218"/>
                    </a:lnTo>
                    <a:lnTo>
                      <a:pt x="289" y="218"/>
                    </a:lnTo>
                    <a:lnTo>
                      <a:pt x="285" y="216"/>
                    </a:lnTo>
                    <a:lnTo>
                      <a:pt x="280" y="218"/>
                    </a:lnTo>
                    <a:lnTo>
                      <a:pt x="279" y="216"/>
                    </a:lnTo>
                    <a:lnTo>
                      <a:pt x="275" y="216"/>
                    </a:lnTo>
                    <a:lnTo>
                      <a:pt x="272" y="220"/>
                    </a:lnTo>
                    <a:lnTo>
                      <a:pt x="268" y="220"/>
                    </a:lnTo>
                    <a:lnTo>
                      <a:pt x="263" y="221"/>
                    </a:lnTo>
                    <a:lnTo>
                      <a:pt x="260" y="220"/>
                    </a:lnTo>
                    <a:lnTo>
                      <a:pt x="256" y="216"/>
                    </a:lnTo>
                    <a:lnTo>
                      <a:pt x="255" y="216"/>
                    </a:lnTo>
                    <a:lnTo>
                      <a:pt x="251" y="218"/>
                    </a:lnTo>
                    <a:lnTo>
                      <a:pt x="248" y="215"/>
                    </a:lnTo>
                    <a:lnTo>
                      <a:pt x="243" y="216"/>
                    </a:lnTo>
                    <a:lnTo>
                      <a:pt x="241" y="213"/>
                    </a:lnTo>
                    <a:lnTo>
                      <a:pt x="238" y="213"/>
                    </a:lnTo>
                    <a:lnTo>
                      <a:pt x="238" y="211"/>
                    </a:lnTo>
                    <a:lnTo>
                      <a:pt x="234" y="210"/>
                    </a:lnTo>
                    <a:lnTo>
                      <a:pt x="233" y="211"/>
                    </a:lnTo>
                    <a:lnTo>
                      <a:pt x="233" y="213"/>
                    </a:lnTo>
                    <a:lnTo>
                      <a:pt x="231" y="215"/>
                    </a:lnTo>
                    <a:lnTo>
                      <a:pt x="226" y="213"/>
                    </a:lnTo>
                    <a:lnTo>
                      <a:pt x="226" y="210"/>
                    </a:lnTo>
                    <a:lnTo>
                      <a:pt x="228" y="208"/>
                    </a:lnTo>
                    <a:lnTo>
                      <a:pt x="226" y="204"/>
                    </a:lnTo>
                    <a:lnTo>
                      <a:pt x="224" y="206"/>
                    </a:lnTo>
                    <a:lnTo>
                      <a:pt x="221" y="204"/>
                    </a:lnTo>
                    <a:lnTo>
                      <a:pt x="221" y="206"/>
                    </a:lnTo>
                    <a:lnTo>
                      <a:pt x="219" y="204"/>
                    </a:lnTo>
                    <a:lnTo>
                      <a:pt x="217" y="204"/>
                    </a:lnTo>
                    <a:lnTo>
                      <a:pt x="216" y="204"/>
                    </a:lnTo>
                    <a:lnTo>
                      <a:pt x="214" y="204"/>
                    </a:lnTo>
                    <a:lnTo>
                      <a:pt x="212" y="204"/>
                    </a:lnTo>
                    <a:lnTo>
                      <a:pt x="194" y="203"/>
                    </a:lnTo>
                    <a:lnTo>
                      <a:pt x="173" y="203"/>
                    </a:lnTo>
                    <a:lnTo>
                      <a:pt x="163" y="203"/>
                    </a:lnTo>
                    <a:lnTo>
                      <a:pt x="161" y="203"/>
                    </a:lnTo>
                    <a:lnTo>
                      <a:pt x="146" y="203"/>
                    </a:lnTo>
                    <a:lnTo>
                      <a:pt x="134" y="203"/>
                    </a:lnTo>
                    <a:lnTo>
                      <a:pt x="132" y="203"/>
                    </a:lnTo>
                    <a:lnTo>
                      <a:pt x="120" y="203"/>
                    </a:lnTo>
                    <a:lnTo>
                      <a:pt x="112" y="206"/>
                    </a:lnTo>
                    <a:lnTo>
                      <a:pt x="105" y="211"/>
                    </a:lnTo>
                    <a:lnTo>
                      <a:pt x="95" y="216"/>
                    </a:lnTo>
                    <a:lnTo>
                      <a:pt x="83" y="215"/>
                    </a:lnTo>
                    <a:lnTo>
                      <a:pt x="80" y="215"/>
                    </a:lnTo>
                    <a:lnTo>
                      <a:pt x="76" y="213"/>
                    </a:lnTo>
                    <a:lnTo>
                      <a:pt x="73" y="213"/>
                    </a:lnTo>
                    <a:lnTo>
                      <a:pt x="69" y="215"/>
                    </a:lnTo>
                    <a:lnTo>
                      <a:pt x="68" y="215"/>
                    </a:lnTo>
                    <a:lnTo>
                      <a:pt x="59" y="218"/>
                    </a:lnTo>
                    <a:lnTo>
                      <a:pt x="58" y="220"/>
                    </a:lnTo>
                    <a:lnTo>
                      <a:pt x="56" y="218"/>
                    </a:lnTo>
                    <a:lnTo>
                      <a:pt x="51" y="220"/>
                    </a:lnTo>
                    <a:lnTo>
                      <a:pt x="47" y="220"/>
                    </a:lnTo>
                    <a:lnTo>
                      <a:pt x="42" y="220"/>
                    </a:lnTo>
                    <a:lnTo>
                      <a:pt x="41" y="220"/>
                    </a:lnTo>
                    <a:lnTo>
                      <a:pt x="41" y="218"/>
                    </a:lnTo>
                    <a:lnTo>
                      <a:pt x="39" y="216"/>
                    </a:lnTo>
                    <a:lnTo>
                      <a:pt x="37" y="215"/>
                    </a:lnTo>
                    <a:lnTo>
                      <a:pt x="37" y="213"/>
                    </a:lnTo>
                    <a:lnTo>
                      <a:pt x="39" y="210"/>
                    </a:lnTo>
                    <a:lnTo>
                      <a:pt x="41" y="210"/>
                    </a:lnTo>
                    <a:lnTo>
                      <a:pt x="41" y="211"/>
                    </a:lnTo>
                    <a:lnTo>
                      <a:pt x="44" y="213"/>
                    </a:lnTo>
                    <a:lnTo>
                      <a:pt x="42" y="213"/>
                    </a:lnTo>
                    <a:lnTo>
                      <a:pt x="42" y="215"/>
                    </a:lnTo>
                    <a:lnTo>
                      <a:pt x="41" y="215"/>
                    </a:lnTo>
                    <a:lnTo>
                      <a:pt x="42" y="215"/>
                    </a:lnTo>
                    <a:lnTo>
                      <a:pt x="44" y="216"/>
                    </a:lnTo>
                    <a:lnTo>
                      <a:pt x="44" y="215"/>
                    </a:lnTo>
                    <a:lnTo>
                      <a:pt x="42" y="213"/>
                    </a:lnTo>
                    <a:lnTo>
                      <a:pt x="44" y="213"/>
                    </a:lnTo>
                    <a:lnTo>
                      <a:pt x="44" y="210"/>
                    </a:lnTo>
                    <a:lnTo>
                      <a:pt x="46" y="208"/>
                    </a:lnTo>
                    <a:lnTo>
                      <a:pt x="47" y="204"/>
                    </a:lnTo>
                    <a:lnTo>
                      <a:pt x="51" y="206"/>
                    </a:lnTo>
                    <a:lnTo>
                      <a:pt x="51" y="208"/>
                    </a:lnTo>
                    <a:lnTo>
                      <a:pt x="52" y="208"/>
                    </a:lnTo>
                    <a:lnTo>
                      <a:pt x="54" y="208"/>
                    </a:lnTo>
                    <a:lnTo>
                      <a:pt x="56" y="210"/>
                    </a:lnTo>
                    <a:lnTo>
                      <a:pt x="58" y="208"/>
                    </a:lnTo>
                    <a:lnTo>
                      <a:pt x="56" y="208"/>
                    </a:lnTo>
                    <a:lnTo>
                      <a:pt x="56" y="206"/>
                    </a:lnTo>
                    <a:lnTo>
                      <a:pt x="56" y="208"/>
                    </a:lnTo>
                    <a:lnTo>
                      <a:pt x="54" y="206"/>
                    </a:lnTo>
                    <a:lnTo>
                      <a:pt x="52" y="204"/>
                    </a:lnTo>
                    <a:lnTo>
                      <a:pt x="52" y="206"/>
                    </a:lnTo>
                    <a:lnTo>
                      <a:pt x="49" y="203"/>
                    </a:lnTo>
                    <a:lnTo>
                      <a:pt x="51" y="203"/>
                    </a:lnTo>
                    <a:lnTo>
                      <a:pt x="51" y="201"/>
                    </a:lnTo>
                    <a:lnTo>
                      <a:pt x="49" y="201"/>
                    </a:lnTo>
                    <a:lnTo>
                      <a:pt x="47" y="199"/>
                    </a:lnTo>
                    <a:lnTo>
                      <a:pt x="49" y="192"/>
                    </a:lnTo>
                    <a:lnTo>
                      <a:pt x="47" y="189"/>
                    </a:lnTo>
                    <a:lnTo>
                      <a:pt x="47" y="191"/>
                    </a:lnTo>
                    <a:lnTo>
                      <a:pt x="47" y="189"/>
                    </a:lnTo>
                    <a:lnTo>
                      <a:pt x="46" y="189"/>
                    </a:lnTo>
                    <a:lnTo>
                      <a:pt x="46" y="187"/>
                    </a:lnTo>
                    <a:lnTo>
                      <a:pt x="44" y="191"/>
                    </a:lnTo>
                    <a:lnTo>
                      <a:pt x="46" y="192"/>
                    </a:lnTo>
                    <a:lnTo>
                      <a:pt x="44" y="192"/>
                    </a:lnTo>
                    <a:lnTo>
                      <a:pt x="46" y="192"/>
                    </a:lnTo>
                    <a:lnTo>
                      <a:pt x="46" y="194"/>
                    </a:lnTo>
                    <a:lnTo>
                      <a:pt x="46" y="196"/>
                    </a:lnTo>
                    <a:lnTo>
                      <a:pt x="47" y="198"/>
                    </a:lnTo>
                    <a:lnTo>
                      <a:pt x="46" y="198"/>
                    </a:lnTo>
                    <a:lnTo>
                      <a:pt x="44" y="198"/>
                    </a:lnTo>
                    <a:lnTo>
                      <a:pt x="42" y="199"/>
                    </a:lnTo>
                    <a:lnTo>
                      <a:pt x="42" y="201"/>
                    </a:lnTo>
                    <a:lnTo>
                      <a:pt x="41" y="199"/>
                    </a:lnTo>
                    <a:lnTo>
                      <a:pt x="37" y="203"/>
                    </a:lnTo>
                    <a:lnTo>
                      <a:pt x="39" y="199"/>
                    </a:lnTo>
                    <a:lnTo>
                      <a:pt x="37" y="199"/>
                    </a:lnTo>
                    <a:lnTo>
                      <a:pt x="39" y="199"/>
                    </a:lnTo>
                    <a:lnTo>
                      <a:pt x="39" y="198"/>
                    </a:lnTo>
                    <a:lnTo>
                      <a:pt x="39" y="196"/>
                    </a:lnTo>
                    <a:lnTo>
                      <a:pt x="37" y="199"/>
                    </a:lnTo>
                    <a:lnTo>
                      <a:pt x="41" y="189"/>
                    </a:lnTo>
                    <a:lnTo>
                      <a:pt x="41" y="184"/>
                    </a:lnTo>
                    <a:lnTo>
                      <a:pt x="41" y="182"/>
                    </a:lnTo>
                    <a:lnTo>
                      <a:pt x="41" y="181"/>
                    </a:lnTo>
                    <a:lnTo>
                      <a:pt x="42" y="181"/>
                    </a:lnTo>
                    <a:lnTo>
                      <a:pt x="42" y="179"/>
                    </a:lnTo>
                    <a:lnTo>
                      <a:pt x="66" y="179"/>
                    </a:lnTo>
                    <a:lnTo>
                      <a:pt x="88" y="179"/>
                    </a:lnTo>
                    <a:lnTo>
                      <a:pt x="88" y="169"/>
                    </a:lnTo>
                    <a:lnTo>
                      <a:pt x="92" y="169"/>
                    </a:lnTo>
                    <a:lnTo>
                      <a:pt x="93" y="169"/>
                    </a:lnTo>
                    <a:lnTo>
                      <a:pt x="98" y="169"/>
                    </a:lnTo>
                    <a:lnTo>
                      <a:pt x="103" y="167"/>
                    </a:lnTo>
                    <a:lnTo>
                      <a:pt x="109" y="169"/>
                    </a:lnTo>
                    <a:lnTo>
                      <a:pt x="114" y="169"/>
                    </a:lnTo>
                    <a:lnTo>
                      <a:pt x="117" y="165"/>
                    </a:lnTo>
                    <a:lnTo>
                      <a:pt x="119" y="160"/>
                    </a:lnTo>
                    <a:lnTo>
                      <a:pt x="120" y="157"/>
                    </a:lnTo>
                    <a:lnTo>
                      <a:pt x="124" y="157"/>
                    </a:lnTo>
                    <a:lnTo>
                      <a:pt x="126" y="160"/>
                    </a:lnTo>
                    <a:lnTo>
                      <a:pt x="129" y="162"/>
                    </a:lnTo>
                    <a:lnTo>
                      <a:pt x="132" y="164"/>
                    </a:lnTo>
                    <a:lnTo>
                      <a:pt x="136" y="164"/>
                    </a:lnTo>
                    <a:lnTo>
                      <a:pt x="137" y="165"/>
                    </a:lnTo>
                    <a:lnTo>
                      <a:pt x="141" y="165"/>
                    </a:lnTo>
                    <a:lnTo>
                      <a:pt x="143" y="169"/>
                    </a:lnTo>
                    <a:lnTo>
                      <a:pt x="144" y="169"/>
                    </a:lnTo>
                    <a:lnTo>
                      <a:pt x="148" y="169"/>
                    </a:lnTo>
                    <a:lnTo>
                      <a:pt x="149" y="169"/>
                    </a:lnTo>
                    <a:lnTo>
                      <a:pt x="153" y="170"/>
                    </a:lnTo>
                    <a:lnTo>
                      <a:pt x="156" y="172"/>
                    </a:lnTo>
                    <a:lnTo>
                      <a:pt x="158" y="174"/>
                    </a:lnTo>
                    <a:lnTo>
                      <a:pt x="161" y="175"/>
                    </a:lnTo>
                    <a:lnTo>
                      <a:pt x="165" y="174"/>
                    </a:lnTo>
                    <a:lnTo>
                      <a:pt x="166" y="175"/>
                    </a:lnTo>
                    <a:lnTo>
                      <a:pt x="171" y="175"/>
                    </a:lnTo>
                    <a:lnTo>
                      <a:pt x="173" y="174"/>
                    </a:lnTo>
                    <a:lnTo>
                      <a:pt x="173" y="172"/>
                    </a:lnTo>
                    <a:lnTo>
                      <a:pt x="178" y="172"/>
                    </a:lnTo>
                    <a:lnTo>
                      <a:pt x="182" y="170"/>
                    </a:lnTo>
                    <a:lnTo>
                      <a:pt x="185" y="170"/>
                    </a:lnTo>
                    <a:lnTo>
                      <a:pt x="187" y="169"/>
                    </a:lnTo>
                    <a:lnTo>
                      <a:pt x="188" y="167"/>
                    </a:lnTo>
                    <a:lnTo>
                      <a:pt x="190" y="165"/>
                    </a:lnTo>
                    <a:lnTo>
                      <a:pt x="183" y="158"/>
                    </a:lnTo>
                    <a:lnTo>
                      <a:pt x="180" y="157"/>
                    </a:lnTo>
                    <a:lnTo>
                      <a:pt x="178" y="158"/>
                    </a:lnTo>
                    <a:lnTo>
                      <a:pt x="175" y="158"/>
                    </a:lnTo>
                    <a:lnTo>
                      <a:pt x="170" y="160"/>
                    </a:lnTo>
                    <a:lnTo>
                      <a:pt x="166" y="162"/>
                    </a:lnTo>
                    <a:lnTo>
                      <a:pt x="163" y="164"/>
                    </a:lnTo>
                    <a:lnTo>
                      <a:pt x="158" y="162"/>
                    </a:lnTo>
                    <a:lnTo>
                      <a:pt x="154" y="160"/>
                    </a:lnTo>
                    <a:lnTo>
                      <a:pt x="154" y="157"/>
                    </a:lnTo>
                    <a:lnTo>
                      <a:pt x="151" y="153"/>
                    </a:lnTo>
                    <a:lnTo>
                      <a:pt x="148" y="153"/>
                    </a:lnTo>
                    <a:lnTo>
                      <a:pt x="143" y="155"/>
                    </a:lnTo>
                    <a:lnTo>
                      <a:pt x="139" y="153"/>
                    </a:lnTo>
                    <a:lnTo>
                      <a:pt x="139" y="150"/>
                    </a:lnTo>
                    <a:lnTo>
                      <a:pt x="136" y="148"/>
                    </a:lnTo>
                    <a:lnTo>
                      <a:pt x="132" y="147"/>
                    </a:lnTo>
                    <a:lnTo>
                      <a:pt x="129" y="147"/>
                    </a:lnTo>
                    <a:lnTo>
                      <a:pt x="126" y="145"/>
                    </a:lnTo>
                    <a:lnTo>
                      <a:pt x="122" y="147"/>
                    </a:lnTo>
                    <a:lnTo>
                      <a:pt x="117" y="148"/>
                    </a:lnTo>
                    <a:lnTo>
                      <a:pt x="115" y="148"/>
                    </a:lnTo>
                    <a:lnTo>
                      <a:pt x="112" y="147"/>
                    </a:lnTo>
                    <a:lnTo>
                      <a:pt x="109" y="148"/>
                    </a:lnTo>
                    <a:lnTo>
                      <a:pt x="105" y="152"/>
                    </a:lnTo>
                    <a:lnTo>
                      <a:pt x="103" y="157"/>
                    </a:lnTo>
                    <a:lnTo>
                      <a:pt x="90" y="157"/>
                    </a:lnTo>
                    <a:lnTo>
                      <a:pt x="78" y="157"/>
                    </a:lnTo>
                    <a:lnTo>
                      <a:pt x="71" y="157"/>
                    </a:lnTo>
                    <a:lnTo>
                      <a:pt x="61" y="157"/>
                    </a:lnTo>
                    <a:lnTo>
                      <a:pt x="56" y="157"/>
                    </a:lnTo>
                    <a:lnTo>
                      <a:pt x="52" y="157"/>
                    </a:lnTo>
                    <a:lnTo>
                      <a:pt x="51" y="157"/>
                    </a:lnTo>
                    <a:lnTo>
                      <a:pt x="51" y="155"/>
                    </a:lnTo>
                    <a:lnTo>
                      <a:pt x="51" y="157"/>
                    </a:lnTo>
                    <a:lnTo>
                      <a:pt x="49" y="155"/>
                    </a:lnTo>
                    <a:lnTo>
                      <a:pt x="51" y="157"/>
                    </a:lnTo>
                    <a:lnTo>
                      <a:pt x="49" y="157"/>
                    </a:lnTo>
                    <a:lnTo>
                      <a:pt x="47" y="155"/>
                    </a:lnTo>
                    <a:lnTo>
                      <a:pt x="52" y="153"/>
                    </a:lnTo>
                    <a:lnTo>
                      <a:pt x="52" y="152"/>
                    </a:lnTo>
                    <a:lnTo>
                      <a:pt x="51" y="152"/>
                    </a:lnTo>
                    <a:lnTo>
                      <a:pt x="52" y="150"/>
                    </a:lnTo>
                    <a:lnTo>
                      <a:pt x="52" y="148"/>
                    </a:lnTo>
                    <a:lnTo>
                      <a:pt x="54" y="147"/>
                    </a:lnTo>
                    <a:lnTo>
                      <a:pt x="52" y="145"/>
                    </a:lnTo>
                    <a:lnTo>
                      <a:pt x="52" y="143"/>
                    </a:lnTo>
                    <a:lnTo>
                      <a:pt x="54" y="143"/>
                    </a:lnTo>
                    <a:lnTo>
                      <a:pt x="52" y="143"/>
                    </a:lnTo>
                    <a:lnTo>
                      <a:pt x="54" y="141"/>
                    </a:lnTo>
                    <a:lnTo>
                      <a:pt x="54" y="140"/>
                    </a:lnTo>
                    <a:lnTo>
                      <a:pt x="54" y="141"/>
                    </a:lnTo>
                    <a:lnTo>
                      <a:pt x="52" y="141"/>
                    </a:lnTo>
                    <a:lnTo>
                      <a:pt x="52" y="140"/>
                    </a:lnTo>
                    <a:lnTo>
                      <a:pt x="54" y="138"/>
                    </a:lnTo>
                    <a:lnTo>
                      <a:pt x="52" y="136"/>
                    </a:lnTo>
                    <a:lnTo>
                      <a:pt x="51" y="136"/>
                    </a:lnTo>
                    <a:lnTo>
                      <a:pt x="49" y="136"/>
                    </a:lnTo>
                    <a:lnTo>
                      <a:pt x="47" y="136"/>
                    </a:lnTo>
                    <a:lnTo>
                      <a:pt x="51" y="135"/>
                    </a:lnTo>
                    <a:lnTo>
                      <a:pt x="49" y="135"/>
                    </a:lnTo>
                    <a:lnTo>
                      <a:pt x="47" y="135"/>
                    </a:lnTo>
                    <a:lnTo>
                      <a:pt x="46" y="136"/>
                    </a:lnTo>
                    <a:lnTo>
                      <a:pt x="44" y="135"/>
                    </a:lnTo>
                    <a:lnTo>
                      <a:pt x="41" y="136"/>
                    </a:lnTo>
                    <a:lnTo>
                      <a:pt x="39" y="138"/>
                    </a:lnTo>
                    <a:lnTo>
                      <a:pt x="39" y="140"/>
                    </a:lnTo>
                    <a:lnTo>
                      <a:pt x="37" y="131"/>
                    </a:lnTo>
                    <a:lnTo>
                      <a:pt x="35" y="128"/>
                    </a:lnTo>
                    <a:lnTo>
                      <a:pt x="35" y="130"/>
                    </a:lnTo>
                    <a:lnTo>
                      <a:pt x="34" y="126"/>
                    </a:lnTo>
                    <a:lnTo>
                      <a:pt x="34" y="124"/>
                    </a:lnTo>
                    <a:lnTo>
                      <a:pt x="30" y="121"/>
                    </a:lnTo>
                    <a:lnTo>
                      <a:pt x="30" y="118"/>
                    </a:lnTo>
                    <a:lnTo>
                      <a:pt x="27" y="114"/>
                    </a:lnTo>
                    <a:lnTo>
                      <a:pt x="24" y="113"/>
                    </a:lnTo>
                    <a:lnTo>
                      <a:pt x="22" y="109"/>
                    </a:lnTo>
                    <a:lnTo>
                      <a:pt x="17" y="102"/>
                    </a:lnTo>
                    <a:lnTo>
                      <a:pt x="13" y="101"/>
                    </a:lnTo>
                    <a:lnTo>
                      <a:pt x="8" y="99"/>
                    </a:lnTo>
                    <a:lnTo>
                      <a:pt x="5" y="99"/>
                    </a:lnTo>
                    <a:lnTo>
                      <a:pt x="7" y="101"/>
                    </a:lnTo>
                    <a:lnTo>
                      <a:pt x="7" y="102"/>
                    </a:lnTo>
                    <a:lnTo>
                      <a:pt x="5" y="101"/>
                    </a:lnTo>
                    <a:lnTo>
                      <a:pt x="5" y="102"/>
                    </a:lnTo>
                    <a:lnTo>
                      <a:pt x="5" y="104"/>
                    </a:lnTo>
                    <a:lnTo>
                      <a:pt x="5" y="102"/>
                    </a:lnTo>
                    <a:lnTo>
                      <a:pt x="3" y="102"/>
                    </a:lnTo>
                    <a:lnTo>
                      <a:pt x="1" y="101"/>
                    </a:lnTo>
                    <a:lnTo>
                      <a:pt x="0" y="99"/>
                    </a:lnTo>
                    <a:lnTo>
                      <a:pt x="12" y="96"/>
                    </a:lnTo>
                    <a:lnTo>
                      <a:pt x="20" y="90"/>
                    </a:lnTo>
                    <a:lnTo>
                      <a:pt x="22" y="87"/>
                    </a:lnTo>
                    <a:lnTo>
                      <a:pt x="32" y="75"/>
                    </a:lnTo>
                    <a:lnTo>
                      <a:pt x="35" y="72"/>
                    </a:lnTo>
                    <a:lnTo>
                      <a:pt x="46" y="55"/>
                    </a:lnTo>
                    <a:lnTo>
                      <a:pt x="51" y="46"/>
                    </a:lnTo>
                    <a:lnTo>
                      <a:pt x="51" y="44"/>
                    </a:lnTo>
                    <a:lnTo>
                      <a:pt x="51" y="46"/>
                    </a:lnTo>
                    <a:lnTo>
                      <a:pt x="51" y="41"/>
                    </a:lnTo>
                    <a:lnTo>
                      <a:pt x="52" y="33"/>
                    </a:lnTo>
                    <a:lnTo>
                      <a:pt x="52" y="31"/>
                    </a:lnTo>
                    <a:lnTo>
                      <a:pt x="52" y="33"/>
                    </a:lnTo>
                    <a:lnTo>
                      <a:pt x="56" y="29"/>
                    </a:lnTo>
                    <a:lnTo>
                      <a:pt x="54" y="26"/>
                    </a:lnTo>
                    <a:lnTo>
                      <a:pt x="56" y="24"/>
                    </a:lnTo>
                    <a:lnTo>
                      <a:pt x="58" y="24"/>
                    </a:lnTo>
                    <a:lnTo>
                      <a:pt x="59" y="22"/>
                    </a:lnTo>
                    <a:lnTo>
                      <a:pt x="59" y="21"/>
                    </a:lnTo>
                    <a:lnTo>
                      <a:pt x="59" y="19"/>
                    </a:lnTo>
                    <a:lnTo>
                      <a:pt x="61" y="17"/>
                    </a:lnTo>
                    <a:lnTo>
                      <a:pt x="61" y="14"/>
                    </a:lnTo>
                    <a:lnTo>
                      <a:pt x="63" y="14"/>
                    </a:lnTo>
                    <a:lnTo>
                      <a:pt x="63" y="12"/>
                    </a:lnTo>
                    <a:lnTo>
                      <a:pt x="63" y="10"/>
                    </a:lnTo>
                    <a:lnTo>
                      <a:pt x="63" y="9"/>
                    </a:lnTo>
                    <a:lnTo>
                      <a:pt x="64" y="9"/>
                    </a:lnTo>
                    <a:lnTo>
                      <a:pt x="68" y="9"/>
                    </a:lnTo>
                    <a:lnTo>
                      <a:pt x="69" y="7"/>
                    </a:lnTo>
                    <a:lnTo>
                      <a:pt x="71" y="7"/>
                    </a:lnTo>
                    <a:lnTo>
                      <a:pt x="73" y="9"/>
                    </a:lnTo>
                    <a:lnTo>
                      <a:pt x="75" y="10"/>
                    </a:lnTo>
                    <a:lnTo>
                      <a:pt x="78" y="9"/>
                    </a:lnTo>
                    <a:lnTo>
                      <a:pt x="80" y="10"/>
                    </a:lnTo>
                    <a:lnTo>
                      <a:pt x="83" y="9"/>
                    </a:lnTo>
                    <a:lnTo>
                      <a:pt x="85" y="9"/>
                    </a:lnTo>
                    <a:lnTo>
                      <a:pt x="85" y="10"/>
                    </a:lnTo>
                    <a:lnTo>
                      <a:pt x="86" y="9"/>
                    </a:lnTo>
                    <a:lnTo>
                      <a:pt x="93" y="10"/>
                    </a:lnTo>
                    <a:lnTo>
                      <a:pt x="97" y="10"/>
                    </a:lnTo>
                    <a:lnTo>
                      <a:pt x="97" y="9"/>
                    </a:lnTo>
                    <a:lnTo>
                      <a:pt x="100" y="9"/>
                    </a:lnTo>
                    <a:lnTo>
                      <a:pt x="102" y="9"/>
                    </a:lnTo>
                    <a:lnTo>
                      <a:pt x="102" y="7"/>
                    </a:lnTo>
                    <a:lnTo>
                      <a:pt x="105" y="5"/>
                    </a:lnTo>
                    <a:lnTo>
                      <a:pt x="107" y="7"/>
                    </a:lnTo>
                    <a:lnTo>
                      <a:pt x="112" y="5"/>
                    </a:lnTo>
                    <a:lnTo>
                      <a:pt x="117" y="7"/>
                    </a:lnTo>
                    <a:lnTo>
                      <a:pt x="120" y="5"/>
                    </a:lnTo>
                    <a:lnTo>
                      <a:pt x="122" y="5"/>
                    </a:lnTo>
                    <a:lnTo>
                      <a:pt x="124" y="4"/>
                    </a:lnTo>
                    <a:lnTo>
                      <a:pt x="122" y="2"/>
                    </a:lnTo>
                    <a:lnTo>
                      <a:pt x="124" y="0"/>
                    </a:lnTo>
                    <a:lnTo>
                      <a:pt x="126" y="4"/>
                    </a:lnTo>
                    <a:lnTo>
                      <a:pt x="127" y="4"/>
                    </a:lnTo>
                    <a:lnTo>
                      <a:pt x="129" y="2"/>
                    </a:lnTo>
                    <a:lnTo>
                      <a:pt x="129" y="0"/>
                    </a:lnTo>
                    <a:lnTo>
                      <a:pt x="131" y="0"/>
                    </a:lnTo>
                    <a:lnTo>
                      <a:pt x="131" y="2"/>
                    </a:lnTo>
                    <a:lnTo>
                      <a:pt x="131" y="4"/>
                    </a:lnTo>
                    <a:lnTo>
                      <a:pt x="132" y="2"/>
                    </a:lnTo>
                    <a:lnTo>
                      <a:pt x="134" y="4"/>
                    </a:lnTo>
                    <a:lnTo>
                      <a:pt x="134" y="2"/>
                    </a:lnTo>
                    <a:lnTo>
                      <a:pt x="136" y="2"/>
                    </a:lnTo>
                    <a:lnTo>
                      <a:pt x="137" y="2"/>
                    </a:lnTo>
                    <a:lnTo>
                      <a:pt x="139" y="4"/>
                    </a:lnTo>
                    <a:lnTo>
                      <a:pt x="141" y="2"/>
                    </a:lnTo>
                    <a:lnTo>
                      <a:pt x="141" y="4"/>
                    </a:lnTo>
                    <a:lnTo>
                      <a:pt x="143" y="2"/>
                    </a:lnTo>
                    <a:lnTo>
                      <a:pt x="146" y="2"/>
                    </a:lnTo>
                    <a:lnTo>
                      <a:pt x="146" y="4"/>
                    </a:lnTo>
                    <a:lnTo>
                      <a:pt x="148" y="4"/>
                    </a:lnTo>
                    <a:lnTo>
                      <a:pt x="151" y="4"/>
                    </a:lnTo>
                    <a:lnTo>
                      <a:pt x="151" y="2"/>
                    </a:lnTo>
                    <a:lnTo>
                      <a:pt x="154" y="4"/>
                    </a:lnTo>
                    <a:lnTo>
                      <a:pt x="156" y="4"/>
                    </a:lnTo>
                    <a:lnTo>
                      <a:pt x="158" y="2"/>
                    </a:lnTo>
                    <a:lnTo>
                      <a:pt x="161" y="2"/>
                    </a:lnTo>
                    <a:lnTo>
                      <a:pt x="161" y="5"/>
                    </a:lnTo>
                    <a:lnTo>
                      <a:pt x="165" y="5"/>
                    </a:lnTo>
                    <a:lnTo>
                      <a:pt x="166" y="9"/>
                    </a:lnTo>
                    <a:lnTo>
                      <a:pt x="166" y="7"/>
                    </a:lnTo>
                    <a:lnTo>
                      <a:pt x="168" y="7"/>
                    </a:lnTo>
                    <a:lnTo>
                      <a:pt x="168" y="9"/>
                    </a:lnTo>
                    <a:lnTo>
                      <a:pt x="171" y="10"/>
                    </a:lnTo>
                    <a:lnTo>
                      <a:pt x="171" y="12"/>
                    </a:lnTo>
                    <a:lnTo>
                      <a:pt x="175" y="14"/>
                    </a:lnTo>
                    <a:lnTo>
                      <a:pt x="177" y="17"/>
                    </a:lnTo>
                    <a:lnTo>
                      <a:pt x="180" y="17"/>
                    </a:lnTo>
                    <a:lnTo>
                      <a:pt x="182" y="19"/>
                    </a:lnTo>
                    <a:lnTo>
                      <a:pt x="180" y="19"/>
                    </a:lnTo>
                    <a:lnTo>
                      <a:pt x="180" y="21"/>
                    </a:lnTo>
                    <a:lnTo>
                      <a:pt x="182" y="21"/>
                    </a:lnTo>
                    <a:lnTo>
                      <a:pt x="180" y="24"/>
                    </a:lnTo>
                    <a:lnTo>
                      <a:pt x="183" y="22"/>
                    </a:lnTo>
                    <a:lnTo>
                      <a:pt x="183" y="24"/>
                    </a:lnTo>
                    <a:lnTo>
                      <a:pt x="185" y="24"/>
                    </a:lnTo>
                    <a:lnTo>
                      <a:pt x="185" y="27"/>
                    </a:lnTo>
                    <a:lnTo>
                      <a:pt x="187" y="29"/>
                    </a:lnTo>
                    <a:lnTo>
                      <a:pt x="188" y="27"/>
                    </a:lnTo>
                    <a:lnTo>
                      <a:pt x="192" y="27"/>
                    </a:lnTo>
                    <a:lnTo>
                      <a:pt x="194" y="26"/>
                    </a:lnTo>
                    <a:lnTo>
                      <a:pt x="194" y="27"/>
                    </a:lnTo>
                    <a:lnTo>
                      <a:pt x="195" y="29"/>
                    </a:lnTo>
                    <a:lnTo>
                      <a:pt x="200" y="27"/>
                    </a:lnTo>
                    <a:lnTo>
                      <a:pt x="204" y="29"/>
                    </a:lnTo>
                    <a:lnTo>
                      <a:pt x="205" y="27"/>
                    </a:lnTo>
                    <a:lnTo>
                      <a:pt x="204" y="29"/>
                    </a:lnTo>
                    <a:lnTo>
                      <a:pt x="204" y="31"/>
                    </a:lnTo>
                    <a:lnTo>
                      <a:pt x="207" y="29"/>
                    </a:lnTo>
                    <a:lnTo>
                      <a:pt x="207" y="31"/>
                    </a:lnTo>
                    <a:lnTo>
                      <a:pt x="211" y="33"/>
                    </a:lnTo>
                    <a:lnTo>
                      <a:pt x="211" y="38"/>
                    </a:lnTo>
                    <a:lnTo>
                      <a:pt x="214" y="39"/>
                    </a:lnTo>
                    <a:lnTo>
                      <a:pt x="212" y="41"/>
                    </a:lnTo>
                    <a:lnTo>
                      <a:pt x="214" y="41"/>
                    </a:lnTo>
                    <a:lnTo>
                      <a:pt x="214" y="44"/>
                    </a:lnTo>
                    <a:lnTo>
                      <a:pt x="216" y="46"/>
                    </a:lnTo>
                    <a:lnTo>
                      <a:pt x="214" y="46"/>
                    </a:lnTo>
                    <a:lnTo>
                      <a:pt x="219" y="50"/>
                    </a:lnTo>
                    <a:lnTo>
                      <a:pt x="219" y="51"/>
                    </a:lnTo>
                    <a:lnTo>
                      <a:pt x="217" y="51"/>
                    </a:lnTo>
                    <a:lnTo>
                      <a:pt x="217" y="55"/>
                    </a:lnTo>
                    <a:lnTo>
                      <a:pt x="221" y="53"/>
                    </a:lnTo>
                    <a:lnTo>
                      <a:pt x="226" y="56"/>
                    </a:lnTo>
                    <a:lnTo>
                      <a:pt x="224" y="60"/>
                    </a:lnTo>
                    <a:lnTo>
                      <a:pt x="228" y="62"/>
                    </a:lnTo>
                    <a:lnTo>
                      <a:pt x="231" y="60"/>
                    </a:lnTo>
                    <a:lnTo>
                      <a:pt x="231" y="63"/>
                    </a:lnTo>
                    <a:lnTo>
                      <a:pt x="233" y="63"/>
                    </a:lnTo>
                    <a:lnTo>
                      <a:pt x="233" y="65"/>
                    </a:lnTo>
                    <a:lnTo>
                      <a:pt x="233" y="67"/>
                    </a:lnTo>
                    <a:lnTo>
                      <a:pt x="233" y="68"/>
                    </a:lnTo>
                    <a:lnTo>
                      <a:pt x="238" y="70"/>
                    </a:lnTo>
                    <a:lnTo>
                      <a:pt x="238" y="72"/>
                    </a:lnTo>
                    <a:lnTo>
                      <a:pt x="236" y="72"/>
                    </a:lnTo>
                    <a:lnTo>
                      <a:pt x="234" y="72"/>
                    </a:lnTo>
                    <a:lnTo>
                      <a:pt x="238" y="75"/>
                    </a:lnTo>
                    <a:lnTo>
                      <a:pt x="239" y="75"/>
                    </a:lnTo>
                    <a:lnTo>
                      <a:pt x="241" y="75"/>
                    </a:lnTo>
                    <a:lnTo>
                      <a:pt x="239" y="77"/>
                    </a:lnTo>
                    <a:lnTo>
                      <a:pt x="245" y="82"/>
                    </a:lnTo>
                    <a:lnTo>
                      <a:pt x="246" y="80"/>
                    </a:lnTo>
                    <a:lnTo>
                      <a:pt x="250" y="82"/>
                    </a:lnTo>
                    <a:lnTo>
                      <a:pt x="253" y="84"/>
                    </a:lnTo>
                    <a:lnTo>
                      <a:pt x="255" y="85"/>
                    </a:lnTo>
                    <a:lnTo>
                      <a:pt x="256" y="87"/>
                    </a:lnTo>
                    <a:lnTo>
                      <a:pt x="258" y="90"/>
                    </a:lnTo>
                    <a:lnTo>
                      <a:pt x="260" y="94"/>
                    </a:lnTo>
                    <a:lnTo>
                      <a:pt x="263" y="94"/>
                    </a:lnTo>
                    <a:lnTo>
                      <a:pt x="267" y="97"/>
                    </a:lnTo>
                    <a:lnTo>
                      <a:pt x="268" y="97"/>
                    </a:lnTo>
                    <a:close/>
                    <a:moveTo>
                      <a:pt x="46" y="138"/>
                    </a:moveTo>
                    <a:lnTo>
                      <a:pt x="47" y="136"/>
                    </a:lnTo>
                    <a:lnTo>
                      <a:pt x="49" y="136"/>
                    </a:lnTo>
                    <a:lnTo>
                      <a:pt x="51" y="136"/>
                    </a:lnTo>
                    <a:lnTo>
                      <a:pt x="51" y="140"/>
                    </a:lnTo>
                    <a:lnTo>
                      <a:pt x="51" y="141"/>
                    </a:lnTo>
                    <a:lnTo>
                      <a:pt x="49" y="143"/>
                    </a:lnTo>
                    <a:lnTo>
                      <a:pt x="46" y="145"/>
                    </a:lnTo>
                    <a:lnTo>
                      <a:pt x="44" y="143"/>
                    </a:lnTo>
                    <a:lnTo>
                      <a:pt x="42" y="143"/>
                    </a:lnTo>
                    <a:lnTo>
                      <a:pt x="42" y="141"/>
                    </a:lnTo>
                    <a:lnTo>
                      <a:pt x="41" y="141"/>
                    </a:lnTo>
                    <a:lnTo>
                      <a:pt x="41" y="138"/>
                    </a:lnTo>
                    <a:lnTo>
                      <a:pt x="42" y="136"/>
                    </a:lnTo>
                    <a:lnTo>
                      <a:pt x="46" y="138"/>
                    </a:lnTo>
                    <a:close/>
                    <a:moveTo>
                      <a:pt x="52" y="145"/>
                    </a:moveTo>
                    <a:lnTo>
                      <a:pt x="52" y="147"/>
                    </a:lnTo>
                    <a:lnTo>
                      <a:pt x="52" y="148"/>
                    </a:lnTo>
                    <a:lnTo>
                      <a:pt x="52" y="150"/>
                    </a:lnTo>
                    <a:lnTo>
                      <a:pt x="51" y="153"/>
                    </a:lnTo>
                    <a:lnTo>
                      <a:pt x="49" y="153"/>
                    </a:lnTo>
                    <a:lnTo>
                      <a:pt x="47" y="153"/>
                    </a:lnTo>
                    <a:lnTo>
                      <a:pt x="46" y="152"/>
                    </a:lnTo>
                    <a:lnTo>
                      <a:pt x="46" y="148"/>
                    </a:lnTo>
                    <a:lnTo>
                      <a:pt x="49" y="145"/>
                    </a:lnTo>
                    <a:lnTo>
                      <a:pt x="52" y="143"/>
                    </a:lnTo>
                    <a:lnTo>
                      <a:pt x="52" y="145"/>
                    </a:lnTo>
                    <a:close/>
                    <a:moveTo>
                      <a:pt x="44" y="201"/>
                    </a:moveTo>
                    <a:lnTo>
                      <a:pt x="44" y="199"/>
                    </a:lnTo>
                    <a:lnTo>
                      <a:pt x="46" y="206"/>
                    </a:lnTo>
                    <a:lnTo>
                      <a:pt x="41" y="208"/>
                    </a:lnTo>
                    <a:lnTo>
                      <a:pt x="39" y="208"/>
                    </a:lnTo>
                    <a:lnTo>
                      <a:pt x="37" y="204"/>
                    </a:lnTo>
                    <a:lnTo>
                      <a:pt x="39" y="201"/>
                    </a:lnTo>
                    <a:lnTo>
                      <a:pt x="41" y="199"/>
                    </a:lnTo>
                    <a:lnTo>
                      <a:pt x="44" y="201"/>
                    </a:lnTo>
                    <a:close/>
                    <a:moveTo>
                      <a:pt x="46" y="191"/>
                    </a:moveTo>
                    <a:lnTo>
                      <a:pt x="47" y="191"/>
                    </a:lnTo>
                    <a:lnTo>
                      <a:pt x="49" y="192"/>
                    </a:lnTo>
                    <a:lnTo>
                      <a:pt x="47" y="198"/>
                    </a:lnTo>
                    <a:lnTo>
                      <a:pt x="46" y="196"/>
                    </a:lnTo>
                    <a:lnTo>
                      <a:pt x="46" y="194"/>
                    </a:lnTo>
                    <a:lnTo>
                      <a:pt x="47" y="194"/>
                    </a:lnTo>
                    <a:lnTo>
                      <a:pt x="46" y="192"/>
                    </a:lnTo>
                    <a:lnTo>
                      <a:pt x="44" y="192"/>
                    </a:lnTo>
                    <a:lnTo>
                      <a:pt x="46" y="192"/>
                    </a:lnTo>
                    <a:lnTo>
                      <a:pt x="44" y="191"/>
                    </a:lnTo>
                    <a:lnTo>
                      <a:pt x="46" y="189"/>
                    </a:lnTo>
                    <a:lnTo>
                      <a:pt x="46" y="191"/>
                    </a:lnTo>
                    <a:close/>
                    <a:moveTo>
                      <a:pt x="42" y="141"/>
                    </a:moveTo>
                    <a:lnTo>
                      <a:pt x="42" y="143"/>
                    </a:lnTo>
                    <a:lnTo>
                      <a:pt x="44" y="143"/>
                    </a:lnTo>
                    <a:lnTo>
                      <a:pt x="44" y="145"/>
                    </a:lnTo>
                    <a:lnTo>
                      <a:pt x="44" y="147"/>
                    </a:lnTo>
                    <a:lnTo>
                      <a:pt x="42" y="147"/>
                    </a:lnTo>
                    <a:lnTo>
                      <a:pt x="41" y="143"/>
                    </a:lnTo>
                    <a:lnTo>
                      <a:pt x="41" y="145"/>
                    </a:lnTo>
                    <a:lnTo>
                      <a:pt x="41" y="143"/>
                    </a:lnTo>
                    <a:lnTo>
                      <a:pt x="41" y="141"/>
                    </a:lnTo>
                    <a:lnTo>
                      <a:pt x="42" y="141"/>
                    </a:lnTo>
                    <a:close/>
                    <a:moveTo>
                      <a:pt x="49" y="199"/>
                    </a:moveTo>
                    <a:lnTo>
                      <a:pt x="49" y="201"/>
                    </a:lnTo>
                    <a:lnTo>
                      <a:pt x="49" y="203"/>
                    </a:lnTo>
                    <a:lnTo>
                      <a:pt x="47" y="204"/>
                    </a:lnTo>
                    <a:lnTo>
                      <a:pt x="46" y="204"/>
                    </a:lnTo>
                    <a:lnTo>
                      <a:pt x="46" y="201"/>
                    </a:lnTo>
                    <a:lnTo>
                      <a:pt x="47" y="199"/>
                    </a:lnTo>
                    <a:lnTo>
                      <a:pt x="49" y="199"/>
                    </a:lnTo>
                    <a:close/>
                    <a:moveTo>
                      <a:pt x="47" y="199"/>
                    </a:moveTo>
                    <a:lnTo>
                      <a:pt x="46" y="201"/>
                    </a:lnTo>
                    <a:lnTo>
                      <a:pt x="44" y="199"/>
                    </a:lnTo>
                    <a:lnTo>
                      <a:pt x="44" y="201"/>
                    </a:lnTo>
                    <a:lnTo>
                      <a:pt x="42" y="201"/>
                    </a:lnTo>
                    <a:lnTo>
                      <a:pt x="42" y="199"/>
                    </a:lnTo>
                    <a:lnTo>
                      <a:pt x="44" y="198"/>
                    </a:lnTo>
                    <a:lnTo>
                      <a:pt x="46" y="198"/>
                    </a:lnTo>
                    <a:lnTo>
                      <a:pt x="47" y="198"/>
                    </a:lnTo>
                    <a:lnTo>
                      <a:pt x="47" y="199"/>
                    </a:lnTo>
                    <a:close/>
                    <a:moveTo>
                      <a:pt x="52" y="138"/>
                    </a:moveTo>
                    <a:lnTo>
                      <a:pt x="52" y="141"/>
                    </a:lnTo>
                    <a:lnTo>
                      <a:pt x="51" y="140"/>
                    </a:lnTo>
                    <a:lnTo>
                      <a:pt x="51" y="136"/>
                    </a:lnTo>
                    <a:lnTo>
                      <a:pt x="52" y="138"/>
                    </a:lnTo>
                    <a:close/>
                    <a:moveTo>
                      <a:pt x="41" y="210"/>
                    </a:moveTo>
                    <a:lnTo>
                      <a:pt x="44" y="210"/>
                    </a:lnTo>
                    <a:lnTo>
                      <a:pt x="44" y="211"/>
                    </a:lnTo>
                    <a:lnTo>
                      <a:pt x="41" y="211"/>
                    </a:lnTo>
                    <a:lnTo>
                      <a:pt x="41" y="210"/>
                    </a:lnTo>
                    <a:close/>
                    <a:moveTo>
                      <a:pt x="49" y="141"/>
                    </a:moveTo>
                    <a:lnTo>
                      <a:pt x="52" y="141"/>
                    </a:lnTo>
                    <a:lnTo>
                      <a:pt x="52" y="143"/>
                    </a:lnTo>
                    <a:lnTo>
                      <a:pt x="49" y="143"/>
                    </a:lnTo>
                    <a:lnTo>
                      <a:pt x="49" y="141"/>
                    </a:lnTo>
                    <a:close/>
                    <a:moveTo>
                      <a:pt x="46" y="145"/>
                    </a:moveTo>
                    <a:lnTo>
                      <a:pt x="47" y="145"/>
                    </a:lnTo>
                    <a:lnTo>
                      <a:pt x="47" y="147"/>
                    </a:lnTo>
                    <a:lnTo>
                      <a:pt x="46" y="147"/>
                    </a:lnTo>
                    <a:lnTo>
                      <a:pt x="46" y="145"/>
                    </a:lnTo>
                    <a:close/>
                    <a:moveTo>
                      <a:pt x="49" y="201"/>
                    </a:moveTo>
                    <a:lnTo>
                      <a:pt x="51" y="201"/>
                    </a:lnTo>
                    <a:lnTo>
                      <a:pt x="51" y="203"/>
                    </a:lnTo>
                    <a:lnTo>
                      <a:pt x="49" y="203"/>
                    </a:lnTo>
                    <a:lnTo>
                      <a:pt x="49" y="201"/>
                    </a:lnTo>
                    <a:close/>
                    <a:moveTo>
                      <a:pt x="41" y="213"/>
                    </a:moveTo>
                    <a:lnTo>
                      <a:pt x="42" y="213"/>
                    </a:lnTo>
                    <a:lnTo>
                      <a:pt x="42" y="215"/>
                    </a:lnTo>
                    <a:lnTo>
                      <a:pt x="41" y="215"/>
                    </a:lnTo>
                    <a:lnTo>
                      <a:pt x="41" y="213"/>
                    </a:lnTo>
                    <a:close/>
                    <a:moveTo>
                      <a:pt x="44" y="145"/>
                    </a:moveTo>
                    <a:lnTo>
                      <a:pt x="46" y="145"/>
                    </a:lnTo>
                    <a:lnTo>
                      <a:pt x="46" y="147"/>
                    </a:lnTo>
                    <a:lnTo>
                      <a:pt x="44" y="147"/>
                    </a:lnTo>
                    <a:lnTo>
                      <a:pt x="44" y="145"/>
                    </a:lnTo>
                    <a:close/>
                    <a:moveTo>
                      <a:pt x="39" y="147"/>
                    </a:moveTo>
                    <a:lnTo>
                      <a:pt x="39" y="141"/>
                    </a:lnTo>
                    <a:lnTo>
                      <a:pt x="39" y="145"/>
                    </a:lnTo>
                    <a:lnTo>
                      <a:pt x="39" y="147"/>
                    </a:lnTo>
                    <a:close/>
                    <a:moveTo>
                      <a:pt x="46" y="189"/>
                    </a:moveTo>
                    <a:lnTo>
                      <a:pt x="47" y="189"/>
                    </a:lnTo>
                    <a:lnTo>
                      <a:pt x="47" y="191"/>
                    </a:lnTo>
                    <a:lnTo>
                      <a:pt x="46" y="191"/>
                    </a:lnTo>
                    <a:lnTo>
                      <a:pt x="46" y="189"/>
                    </a:lnTo>
                    <a:close/>
                    <a:moveTo>
                      <a:pt x="44" y="143"/>
                    </a:moveTo>
                    <a:lnTo>
                      <a:pt x="44" y="147"/>
                    </a:lnTo>
                    <a:lnTo>
                      <a:pt x="44" y="143"/>
                    </a:lnTo>
                    <a:close/>
                    <a:moveTo>
                      <a:pt x="42" y="215"/>
                    </a:moveTo>
                    <a:lnTo>
                      <a:pt x="44" y="215"/>
                    </a:lnTo>
                    <a:lnTo>
                      <a:pt x="42" y="215"/>
                    </a:lnTo>
                    <a:close/>
                    <a:moveTo>
                      <a:pt x="44" y="145"/>
                    </a:moveTo>
                    <a:lnTo>
                      <a:pt x="46" y="145"/>
                    </a:lnTo>
                    <a:lnTo>
                      <a:pt x="46" y="147"/>
                    </a:lnTo>
                    <a:lnTo>
                      <a:pt x="44" y="147"/>
                    </a:lnTo>
                    <a:lnTo>
                      <a:pt x="44" y="145"/>
                    </a:lnTo>
                    <a:close/>
                    <a:moveTo>
                      <a:pt x="51" y="152"/>
                    </a:moveTo>
                    <a:lnTo>
                      <a:pt x="52" y="152"/>
                    </a:lnTo>
                    <a:lnTo>
                      <a:pt x="51" y="152"/>
                    </a:lnTo>
                    <a:close/>
                    <a:moveTo>
                      <a:pt x="44" y="153"/>
                    </a:moveTo>
                    <a:lnTo>
                      <a:pt x="46" y="153"/>
                    </a:lnTo>
                    <a:lnTo>
                      <a:pt x="46" y="155"/>
                    </a:lnTo>
                    <a:lnTo>
                      <a:pt x="44" y="155"/>
                    </a:lnTo>
                    <a:lnTo>
                      <a:pt x="44" y="153"/>
                    </a:lnTo>
                    <a:close/>
                    <a:moveTo>
                      <a:pt x="46" y="152"/>
                    </a:moveTo>
                    <a:lnTo>
                      <a:pt x="46" y="153"/>
                    </a:lnTo>
                    <a:lnTo>
                      <a:pt x="46" y="152"/>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reeform 51">
                <a:extLst>
                  <a:ext uri="{FF2B5EF4-FFF2-40B4-BE49-F238E27FC236}">
                    <a16:creationId xmlns:a16="http://schemas.microsoft.com/office/drawing/2014/main" id="{11611FA7-984C-4A58-94F7-CA9327F9F4D8}"/>
                  </a:ext>
                </a:extLst>
              </p:cNvPr>
              <p:cNvSpPr>
                <a:spLocks noEditPoints="1"/>
              </p:cNvSpPr>
              <p:nvPr/>
            </p:nvSpPr>
            <p:spPr bwMode="gray">
              <a:xfrm>
                <a:off x="4443711" y="3345401"/>
                <a:ext cx="189575" cy="193295"/>
              </a:xfrm>
              <a:custGeom>
                <a:avLst/>
                <a:gdLst>
                  <a:gd name="T0" fmla="*/ 151 w 153"/>
                  <a:gd name="T1" fmla="*/ 92 h 156"/>
                  <a:gd name="T2" fmla="*/ 136 w 153"/>
                  <a:gd name="T3" fmla="*/ 98 h 156"/>
                  <a:gd name="T4" fmla="*/ 127 w 153"/>
                  <a:gd name="T5" fmla="*/ 121 h 156"/>
                  <a:gd name="T6" fmla="*/ 114 w 153"/>
                  <a:gd name="T7" fmla="*/ 131 h 156"/>
                  <a:gd name="T8" fmla="*/ 104 w 153"/>
                  <a:gd name="T9" fmla="*/ 141 h 156"/>
                  <a:gd name="T10" fmla="*/ 100 w 153"/>
                  <a:gd name="T11" fmla="*/ 148 h 156"/>
                  <a:gd name="T12" fmla="*/ 87 w 153"/>
                  <a:gd name="T13" fmla="*/ 153 h 156"/>
                  <a:gd name="T14" fmla="*/ 39 w 153"/>
                  <a:gd name="T15" fmla="*/ 132 h 156"/>
                  <a:gd name="T16" fmla="*/ 44 w 153"/>
                  <a:gd name="T17" fmla="*/ 131 h 156"/>
                  <a:gd name="T18" fmla="*/ 49 w 153"/>
                  <a:gd name="T19" fmla="*/ 124 h 156"/>
                  <a:gd name="T20" fmla="*/ 41 w 153"/>
                  <a:gd name="T21" fmla="*/ 117 h 156"/>
                  <a:gd name="T22" fmla="*/ 25 w 153"/>
                  <a:gd name="T23" fmla="*/ 112 h 156"/>
                  <a:gd name="T24" fmla="*/ 17 w 153"/>
                  <a:gd name="T25" fmla="*/ 105 h 156"/>
                  <a:gd name="T26" fmla="*/ 19 w 153"/>
                  <a:gd name="T27" fmla="*/ 93 h 156"/>
                  <a:gd name="T28" fmla="*/ 7 w 153"/>
                  <a:gd name="T29" fmla="*/ 87 h 156"/>
                  <a:gd name="T30" fmla="*/ 2 w 153"/>
                  <a:gd name="T31" fmla="*/ 76 h 156"/>
                  <a:gd name="T32" fmla="*/ 10 w 153"/>
                  <a:gd name="T33" fmla="*/ 80 h 156"/>
                  <a:gd name="T34" fmla="*/ 8 w 153"/>
                  <a:gd name="T35" fmla="*/ 80 h 156"/>
                  <a:gd name="T36" fmla="*/ 14 w 153"/>
                  <a:gd name="T37" fmla="*/ 76 h 156"/>
                  <a:gd name="T38" fmla="*/ 17 w 153"/>
                  <a:gd name="T39" fmla="*/ 73 h 156"/>
                  <a:gd name="T40" fmla="*/ 20 w 153"/>
                  <a:gd name="T41" fmla="*/ 73 h 156"/>
                  <a:gd name="T42" fmla="*/ 14 w 153"/>
                  <a:gd name="T43" fmla="*/ 68 h 156"/>
                  <a:gd name="T44" fmla="*/ 10 w 153"/>
                  <a:gd name="T45" fmla="*/ 68 h 156"/>
                  <a:gd name="T46" fmla="*/ 8 w 153"/>
                  <a:gd name="T47" fmla="*/ 70 h 156"/>
                  <a:gd name="T48" fmla="*/ 7 w 153"/>
                  <a:gd name="T49" fmla="*/ 75 h 156"/>
                  <a:gd name="T50" fmla="*/ 12 w 153"/>
                  <a:gd name="T51" fmla="*/ 59 h 156"/>
                  <a:gd name="T52" fmla="*/ 7 w 153"/>
                  <a:gd name="T53" fmla="*/ 56 h 156"/>
                  <a:gd name="T54" fmla="*/ 5 w 153"/>
                  <a:gd name="T55" fmla="*/ 46 h 156"/>
                  <a:gd name="T56" fmla="*/ 20 w 153"/>
                  <a:gd name="T57" fmla="*/ 37 h 156"/>
                  <a:gd name="T58" fmla="*/ 29 w 153"/>
                  <a:gd name="T59" fmla="*/ 34 h 156"/>
                  <a:gd name="T60" fmla="*/ 34 w 153"/>
                  <a:gd name="T61" fmla="*/ 24 h 156"/>
                  <a:gd name="T62" fmla="*/ 37 w 153"/>
                  <a:gd name="T63" fmla="*/ 15 h 156"/>
                  <a:gd name="T64" fmla="*/ 41 w 153"/>
                  <a:gd name="T65" fmla="*/ 10 h 156"/>
                  <a:gd name="T66" fmla="*/ 71 w 153"/>
                  <a:gd name="T67" fmla="*/ 3 h 156"/>
                  <a:gd name="T68" fmla="*/ 109 w 153"/>
                  <a:gd name="T69" fmla="*/ 7 h 156"/>
                  <a:gd name="T70" fmla="*/ 121 w 153"/>
                  <a:gd name="T71" fmla="*/ 17 h 156"/>
                  <a:gd name="T72" fmla="*/ 124 w 153"/>
                  <a:gd name="T73" fmla="*/ 27 h 156"/>
                  <a:gd name="T74" fmla="*/ 134 w 153"/>
                  <a:gd name="T75" fmla="*/ 36 h 156"/>
                  <a:gd name="T76" fmla="*/ 131 w 153"/>
                  <a:gd name="T77" fmla="*/ 46 h 156"/>
                  <a:gd name="T78" fmla="*/ 141 w 153"/>
                  <a:gd name="T79" fmla="*/ 61 h 156"/>
                  <a:gd name="T80" fmla="*/ 138 w 153"/>
                  <a:gd name="T81" fmla="*/ 73 h 156"/>
                  <a:gd name="T82" fmla="*/ 133 w 153"/>
                  <a:gd name="T83" fmla="*/ 87 h 156"/>
                  <a:gd name="T84" fmla="*/ 148 w 153"/>
                  <a:gd name="T85" fmla="*/ 76 h 156"/>
                  <a:gd name="T86" fmla="*/ 36 w 153"/>
                  <a:gd name="T87" fmla="*/ 121 h 156"/>
                  <a:gd name="T88" fmla="*/ 39 w 153"/>
                  <a:gd name="T89" fmla="*/ 132 h 156"/>
                  <a:gd name="T90" fmla="*/ 22 w 153"/>
                  <a:gd name="T91" fmla="*/ 121 h 156"/>
                  <a:gd name="T92" fmla="*/ 41 w 153"/>
                  <a:gd name="T93" fmla="*/ 122 h 156"/>
                  <a:gd name="T94" fmla="*/ 41 w 153"/>
                  <a:gd name="T95" fmla="*/ 122 h 156"/>
                  <a:gd name="T96" fmla="*/ 17 w 153"/>
                  <a:gd name="T97" fmla="*/ 73 h 156"/>
                  <a:gd name="T98" fmla="*/ 12 w 153"/>
                  <a:gd name="T99" fmla="*/ 75 h 156"/>
                  <a:gd name="T100" fmla="*/ 37 w 153"/>
                  <a:gd name="T101" fmla="*/ 119 h 156"/>
                  <a:gd name="T102" fmla="*/ 12 w 153"/>
                  <a:gd name="T103" fmla="*/ 119 h 156"/>
                  <a:gd name="T104" fmla="*/ 7 w 153"/>
                  <a:gd name="T105" fmla="*/ 93 h 156"/>
                  <a:gd name="T106" fmla="*/ 41 w 153"/>
                  <a:gd name="T107" fmla="*/ 117 h 156"/>
                  <a:gd name="T108" fmla="*/ 15 w 153"/>
                  <a:gd name="T109" fmla="*/ 73 h 156"/>
                  <a:gd name="T110" fmla="*/ 8 w 153"/>
                  <a:gd name="T111" fmla="*/ 71 h 156"/>
                  <a:gd name="T112" fmla="*/ 10 w 153"/>
                  <a:gd name="T113" fmla="*/ 56 h 156"/>
                  <a:gd name="T114" fmla="*/ 41 w 153"/>
                  <a:gd name="T115" fmla="*/ 121 h 156"/>
                  <a:gd name="T116" fmla="*/ 41 w 153"/>
                  <a:gd name="T117" fmla="*/ 131 h 156"/>
                  <a:gd name="T118" fmla="*/ 8 w 153"/>
                  <a:gd name="T119" fmla="*/ 56 h 156"/>
                  <a:gd name="T120" fmla="*/ 12 w 153"/>
                  <a:gd name="T121" fmla="*/ 5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56">
                    <a:moveTo>
                      <a:pt x="153" y="76"/>
                    </a:moveTo>
                    <a:lnTo>
                      <a:pt x="153" y="85"/>
                    </a:lnTo>
                    <a:lnTo>
                      <a:pt x="153" y="87"/>
                    </a:lnTo>
                    <a:lnTo>
                      <a:pt x="151" y="87"/>
                    </a:lnTo>
                    <a:lnTo>
                      <a:pt x="153" y="90"/>
                    </a:lnTo>
                    <a:lnTo>
                      <a:pt x="151" y="92"/>
                    </a:lnTo>
                    <a:lnTo>
                      <a:pt x="150" y="93"/>
                    </a:lnTo>
                    <a:lnTo>
                      <a:pt x="148" y="93"/>
                    </a:lnTo>
                    <a:lnTo>
                      <a:pt x="144" y="93"/>
                    </a:lnTo>
                    <a:lnTo>
                      <a:pt x="143" y="93"/>
                    </a:lnTo>
                    <a:lnTo>
                      <a:pt x="138" y="98"/>
                    </a:lnTo>
                    <a:lnTo>
                      <a:pt x="136" y="98"/>
                    </a:lnTo>
                    <a:lnTo>
                      <a:pt x="138" y="112"/>
                    </a:lnTo>
                    <a:lnTo>
                      <a:pt x="134" y="114"/>
                    </a:lnTo>
                    <a:lnTo>
                      <a:pt x="133" y="114"/>
                    </a:lnTo>
                    <a:lnTo>
                      <a:pt x="129" y="119"/>
                    </a:lnTo>
                    <a:lnTo>
                      <a:pt x="127" y="119"/>
                    </a:lnTo>
                    <a:lnTo>
                      <a:pt x="127" y="121"/>
                    </a:lnTo>
                    <a:lnTo>
                      <a:pt x="126" y="122"/>
                    </a:lnTo>
                    <a:lnTo>
                      <a:pt x="126" y="124"/>
                    </a:lnTo>
                    <a:lnTo>
                      <a:pt x="124" y="124"/>
                    </a:lnTo>
                    <a:lnTo>
                      <a:pt x="121" y="127"/>
                    </a:lnTo>
                    <a:lnTo>
                      <a:pt x="121" y="126"/>
                    </a:lnTo>
                    <a:lnTo>
                      <a:pt x="114" y="131"/>
                    </a:lnTo>
                    <a:lnTo>
                      <a:pt x="112" y="132"/>
                    </a:lnTo>
                    <a:lnTo>
                      <a:pt x="109" y="134"/>
                    </a:lnTo>
                    <a:lnTo>
                      <a:pt x="109" y="136"/>
                    </a:lnTo>
                    <a:lnTo>
                      <a:pt x="107" y="139"/>
                    </a:lnTo>
                    <a:lnTo>
                      <a:pt x="105" y="139"/>
                    </a:lnTo>
                    <a:lnTo>
                      <a:pt x="104" y="141"/>
                    </a:lnTo>
                    <a:lnTo>
                      <a:pt x="104" y="139"/>
                    </a:lnTo>
                    <a:lnTo>
                      <a:pt x="102" y="143"/>
                    </a:lnTo>
                    <a:lnTo>
                      <a:pt x="100" y="141"/>
                    </a:lnTo>
                    <a:lnTo>
                      <a:pt x="100" y="144"/>
                    </a:lnTo>
                    <a:lnTo>
                      <a:pt x="99" y="144"/>
                    </a:lnTo>
                    <a:lnTo>
                      <a:pt x="100" y="148"/>
                    </a:lnTo>
                    <a:lnTo>
                      <a:pt x="99" y="148"/>
                    </a:lnTo>
                    <a:lnTo>
                      <a:pt x="99" y="151"/>
                    </a:lnTo>
                    <a:lnTo>
                      <a:pt x="95" y="153"/>
                    </a:lnTo>
                    <a:lnTo>
                      <a:pt x="95" y="155"/>
                    </a:lnTo>
                    <a:lnTo>
                      <a:pt x="93" y="156"/>
                    </a:lnTo>
                    <a:lnTo>
                      <a:pt x="87" y="153"/>
                    </a:lnTo>
                    <a:lnTo>
                      <a:pt x="88" y="153"/>
                    </a:lnTo>
                    <a:lnTo>
                      <a:pt x="87" y="153"/>
                    </a:lnTo>
                    <a:lnTo>
                      <a:pt x="83" y="149"/>
                    </a:lnTo>
                    <a:lnTo>
                      <a:pt x="71" y="143"/>
                    </a:lnTo>
                    <a:lnTo>
                      <a:pt x="49" y="134"/>
                    </a:lnTo>
                    <a:lnTo>
                      <a:pt x="39" y="132"/>
                    </a:lnTo>
                    <a:lnTo>
                      <a:pt x="42" y="131"/>
                    </a:lnTo>
                    <a:lnTo>
                      <a:pt x="44" y="131"/>
                    </a:lnTo>
                    <a:lnTo>
                      <a:pt x="48" y="132"/>
                    </a:lnTo>
                    <a:lnTo>
                      <a:pt x="48" y="131"/>
                    </a:lnTo>
                    <a:lnTo>
                      <a:pt x="46" y="131"/>
                    </a:lnTo>
                    <a:lnTo>
                      <a:pt x="44" y="131"/>
                    </a:lnTo>
                    <a:lnTo>
                      <a:pt x="42" y="131"/>
                    </a:lnTo>
                    <a:lnTo>
                      <a:pt x="41" y="129"/>
                    </a:lnTo>
                    <a:lnTo>
                      <a:pt x="44" y="126"/>
                    </a:lnTo>
                    <a:lnTo>
                      <a:pt x="48" y="126"/>
                    </a:lnTo>
                    <a:lnTo>
                      <a:pt x="48" y="124"/>
                    </a:lnTo>
                    <a:lnTo>
                      <a:pt x="49" y="124"/>
                    </a:lnTo>
                    <a:lnTo>
                      <a:pt x="48" y="124"/>
                    </a:lnTo>
                    <a:lnTo>
                      <a:pt x="46" y="124"/>
                    </a:lnTo>
                    <a:lnTo>
                      <a:pt x="42" y="124"/>
                    </a:lnTo>
                    <a:lnTo>
                      <a:pt x="42" y="121"/>
                    </a:lnTo>
                    <a:lnTo>
                      <a:pt x="39" y="117"/>
                    </a:lnTo>
                    <a:lnTo>
                      <a:pt x="41" y="117"/>
                    </a:lnTo>
                    <a:lnTo>
                      <a:pt x="41" y="114"/>
                    </a:lnTo>
                    <a:lnTo>
                      <a:pt x="36" y="117"/>
                    </a:lnTo>
                    <a:lnTo>
                      <a:pt x="32" y="115"/>
                    </a:lnTo>
                    <a:lnTo>
                      <a:pt x="31" y="115"/>
                    </a:lnTo>
                    <a:lnTo>
                      <a:pt x="25" y="114"/>
                    </a:lnTo>
                    <a:lnTo>
                      <a:pt x="25" y="112"/>
                    </a:lnTo>
                    <a:lnTo>
                      <a:pt x="27" y="110"/>
                    </a:lnTo>
                    <a:lnTo>
                      <a:pt x="25" y="112"/>
                    </a:lnTo>
                    <a:lnTo>
                      <a:pt x="22" y="110"/>
                    </a:lnTo>
                    <a:lnTo>
                      <a:pt x="20" y="109"/>
                    </a:lnTo>
                    <a:lnTo>
                      <a:pt x="19" y="107"/>
                    </a:lnTo>
                    <a:lnTo>
                      <a:pt x="17" y="105"/>
                    </a:lnTo>
                    <a:lnTo>
                      <a:pt x="20" y="104"/>
                    </a:lnTo>
                    <a:lnTo>
                      <a:pt x="24" y="104"/>
                    </a:lnTo>
                    <a:lnTo>
                      <a:pt x="20" y="102"/>
                    </a:lnTo>
                    <a:lnTo>
                      <a:pt x="20" y="98"/>
                    </a:lnTo>
                    <a:lnTo>
                      <a:pt x="20" y="97"/>
                    </a:lnTo>
                    <a:lnTo>
                      <a:pt x="19" y="93"/>
                    </a:lnTo>
                    <a:lnTo>
                      <a:pt x="15" y="90"/>
                    </a:lnTo>
                    <a:lnTo>
                      <a:pt x="12" y="90"/>
                    </a:lnTo>
                    <a:lnTo>
                      <a:pt x="7" y="93"/>
                    </a:lnTo>
                    <a:lnTo>
                      <a:pt x="8" y="90"/>
                    </a:lnTo>
                    <a:lnTo>
                      <a:pt x="7" y="88"/>
                    </a:lnTo>
                    <a:lnTo>
                      <a:pt x="7" y="87"/>
                    </a:lnTo>
                    <a:lnTo>
                      <a:pt x="5" y="85"/>
                    </a:lnTo>
                    <a:lnTo>
                      <a:pt x="3" y="83"/>
                    </a:lnTo>
                    <a:lnTo>
                      <a:pt x="0" y="80"/>
                    </a:lnTo>
                    <a:lnTo>
                      <a:pt x="2" y="78"/>
                    </a:lnTo>
                    <a:lnTo>
                      <a:pt x="0" y="76"/>
                    </a:lnTo>
                    <a:lnTo>
                      <a:pt x="2" y="76"/>
                    </a:lnTo>
                    <a:lnTo>
                      <a:pt x="2" y="78"/>
                    </a:lnTo>
                    <a:lnTo>
                      <a:pt x="2" y="76"/>
                    </a:lnTo>
                    <a:lnTo>
                      <a:pt x="3" y="76"/>
                    </a:lnTo>
                    <a:lnTo>
                      <a:pt x="5" y="76"/>
                    </a:lnTo>
                    <a:lnTo>
                      <a:pt x="8" y="80"/>
                    </a:lnTo>
                    <a:lnTo>
                      <a:pt x="10" y="80"/>
                    </a:lnTo>
                    <a:lnTo>
                      <a:pt x="12" y="83"/>
                    </a:lnTo>
                    <a:lnTo>
                      <a:pt x="12" y="81"/>
                    </a:lnTo>
                    <a:lnTo>
                      <a:pt x="14" y="83"/>
                    </a:lnTo>
                    <a:lnTo>
                      <a:pt x="12" y="81"/>
                    </a:lnTo>
                    <a:lnTo>
                      <a:pt x="12" y="80"/>
                    </a:lnTo>
                    <a:lnTo>
                      <a:pt x="8" y="80"/>
                    </a:lnTo>
                    <a:lnTo>
                      <a:pt x="8" y="78"/>
                    </a:lnTo>
                    <a:lnTo>
                      <a:pt x="10" y="78"/>
                    </a:lnTo>
                    <a:lnTo>
                      <a:pt x="10" y="76"/>
                    </a:lnTo>
                    <a:lnTo>
                      <a:pt x="12" y="76"/>
                    </a:lnTo>
                    <a:lnTo>
                      <a:pt x="14" y="75"/>
                    </a:lnTo>
                    <a:lnTo>
                      <a:pt x="14" y="76"/>
                    </a:lnTo>
                    <a:lnTo>
                      <a:pt x="15" y="78"/>
                    </a:lnTo>
                    <a:lnTo>
                      <a:pt x="15" y="76"/>
                    </a:lnTo>
                    <a:lnTo>
                      <a:pt x="14" y="76"/>
                    </a:lnTo>
                    <a:lnTo>
                      <a:pt x="14" y="75"/>
                    </a:lnTo>
                    <a:lnTo>
                      <a:pt x="15" y="73"/>
                    </a:lnTo>
                    <a:lnTo>
                      <a:pt x="17" y="73"/>
                    </a:lnTo>
                    <a:lnTo>
                      <a:pt x="17" y="75"/>
                    </a:lnTo>
                    <a:lnTo>
                      <a:pt x="19" y="75"/>
                    </a:lnTo>
                    <a:lnTo>
                      <a:pt x="22" y="73"/>
                    </a:lnTo>
                    <a:lnTo>
                      <a:pt x="24" y="73"/>
                    </a:lnTo>
                    <a:lnTo>
                      <a:pt x="20" y="71"/>
                    </a:lnTo>
                    <a:lnTo>
                      <a:pt x="20" y="73"/>
                    </a:lnTo>
                    <a:lnTo>
                      <a:pt x="19" y="71"/>
                    </a:lnTo>
                    <a:lnTo>
                      <a:pt x="15" y="71"/>
                    </a:lnTo>
                    <a:lnTo>
                      <a:pt x="12" y="73"/>
                    </a:lnTo>
                    <a:lnTo>
                      <a:pt x="10" y="71"/>
                    </a:lnTo>
                    <a:lnTo>
                      <a:pt x="15" y="68"/>
                    </a:lnTo>
                    <a:lnTo>
                      <a:pt x="14" y="68"/>
                    </a:lnTo>
                    <a:lnTo>
                      <a:pt x="14" y="66"/>
                    </a:lnTo>
                    <a:lnTo>
                      <a:pt x="12" y="68"/>
                    </a:lnTo>
                    <a:lnTo>
                      <a:pt x="12" y="66"/>
                    </a:lnTo>
                    <a:lnTo>
                      <a:pt x="12" y="70"/>
                    </a:lnTo>
                    <a:lnTo>
                      <a:pt x="10" y="70"/>
                    </a:lnTo>
                    <a:lnTo>
                      <a:pt x="10" y="68"/>
                    </a:lnTo>
                    <a:lnTo>
                      <a:pt x="10" y="70"/>
                    </a:lnTo>
                    <a:lnTo>
                      <a:pt x="8" y="70"/>
                    </a:lnTo>
                    <a:lnTo>
                      <a:pt x="8" y="68"/>
                    </a:lnTo>
                    <a:lnTo>
                      <a:pt x="8" y="66"/>
                    </a:lnTo>
                    <a:lnTo>
                      <a:pt x="7" y="68"/>
                    </a:lnTo>
                    <a:lnTo>
                      <a:pt x="8" y="70"/>
                    </a:lnTo>
                    <a:lnTo>
                      <a:pt x="10" y="70"/>
                    </a:lnTo>
                    <a:lnTo>
                      <a:pt x="8" y="70"/>
                    </a:lnTo>
                    <a:lnTo>
                      <a:pt x="10" y="71"/>
                    </a:lnTo>
                    <a:lnTo>
                      <a:pt x="8" y="73"/>
                    </a:lnTo>
                    <a:lnTo>
                      <a:pt x="8" y="75"/>
                    </a:lnTo>
                    <a:lnTo>
                      <a:pt x="7" y="75"/>
                    </a:lnTo>
                    <a:lnTo>
                      <a:pt x="3" y="68"/>
                    </a:lnTo>
                    <a:lnTo>
                      <a:pt x="3" y="59"/>
                    </a:lnTo>
                    <a:lnTo>
                      <a:pt x="5" y="58"/>
                    </a:lnTo>
                    <a:lnTo>
                      <a:pt x="8" y="59"/>
                    </a:lnTo>
                    <a:lnTo>
                      <a:pt x="10" y="59"/>
                    </a:lnTo>
                    <a:lnTo>
                      <a:pt x="12" y="59"/>
                    </a:lnTo>
                    <a:lnTo>
                      <a:pt x="12" y="58"/>
                    </a:lnTo>
                    <a:lnTo>
                      <a:pt x="8" y="58"/>
                    </a:lnTo>
                    <a:lnTo>
                      <a:pt x="7" y="56"/>
                    </a:lnTo>
                    <a:lnTo>
                      <a:pt x="12" y="54"/>
                    </a:lnTo>
                    <a:lnTo>
                      <a:pt x="8" y="54"/>
                    </a:lnTo>
                    <a:lnTo>
                      <a:pt x="7" y="56"/>
                    </a:lnTo>
                    <a:lnTo>
                      <a:pt x="5" y="54"/>
                    </a:lnTo>
                    <a:lnTo>
                      <a:pt x="3" y="53"/>
                    </a:lnTo>
                    <a:lnTo>
                      <a:pt x="3" y="51"/>
                    </a:lnTo>
                    <a:lnTo>
                      <a:pt x="2" y="53"/>
                    </a:lnTo>
                    <a:lnTo>
                      <a:pt x="0" y="47"/>
                    </a:lnTo>
                    <a:lnTo>
                      <a:pt x="5" y="46"/>
                    </a:lnTo>
                    <a:lnTo>
                      <a:pt x="8" y="47"/>
                    </a:lnTo>
                    <a:lnTo>
                      <a:pt x="12" y="47"/>
                    </a:lnTo>
                    <a:lnTo>
                      <a:pt x="19" y="42"/>
                    </a:lnTo>
                    <a:lnTo>
                      <a:pt x="17" y="39"/>
                    </a:lnTo>
                    <a:lnTo>
                      <a:pt x="19" y="36"/>
                    </a:lnTo>
                    <a:lnTo>
                      <a:pt x="20" y="37"/>
                    </a:lnTo>
                    <a:lnTo>
                      <a:pt x="22" y="37"/>
                    </a:lnTo>
                    <a:lnTo>
                      <a:pt x="22" y="36"/>
                    </a:lnTo>
                    <a:lnTo>
                      <a:pt x="24" y="36"/>
                    </a:lnTo>
                    <a:lnTo>
                      <a:pt x="27" y="36"/>
                    </a:lnTo>
                    <a:lnTo>
                      <a:pt x="27" y="34"/>
                    </a:lnTo>
                    <a:lnTo>
                      <a:pt x="29" y="34"/>
                    </a:lnTo>
                    <a:lnTo>
                      <a:pt x="27" y="30"/>
                    </a:lnTo>
                    <a:lnTo>
                      <a:pt x="31" y="30"/>
                    </a:lnTo>
                    <a:lnTo>
                      <a:pt x="31" y="29"/>
                    </a:lnTo>
                    <a:lnTo>
                      <a:pt x="32" y="30"/>
                    </a:lnTo>
                    <a:lnTo>
                      <a:pt x="32" y="27"/>
                    </a:lnTo>
                    <a:lnTo>
                      <a:pt x="34" y="24"/>
                    </a:lnTo>
                    <a:lnTo>
                      <a:pt x="32" y="24"/>
                    </a:lnTo>
                    <a:lnTo>
                      <a:pt x="34" y="22"/>
                    </a:lnTo>
                    <a:lnTo>
                      <a:pt x="36" y="20"/>
                    </a:lnTo>
                    <a:lnTo>
                      <a:pt x="36" y="17"/>
                    </a:lnTo>
                    <a:lnTo>
                      <a:pt x="37" y="17"/>
                    </a:lnTo>
                    <a:lnTo>
                      <a:pt x="37" y="15"/>
                    </a:lnTo>
                    <a:lnTo>
                      <a:pt x="39" y="13"/>
                    </a:lnTo>
                    <a:lnTo>
                      <a:pt x="39" y="15"/>
                    </a:lnTo>
                    <a:lnTo>
                      <a:pt x="39" y="13"/>
                    </a:lnTo>
                    <a:lnTo>
                      <a:pt x="41" y="13"/>
                    </a:lnTo>
                    <a:lnTo>
                      <a:pt x="41" y="12"/>
                    </a:lnTo>
                    <a:lnTo>
                      <a:pt x="41" y="10"/>
                    </a:lnTo>
                    <a:lnTo>
                      <a:pt x="41" y="7"/>
                    </a:lnTo>
                    <a:lnTo>
                      <a:pt x="42" y="7"/>
                    </a:lnTo>
                    <a:lnTo>
                      <a:pt x="54" y="3"/>
                    </a:lnTo>
                    <a:lnTo>
                      <a:pt x="56" y="5"/>
                    </a:lnTo>
                    <a:lnTo>
                      <a:pt x="59" y="7"/>
                    </a:lnTo>
                    <a:lnTo>
                      <a:pt x="71" y="3"/>
                    </a:lnTo>
                    <a:lnTo>
                      <a:pt x="71" y="0"/>
                    </a:lnTo>
                    <a:lnTo>
                      <a:pt x="88" y="0"/>
                    </a:lnTo>
                    <a:lnTo>
                      <a:pt x="107" y="0"/>
                    </a:lnTo>
                    <a:lnTo>
                      <a:pt x="107" y="1"/>
                    </a:lnTo>
                    <a:lnTo>
                      <a:pt x="109" y="3"/>
                    </a:lnTo>
                    <a:lnTo>
                      <a:pt x="109" y="7"/>
                    </a:lnTo>
                    <a:lnTo>
                      <a:pt x="114" y="8"/>
                    </a:lnTo>
                    <a:lnTo>
                      <a:pt x="117" y="13"/>
                    </a:lnTo>
                    <a:lnTo>
                      <a:pt x="119" y="17"/>
                    </a:lnTo>
                    <a:lnTo>
                      <a:pt x="121" y="17"/>
                    </a:lnTo>
                    <a:lnTo>
                      <a:pt x="121" y="18"/>
                    </a:lnTo>
                    <a:lnTo>
                      <a:pt x="121" y="17"/>
                    </a:lnTo>
                    <a:lnTo>
                      <a:pt x="121" y="20"/>
                    </a:lnTo>
                    <a:lnTo>
                      <a:pt x="124" y="22"/>
                    </a:lnTo>
                    <a:lnTo>
                      <a:pt x="124" y="24"/>
                    </a:lnTo>
                    <a:lnTo>
                      <a:pt x="126" y="24"/>
                    </a:lnTo>
                    <a:lnTo>
                      <a:pt x="124" y="25"/>
                    </a:lnTo>
                    <a:lnTo>
                      <a:pt x="124" y="27"/>
                    </a:lnTo>
                    <a:lnTo>
                      <a:pt x="127" y="29"/>
                    </a:lnTo>
                    <a:lnTo>
                      <a:pt x="126" y="30"/>
                    </a:lnTo>
                    <a:lnTo>
                      <a:pt x="129" y="30"/>
                    </a:lnTo>
                    <a:lnTo>
                      <a:pt x="131" y="32"/>
                    </a:lnTo>
                    <a:lnTo>
                      <a:pt x="133" y="32"/>
                    </a:lnTo>
                    <a:lnTo>
                      <a:pt x="134" y="36"/>
                    </a:lnTo>
                    <a:lnTo>
                      <a:pt x="133" y="37"/>
                    </a:lnTo>
                    <a:lnTo>
                      <a:pt x="134" y="39"/>
                    </a:lnTo>
                    <a:lnTo>
                      <a:pt x="133" y="41"/>
                    </a:lnTo>
                    <a:lnTo>
                      <a:pt x="131" y="41"/>
                    </a:lnTo>
                    <a:lnTo>
                      <a:pt x="131" y="42"/>
                    </a:lnTo>
                    <a:lnTo>
                      <a:pt x="131" y="46"/>
                    </a:lnTo>
                    <a:lnTo>
                      <a:pt x="134" y="46"/>
                    </a:lnTo>
                    <a:lnTo>
                      <a:pt x="138" y="47"/>
                    </a:lnTo>
                    <a:lnTo>
                      <a:pt x="138" y="53"/>
                    </a:lnTo>
                    <a:lnTo>
                      <a:pt x="139" y="58"/>
                    </a:lnTo>
                    <a:lnTo>
                      <a:pt x="139" y="61"/>
                    </a:lnTo>
                    <a:lnTo>
                      <a:pt x="141" y="61"/>
                    </a:lnTo>
                    <a:lnTo>
                      <a:pt x="141" y="64"/>
                    </a:lnTo>
                    <a:lnTo>
                      <a:pt x="143" y="64"/>
                    </a:lnTo>
                    <a:lnTo>
                      <a:pt x="144" y="66"/>
                    </a:lnTo>
                    <a:lnTo>
                      <a:pt x="143" y="70"/>
                    </a:lnTo>
                    <a:lnTo>
                      <a:pt x="138" y="71"/>
                    </a:lnTo>
                    <a:lnTo>
                      <a:pt x="138" y="73"/>
                    </a:lnTo>
                    <a:lnTo>
                      <a:pt x="136" y="73"/>
                    </a:lnTo>
                    <a:lnTo>
                      <a:pt x="136" y="76"/>
                    </a:lnTo>
                    <a:lnTo>
                      <a:pt x="134" y="80"/>
                    </a:lnTo>
                    <a:lnTo>
                      <a:pt x="136" y="81"/>
                    </a:lnTo>
                    <a:lnTo>
                      <a:pt x="133" y="81"/>
                    </a:lnTo>
                    <a:lnTo>
                      <a:pt x="133" y="87"/>
                    </a:lnTo>
                    <a:lnTo>
                      <a:pt x="134" y="83"/>
                    </a:lnTo>
                    <a:lnTo>
                      <a:pt x="138" y="85"/>
                    </a:lnTo>
                    <a:lnTo>
                      <a:pt x="139" y="85"/>
                    </a:lnTo>
                    <a:lnTo>
                      <a:pt x="141" y="85"/>
                    </a:lnTo>
                    <a:lnTo>
                      <a:pt x="148" y="78"/>
                    </a:lnTo>
                    <a:lnTo>
                      <a:pt x="148" y="76"/>
                    </a:lnTo>
                    <a:lnTo>
                      <a:pt x="150" y="76"/>
                    </a:lnTo>
                    <a:lnTo>
                      <a:pt x="151" y="76"/>
                    </a:lnTo>
                    <a:lnTo>
                      <a:pt x="153" y="76"/>
                    </a:lnTo>
                    <a:close/>
                    <a:moveTo>
                      <a:pt x="36" y="119"/>
                    </a:moveTo>
                    <a:lnTo>
                      <a:pt x="37" y="121"/>
                    </a:lnTo>
                    <a:lnTo>
                      <a:pt x="36" y="121"/>
                    </a:lnTo>
                    <a:lnTo>
                      <a:pt x="36" y="122"/>
                    </a:lnTo>
                    <a:lnTo>
                      <a:pt x="37" y="124"/>
                    </a:lnTo>
                    <a:lnTo>
                      <a:pt x="41" y="124"/>
                    </a:lnTo>
                    <a:lnTo>
                      <a:pt x="41" y="127"/>
                    </a:lnTo>
                    <a:lnTo>
                      <a:pt x="39" y="127"/>
                    </a:lnTo>
                    <a:lnTo>
                      <a:pt x="39" y="132"/>
                    </a:lnTo>
                    <a:lnTo>
                      <a:pt x="37" y="132"/>
                    </a:lnTo>
                    <a:lnTo>
                      <a:pt x="37" y="129"/>
                    </a:lnTo>
                    <a:lnTo>
                      <a:pt x="34" y="127"/>
                    </a:lnTo>
                    <a:lnTo>
                      <a:pt x="17" y="122"/>
                    </a:lnTo>
                    <a:lnTo>
                      <a:pt x="20" y="122"/>
                    </a:lnTo>
                    <a:lnTo>
                      <a:pt x="22" y="121"/>
                    </a:lnTo>
                    <a:lnTo>
                      <a:pt x="24" y="121"/>
                    </a:lnTo>
                    <a:lnTo>
                      <a:pt x="25" y="121"/>
                    </a:lnTo>
                    <a:lnTo>
                      <a:pt x="29" y="121"/>
                    </a:lnTo>
                    <a:lnTo>
                      <a:pt x="31" y="119"/>
                    </a:lnTo>
                    <a:lnTo>
                      <a:pt x="36" y="119"/>
                    </a:lnTo>
                    <a:close/>
                    <a:moveTo>
                      <a:pt x="41" y="122"/>
                    </a:moveTo>
                    <a:lnTo>
                      <a:pt x="41" y="124"/>
                    </a:lnTo>
                    <a:lnTo>
                      <a:pt x="39" y="124"/>
                    </a:lnTo>
                    <a:lnTo>
                      <a:pt x="37" y="124"/>
                    </a:lnTo>
                    <a:lnTo>
                      <a:pt x="36" y="122"/>
                    </a:lnTo>
                    <a:lnTo>
                      <a:pt x="37" y="121"/>
                    </a:lnTo>
                    <a:lnTo>
                      <a:pt x="41" y="122"/>
                    </a:lnTo>
                    <a:close/>
                    <a:moveTo>
                      <a:pt x="3" y="54"/>
                    </a:moveTo>
                    <a:lnTo>
                      <a:pt x="5" y="54"/>
                    </a:lnTo>
                    <a:lnTo>
                      <a:pt x="5" y="56"/>
                    </a:lnTo>
                    <a:lnTo>
                      <a:pt x="3" y="56"/>
                    </a:lnTo>
                    <a:lnTo>
                      <a:pt x="3" y="54"/>
                    </a:lnTo>
                    <a:close/>
                    <a:moveTo>
                      <a:pt x="17" y="73"/>
                    </a:moveTo>
                    <a:lnTo>
                      <a:pt x="19" y="73"/>
                    </a:lnTo>
                    <a:lnTo>
                      <a:pt x="19" y="75"/>
                    </a:lnTo>
                    <a:lnTo>
                      <a:pt x="17" y="75"/>
                    </a:lnTo>
                    <a:lnTo>
                      <a:pt x="17" y="73"/>
                    </a:lnTo>
                    <a:close/>
                    <a:moveTo>
                      <a:pt x="12" y="73"/>
                    </a:moveTo>
                    <a:lnTo>
                      <a:pt x="12" y="75"/>
                    </a:lnTo>
                    <a:lnTo>
                      <a:pt x="12" y="73"/>
                    </a:lnTo>
                    <a:close/>
                    <a:moveTo>
                      <a:pt x="37" y="119"/>
                    </a:moveTo>
                    <a:lnTo>
                      <a:pt x="39" y="119"/>
                    </a:lnTo>
                    <a:lnTo>
                      <a:pt x="39" y="121"/>
                    </a:lnTo>
                    <a:lnTo>
                      <a:pt x="37" y="121"/>
                    </a:lnTo>
                    <a:lnTo>
                      <a:pt x="37" y="119"/>
                    </a:lnTo>
                    <a:close/>
                    <a:moveTo>
                      <a:pt x="44" y="131"/>
                    </a:moveTo>
                    <a:lnTo>
                      <a:pt x="48" y="131"/>
                    </a:lnTo>
                    <a:lnTo>
                      <a:pt x="48" y="132"/>
                    </a:lnTo>
                    <a:lnTo>
                      <a:pt x="44" y="132"/>
                    </a:lnTo>
                    <a:lnTo>
                      <a:pt x="44" y="131"/>
                    </a:lnTo>
                    <a:close/>
                    <a:moveTo>
                      <a:pt x="12" y="119"/>
                    </a:moveTo>
                    <a:lnTo>
                      <a:pt x="14" y="119"/>
                    </a:lnTo>
                    <a:lnTo>
                      <a:pt x="14" y="121"/>
                    </a:lnTo>
                    <a:lnTo>
                      <a:pt x="12" y="121"/>
                    </a:lnTo>
                    <a:lnTo>
                      <a:pt x="12" y="119"/>
                    </a:lnTo>
                    <a:close/>
                    <a:moveTo>
                      <a:pt x="3" y="93"/>
                    </a:moveTo>
                    <a:lnTo>
                      <a:pt x="7" y="93"/>
                    </a:lnTo>
                    <a:lnTo>
                      <a:pt x="7" y="97"/>
                    </a:lnTo>
                    <a:lnTo>
                      <a:pt x="3" y="97"/>
                    </a:lnTo>
                    <a:lnTo>
                      <a:pt x="3" y="93"/>
                    </a:lnTo>
                    <a:close/>
                    <a:moveTo>
                      <a:pt x="39" y="115"/>
                    </a:moveTo>
                    <a:lnTo>
                      <a:pt x="41" y="115"/>
                    </a:lnTo>
                    <a:lnTo>
                      <a:pt x="41" y="117"/>
                    </a:lnTo>
                    <a:lnTo>
                      <a:pt x="39" y="117"/>
                    </a:lnTo>
                    <a:lnTo>
                      <a:pt x="39" y="115"/>
                    </a:lnTo>
                    <a:close/>
                    <a:moveTo>
                      <a:pt x="15" y="71"/>
                    </a:moveTo>
                    <a:lnTo>
                      <a:pt x="17" y="71"/>
                    </a:lnTo>
                    <a:lnTo>
                      <a:pt x="17" y="73"/>
                    </a:lnTo>
                    <a:lnTo>
                      <a:pt x="15" y="73"/>
                    </a:lnTo>
                    <a:lnTo>
                      <a:pt x="15" y="71"/>
                    </a:lnTo>
                    <a:close/>
                    <a:moveTo>
                      <a:pt x="8" y="71"/>
                    </a:moveTo>
                    <a:lnTo>
                      <a:pt x="10" y="71"/>
                    </a:lnTo>
                    <a:lnTo>
                      <a:pt x="10" y="73"/>
                    </a:lnTo>
                    <a:lnTo>
                      <a:pt x="8" y="73"/>
                    </a:lnTo>
                    <a:lnTo>
                      <a:pt x="8" y="71"/>
                    </a:lnTo>
                    <a:close/>
                    <a:moveTo>
                      <a:pt x="42" y="124"/>
                    </a:moveTo>
                    <a:lnTo>
                      <a:pt x="42" y="126"/>
                    </a:lnTo>
                    <a:lnTo>
                      <a:pt x="42" y="124"/>
                    </a:lnTo>
                    <a:close/>
                    <a:moveTo>
                      <a:pt x="8" y="54"/>
                    </a:moveTo>
                    <a:lnTo>
                      <a:pt x="10" y="54"/>
                    </a:lnTo>
                    <a:lnTo>
                      <a:pt x="10" y="56"/>
                    </a:lnTo>
                    <a:lnTo>
                      <a:pt x="8" y="56"/>
                    </a:lnTo>
                    <a:lnTo>
                      <a:pt x="8" y="54"/>
                    </a:lnTo>
                    <a:close/>
                    <a:moveTo>
                      <a:pt x="15" y="122"/>
                    </a:moveTo>
                    <a:lnTo>
                      <a:pt x="17" y="122"/>
                    </a:lnTo>
                    <a:lnTo>
                      <a:pt x="15" y="122"/>
                    </a:lnTo>
                    <a:close/>
                    <a:moveTo>
                      <a:pt x="41" y="121"/>
                    </a:moveTo>
                    <a:lnTo>
                      <a:pt x="42" y="121"/>
                    </a:lnTo>
                    <a:lnTo>
                      <a:pt x="41" y="121"/>
                    </a:lnTo>
                    <a:close/>
                    <a:moveTo>
                      <a:pt x="41" y="129"/>
                    </a:moveTo>
                    <a:lnTo>
                      <a:pt x="42" y="129"/>
                    </a:lnTo>
                    <a:lnTo>
                      <a:pt x="42" y="131"/>
                    </a:lnTo>
                    <a:lnTo>
                      <a:pt x="41" y="131"/>
                    </a:lnTo>
                    <a:lnTo>
                      <a:pt x="41" y="129"/>
                    </a:lnTo>
                    <a:close/>
                    <a:moveTo>
                      <a:pt x="87" y="153"/>
                    </a:moveTo>
                    <a:lnTo>
                      <a:pt x="88" y="153"/>
                    </a:lnTo>
                    <a:lnTo>
                      <a:pt x="87" y="153"/>
                    </a:lnTo>
                    <a:close/>
                    <a:moveTo>
                      <a:pt x="7" y="56"/>
                    </a:moveTo>
                    <a:lnTo>
                      <a:pt x="8" y="56"/>
                    </a:lnTo>
                    <a:lnTo>
                      <a:pt x="8" y="58"/>
                    </a:lnTo>
                    <a:lnTo>
                      <a:pt x="7" y="58"/>
                    </a:lnTo>
                    <a:lnTo>
                      <a:pt x="7" y="56"/>
                    </a:lnTo>
                    <a:close/>
                    <a:moveTo>
                      <a:pt x="10" y="58"/>
                    </a:moveTo>
                    <a:lnTo>
                      <a:pt x="12" y="58"/>
                    </a:lnTo>
                    <a:lnTo>
                      <a:pt x="12" y="59"/>
                    </a:lnTo>
                    <a:lnTo>
                      <a:pt x="10" y="59"/>
                    </a:lnTo>
                    <a:lnTo>
                      <a:pt x="10" y="58"/>
                    </a:lnTo>
                    <a:close/>
                    <a:moveTo>
                      <a:pt x="10" y="58"/>
                    </a:moveTo>
                    <a:lnTo>
                      <a:pt x="10" y="59"/>
                    </a:lnTo>
                    <a:lnTo>
                      <a:pt x="10" y="58"/>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Freeform 58">
                <a:extLst>
                  <a:ext uri="{FF2B5EF4-FFF2-40B4-BE49-F238E27FC236}">
                    <a16:creationId xmlns:a16="http://schemas.microsoft.com/office/drawing/2014/main" id="{743D32A2-6A89-463E-8619-EEC970128769}"/>
                  </a:ext>
                </a:extLst>
              </p:cNvPr>
              <p:cNvSpPr>
                <a:spLocks/>
              </p:cNvSpPr>
              <p:nvPr/>
            </p:nvSpPr>
            <p:spPr bwMode="gray">
              <a:xfrm>
                <a:off x="5268927" y="3273536"/>
                <a:ext cx="122667" cy="315962"/>
              </a:xfrm>
              <a:custGeom>
                <a:avLst/>
                <a:gdLst>
                  <a:gd name="T0" fmla="*/ 48 w 99"/>
                  <a:gd name="T1" fmla="*/ 29 h 255"/>
                  <a:gd name="T2" fmla="*/ 77 w 99"/>
                  <a:gd name="T3" fmla="*/ 58 h 255"/>
                  <a:gd name="T4" fmla="*/ 79 w 99"/>
                  <a:gd name="T5" fmla="*/ 83 h 255"/>
                  <a:gd name="T6" fmla="*/ 90 w 99"/>
                  <a:gd name="T7" fmla="*/ 104 h 255"/>
                  <a:gd name="T8" fmla="*/ 92 w 99"/>
                  <a:gd name="T9" fmla="*/ 134 h 255"/>
                  <a:gd name="T10" fmla="*/ 90 w 99"/>
                  <a:gd name="T11" fmla="*/ 168 h 255"/>
                  <a:gd name="T12" fmla="*/ 92 w 99"/>
                  <a:gd name="T13" fmla="*/ 185 h 255"/>
                  <a:gd name="T14" fmla="*/ 87 w 99"/>
                  <a:gd name="T15" fmla="*/ 209 h 255"/>
                  <a:gd name="T16" fmla="*/ 89 w 99"/>
                  <a:gd name="T17" fmla="*/ 221 h 255"/>
                  <a:gd name="T18" fmla="*/ 89 w 99"/>
                  <a:gd name="T19" fmla="*/ 224 h 255"/>
                  <a:gd name="T20" fmla="*/ 89 w 99"/>
                  <a:gd name="T21" fmla="*/ 230 h 255"/>
                  <a:gd name="T22" fmla="*/ 94 w 99"/>
                  <a:gd name="T23" fmla="*/ 235 h 255"/>
                  <a:gd name="T24" fmla="*/ 99 w 99"/>
                  <a:gd name="T25" fmla="*/ 242 h 255"/>
                  <a:gd name="T26" fmla="*/ 90 w 99"/>
                  <a:gd name="T27" fmla="*/ 248 h 255"/>
                  <a:gd name="T28" fmla="*/ 68 w 99"/>
                  <a:gd name="T29" fmla="*/ 252 h 255"/>
                  <a:gd name="T30" fmla="*/ 58 w 99"/>
                  <a:gd name="T31" fmla="*/ 243 h 255"/>
                  <a:gd name="T32" fmla="*/ 46 w 99"/>
                  <a:gd name="T33" fmla="*/ 238 h 255"/>
                  <a:gd name="T34" fmla="*/ 43 w 99"/>
                  <a:gd name="T35" fmla="*/ 230 h 255"/>
                  <a:gd name="T36" fmla="*/ 38 w 99"/>
                  <a:gd name="T37" fmla="*/ 221 h 255"/>
                  <a:gd name="T38" fmla="*/ 34 w 99"/>
                  <a:gd name="T39" fmla="*/ 213 h 255"/>
                  <a:gd name="T40" fmla="*/ 38 w 99"/>
                  <a:gd name="T41" fmla="*/ 207 h 255"/>
                  <a:gd name="T42" fmla="*/ 41 w 99"/>
                  <a:gd name="T43" fmla="*/ 194 h 255"/>
                  <a:gd name="T44" fmla="*/ 34 w 99"/>
                  <a:gd name="T45" fmla="*/ 187 h 255"/>
                  <a:gd name="T46" fmla="*/ 38 w 99"/>
                  <a:gd name="T47" fmla="*/ 175 h 255"/>
                  <a:gd name="T48" fmla="*/ 38 w 99"/>
                  <a:gd name="T49" fmla="*/ 155 h 255"/>
                  <a:gd name="T50" fmla="*/ 39 w 99"/>
                  <a:gd name="T51" fmla="*/ 148 h 255"/>
                  <a:gd name="T52" fmla="*/ 43 w 99"/>
                  <a:gd name="T53" fmla="*/ 139 h 255"/>
                  <a:gd name="T54" fmla="*/ 34 w 99"/>
                  <a:gd name="T55" fmla="*/ 131 h 255"/>
                  <a:gd name="T56" fmla="*/ 28 w 99"/>
                  <a:gd name="T57" fmla="*/ 119 h 255"/>
                  <a:gd name="T58" fmla="*/ 33 w 99"/>
                  <a:gd name="T59" fmla="*/ 119 h 255"/>
                  <a:gd name="T60" fmla="*/ 31 w 99"/>
                  <a:gd name="T61" fmla="*/ 105 h 255"/>
                  <a:gd name="T62" fmla="*/ 34 w 99"/>
                  <a:gd name="T63" fmla="*/ 95 h 255"/>
                  <a:gd name="T64" fmla="*/ 36 w 99"/>
                  <a:gd name="T65" fmla="*/ 87 h 255"/>
                  <a:gd name="T66" fmla="*/ 26 w 99"/>
                  <a:gd name="T67" fmla="*/ 83 h 255"/>
                  <a:gd name="T68" fmla="*/ 19 w 99"/>
                  <a:gd name="T69" fmla="*/ 85 h 255"/>
                  <a:gd name="T70" fmla="*/ 22 w 99"/>
                  <a:gd name="T71" fmla="*/ 82 h 255"/>
                  <a:gd name="T72" fmla="*/ 28 w 99"/>
                  <a:gd name="T73" fmla="*/ 78 h 255"/>
                  <a:gd name="T74" fmla="*/ 22 w 99"/>
                  <a:gd name="T75" fmla="*/ 73 h 255"/>
                  <a:gd name="T76" fmla="*/ 24 w 99"/>
                  <a:gd name="T77" fmla="*/ 71 h 255"/>
                  <a:gd name="T78" fmla="*/ 28 w 99"/>
                  <a:gd name="T79" fmla="*/ 61 h 255"/>
                  <a:gd name="T80" fmla="*/ 29 w 99"/>
                  <a:gd name="T81" fmla="*/ 54 h 255"/>
                  <a:gd name="T82" fmla="*/ 24 w 99"/>
                  <a:gd name="T83" fmla="*/ 42 h 255"/>
                  <a:gd name="T84" fmla="*/ 22 w 99"/>
                  <a:gd name="T85" fmla="*/ 36 h 255"/>
                  <a:gd name="T86" fmla="*/ 14 w 99"/>
                  <a:gd name="T87" fmla="*/ 32 h 255"/>
                  <a:gd name="T88" fmla="*/ 4 w 99"/>
                  <a:gd name="T89" fmla="*/ 22 h 255"/>
                  <a:gd name="T90" fmla="*/ 7 w 99"/>
                  <a:gd name="T91" fmla="*/ 8 h 255"/>
                  <a:gd name="T92" fmla="*/ 4 w 99"/>
                  <a:gd name="T93" fmla="*/ 3 h 255"/>
                  <a:gd name="T94" fmla="*/ 33 w 99"/>
                  <a:gd name="T95" fmla="*/ 7 h 255"/>
                  <a:gd name="T96" fmla="*/ 41 w 99"/>
                  <a:gd name="T97" fmla="*/ 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255">
                    <a:moveTo>
                      <a:pt x="55" y="7"/>
                    </a:moveTo>
                    <a:lnTo>
                      <a:pt x="53" y="17"/>
                    </a:lnTo>
                    <a:lnTo>
                      <a:pt x="48" y="20"/>
                    </a:lnTo>
                    <a:lnTo>
                      <a:pt x="48" y="29"/>
                    </a:lnTo>
                    <a:lnTo>
                      <a:pt x="48" y="32"/>
                    </a:lnTo>
                    <a:lnTo>
                      <a:pt x="48" y="37"/>
                    </a:lnTo>
                    <a:lnTo>
                      <a:pt x="58" y="48"/>
                    </a:lnTo>
                    <a:lnTo>
                      <a:pt x="77" y="58"/>
                    </a:lnTo>
                    <a:lnTo>
                      <a:pt x="77" y="75"/>
                    </a:lnTo>
                    <a:lnTo>
                      <a:pt x="75" y="82"/>
                    </a:lnTo>
                    <a:lnTo>
                      <a:pt x="77" y="83"/>
                    </a:lnTo>
                    <a:lnTo>
                      <a:pt x="79" y="83"/>
                    </a:lnTo>
                    <a:lnTo>
                      <a:pt x="80" y="92"/>
                    </a:lnTo>
                    <a:lnTo>
                      <a:pt x="82" y="95"/>
                    </a:lnTo>
                    <a:lnTo>
                      <a:pt x="87" y="100"/>
                    </a:lnTo>
                    <a:lnTo>
                      <a:pt x="90" y="104"/>
                    </a:lnTo>
                    <a:lnTo>
                      <a:pt x="90" y="107"/>
                    </a:lnTo>
                    <a:lnTo>
                      <a:pt x="90" y="129"/>
                    </a:lnTo>
                    <a:lnTo>
                      <a:pt x="90" y="133"/>
                    </a:lnTo>
                    <a:lnTo>
                      <a:pt x="92" y="134"/>
                    </a:lnTo>
                    <a:lnTo>
                      <a:pt x="90" y="136"/>
                    </a:lnTo>
                    <a:lnTo>
                      <a:pt x="90" y="141"/>
                    </a:lnTo>
                    <a:lnTo>
                      <a:pt x="90" y="150"/>
                    </a:lnTo>
                    <a:lnTo>
                      <a:pt x="90" y="168"/>
                    </a:lnTo>
                    <a:lnTo>
                      <a:pt x="90" y="175"/>
                    </a:lnTo>
                    <a:lnTo>
                      <a:pt x="92" y="179"/>
                    </a:lnTo>
                    <a:lnTo>
                      <a:pt x="92" y="182"/>
                    </a:lnTo>
                    <a:lnTo>
                      <a:pt x="92" y="185"/>
                    </a:lnTo>
                    <a:lnTo>
                      <a:pt x="90" y="185"/>
                    </a:lnTo>
                    <a:lnTo>
                      <a:pt x="90" y="189"/>
                    </a:lnTo>
                    <a:lnTo>
                      <a:pt x="90" y="211"/>
                    </a:lnTo>
                    <a:lnTo>
                      <a:pt x="87" y="209"/>
                    </a:lnTo>
                    <a:lnTo>
                      <a:pt x="89" y="214"/>
                    </a:lnTo>
                    <a:lnTo>
                      <a:pt x="89" y="218"/>
                    </a:lnTo>
                    <a:lnTo>
                      <a:pt x="89" y="219"/>
                    </a:lnTo>
                    <a:lnTo>
                      <a:pt x="89" y="221"/>
                    </a:lnTo>
                    <a:lnTo>
                      <a:pt x="90" y="221"/>
                    </a:lnTo>
                    <a:lnTo>
                      <a:pt x="90" y="223"/>
                    </a:lnTo>
                    <a:lnTo>
                      <a:pt x="89" y="223"/>
                    </a:lnTo>
                    <a:lnTo>
                      <a:pt x="89" y="224"/>
                    </a:lnTo>
                    <a:lnTo>
                      <a:pt x="87" y="226"/>
                    </a:lnTo>
                    <a:lnTo>
                      <a:pt x="90" y="228"/>
                    </a:lnTo>
                    <a:lnTo>
                      <a:pt x="89" y="228"/>
                    </a:lnTo>
                    <a:lnTo>
                      <a:pt x="89" y="230"/>
                    </a:lnTo>
                    <a:lnTo>
                      <a:pt x="92" y="231"/>
                    </a:lnTo>
                    <a:lnTo>
                      <a:pt x="92" y="233"/>
                    </a:lnTo>
                    <a:lnTo>
                      <a:pt x="94" y="233"/>
                    </a:lnTo>
                    <a:lnTo>
                      <a:pt x="94" y="235"/>
                    </a:lnTo>
                    <a:lnTo>
                      <a:pt x="97" y="236"/>
                    </a:lnTo>
                    <a:lnTo>
                      <a:pt x="97" y="238"/>
                    </a:lnTo>
                    <a:lnTo>
                      <a:pt x="97" y="240"/>
                    </a:lnTo>
                    <a:lnTo>
                      <a:pt x="99" y="242"/>
                    </a:lnTo>
                    <a:lnTo>
                      <a:pt x="97" y="243"/>
                    </a:lnTo>
                    <a:lnTo>
                      <a:pt x="99" y="245"/>
                    </a:lnTo>
                    <a:lnTo>
                      <a:pt x="99" y="247"/>
                    </a:lnTo>
                    <a:lnTo>
                      <a:pt x="90" y="248"/>
                    </a:lnTo>
                    <a:lnTo>
                      <a:pt x="77" y="252"/>
                    </a:lnTo>
                    <a:lnTo>
                      <a:pt x="73" y="253"/>
                    </a:lnTo>
                    <a:lnTo>
                      <a:pt x="68" y="255"/>
                    </a:lnTo>
                    <a:lnTo>
                      <a:pt x="68" y="252"/>
                    </a:lnTo>
                    <a:lnTo>
                      <a:pt x="63" y="252"/>
                    </a:lnTo>
                    <a:lnTo>
                      <a:pt x="62" y="250"/>
                    </a:lnTo>
                    <a:lnTo>
                      <a:pt x="60" y="248"/>
                    </a:lnTo>
                    <a:lnTo>
                      <a:pt x="58" y="243"/>
                    </a:lnTo>
                    <a:lnTo>
                      <a:pt x="53" y="243"/>
                    </a:lnTo>
                    <a:lnTo>
                      <a:pt x="51" y="242"/>
                    </a:lnTo>
                    <a:lnTo>
                      <a:pt x="48" y="240"/>
                    </a:lnTo>
                    <a:lnTo>
                      <a:pt x="46" y="238"/>
                    </a:lnTo>
                    <a:lnTo>
                      <a:pt x="45" y="233"/>
                    </a:lnTo>
                    <a:lnTo>
                      <a:pt x="46" y="231"/>
                    </a:lnTo>
                    <a:lnTo>
                      <a:pt x="43" y="231"/>
                    </a:lnTo>
                    <a:lnTo>
                      <a:pt x="43" y="230"/>
                    </a:lnTo>
                    <a:lnTo>
                      <a:pt x="41" y="230"/>
                    </a:lnTo>
                    <a:lnTo>
                      <a:pt x="39" y="228"/>
                    </a:lnTo>
                    <a:lnTo>
                      <a:pt x="41" y="223"/>
                    </a:lnTo>
                    <a:lnTo>
                      <a:pt x="38" y="221"/>
                    </a:lnTo>
                    <a:lnTo>
                      <a:pt x="36" y="219"/>
                    </a:lnTo>
                    <a:lnTo>
                      <a:pt x="34" y="218"/>
                    </a:lnTo>
                    <a:lnTo>
                      <a:pt x="36" y="214"/>
                    </a:lnTo>
                    <a:lnTo>
                      <a:pt x="34" y="213"/>
                    </a:lnTo>
                    <a:lnTo>
                      <a:pt x="34" y="211"/>
                    </a:lnTo>
                    <a:lnTo>
                      <a:pt x="36" y="211"/>
                    </a:lnTo>
                    <a:lnTo>
                      <a:pt x="38" y="209"/>
                    </a:lnTo>
                    <a:lnTo>
                      <a:pt x="38" y="207"/>
                    </a:lnTo>
                    <a:lnTo>
                      <a:pt x="39" y="206"/>
                    </a:lnTo>
                    <a:lnTo>
                      <a:pt x="38" y="202"/>
                    </a:lnTo>
                    <a:lnTo>
                      <a:pt x="39" y="201"/>
                    </a:lnTo>
                    <a:lnTo>
                      <a:pt x="41" y="194"/>
                    </a:lnTo>
                    <a:lnTo>
                      <a:pt x="41" y="190"/>
                    </a:lnTo>
                    <a:lnTo>
                      <a:pt x="39" y="189"/>
                    </a:lnTo>
                    <a:lnTo>
                      <a:pt x="36" y="190"/>
                    </a:lnTo>
                    <a:lnTo>
                      <a:pt x="34" y="187"/>
                    </a:lnTo>
                    <a:lnTo>
                      <a:pt x="34" y="185"/>
                    </a:lnTo>
                    <a:lnTo>
                      <a:pt x="34" y="180"/>
                    </a:lnTo>
                    <a:lnTo>
                      <a:pt x="38" y="179"/>
                    </a:lnTo>
                    <a:lnTo>
                      <a:pt x="38" y="175"/>
                    </a:lnTo>
                    <a:lnTo>
                      <a:pt x="39" y="173"/>
                    </a:lnTo>
                    <a:lnTo>
                      <a:pt x="39" y="172"/>
                    </a:lnTo>
                    <a:lnTo>
                      <a:pt x="39" y="170"/>
                    </a:lnTo>
                    <a:lnTo>
                      <a:pt x="38" y="155"/>
                    </a:lnTo>
                    <a:lnTo>
                      <a:pt x="38" y="153"/>
                    </a:lnTo>
                    <a:lnTo>
                      <a:pt x="39" y="151"/>
                    </a:lnTo>
                    <a:lnTo>
                      <a:pt x="38" y="150"/>
                    </a:lnTo>
                    <a:lnTo>
                      <a:pt x="39" y="148"/>
                    </a:lnTo>
                    <a:lnTo>
                      <a:pt x="41" y="146"/>
                    </a:lnTo>
                    <a:lnTo>
                      <a:pt x="45" y="145"/>
                    </a:lnTo>
                    <a:lnTo>
                      <a:pt x="45" y="143"/>
                    </a:lnTo>
                    <a:lnTo>
                      <a:pt x="43" y="139"/>
                    </a:lnTo>
                    <a:lnTo>
                      <a:pt x="41" y="138"/>
                    </a:lnTo>
                    <a:lnTo>
                      <a:pt x="41" y="134"/>
                    </a:lnTo>
                    <a:lnTo>
                      <a:pt x="36" y="133"/>
                    </a:lnTo>
                    <a:lnTo>
                      <a:pt x="34" y="131"/>
                    </a:lnTo>
                    <a:lnTo>
                      <a:pt x="33" y="129"/>
                    </a:lnTo>
                    <a:lnTo>
                      <a:pt x="31" y="129"/>
                    </a:lnTo>
                    <a:lnTo>
                      <a:pt x="28" y="121"/>
                    </a:lnTo>
                    <a:lnTo>
                      <a:pt x="28" y="119"/>
                    </a:lnTo>
                    <a:lnTo>
                      <a:pt x="29" y="119"/>
                    </a:lnTo>
                    <a:lnTo>
                      <a:pt x="31" y="117"/>
                    </a:lnTo>
                    <a:lnTo>
                      <a:pt x="31" y="119"/>
                    </a:lnTo>
                    <a:lnTo>
                      <a:pt x="33" y="119"/>
                    </a:lnTo>
                    <a:lnTo>
                      <a:pt x="33" y="117"/>
                    </a:lnTo>
                    <a:lnTo>
                      <a:pt x="34" y="116"/>
                    </a:lnTo>
                    <a:lnTo>
                      <a:pt x="34" y="112"/>
                    </a:lnTo>
                    <a:lnTo>
                      <a:pt x="31" y="105"/>
                    </a:lnTo>
                    <a:lnTo>
                      <a:pt x="33" y="102"/>
                    </a:lnTo>
                    <a:lnTo>
                      <a:pt x="33" y="100"/>
                    </a:lnTo>
                    <a:lnTo>
                      <a:pt x="34" y="99"/>
                    </a:lnTo>
                    <a:lnTo>
                      <a:pt x="34" y="95"/>
                    </a:lnTo>
                    <a:lnTo>
                      <a:pt x="36" y="94"/>
                    </a:lnTo>
                    <a:lnTo>
                      <a:pt x="36" y="92"/>
                    </a:lnTo>
                    <a:lnTo>
                      <a:pt x="36" y="88"/>
                    </a:lnTo>
                    <a:lnTo>
                      <a:pt x="36" y="87"/>
                    </a:lnTo>
                    <a:lnTo>
                      <a:pt x="33" y="87"/>
                    </a:lnTo>
                    <a:lnTo>
                      <a:pt x="33" y="83"/>
                    </a:lnTo>
                    <a:lnTo>
                      <a:pt x="31" y="83"/>
                    </a:lnTo>
                    <a:lnTo>
                      <a:pt x="26" y="83"/>
                    </a:lnTo>
                    <a:lnTo>
                      <a:pt x="26" y="85"/>
                    </a:lnTo>
                    <a:lnTo>
                      <a:pt x="22" y="87"/>
                    </a:lnTo>
                    <a:lnTo>
                      <a:pt x="21" y="87"/>
                    </a:lnTo>
                    <a:lnTo>
                      <a:pt x="19" y="85"/>
                    </a:lnTo>
                    <a:lnTo>
                      <a:pt x="19" y="83"/>
                    </a:lnTo>
                    <a:lnTo>
                      <a:pt x="21" y="85"/>
                    </a:lnTo>
                    <a:lnTo>
                      <a:pt x="24" y="83"/>
                    </a:lnTo>
                    <a:lnTo>
                      <a:pt x="22" y="82"/>
                    </a:lnTo>
                    <a:lnTo>
                      <a:pt x="21" y="82"/>
                    </a:lnTo>
                    <a:lnTo>
                      <a:pt x="21" y="80"/>
                    </a:lnTo>
                    <a:lnTo>
                      <a:pt x="26" y="80"/>
                    </a:lnTo>
                    <a:lnTo>
                      <a:pt x="28" y="78"/>
                    </a:lnTo>
                    <a:lnTo>
                      <a:pt x="26" y="76"/>
                    </a:lnTo>
                    <a:lnTo>
                      <a:pt x="22" y="78"/>
                    </a:lnTo>
                    <a:lnTo>
                      <a:pt x="21" y="75"/>
                    </a:lnTo>
                    <a:lnTo>
                      <a:pt x="22" y="73"/>
                    </a:lnTo>
                    <a:lnTo>
                      <a:pt x="24" y="75"/>
                    </a:lnTo>
                    <a:lnTo>
                      <a:pt x="26" y="75"/>
                    </a:lnTo>
                    <a:lnTo>
                      <a:pt x="26" y="73"/>
                    </a:lnTo>
                    <a:lnTo>
                      <a:pt x="24" y="71"/>
                    </a:lnTo>
                    <a:lnTo>
                      <a:pt x="24" y="68"/>
                    </a:lnTo>
                    <a:lnTo>
                      <a:pt x="26" y="66"/>
                    </a:lnTo>
                    <a:lnTo>
                      <a:pt x="26" y="63"/>
                    </a:lnTo>
                    <a:lnTo>
                      <a:pt x="28" y="61"/>
                    </a:lnTo>
                    <a:lnTo>
                      <a:pt x="26" y="58"/>
                    </a:lnTo>
                    <a:lnTo>
                      <a:pt x="26" y="56"/>
                    </a:lnTo>
                    <a:lnTo>
                      <a:pt x="29" y="56"/>
                    </a:lnTo>
                    <a:lnTo>
                      <a:pt x="29" y="54"/>
                    </a:lnTo>
                    <a:lnTo>
                      <a:pt x="26" y="53"/>
                    </a:lnTo>
                    <a:lnTo>
                      <a:pt x="26" y="44"/>
                    </a:lnTo>
                    <a:lnTo>
                      <a:pt x="28" y="42"/>
                    </a:lnTo>
                    <a:lnTo>
                      <a:pt x="24" y="42"/>
                    </a:lnTo>
                    <a:lnTo>
                      <a:pt x="24" y="41"/>
                    </a:lnTo>
                    <a:lnTo>
                      <a:pt x="22" y="39"/>
                    </a:lnTo>
                    <a:lnTo>
                      <a:pt x="22" y="37"/>
                    </a:lnTo>
                    <a:lnTo>
                      <a:pt x="22" y="36"/>
                    </a:lnTo>
                    <a:lnTo>
                      <a:pt x="21" y="37"/>
                    </a:lnTo>
                    <a:lnTo>
                      <a:pt x="19" y="36"/>
                    </a:lnTo>
                    <a:lnTo>
                      <a:pt x="17" y="37"/>
                    </a:lnTo>
                    <a:lnTo>
                      <a:pt x="14" y="32"/>
                    </a:lnTo>
                    <a:lnTo>
                      <a:pt x="11" y="31"/>
                    </a:lnTo>
                    <a:lnTo>
                      <a:pt x="11" y="27"/>
                    </a:lnTo>
                    <a:lnTo>
                      <a:pt x="4" y="25"/>
                    </a:lnTo>
                    <a:lnTo>
                      <a:pt x="4" y="22"/>
                    </a:lnTo>
                    <a:lnTo>
                      <a:pt x="4" y="19"/>
                    </a:lnTo>
                    <a:lnTo>
                      <a:pt x="7" y="17"/>
                    </a:lnTo>
                    <a:lnTo>
                      <a:pt x="7" y="15"/>
                    </a:lnTo>
                    <a:lnTo>
                      <a:pt x="7" y="8"/>
                    </a:lnTo>
                    <a:lnTo>
                      <a:pt x="9" y="8"/>
                    </a:lnTo>
                    <a:lnTo>
                      <a:pt x="9" y="3"/>
                    </a:lnTo>
                    <a:lnTo>
                      <a:pt x="7" y="2"/>
                    </a:lnTo>
                    <a:lnTo>
                      <a:pt x="4" y="3"/>
                    </a:lnTo>
                    <a:lnTo>
                      <a:pt x="0" y="2"/>
                    </a:lnTo>
                    <a:lnTo>
                      <a:pt x="0" y="0"/>
                    </a:lnTo>
                    <a:lnTo>
                      <a:pt x="11" y="2"/>
                    </a:lnTo>
                    <a:lnTo>
                      <a:pt x="33" y="7"/>
                    </a:lnTo>
                    <a:lnTo>
                      <a:pt x="33" y="8"/>
                    </a:lnTo>
                    <a:lnTo>
                      <a:pt x="34" y="8"/>
                    </a:lnTo>
                    <a:lnTo>
                      <a:pt x="33" y="10"/>
                    </a:lnTo>
                    <a:lnTo>
                      <a:pt x="41" y="7"/>
                    </a:lnTo>
                    <a:lnTo>
                      <a:pt x="55" y="7"/>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30" name="TextBox 29">
            <a:extLst>
              <a:ext uri="{FF2B5EF4-FFF2-40B4-BE49-F238E27FC236}">
                <a16:creationId xmlns:a16="http://schemas.microsoft.com/office/drawing/2014/main" id="{CAF2BDF1-4BDE-47C3-A664-9206339944CA}"/>
              </a:ext>
            </a:extLst>
          </p:cNvPr>
          <p:cNvSpPr txBox="1">
            <a:spLocks/>
          </p:cNvSpPr>
          <p:nvPr/>
        </p:nvSpPr>
        <p:spPr>
          <a:xfrm>
            <a:off x="8473808" y="1721829"/>
            <a:ext cx="1266700" cy="19585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égion de l'Ouest</a:t>
            </a:r>
          </a:p>
        </p:txBody>
      </p:sp>
      <p:grpSp>
        <p:nvGrpSpPr>
          <p:cNvPr id="49" name="Group 48">
            <a:extLst>
              <a:ext uri="{FF2B5EF4-FFF2-40B4-BE49-F238E27FC236}">
                <a16:creationId xmlns:a16="http://schemas.microsoft.com/office/drawing/2014/main" id="{67512EC5-A33C-4F66-B2B2-90D81B4A6E98}"/>
              </a:ext>
            </a:extLst>
          </p:cNvPr>
          <p:cNvGrpSpPr/>
          <p:nvPr/>
        </p:nvGrpSpPr>
        <p:grpSpPr>
          <a:xfrm>
            <a:off x="2973539" y="1243142"/>
            <a:ext cx="467523" cy="467523"/>
            <a:chOff x="5595134" y="1144592"/>
            <a:chExt cx="914400" cy="914400"/>
          </a:xfrm>
          <a:solidFill>
            <a:schemeClr val="accent1"/>
          </a:solidFill>
        </p:grpSpPr>
        <p:sp>
          <p:nvSpPr>
            <p:cNvPr id="51" name="Oval 50">
              <a:extLst>
                <a:ext uri="{FF2B5EF4-FFF2-40B4-BE49-F238E27FC236}">
                  <a16:creationId xmlns:a16="http://schemas.microsoft.com/office/drawing/2014/main" id="{9171346E-2A88-4C21-8751-0C46C2E6FF86}"/>
                </a:ext>
              </a:extLst>
            </p:cNvPr>
            <p:cNvSpPr/>
            <p:nvPr/>
          </p:nvSpPr>
          <p:spPr>
            <a:xfrm>
              <a:off x="5595134" y="1144592"/>
              <a:ext cx="914400" cy="914400"/>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2" name="Group 51">
              <a:extLst>
                <a:ext uri="{FF2B5EF4-FFF2-40B4-BE49-F238E27FC236}">
                  <a16:creationId xmlns:a16="http://schemas.microsoft.com/office/drawing/2014/main" id="{82C16996-4BD2-451D-94A9-887D309DE82F}"/>
                </a:ext>
              </a:extLst>
            </p:cNvPr>
            <p:cNvGrpSpPr/>
            <p:nvPr/>
          </p:nvGrpSpPr>
          <p:grpSpPr>
            <a:xfrm>
              <a:off x="5664160" y="1407180"/>
              <a:ext cx="814599" cy="344259"/>
              <a:chOff x="4205809" y="1616908"/>
              <a:chExt cx="3386360" cy="1431118"/>
            </a:xfrm>
            <a:grpFill/>
          </p:grpSpPr>
          <p:sp>
            <p:nvSpPr>
              <p:cNvPr id="53" name="Freeform 9">
                <a:extLst>
                  <a:ext uri="{FF2B5EF4-FFF2-40B4-BE49-F238E27FC236}">
                    <a16:creationId xmlns:a16="http://schemas.microsoft.com/office/drawing/2014/main" id="{7FE4DDAE-B9FF-40F8-A212-0FF918B46F67}"/>
                  </a:ext>
                </a:extLst>
              </p:cNvPr>
              <p:cNvSpPr>
                <a:spLocks/>
              </p:cNvSpPr>
              <p:nvPr/>
            </p:nvSpPr>
            <p:spPr bwMode="gray">
              <a:xfrm>
                <a:off x="4734889" y="1644167"/>
                <a:ext cx="1297299" cy="1138699"/>
              </a:xfrm>
              <a:custGeom>
                <a:avLst/>
                <a:gdLst>
                  <a:gd name="T0" fmla="*/ 868 w 1047"/>
                  <a:gd name="T1" fmla="*/ 17 h 919"/>
                  <a:gd name="T2" fmla="*/ 860 w 1047"/>
                  <a:gd name="T3" fmla="*/ 34 h 919"/>
                  <a:gd name="T4" fmla="*/ 858 w 1047"/>
                  <a:gd name="T5" fmla="*/ 58 h 919"/>
                  <a:gd name="T6" fmla="*/ 861 w 1047"/>
                  <a:gd name="T7" fmla="*/ 83 h 919"/>
                  <a:gd name="T8" fmla="*/ 860 w 1047"/>
                  <a:gd name="T9" fmla="*/ 109 h 919"/>
                  <a:gd name="T10" fmla="*/ 855 w 1047"/>
                  <a:gd name="T11" fmla="*/ 128 h 919"/>
                  <a:gd name="T12" fmla="*/ 824 w 1047"/>
                  <a:gd name="T13" fmla="*/ 151 h 919"/>
                  <a:gd name="T14" fmla="*/ 824 w 1047"/>
                  <a:gd name="T15" fmla="*/ 175 h 919"/>
                  <a:gd name="T16" fmla="*/ 861 w 1047"/>
                  <a:gd name="T17" fmla="*/ 233 h 919"/>
                  <a:gd name="T18" fmla="*/ 940 w 1047"/>
                  <a:gd name="T19" fmla="*/ 422 h 919"/>
                  <a:gd name="T20" fmla="*/ 940 w 1047"/>
                  <a:gd name="T21" fmla="*/ 483 h 919"/>
                  <a:gd name="T22" fmla="*/ 940 w 1047"/>
                  <a:gd name="T23" fmla="*/ 524 h 919"/>
                  <a:gd name="T24" fmla="*/ 951 w 1047"/>
                  <a:gd name="T25" fmla="*/ 623 h 919"/>
                  <a:gd name="T26" fmla="*/ 987 w 1047"/>
                  <a:gd name="T27" fmla="*/ 635 h 919"/>
                  <a:gd name="T28" fmla="*/ 895 w 1047"/>
                  <a:gd name="T29" fmla="*/ 776 h 919"/>
                  <a:gd name="T30" fmla="*/ 608 w 1047"/>
                  <a:gd name="T31" fmla="*/ 917 h 919"/>
                  <a:gd name="T32" fmla="*/ 603 w 1047"/>
                  <a:gd name="T33" fmla="*/ 891 h 919"/>
                  <a:gd name="T34" fmla="*/ 583 w 1047"/>
                  <a:gd name="T35" fmla="*/ 868 h 919"/>
                  <a:gd name="T36" fmla="*/ 561 w 1047"/>
                  <a:gd name="T37" fmla="*/ 862 h 919"/>
                  <a:gd name="T38" fmla="*/ 549 w 1047"/>
                  <a:gd name="T39" fmla="*/ 852 h 919"/>
                  <a:gd name="T40" fmla="*/ 528 w 1047"/>
                  <a:gd name="T41" fmla="*/ 849 h 919"/>
                  <a:gd name="T42" fmla="*/ 498 w 1047"/>
                  <a:gd name="T43" fmla="*/ 825 h 919"/>
                  <a:gd name="T44" fmla="*/ 0 w 1047"/>
                  <a:gd name="T45" fmla="*/ 459 h 919"/>
                  <a:gd name="T46" fmla="*/ 52 w 1047"/>
                  <a:gd name="T47" fmla="*/ 391 h 919"/>
                  <a:gd name="T48" fmla="*/ 96 w 1047"/>
                  <a:gd name="T49" fmla="*/ 386 h 919"/>
                  <a:gd name="T50" fmla="*/ 124 w 1047"/>
                  <a:gd name="T51" fmla="*/ 386 h 919"/>
                  <a:gd name="T52" fmla="*/ 151 w 1047"/>
                  <a:gd name="T53" fmla="*/ 383 h 919"/>
                  <a:gd name="T54" fmla="*/ 170 w 1047"/>
                  <a:gd name="T55" fmla="*/ 369 h 919"/>
                  <a:gd name="T56" fmla="*/ 248 w 1047"/>
                  <a:gd name="T57" fmla="*/ 320 h 919"/>
                  <a:gd name="T58" fmla="*/ 255 w 1047"/>
                  <a:gd name="T59" fmla="*/ 305 h 919"/>
                  <a:gd name="T60" fmla="*/ 248 w 1047"/>
                  <a:gd name="T61" fmla="*/ 301 h 919"/>
                  <a:gd name="T62" fmla="*/ 253 w 1047"/>
                  <a:gd name="T63" fmla="*/ 277 h 919"/>
                  <a:gd name="T64" fmla="*/ 326 w 1047"/>
                  <a:gd name="T65" fmla="*/ 250 h 919"/>
                  <a:gd name="T66" fmla="*/ 379 w 1047"/>
                  <a:gd name="T67" fmla="*/ 250 h 919"/>
                  <a:gd name="T68" fmla="*/ 368 w 1047"/>
                  <a:gd name="T69" fmla="*/ 219 h 919"/>
                  <a:gd name="T70" fmla="*/ 357 w 1047"/>
                  <a:gd name="T71" fmla="*/ 182 h 919"/>
                  <a:gd name="T72" fmla="*/ 355 w 1047"/>
                  <a:gd name="T73" fmla="*/ 151 h 919"/>
                  <a:gd name="T74" fmla="*/ 346 w 1047"/>
                  <a:gd name="T75" fmla="*/ 117 h 919"/>
                  <a:gd name="T76" fmla="*/ 326 w 1047"/>
                  <a:gd name="T77" fmla="*/ 104 h 919"/>
                  <a:gd name="T78" fmla="*/ 357 w 1047"/>
                  <a:gd name="T79" fmla="*/ 95 h 919"/>
                  <a:gd name="T80" fmla="*/ 380 w 1047"/>
                  <a:gd name="T81" fmla="*/ 77 h 919"/>
                  <a:gd name="T82" fmla="*/ 401 w 1047"/>
                  <a:gd name="T83" fmla="*/ 68 h 919"/>
                  <a:gd name="T84" fmla="*/ 411 w 1047"/>
                  <a:gd name="T85" fmla="*/ 66 h 919"/>
                  <a:gd name="T86" fmla="*/ 423 w 1047"/>
                  <a:gd name="T87" fmla="*/ 63 h 919"/>
                  <a:gd name="T88" fmla="*/ 477 w 1047"/>
                  <a:gd name="T89" fmla="*/ 39 h 919"/>
                  <a:gd name="T90" fmla="*/ 506 w 1047"/>
                  <a:gd name="T91" fmla="*/ 27 h 919"/>
                  <a:gd name="T92" fmla="*/ 540 w 1047"/>
                  <a:gd name="T93" fmla="*/ 27 h 919"/>
                  <a:gd name="T94" fmla="*/ 586 w 1047"/>
                  <a:gd name="T95" fmla="*/ 15 h 919"/>
                  <a:gd name="T96" fmla="*/ 625 w 1047"/>
                  <a:gd name="T97" fmla="*/ 12 h 919"/>
                  <a:gd name="T98" fmla="*/ 663 w 1047"/>
                  <a:gd name="T99" fmla="*/ 10 h 919"/>
                  <a:gd name="T100" fmla="*/ 697 w 1047"/>
                  <a:gd name="T101" fmla="*/ 17 h 919"/>
                  <a:gd name="T102" fmla="*/ 727 w 1047"/>
                  <a:gd name="T103" fmla="*/ 14 h 919"/>
                  <a:gd name="T104" fmla="*/ 758 w 1047"/>
                  <a:gd name="T105" fmla="*/ 3 h 919"/>
                  <a:gd name="T106" fmla="*/ 775 w 1047"/>
                  <a:gd name="T107" fmla="*/ 5 h 919"/>
                  <a:gd name="T108" fmla="*/ 787 w 1047"/>
                  <a:gd name="T109" fmla="*/ 10 h 919"/>
                  <a:gd name="T110" fmla="*/ 809 w 1047"/>
                  <a:gd name="T111" fmla="*/ 0 h 919"/>
                  <a:gd name="T112" fmla="*/ 829 w 1047"/>
                  <a:gd name="T113" fmla="*/ 7 h 919"/>
                  <a:gd name="T114" fmla="*/ 865 w 1047"/>
                  <a:gd name="T115" fmla="*/ 1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7" h="919">
                    <a:moveTo>
                      <a:pt x="877" y="7"/>
                    </a:moveTo>
                    <a:lnTo>
                      <a:pt x="877" y="9"/>
                    </a:lnTo>
                    <a:lnTo>
                      <a:pt x="877" y="10"/>
                    </a:lnTo>
                    <a:lnTo>
                      <a:pt x="875" y="12"/>
                    </a:lnTo>
                    <a:lnTo>
                      <a:pt x="878" y="12"/>
                    </a:lnTo>
                    <a:lnTo>
                      <a:pt x="878" y="14"/>
                    </a:lnTo>
                    <a:lnTo>
                      <a:pt x="873" y="15"/>
                    </a:lnTo>
                    <a:lnTo>
                      <a:pt x="868" y="15"/>
                    </a:lnTo>
                    <a:lnTo>
                      <a:pt x="867" y="17"/>
                    </a:lnTo>
                    <a:lnTo>
                      <a:pt x="868" y="17"/>
                    </a:lnTo>
                    <a:lnTo>
                      <a:pt x="868" y="20"/>
                    </a:lnTo>
                    <a:lnTo>
                      <a:pt x="867" y="22"/>
                    </a:lnTo>
                    <a:lnTo>
                      <a:pt x="867" y="24"/>
                    </a:lnTo>
                    <a:lnTo>
                      <a:pt x="865" y="24"/>
                    </a:lnTo>
                    <a:lnTo>
                      <a:pt x="858" y="27"/>
                    </a:lnTo>
                    <a:lnTo>
                      <a:pt x="853" y="29"/>
                    </a:lnTo>
                    <a:lnTo>
                      <a:pt x="851" y="31"/>
                    </a:lnTo>
                    <a:lnTo>
                      <a:pt x="853" y="32"/>
                    </a:lnTo>
                    <a:lnTo>
                      <a:pt x="855" y="32"/>
                    </a:lnTo>
                    <a:lnTo>
                      <a:pt x="860" y="34"/>
                    </a:lnTo>
                    <a:lnTo>
                      <a:pt x="861" y="32"/>
                    </a:lnTo>
                    <a:lnTo>
                      <a:pt x="865" y="34"/>
                    </a:lnTo>
                    <a:lnTo>
                      <a:pt x="863" y="37"/>
                    </a:lnTo>
                    <a:lnTo>
                      <a:pt x="863" y="39"/>
                    </a:lnTo>
                    <a:lnTo>
                      <a:pt x="861" y="43"/>
                    </a:lnTo>
                    <a:lnTo>
                      <a:pt x="861" y="44"/>
                    </a:lnTo>
                    <a:lnTo>
                      <a:pt x="860" y="46"/>
                    </a:lnTo>
                    <a:lnTo>
                      <a:pt x="861" y="49"/>
                    </a:lnTo>
                    <a:lnTo>
                      <a:pt x="860" y="53"/>
                    </a:lnTo>
                    <a:lnTo>
                      <a:pt x="858" y="58"/>
                    </a:lnTo>
                    <a:lnTo>
                      <a:pt x="856" y="60"/>
                    </a:lnTo>
                    <a:lnTo>
                      <a:pt x="858" y="60"/>
                    </a:lnTo>
                    <a:lnTo>
                      <a:pt x="856" y="61"/>
                    </a:lnTo>
                    <a:lnTo>
                      <a:pt x="858" y="61"/>
                    </a:lnTo>
                    <a:lnTo>
                      <a:pt x="858" y="65"/>
                    </a:lnTo>
                    <a:lnTo>
                      <a:pt x="856" y="70"/>
                    </a:lnTo>
                    <a:lnTo>
                      <a:pt x="861" y="73"/>
                    </a:lnTo>
                    <a:lnTo>
                      <a:pt x="861" y="80"/>
                    </a:lnTo>
                    <a:lnTo>
                      <a:pt x="863" y="82"/>
                    </a:lnTo>
                    <a:lnTo>
                      <a:pt x="861" y="83"/>
                    </a:lnTo>
                    <a:lnTo>
                      <a:pt x="860" y="85"/>
                    </a:lnTo>
                    <a:lnTo>
                      <a:pt x="861" y="85"/>
                    </a:lnTo>
                    <a:lnTo>
                      <a:pt x="860" y="90"/>
                    </a:lnTo>
                    <a:lnTo>
                      <a:pt x="860" y="92"/>
                    </a:lnTo>
                    <a:lnTo>
                      <a:pt x="865" y="94"/>
                    </a:lnTo>
                    <a:lnTo>
                      <a:pt x="868" y="94"/>
                    </a:lnTo>
                    <a:lnTo>
                      <a:pt x="865" y="99"/>
                    </a:lnTo>
                    <a:lnTo>
                      <a:pt x="861" y="100"/>
                    </a:lnTo>
                    <a:lnTo>
                      <a:pt x="860" y="105"/>
                    </a:lnTo>
                    <a:lnTo>
                      <a:pt x="860" y="109"/>
                    </a:lnTo>
                    <a:lnTo>
                      <a:pt x="856" y="111"/>
                    </a:lnTo>
                    <a:lnTo>
                      <a:pt x="858" y="114"/>
                    </a:lnTo>
                    <a:lnTo>
                      <a:pt x="858" y="117"/>
                    </a:lnTo>
                    <a:lnTo>
                      <a:pt x="860" y="119"/>
                    </a:lnTo>
                    <a:lnTo>
                      <a:pt x="856" y="122"/>
                    </a:lnTo>
                    <a:lnTo>
                      <a:pt x="858" y="124"/>
                    </a:lnTo>
                    <a:lnTo>
                      <a:pt x="856" y="124"/>
                    </a:lnTo>
                    <a:lnTo>
                      <a:pt x="856" y="126"/>
                    </a:lnTo>
                    <a:lnTo>
                      <a:pt x="855" y="126"/>
                    </a:lnTo>
                    <a:lnTo>
                      <a:pt x="855" y="128"/>
                    </a:lnTo>
                    <a:lnTo>
                      <a:pt x="853" y="128"/>
                    </a:lnTo>
                    <a:lnTo>
                      <a:pt x="853" y="129"/>
                    </a:lnTo>
                    <a:lnTo>
                      <a:pt x="850" y="131"/>
                    </a:lnTo>
                    <a:lnTo>
                      <a:pt x="846" y="131"/>
                    </a:lnTo>
                    <a:lnTo>
                      <a:pt x="841" y="136"/>
                    </a:lnTo>
                    <a:lnTo>
                      <a:pt x="836" y="136"/>
                    </a:lnTo>
                    <a:lnTo>
                      <a:pt x="836" y="140"/>
                    </a:lnTo>
                    <a:lnTo>
                      <a:pt x="834" y="146"/>
                    </a:lnTo>
                    <a:lnTo>
                      <a:pt x="826" y="146"/>
                    </a:lnTo>
                    <a:lnTo>
                      <a:pt x="824" y="151"/>
                    </a:lnTo>
                    <a:lnTo>
                      <a:pt x="821" y="153"/>
                    </a:lnTo>
                    <a:lnTo>
                      <a:pt x="821" y="157"/>
                    </a:lnTo>
                    <a:lnTo>
                      <a:pt x="821" y="160"/>
                    </a:lnTo>
                    <a:lnTo>
                      <a:pt x="821" y="162"/>
                    </a:lnTo>
                    <a:lnTo>
                      <a:pt x="821" y="165"/>
                    </a:lnTo>
                    <a:lnTo>
                      <a:pt x="821" y="167"/>
                    </a:lnTo>
                    <a:lnTo>
                      <a:pt x="824" y="170"/>
                    </a:lnTo>
                    <a:lnTo>
                      <a:pt x="822" y="170"/>
                    </a:lnTo>
                    <a:lnTo>
                      <a:pt x="824" y="172"/>
                    </a:lnTo>
                    <a:lnTo>
                      <a:pt x="824" y="175"/>
                    </a:lnTo>
                    <a:lnTo>
                      <a:pt x="826" y="179"/>
                    </a:lnTo>
                    <a:lnTo>
                      <a:pt x="831" y="185"/>
                    </a:lnTo>
                    <a:lnTo>
                      <a:pt x="831" y="194"/>
                    </a:lnTo>
                    <a:lnTo>
                      <a:pt x="834" y="199"/>
                    </a:lnTo>
                    <a:lnTo>
                      <a:pt x="839" y="199"/>
                    </a:lnTo>
                    <a:lnTo>
                      <a:pt x="846" y="202"/>
                    </a:lnTo>
                    <a:lnTo>
                      <a:pt x="850" y="202"/>
                    </a:lnTo>
                    <a:lnTo>
                      <a:pt x="848" y="204"/>
                    </a:lnTo>
                    <a:lnTo>
                      <a:pt x="860" y="216"/>
                    </a:lnTo>
                    <a:lnTo>
                      <a:pt x="861" y="233"/>
                    </a:lnTo>
                    <a:lnTo>
                      <a:pt x="899" y="253"/>
                    </a:lnTo>
                    <a:lnTo>
                      <a:pt x="919" y="332"/>
                    </a:lnTo>
                    <a:lnTo>
                      <a:pt x="923" y="347"/>
                    </a:lnTo>
                    <a:lnTo>
                      <a:pt x="914" y="350"/>
                    </a:lnTo>
                    <a:lnTo>
                      <a:pt x="914" y="354"/>
                    </a:lnTo>
                    <a:lnTo>
                      <a:pt x="916" y="357"/>
                    </a:lnTo>
                    <a:lnTo>
                      <a:pt x="923" y="364"/>
                    </a:lnTo>
                    <a:lnTo>
                      <a:pt x="934" y="388"/>
                    </a:lnTo>
                    <a:lnTo>
                      <a:pt x="938" y="408"/>
                    </a:lnTo>
                    <a:lnTo>
                      <a:pt x="940" y="422"/>
                    </a:lnTo>
                    <a:lnTo>
                      <a:pt x="940" y="429"/>
                    </a:lnTo>
                    <a:lnTo>
                      <a:pt x="936" y="446"/>
                    </a:lnTo>
                    <a:lnTo>
                      <a:pt x="943" y="468"/>
                    </a:lnTo>
                    <a:lnTo>
                      <a:pt x="943" y="470"/>
                    </a:lnTo>
                    <a:lnTo>
                      <a:pt x="943" y="475"/>
                    </a:lnTo>
                    <a:lnTo>
                      <a:pt x="941" y="476"/>
                    </a:lnTo>
                    <a:lnTo>
                      <a:pt x="940" y="481"/>
                    </a:lnTo>
                    <a:lnTo>
                      <a:pt x="938" y="481"/>
                    </a:lnTo>
                    <a:lnTo>
                      <a:pt x="936" y="483"/>
                    </a:lnTo>
                    <a:lnTo>
                      <a:pt x="940" y="483"/>
                    </a:lnTo>
                    <a:lnTo>
                      <a:pt x="938" y="487"/>
                    </a:lnTo>
                    <a:lnTo>
                      <a:pt x="936" y="487"/>
                    </a:lnTo>
                    <a:lnTo>
                      <a:pt x="936" y="488"/>
                    </a:lnTo>
                    <a:lnTo>
                      <a:pt x="934" y="493"/>
                    </a:lnTo>
                    <a:lnTo>
                      <a:pt x="934" y="498"/>
                    </a:lnTo>
                    <a:lnTo>
                      <a:pt x="934" y="504"/>
                    </a:lnTo>
                    <a:lnTo>
                      <a:pt x="936" y="505"/>
                    </a:lnTo>
                    <a:lnTo>
                      <a:pt x="938" y="514"/>
                    </a:lnTo>
                    <a:lnTo>
                      <a:pt x="941" y="519"/>
                    </a:lnTo>
                    <a:lnTo>
                      <a:pt x="940" y="524"/>
                    </a:lnTo>
                    <a:lnTo>
                      <a:pt x="941" y="529"/>
                    </a:lnTo>
                    <a:lnTo>
                      <a:pt x="938" y="536"/>
                    </a:lnTo>
                    <a:lnTo>
                      <a:pt x="921" y="543"/>
                    </a:lnTo>
                    <a:lnTo>
                      <a:pt x="918" y="549"/>
                    </a:lnTo>
                    <a:lnTo>
                      <a:pt x="914" y="553"/>
                    </a:lnTo>
                    <a:lnTo>
                      <a:pt x="921" y="561"/>
                    </a:lnTo>
                    <a:lnTo>
                      <a:pt x="929" y="572"/>
                    </a:lnTo>
                    <a:lnTo>
                      <a:pt x="946" y="594"/>
                    </a:lnTo>
                    <a:lnTo>
                      <a:pt x="946" y="614"/>
                    </a:lnTo>
                    <a:lnTo>
                      <a:pt x="951" y="623"/>
                    </a:lnTo>
                    <a:lnTo>
                      <a:pt x="957" y="631"/>
                    </a:lnTo>
                    <a:lnTo>
                      <a:pt x="960" y="633"/>
                    </a:lnTo>
                    <a:lnTo>
                      <a:pt x="963" y="636"/>
                    </a:lnTo>
                    <a:lnTo>
                      <a:pt x="974" y="636"/>
                    </a:lnTo>
                    <a:lnTo>
                      <a:pt x="975" y="636"/>
                    </a:lnTo>
                    <a:lnTo>
                      <a:pt x="977" y="635"/>
                    </a:lnTo>
                    <a:lnTo>
                      <a:pt x="980" y="635"/>
                    </a:lnTo>
                    <a:lnTo>
                      <a:pt x="984" y="638"/>
                    </a:lnTo>
                    <a:lnTo>
                      <a:pt x="985" y="636"/>
                    </a:lnTo>
                    <a:lnTo>
                      <a:pt x="987" y="635"/>
                    </a:lnTo>
                    <a:lnTo>
                      <a:pt x="991" y="635"/>
                    </a:lnTo>
                    <a:lnTo>
                      <a:pt x="994" y="636"/>
                    </a:lnTo>
                    <a:lnTo>
                      <a:pt x="999" y="641"/>
                    </a:lnTo>
                    <a:lnTo>
                      <a:pt x="1002" y="643"/>
                    </a:lnTo>
                    <a:lnTo>
                      <a:pt x="1018" y="653"/>
                    </a:lnTo>
                    <a:lnTo>
                      <a:pt x="1026" y="650"/>
                    </a:lnTo>
                    <a:lnTo>
                      <a:pt x="1047" y="687"/>
                    </a:lnTo>
                    <a:lnTo>
                      <a:pt x="999" y="714"/>
                    </a:lnTo>
                    <a:lnTo>
                      <a:pt x="957" y="740"/>
                    </a:lnTo>
                    <a:lnTo>
                      <a:pt x="895" y="776"/>
                    </a:lnTo>
                    <a:lnTo>
                      <a:pt x="817" y="823"/>
                    </a:lnTo>
                    <a:lnTo>
                      <a:pt x="766" y="866"/>
                    </a:lnTo>
                    <a:lnTo>
                      <a:pt x="736" y="891"/>
                    </a:lnTo>
                    <a:lnTo>
                      <a:pt x="734" y="895"/>
                    </a:lnTo>
                    <a:lnTo>
                      <a:pt x="676" y="905"/>
                    </a:lnTo>
                    <a:lnTo>
                      <a:pt x="652" y="910"/>
                    </a:lnTo>
                    <a:lnTo>
                      <a:pt x="620" y="917"/>
                    </a:lnTo>
                    <a:lnTo>
                      <a:pt x="612" y="919"/>
                    </a:lnTo>
                    <a:lnTo>
                      <a:pt x="608" y="919"/>
                    </a:lnTo>
                    <a:lnTo>
                      <a:pt x="608" y="917"/>
                    </a:lnTo>
                    <a:lnTo>
                      <a:pt x="606" y="917"/>
                    </a:lnTo>
                    <a:lnTo>
                      <a:pt x="605" y="915"/>
                    </a:lnTo>
                    <a:lnTo>
                      <a:pt x="596" y="910"/>
                    </a:lnTo>
                    <a:lnTo>
                      <a:pt x="596" y="908"/>
                    </a:lnTo>
                    <a:lnTo>
                      <a:pt x="601" y="903"/>
                    </a:lnTo>
                    <a:lnTo>
                      <a:pt x="600" y="898"/>
                    </a:lnTo>
                    <a:lnTo>
                      <a:pt x="601" y="895"/>
                    </a:lnTo>
                    <a:lnTo>
                      <a:pt x="605" y="895"/>
                    </a:lnTo>
                    <a:lnTo>
                      <a:pt x="605" y="893"/>
                    </a:lnTo>
                    <a:lnTo>
                      <a:pt x="603" y="891"/>
                    </a:lnTo>
                    <a:lnTo>
                      <a:pt x="605" y="890"/>
                    </a:lnTo>
                    <a:lnTo>
                      <a:pt x="603" y="886"/>
                    </a:lnTo>
                    <a:lnTo>
                      <a:pt x="603" y="885"/>
                    </a:lnTo>
                    <a:lnTo>
                      <a:pt x="603" y="881"/>
                    </a:lnTo>
                    <a:lnTo>
                      <a:pt x="605" y="874"/>
                    </a:lnTo>
                    <a:lnTo>
                      <a:pt x="600" y="874"/>
                    </a:lnTo>
                    <a:lnTo>
                      <a:pt x="589" y="869"/>
                    </a:lnTo>
                    <a:lnTo>
                      <a:pt x="586" y="868"/>
                    </a:lnTo>
                    <a:lnTo>
                      <a:pt x="584" y="868"/>
                    </a:lnTo>
                    <a:lnTo>
                      <a:pt x="583" y="868"/>
                    </a:lnTo>
                    <a:lnTo>
                      <a:pt x="578" y="866"/>
                    </a:lnTo>
                    <a:lnTo>
                      <a:pt x="574" y="861"/>
                    </a:lnTo>
                    <a:lnTo>
                      <a:pt x="574" y="864"/>
                    </a:lnTo>
                    <a:lnTo>
                      <a:pt x="572" y="864"/>
                    </a:lnTo>
                    <a:lnTo>
                      <a:pt x="571" y="864"/>
                    </a:lnTo>
                    <a:lnTo>
                      <a:pt x="569" y="864"/>
                    </a:lnTo>
                    <a:lnTo>
                      <a:pt x="567" y="861"/>
                    </a:lnTo>
                    <a:lnTo>
                      <a:pt x="564" y="862"/>
                    </a:lnTo>
                    <a:lnTo>
                      <a:pt x="564" y="861"/>
                    </a:lnTo>
                    <a:lnTo>
                      <a:pt x="561" y="862"/>
                    </a:lnTo>
                    <a:lnTo>
                      <a:pt x="559" y="864"/>
                    </a:lnTo>
                    <a:lnTo>
                      <a:pt x="559" y="861"/>
                    </a:lnTo>
                    <a:lnTo>
                      <a:pt x="561" y="861"/>
                    </a:lnTo>
                    <a:lnTo>
                      <a:pt x="561" y="859"/>
                    </a:lnTo>
                    <a:lnTo>
                      <a:pt x="559" y="857"/>
                    </a:lnTo>
                    <a:lnTo>
                      <a:pt x="559" y="856"/>
                    </a:lnTo>
                    <a:lnTo>
                      <a:pt x="555" y="856"/>
                    </a:lnTo>
                    <a:lnTo>
                      <a:pt x="555" y="852"/>
                    </a:lnTo>
                    <a:lnTo>
                      <a:pt x="550" y="851"/>
                    </a:lnTo>
                    <a:lnTo>
                      <a:pt x="549" y="852"/>
                    </a:lnTo>
                    <a:lnTo>
                      <a:pt x="545" y="854"/>
                    </a:lnTo>
                    <a:lnTo>
                      <a:pt x="542" y="852"/>
                    </a:lnTo>
                    <a:lnTo>
                      <a:pt x="540" y="854"/>
                    </a:lnTo>
                    <a:lnTo>
                      <a:pt x="538" y="852"/>
                    </a:lnTo>
                    <a:lnTo>
                      <a:pt x="537" y="852"/>
                    </a:lnTo>
                    <a:lnTo>
                      <a:pt x="537" y="854"/>
                    </a:lnTo>
                    <a:lnTo>
                      <a:pt x="535" y="854"/>
                    </a:lnTo>
                    <a:lnTo>
                      <a:pt x="533" y="851"/>
                    </a:lnTo>
                    <a:lnTo>
                      <a:pt x="530" y="851"/>
                    </a:lnTo>
                    <a:lnTo>
                      <a:pt x="528" y="849"/>
                    </a:lnTo>
                    <a:lnTo>
                      <a:pt x="523" y="845"/>
                    </a:lnTo>
                    <a:lnTo>
                      <a:pt x="523" y="839"/>
                    </a:lnTo>
                    <a:lnTo>
                      <a:pt x="520" y="835"/>
                    </a:lnTo>
                    <a:lnTo>
                      <a:pt x="513" y="834"/>
                    </a:lnTo>
                    <a:lnTo>
                      <a:pt x="510" y="834"/>
                    </a:lnTo>
                    <a:lnTo>
                      <a:pt x="508" y="832"/>
                    </a:lnTo>
                    <a:lnTo>
                      <a:pt x="506" y="828"/>
                    </a:lnTo>
                    <a:lnTo>
                      <a:pt x="501" y="830"/>
                    </a:lnTo>
                    <a:lnTo>
                      <a:pt x="498" y="828"/>
                    </a:lnTo>
                    <a:lnTo>
                      <a:pt x="498" y="825"/>
                    </a:lnTo>
                    <a:lnTo>
                      <a:pt x="499" y="818"/>
                    </a:lnTo>
                    <a:lnTo>
                      <a:pt x="498" y="810"/>
                    </a:lnTo>
                    <a:lnTo>
                      <a:pt x="438" y="771"/>
                    </a:lnTo>
                    <a:lnTo>
                      <a:pt x="307" y="684"/>
                    </a:lnTo>
                    <a:lnTo>
                      <a:pt x="195" y="612"/>
                    </a:lnTo>
                    <a:lnTo>
                      <a:pt x="193" y="612"/>
                    </a:lnTo>
                    <a:lnTo>
                      <a:pt x="153" y="587"/>
                    </a:lnTo>
                    <a:lnTo>
                      <a:pt x="0" y="495"/>
                    </a:lnTo>
                    <a:lnTo>
                      <a:pt x="0" y="478"/>
                    </a:lnTo>
                    <a:lnTo>
                      <a:pt x="0" y="459"/>
                    </a:lnTo>
                    <a:lnTo>
                      <a:pt x="0" y="446"/>
                    </a:lnTo>
                    <a:lnTo>
                      <a:pt x="0" y="424"/>
                    </a:lnTo>
                    <a:lnTo>
                      <a:pt x="11" y="420"/>
                    </a:lnTo>
                    <a:lnTo>
                      <a:pt x="22" y="412"/>
                    </a:lnTo>
                    <a:lnTo>
                      <a:pt x="35" y="403"/>
                    </a:lnTo>
                    <a:lnTo>
                      <a:pt x="37" y="401"/>
                    </a:lnTo>
                    <a:lnTo>
                      <a:pt x="45" y="396"/>
                    </a:lnTo>
                    <a:lnTo>
                      <a:pt x="51" y="395"/>
                    </a:lnTo>
                    <a:lnTo>
                      <a:pt x="52" y="395"/>
                    </a:lnTo>
                    <a:lnTo>
                      <a:pt x="52" y="391"/>
                    </a:lnTo>
                    <a:lnTo>
                      <a:pt x="54" y="391"/>
                    </a:lnTo>
                    <a:lnTo>
                      <a:pt x="59" y="391"/>
                    </a:lnTo>
                    <a:lnTo>
                      <a:pt x="68" y="390"/>
                    </a:lnTo>
                    <a:lnTo>
                      <a:pt x="71" y="386"/>
                    </a:lnTo>
                    <a:lnTo>
                      <a:pt x="76" y="383"/>
                    </a:lnTo>
                    <a:lnTo>
                      <a:pt x="83" y="384"/>
                    </a:lnTo>
                    <a:lnTo>
                      <a:pt x="90" y="384"/>
                    </a:lnTo>
                    <a:lnTo>
                      <a:pt x="90" y="386"/>
                    </a:lnTo>
                    <a:lnTo>
                      <a:pt x="93" y="386"/>
                    </a:lnTo>
                    <a:lnTo>
                      <a:pt x="96" y="386"/>
                    </a:lnTo>
                    <a:lnTo>
                      <a:pt x="98" y="384"/>
                    </a:lnTo>
                    <a:lnTo>
                      <a:pt x="103" y="383"/>
                    </a:lnTo>
                    <a:lnTo>
                      <a:pt x="108" y="383"/>
                    </a:lnTo>
                    <a:lnTo>
                      <a:pt x="112" y="383"/>
                    </a:lnTo>
                    <a:lnTo>
                      <a:pt x="112" y="384"/>
                    </a:lnTo>
                    <a:lnTo>
                      <a:pt x="113" y="384"/>
                    </a:lnTo>
                    <a:lnTo>
                      <a:pt x="115" y="383"/>
                    </a:lnTo>
                    <a:lnTo>
                      <a:pt x="119" y="384"/>
                    </a:lnTo>
                    <a:lnTo>
                      <a:pt x="122" y="384"/>
                    </a:lnTo>
                    <a:lnTo>
                      <a:pt x="124" y="386"/>
                    </a:lnTo>
                    <a:lnTo>
                      <a:pt x="125" y="386"/>
                    </a:lnTo>
                    <a:lnTo>
                      <a:pt x="132" y="384"/>
                    </a:lnTo>
                    <a:lnTo>
                      <a:pt x="136" y="384"/>
                    </a:lnTo>
                    <a:lnTo>
                      <a:pt x="141" y="384"/>
                    </a:lnTo>
                    <a:lnTo>
                      <a:pt x="146" y="383"/>
                    </a:lnTo>
                    <a:lnTo>
                      <a:pt x="146" y="381"/>
                    </a:lnTo>
                    <a:lnTo>
                      <a:pt x="147" y="379"/>
                    </a:lnTo>
                    <a:lnTo>
                      <a:pt x="149" y="381"/>
                    </a:lnTo>
                    <a:lnTo>
                      <a:pt x="147" y="384"/>
                    </a:lnTo>
                    <a:lnTo>
                      <a:pt x="151" y="383"/>
                    </a:lnTo>
                    <a:lnTo>
                      <a:pt x="153" y="384"/>
                    </a:lnTo>
                    <a:lnTo>
                      <a:pt x="153" y="386"/>
                    </a:lnTo>
                    <a:lnTo>
                      <a:pt x="153" y="388"/>
                    </a:lnTo>
                    <a:lnTo>
                      <a:pt x="154" y="388"/>
                    </a:lnTo>
                    <a:lnTo>
                      <a:pt x="158" y="386"/>
                    </a:lnTo>
                    <a:lnTo>
                      <a:pt x="158" y="384"/>
                    </a:lnTo>
                    <a:lnTo>
                      <a:pt x="161" y="376"/>
                    </a:lnTo>
                    <a:lnTo>
                      <a:pt x="164" y="373"/>
                    </a:lnTo>
                    <a:lnTo>
                      <a:pt x="170" y="371"/>
                    </a:lnTo>
                    <a:lnTo>
                      <a:pt x="170" y="369"/>
                    </a:lnTo>
                    <a:lnTo>
                      <a:pt x="171" y="364"/>
                    </a:lnTo>
                    <a:lnTo>
                      <a:pt x="178" y="359"/>
                    </a:lnTo>
                    <a:lnTo>
                      <a:pt x="181" y="359"/>
                    </a:lnTo>
                    <a:lnTo>
                      <a:pt x="185" y="356"/>
                    </a:lnTo>
                    <a:lnTo>
                      <a:pt x="207" y="345"/>
                    </a:lnTo>
                    <a:lnTo>
                      <a:pt x="221" y="333"/>
                    </a:lnTo>
                    <a:lnTo>
                      <a:pt x="231" y="332"/>
                    </a:lnTo>
                    <a:lnTo>
                      <a:pt x="234" y="330"/>
                    </a:lnTo>
                    <a:lnTo>
                      <a:pt x="244" y="328"/>
                    </a:lnTo>
                    <a:lnTo>
                      <a:pt x="248" y="320"/>
                    </a:lnTo>
                    <a:lnTo>
                      <a:pt x="258" y="311"/>
                    </a:lnTo>
                    <a:lnTo>
                      <a:pt x="258" y="313"/>
                    </a:lnTo>
                    <a:lnTo>
                      <a:pt x="260" y="310"/>
                    </a:lnTo>
                    <a:lnTo>
                      <a:pt x="260" y="306"/>
                    </a:lnTo>
                    <a:lnTo>
                      <a:pt x="258" y="306"/>
                    </a:lnTo>
                    <a:lnTo>
                      <a:pt x="256" y="303"/>
                    </a:lnTo>
                    <a:lnTo>
                      <a:pt x="255" y="303"/>
                    </a:lnTo>
                    <a:lnTo>
                      <a:pt x="255" y="305"/>
                    </a:lnTo>
                    <a:lnTo>
                      <a:pt x="253" y="303"/>
                    </a:lnTo>
                    <a:lnTo>
                      <a:pt x="255" y="305"/>
                    </a:lnTo>
                    <a:lnTo>
                      <a:pt x="253" y="305"/>
                    </a:lnTo>
                    <a:lnTo>
                      <a:pt x="253" y="301"/>
                    </a:lnTo>
                    <a:lnTo>
                      <a:pt x="253" y="299"/>
                    </a:lnTo>
                    <a:lnTo>
                      <a:pt x="251" y="299"/>
                    </a:lnTo>
                    <a:lnTo>
                      <a:pt x="251" y="301"/>
                    </a:lnTo>
                    <a:lnTo>
                      <a:pt x="249" y="301"/>
                    </a:lnTo>
                    <a:lnTo>
                      <a:pt x="251" y="301"/>
                    </a:lnTo>
                    <a:lnTo>
                      <a:pt x="249" y="303"/>
                    </a:lnTo>
                    <a:lnTo>
                      <a:pt x="248" y="303"/>
                    </a:lnTo>
                    <a:lnTo>
                      <a:pt x="248" y="301"/>
                    </a:lnTo>
                    <a:lnTo>
                      <a:pt x="249" y="299"/>
                    </a:lnTo>
                    <a:lnTo>
                      <a:pt x="248" y="296"/>
                    </a:lnTo>
                    <a:lnTo>
                      <a:pt x="249" y="294"/>
                    </a:lnTo>
                    <a:lnTo>
                      <a:pt x="248" y="294"/>
                    </a:lnTo>
                    <a:lnTo>
                      <a:pt x="248" y="293"/>
                    </a:lnTo>
                    <a:lnTo>
                      <a:pt x="249" y="291"/>
                    </a:lnTo>
                    <a:lnTo>
                      <a:pt x="251" y="291"/>
                    </a:lnTo>
                    <a:lnTo>
                      <a:pt x="255" y="289"/>
                    </a:lnTo>
                    <a:lnTo>
                      <a:pt x="253" y="289"/>
                    </a:lnTo>
                    <a:lnTo>
                      <a:pt x="253" y="277"/>
                    </a:lnTo>
                    <a:lnTo>
                      <a:pt x="273" y="274"/>
                    </a:lnTo>
                    <a:lnTo>
                      <a:pt x="295" y="269"/>
                    </a:lnTo>
                    <a:lnTo>
                      <a:pt x="295" y="264"/>
                    </a:lnTo>
                    <a:lnTo>
                      <a:pt x="290" y="257"/>
                    </a:lnTo>
                    <a:lnTo>
                      <a:pt x="292" y="252"/>
                    </a:lnTo>
                    <a:lnTo>
                      <a:pt x="307" y="252"/>
                    </a:lnTo>
                    <a:lnTo>
                      <a:pt x="311" y="250"/>
                    </a:lnTo>
                    <a:lnTo>
                      <a:pt x="312" y="250"/>
                    </a:lnTo>
                    <a:lnTo>
                      <a:pt x="323" y="252"/>
                    </a:lnTo>
                    <a:lnTo>
                      <a:pt x="326" y="250"/>
                    </a:lnTo>
                    <a:lnTo>
                      <a:pt x="331" y="252"/>
                    </a:lnTo>
                    <a:lnTo>
                      <a:pt x="338" y="250"/>
                    </a:lnTo>
                    <a:lnTo>
                      <a:pt x="340" y="250"/>
                    </a:lnTo>
                    <a:lnTo>
                      <a:pt x="343" y="250"/>
                    </a:lnTo>
                    <a:lnTo>
                      <a:pt x="351" y="252"/>
                    </a:lnTo>
                    <a:lnTo>
                      <a:pt x="360" y="252"/>
                    </a:lnTo>
                    <a:lnTo>
                      <a:pt x="368" y="253"/>
                    </a:lnTo>
                    <a:lnTo>
                      <a:pt x="377" y="253"/>
                    </a:lnTo>
                    <a:lnTo>
                      <a:pt x="380" y="252"/>
                    </a:lnTo>
                    <a:lnTo>
                      <a:pt x="379" y="250"/>
                    </a:lnTo>
                    <a:lnTo>
                      <a:pt x="377" y="248"/>
                    </a:lnTo>
                    <a:lnTo>
                      <a:pt x="374" y="250"/>
                    </a:lnTo>
                    <a:lnTo>
                      <a:pt x="375" y="248"/>
                    </a:lnTo>
                    <a:lnTo>
                      <a:pt x="375" y="245"/>
                    </a:lnTo>
                    <a:lnTo>
                      <a:pt x="377" y="245"/>
                    </a:lnTo>
                    <a:lnTo>
                      <a:pt x="379" y="240"/>
                    </a:lnTo>
                    <a:lnTo>
                      <a:pt x="387" y="231"/>
                    </a:lnTo>
                    <a:lnTo>
                      <a:pt x="384" y="231"/>
                    </a:lnTo>
                    <a:lnTo>
                      <a:pt x="379" y="226"/>
                    </a:lnTo>
                    <a:lnTo>
                      <a:pt x="368" y="219"/>
                    </a:lnTo>
                    <a:lnTo>
                      <a:pt x="362" y="209"/>
                    </a:lnTo>
                    <a:lnTo>
                      <a:pt x="363" y="209"/>
                    </a:lnTo>
                    <a:lnTo>
                      <a:pt x="365" y="206"/>
                    </a:lnTo>
                    <a:lnTo>
                      <a:pt x="363" y="204"/>
                    </a:lnTo>
                    <a:lnTo>
                      <a:pt x="360" y="201"/>
                    </a:lnTo>
                    <a:lnTo>
                      <a:pt x="358" y="197"/>
                    </a:lnTo>
                    <a:lnTo>
                      <a:pt x="355" y="192"/>
                    </a:lnTo>
                    <a:lnTo>
                      <a:pt x="355" y="189"/>
                    </a:lnTo>
                    <a:lnTo>
                      <a:pt x="357" y="185"/>
                    </a:lnTo>
                    <a:lnTo>
                      <a:pt x="357" y="182"/>
                    </a:lnTo>
                    <a:lnTo>
                      <a:pt x="358" y="180"/>
                    </a:lnTo>
                    <a:lnTo>
                      <a:pt x="358" y="179"/>
                    </a:lnTo>
                    <a:lnTo>
                      <a:pt x="358" y="177"/>
                    </a:lnTo>
                    <a:lnTo>
                      <a:pt x="357" y="175"/>
                    </a:lnTo>
                    <a:lnTo>
                      <a:pt x="355" y="174"/>
                    </a:lnTo>
                    <a:lnTo>
                      <a:pt x="353" y="174"/>
                    </a:lnTo>
                    <a:lnTo>
                      <a:pt x="351" y="172"/>
                    </a:lnTo>
                    <a:lnTo>
                      <a:pt x="355" y="168"/>
                    </a:lnTo>
                    <a:lnTo>
                      <a:pt x="353" y="163"/>
                    </a:lnTo>
                    <a:lnTo>
                      <a:pt x="355" y="151"/>
                    </a:lnTo>
                    <a:lnTo>
                      <a:pt x="351" y="145"/>
                    </a:lnTo>
                    <a:lnTo>
                      <a:pt x="353" y="141"/>
                    </a:lnTo>
                    <a:lnTo>
                      <a:pt x="348" y="136"/>
                    </a:lnTo>
                    <a:lnTo>
                      <a:pt x="353" y="131"/>
                    </a:lnTo>
                    <a:lnTo>
                      <a:pt x="351" y="131"/>
                    </a:lnTo>
                    <a:lnTo>
                      <a:pt x="346" y="126"/>
                    </a:lnTo>
                    <a:lnTo>
                      <a:pt x="345" y="126"/>
                    </a:lnTo>
                    <a:lnTo>
                      <a:pt x="350" y="121"/>
                    </a:lnTo>
                    <a:lnTo>
                      <a:pt x="351" y="119"/>
                    </a:lnTo>
                    <a:lnTo>
                      <a:pt x="346" y="117"/>
                    </a:lnTo>
                    <a:lnTo>
                      <a:pt x="348" y="117"/>
                    </a:lnTo>
                    <a:lnTo>
                      <a:pt x="346" y="117"/>
                    </a:lnTo>
                    <a:lnTo>
                      <a:pt x="343" y="116"/>
                    </a:lnTo>
                    <a:lnTo>
                      <a:pt x="343" y="114"/>
                    </a:lnTo>
                    <a:lnTo>
                      <a:pt x="340" y="112"/>
                    </a:lnTo>
                    <a:lnTo>
                      <a:pt x="340" y="109"/>
                    </a:lnTo>
                    <a:lnTo>
                      <a:pt x="336" y="111"/>
                    </a:lnTo>
                    <a:lnTo>
                      <a:pt x="331" y="105"/>
                    </a:lnTo>
                    <a:lnTo>
                      <a:pt x="329" y="105"/>
                    </a:lnTo>
                    <a:lnTo>
                      <a:pt x="326" y="104"/>
                    </a:lnTo>
                    <a:lnTo>
                      <a:pt x="328" y="102"/>
                    </a:lnTo>
                    <a:lnTo>
                      <a:pt x="329" y="100"/>
                    </a:lnTo>
                    <a:lnTo>
                      <a:pt x="334" y="102"/>
                    </a:lnTo>
                    <a:lnTo>
                      <a:pt x="340" y="102"/>
                    </a:lnTo>
                    <a:lnTo>
                      <a:pt x="343" y="102"/>
                    </a:lnTo>
                    <a:lnTo>
                      <a:pt x="348" y="99"/>
                    </a:lnTo>
                    <a:lnTo>
                      <a:pt x="350" y="100"/>
                    </a:lnTo>
                    <a:lnTo>
                      <a:pt x="353" y="97"/>
                    </a:lnTo>
                    <a:lnTo>
                      <a:pt x="355" y="97"/>
                    </a:lnTo>
                    <a:lnTo>
                      <a:pt x="357" y="95"/>
                    </a:lnTo>
                    <a:lnTo>
                      <a:pt x="358" y="94"/>
                    </a:lnTo>
                    <a:lnTo>
                      <a:pt x="360" y="92"/>
                    </a:lnTo>
                    <a:lnTo>
                      <a:pt x="362" y="92"/>
                    </a:lnTo>
                    <a:lnTo>
                      <a:pt x="365" y="90"/>
                    </a:lnTo>
                    <a:lnTo>
                      <a:pt x="368" y="90"/>
                    </a:lnTo>
                    <a:lnTo>
                      <a:pt x="372" y="88"/>
                    </a:lnTo>
                    <a:lnTo>
                      <a:pt x="374" y="88"/>
                    </a:lnTo>
                    <a:lnTo>
                      <a:pt x="377" y="83"/>
                    </a:lnTo>
                    <a:lnTo>
                      <a:pt x="379" y="77"/>
                    </a:lnTo>
                    <a:lnTo>
                      <a:pt x="380" y="77"/>
                    </a:lnTo>
                    <a:lnTo>
                      <a:pt x="384" y="75"/>
                    </a:lnTo>
                    <a:lnTo>
                      <a:pt x="385" y="73"/>
                    </a:lnTo>
                    <a:lnTo>
                      <a:pt x="387" y="71"/>
                    </a:lnTo>
                    <a:lnTo>
                      <a:pt x="389" y="71"/>
                    </a:lnTo>
                    <a:lnTo>
                      <a:pt x="392" y="70"/>
                    </a:lnTo>
                    <a:lnTo>
                      <a:pt x="394" y="70"/>
                    </a:lnTo>
                    <a:lnTo>
                      <a:pt x="396" y="70"/>
                    </a:lnTo>
                    <a:lnTo>
                      <a:pt x="397" y="66"/>
                    </a:lnTo>
                    <a:lnTo>
                      <a:pt x="399" y="66"/>
                    </a:lnTo>
                    <a:lnTo>
                      <a:pt x="401" y="68"/>
                    </a:lnTo>
                    <a:lnTo>
                      <a:pt x="402" y="68"/>
                    </a:lnTo>
                    <a:lnTo>
                      <a:pt x="404" y="70"/>
                    </a:lnTo>
                    <a:lnTo>
                      <a:pt x="402" y="68"/>
                    </a:lnTo>
                    <a:lnTo>
                      <a:pt x="404" y="70"/>
                    </a:lnTo>
                    <a:lnTo>
                      <a:pt x="406" y="70"/>
                    </a:lnTo>
                    <a:lnTo>
                      <a:pt x="404" y="70"/>
                    </a:lnTo>
                    <a:lnTo>
                      <a:pt x="408" y="70"/>
                    </a:lnTo>
                    <a:lnTo>
                      <a:pt x="406" y="70"/>
                    </a:lnTo>
                    <a:lnTo>
                      <a:pt x="408" y="70"/>
                    </a:lnTo>
                    <a:lnTo>
                      <a:pt x="411" y="66"/>
                    </a:lnTo>
                    <a:lnTo>
                      <a:pt x="413" y="66"/>
                    </a:lnTo>
                    <a:lnTo>
                      <a:pt x="414" y="63"/>
                    </a:lnTo>
                    <a:lnTo>
                      <a:pt x="414" y="61"/>
                    </a:lnTo>
                    <a:lnTo>
                      <a:pt x="418" y="61"/>
                    </a:lnTo>
                    <a:lnTo>
                      <a:pt x="419" y="60"/>
                    </a:lnTo>
                    <a:lnTo>
                      <a:pt x="421" y="60"/>
                    </a:lnTo>
                    <a:lnTo>
                      <a:pt x="421" y="61"/>
                    </a:lnTo>
                    <a:lnTo>
                      <a:pt x="425" y="61"/>
                    </a:lnTo>
                    <a:lnTo>
                      <a:pt x="425" y="63"/>
                    </a:lnTo>
                    <a:lnTo>
                      <a:pt x="423" y="63"/>
                    </a:lnTo>
                    <a:lnTo>
                      <a:pt x="425" y="65"/>
                    </a:lnTo>
                    <a:lnTo>
                      <a:pt x="433" y="66"/>
                    </a:lnTo>
                    <a:lnTo>
                      <a:pt x="440" y="63"/>
                    </a:lnTo>
                    <a:lnTo>
                      <a:pt x="445" y="53"/>
                    </a:lnTo>
                    <a:lnTo>
                      <a:pt x="450" y="49"/>
                    </a:lnTo>
                    <a:lnTo>
                      <a:pt x="455" y="48"/>
                    </a:lnTo>
                    <a:lnTo>
                      <a:pt x="457" y="46"/>
                    </a:lnTo>
                    <a:lnTo>
                      <a:pt x="464" y="44"/>
                    </a:lnTo>
                    <a:lnTo>
                      <a:pt x="472" y="39"/>
                    </a:lnTo>
                    <a:lnTo>
                      <a:pt x="477" y="39"/>
                    </a:lnTo>
                    <a:lnTo>
                      <a:pt x="479" y="37"/>
                    </a:lnTo>
                    <a:lnTo>
                      <a:pt x="482" y="36"/>
                    </a:lnTo>
                    <a:lnTo>
                      <a:pt x="486" y="36"/>
                    </a:lnTo>
                    <a:lnTo>
                      <a:pt x="486" y="32"/>
                    </a:lnTo>
                    <a:lnTo>
                      <a:pt x="494" y="31"/>
                    </a:lnTo>
                    <a:lnTo>
                      <a:pt x="496" y="31"/>
                    </a:lnTo>
                    <a:lnTo>
                      <a:pt x="499" y="29"/>
                    </a:lnTo>
                    <a:lnTo>
                      <a:pt x="504" y="29"/>
                    </a:lnTo>
                    <a:lnTo>
                      <a:pt x="506" y="29"/>
                    </a:lnTo>
                    <a:lnTo>
                      <a:pt x="506" y="27"/>
                    </a:lnTo>
                    <a:lnTo>
                      <a:pt x="510" y="27"/>
                    </a:lnTo>
                    <a:lnTo>
                      <a:pt x="510" y="29"/>
                    </a:lnTo>
                    <a:lnTo>
                      <a:pt x="513" y="27"/>
                    </a:lnTo>
                    <a:lnTo>
                      <a:pt x="515" y="29"/>
                    </a:lnTo>
                    <a:lnTo>
                      <a:pt x="516" y="27"/>
                    </a:lnTo>
                    <a:lnTo>
                      <a:pt x="520" y="29"/>
                    </a:lnTo>
                    <a:lnTo>
                      <a:pt x="523" y="27"/>
                    </a:lnTo>
                    <a:lnTo>
                      <a:pt x="530" y="27"/>
                    </a:lnTo>
                    <a:lnTo>
                      <a:pt x="535" y="26"/>
                    </a:lnTo>
                    <a:lnTo>
                      <a:pt x="540" y="27"/>
                    </a:lnTo>
                    <a:lnTo>
                      <a:pt x="557" y="22"/>
                    </a:lnTo>
                    <a:lnTo>
                      <a:pt x="561" y="24"/>
                    </a:lnTo>
                    <a:lnTo>
                      <a:pt x="562" y="26"/>
                    </a:lnTo>
                    <a:lnTo>
                      <a:pt x="569" y="26"/>
                    </a:lnTo>
                    <a:lnTo>
                      <a:pt x="572" y="24"/>
                    </a:lnTo>
                    <a:lnTo>
                      <a:pt x="581" y="20"/>
                    </a:lnTo>
                    <a:lnTo>
                      <a:pt x="583" y="19"/>
                    </a:lnTo>
                    <a:lnTo>
                      <a:pt x="583" y="17"/>
                    </a:lnTo>
                    <a:lnTo>
                      <a:pt x="584" y="17"/>
                    </a:lnTo>
                    <a:lnTo>
                      <a:pt x="586" y="15"/>
                    </a:lnTo>
                    <a:lnTo>
                      <a:pt x="591" y="14"/>
                    </a:lnTo>
                    <a:lnTo>
                      <a:pt x="595" y="15"/>
                    </a:lnTo>
                    <a:lnTo>
                      <a:pt x="595" y="17"/>
                    </a:lnTo>
                    <a:lnTo>
                      <a:pt x="596" y="17"/>
                    </a:lnTo>
                    <a:lnTo>
                      <a:pt x="600" y="17"/>
                    </a:lnTo>
                    <a:lnTo>
                      <a:pt x="601" y="17"/>
                    </a:lnTo>
                    <a:lnTo>
                      <a:pt x="603" y="14"/>
                    </a:lnTo>
                    <a:lnTo>
                      <a:pt x="606" y="15"/>
                    </a:lnTo>
                    <a:lnTo>
                      <a:pt x="615" y="17"/>
                    </a:lnTo>
                    <a:lnTo>
                      <a:pt x="625" y="12"/>
                    </a:lnTo>
                    <a:lnTo>
                      <a:pt x="629" y="10"/>
                    </a:lnTo>
                    <a:lnTo>
                      <a:pt x="635" y="9"/>
                    </a:lnTo>
                    <a:lnTo>
                      <a:pt x="637" y="9"/>
                    </a:lnTo>
                    <a:lnTo>
                      <a:pt x="639" y="10"/>
                    </a:lnTo>
                    <a:lnTo>
                      <a:pt x="647" y="10"/>
                    </a:lnTo>
                    <a:lnTo>
                      <a:pt x="649" y="9"/>
                    </a:lnTo>
                    <a:lnTo>
                      <a:pt x="652" y="10"/>
                    </a:lnTo>
                    <a:lnTo>
                      <a:pt x="656" y="9"/>
                    </a:lnTo>
                    <a:lnTo>
                      <a:pt x="657" y="10"/>
                    </a:lnTo>
                    <a:lnTo>
                      <a:pt x="663" y="10"/>
                    </a:lnTo>
                    <a:lnTo>
                      <a:pt x="663" y="9"/>
                    </a:lnTo>
                    <a:lnTo>
                      <a:pt x="669" y="10"/>
                    </a:lnTo>
                    <a:lnTo>
                      <a:pt x="681" y="10"/>
                    </a:lnTo>
                    <a:lnTo>
                      <a:pt x="683" y="10"/>
                    </a:lnTo>
                    <a:lnTo>
                      <a:pt x="688" y="12"/>
                    </a:lnTo>
                    <a:lnTo>
                      <a:pt x="690" y="14"/>
                    </a:lnTo>
                    <a:lnTo>
                      <a:pt x="693" y="14"/>
                    </a:lnTo>
                    <a:lnTo>
                      <a:pt x="693" y="15"/>
                    </a:lnTo>
                    <a:lnTo>
                      <a:pt x="698" y="15"/>
                    </a:lnTo>
                    <a:lnTo>
                      <a:pt x="697" y="17"/>
                    </a:lnTo>
                    <a:lnTo>
                      <a:pt x="697" y="19"/>
                    </a:lnTo>
                    <a:lnTo>
                      <a:pt x="698" y="20"/>
                    </a:lnTo>
                    <a:lnTo>
                      <a:pt x="705" y="22"/>
                    </a:lnTo>
                    <a:lnTo>
                      <a:pt x="708" y="22"/>
                    </a:lnTo>
                    <a:lnTo>
                      <a:pt x="714" y="22"/>
                    </a:lnTo>
                    <a:lnTo>
                      <a:pt x="717" y="20"/>
                    </a:lnTo>
                    <a:lnTo>
                      <a:pt x="720" y="19"/>
                    </a:lnTo>
                    <a:lnTo>
                      <a:pt x="720" y="17"/>
                    </a:lnTo>
                    <a:lnTo>
                      <a:pt x="725" y="15"/>
                    </a:lnTo>
                    <a:lnTo>
                      <a:pt x="727" y="14"/>
                    </a:lnTo>
                    <a:lnTo>
                      <a:pt x="731" y="14"/>
                    </a:lnTo>
                    <a:lnTo>
                      <a:pt x="732" y="14"/>
                    </a:lnTo>
                    <a:lnTo>
                      <a:pt x="734" y="14"/>
                    </a:lnTo>
                    <a:lnTo>
                      <a:pt x="736" y="14"/>
                    </a:lnTo>
                    <a:lnTo>
                      <a:pt x="737" y="14"/>
                    </a:lnTo>
                    <a:lnTo>
                      <a:pt x="753" y="10"/>
                    </a:lnTo>
                    <a:lnTo>
                      <a:pt x="756" y="7"/>
                    </a:lnTo>
                    <a:lnTo>
                      <a:pt x="754" y="5"/>
                    </a:lnTo>
                    <a:lnTo>
                      <a:pt x="756" y="3"/>
                    </a:lnTo>
                    <a:lnTo>
                      <a:pt x="758" y="3"/>
                    </a:lnTo>
                    <a:lnTo>
                      <a:pt x="759" y="2"/>
                    </a:lnTo>
                    <a:lnTo>
                      <a:pt x="766" y="0"/>
                    </a:lnTo>
                    <a:lnTo>
                      <a:pt x="768" y="0"/>
                    </a:lnTo>
                    <a:lnTo>
                      <a:pt x="770" y="2"/>
                    </a:lnTo>
                    <a:lnTo>
                      <a:pt x="771" y="2"/>
                    </a:lnTo>
                    <a:lnTo>
                      <a:pt x="770" y="3"/>
                    </a:lnTo>
                    <a:lnTo>
                      <a:pt x="771" y="3"/>
                    </a:lnTo>
                    <a:lnTo>
                      <a:pt x="773" y="3"/>
                    </a:lnTo>
                    <a:lnTo>
                      <a:pt x="771" y="5"/>
                    </a:lnTo>
                    <a:lnTo>
                      <a:pt x="775" y="5"/>
                    </a:lnTo>
                    <a:lnTo>
                      <a:pt x="775" y="7"/>
                    </a:lnTo>
                    <a:lnTo>
                      <a:pt x="776" y="7"/>
                    </a:lnTo>
                    <a:lnTo>
                      <a:pt x="778" y="7"/>
                    </a:lnTo>
                    <a:lnTo>
                      <a:pt x="780" y="7"/>
                    </a:lnTo>
                    <a:lnTo>
                      <a:pt x="782" y="7"/>
                    </a:lnTo>
                    <a:lnTo>
                      <a:pt x="783" y="7"/>
                    </a:lnTo>
                    <a:lnTo>
                      <a:pt x="785" y="7"/>
                    </a:lnTo>
                    <a:lnTo>
                      <a:pt x="785" y="9"/>
                    </a:lnTo>
                    <a:lnTo>
                      <a:pt x="787" y="9"/>
                    </a:lnTo>
                    <a:lnTo>
                      <a:pt x="787" y="10"/>
                    </a:lnTo>
                    <a:lnTo>
                      <a:pt x="790" y="10"/>
                    </a:lnTo>
                    <a:lnTo>
                      <a:pt x="797" y="9"/>
                    </a:lnTo>
                    <a:lnTo>
                      <a:pt x="800" y="9"/>
                    </a:lnTo>
                    <a:lnTo>
                      <a:pt x="804" y="9"/>
                    </a:lnTo>
                    <a:lnTo>
                      <a:pt x="807" y="3"/>
                    </a:lnTo>
                    <a:lnTo>
                      <a:pt x="805" y="3"/>
                    </a:lnTo>
                    <a:lnTo>
                      <a:pt x="802" y="0"/>
                    </a:lnTo>
                    <a:lnTo>
                      <a:pt x="804" y="0"/>
                    </a:lnTo>
                    <a:lnTo>
                      <a:pt x="807" y="2"/>
                    </a:lnTo>
                    <a:lnTo>
                      <a:pt x="809" y="0"/>
                    </a:lnTo>
                    <a:lnTo>
                      <a:pt x="810" y="2"/>
                    </a:lnTo>
                    <a:lnTo>
                      <a:pt x="814" y="0"/>
                    </a:lnTo>
                    <a:lnTo>
                      <a:pt x="812" y="2"/>
                    </a:lnTo>
                    <a:lnTo>
                      <a:pt x="814" y="3"/>
                    </a:lnTo>
                    <a:lnTo>
                      <a:pt x="819" y="2"/>
                    </a:lnTo>
                    <a:lnTo>
                      <a:pt x="822" y="5"/>
                    </a:lnTo>
                    <a:lnTo>
                      <a:pt x="826" y="7"/>
                    </a:lnTo>
                    <a:lnTo>
                      <a:pt x="827" y="5"/>
                    </a:lnTo>
                    <a:lnTo>
                      <a:pt x="827" y="7"/>
                    </a:lnTo>
                    <a:lnTo>
                      <a:pt x="829" y="7"/>
                    </a:lnTo>
                    <a:lnTo>
                      <a:pt x="834" y="7"/>
                    </a:lnTo>
                    <a:lnTo>
                      <a:pt x="833" y="9"/>
                    </a:lnTo>
                    <a:lnTo>
                      <a:pt x="833" y="10"/>
                    </a:lnTo>
                    <a:lnTo>
                      <a:pt x="834" y="12"/>
                    </a:lnTo>
                    <a:lnTo>
                      <a:pt x="836" y="12"/>
                    </a:lnTo>
                    <a:lnTo>
                      <a:pt x="844" y="12"/>
                    </a:lnTo>
                    <a:lnTo>
                      <a:pt x="855" y="7"/>
                    </a:lnTo>
                    <a:lnTo>
                      <a:pt x="858" y="9"/>
                    </a:lnTo>
                    <a:lnTo>
                      <a:pt x="861" y="9"/>
                    </a:lnTo>
                    <a:lnTo>
                      <a:pt x="865" y="10"/>
                    </a:lnTo>
                    <a:lnTo>
                      <a:pt x="877" y="7"/>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Freeform 24">
                <a:extLst>
                  <a:ext uri="{FF2B5EF4-FFF2-40B4-BE49-F238E27FC236}">
                    <a16:creationId xmlns:a16="http://schemas.microsoft.com/office/drawing/2014/main" id="{BD8A5D3C-ACFD-4A2C-9825-D30508C6DEF2}"/>
                  </a:ext>
                </a:extLst>
              </p:cNvPr>
              <p:cNvSpPr>
                <a:spLocks noEditPoints="1"/>
              </p:cNvSpPr>
              <p:nvPr/>
            </p:nvSpPr>
            <p:spPr bwMode="gray">
              <a:xfrm>
                <a:off x="6827667" y="1983671"/>
                <a:ext cx="764502" cy="609619"/>
              </a:xfrm>
              <a:custGeom>
                <a:avLst/>
                <a:gdLst>
                  <a:gd name="T0" fmla="*/ 72 w 617"/>
                  <a:gd name="T1" fmla="*/ 5 h 492"/>
                  <a:gd name="T2" fmla="*/ 128 w 617"/>
                  <a:gd name="T3" fmla="*/ 15 h 492"/>
                  <a:gd name="T4" fmla="*/ 158 w 617"/>
                  <a:gd name="T5" fmla="*/ 24 h 492"/>
                  <a:gd name="T6" fmla="*/ 196 w 617"/>
                  <a:gd name="T7" fmla="*/ 32 h 492"/>
                  <a:gd name="T8" fmla="*/ 230 w 617"/>
                  <a:gd name="T9" fmla="*/ 42 h 492"/>
                  <a:gd name="T10" fmla="*/ 264 w 617"/>
                  <a:gd name="T11" fmla="*/ 24 h 492"/>
                  <a:gd name="T12" fmla="*/ 296 w 617"/>
                  <a:gd name="T13" fmla="*/ 12 h 492"/>
                  <a:gd name="T14" fmla="*/ 359 w 617"/>
                  <a:gd name="T15" fmla="*/ 12 h 492"/>
                  <a:gd name="T16" fmla="*/ 388 w 617"/>
                  <a:gd name="T17" fmla="*/ 20 h 492"/>
                  <a:gd name="T18" fmla="*/ 403 w 617"/>
                  <a:gd name="T19" fmla="*/ 32 h 492"/>
                  <a:gd name="T20" fmla="*/ 410 w 617"/>
                  <a:gd name="T21" fmla="*/ 32 h 492"/>
                  <a:gd name="T22" fmla="*/ 424 w 617"/>
                  <a:gd name="T23" fmla="*/ 31 h 492"/>
                  <a:gd name="T24" fmla="*/ 425 w 617"/>
                  <a:gd name="T25" fmla="*/ 25 h 492"/>
                  <a:gd name="T26" fmla="*/ 432 w 617"/>
                  <a:gd name="T27" fmla="*/ 32 h 492"/>
                  <a:gd name="T28" fmla="*/ 442 w 617"/>
                  <a:gd name="T29" fmla="*/ 31 h 492"/>
                  <a:gd name="T30" fmla="*/ 497 w 617"/>
                  <a:gd name="T31" fmla="*/ 51 h 492"/>
                  <a:gd name="T32" fmla="*/ 517 w 617"/>
                  <a:gd name="T33" fmla="*/ 110 h 492"/>
                  <a:gd name="T34" fmla="*/ 505 w 617"/>
                  <a:gd name="T35" fmla="*/ 143 h 492"/>
                  <a:gd name="T36" fmla="*/ 493 w 617"/>
                  <a:gd name="T37" fmla="*/ 168 h 492"/>
                  <a:gd name="T38" fmla="*/ 488 w 617"/>
                  <a:gd name="T39" fmla="*/ 194 h 492"/>
                  <a:gd name="T40" fmla="*/ 478 w 617"/>
                  <a:gd name="T41" fmla="*/ 197 h 492"/>
                  <a:gd name="T42" fmla="*/ 454 w 617"/>
                  <a:gd name="T43" fmla="*/ 179 h 492"/>
                  <a:gd name="T44" fmla="*/ 434 w 617"/>
                  <a:gd name="T45" fmla="*/ 158 h 492"/>
                  <a:gd name="T46" fmla="*/ 425 w 617"/>
                  <a:gd name="T47" fmla="*/ 131 h 492"/>
                  <a:gd name="T48" fmla="*/ 407 w 617"/>
                  <a:gd name="T49" fmla="*/ 110 h 492"/>
                  <a:gd name="T50" fmla="*/ 398 w 617"/>
                  <a:gd name="T51" fmla="*/ 87 h 492"/>
                  <a:gd name="T52" fmla="*/ 390 w 617"/>
                  <a:gd name="T53" fmla="*/ 109 h 492"/>
                  <a:gd name="T54" fmla="*/ 413 w 617"/>
                  <a:gd name="T55" fmla="*/ 155 h 492"/>
                  <a:gd name="T56" fmla="*/ 435 w 617"/>
                  <a:gd name="T57" fmla="*/ 180 h 492"/>
                  <a:gd name="T58" fmla="*/ 451 w 617"/>
                  <a:gd name="T59" fmla="*/ 199 h 492"/>
                  <a:gd name="T60" fmla="*/ 447 w 617"/>
                  <a:gd name="T61" fmla="*/ 202 h 492"/>
                  <a:gd name="T62" fmla="*/ 464 w 617"/>
                  <a:gd name="T63" fmla="*/ 224 h 492"/>
                  <a:gd name="T64" fmla="*/ 469 w 617"/>
                  <a:gd name="T65" fmla="*/ 245 h 492"/>
                  <a:gd name="T66" fmla="*/ 486 w 617"/>
                  <a:gd name="T67" fmla="*/ 284 h 492"/>
                  <a:gd name="T68" fmla="*/ 503 w 617"/>
                  <a:gd name="T69" fmla="*/ 311 h 492"/>
                  <a:gd name="T70" fmla="*/ 519 w 617"/>
                  <a:gd name="T71" fmla="*/ 340 h 492"/>
                  <a:gd name="T72" fmla="*/ 529 w 617"/>
                  <a:gd name="T73" fmla="*/ 364 h 492"/>
                  <a:gd name="T74" fmla="*/ 548 w 617"/>
                  <a:gd name="T75" fmla="*/ 383 h 492"/>
                  <a:gd name="T76" fmla="*/ 554 w 617"/>
                  <a:gd name="T77" fmla="*/ 393 h 492"/>
                  <a:gd name="T78" fmla="*/ 548 w 617"/>
                  <a:gd name="T79" fmla="*/ 400 h 492"/>
                  <a:gd name="T80" fmla="*/ 551 w 617"/>
                  <a:gd name="T81" fmla="*/ 422 h 492"/>
                  <a:gd name="T82" fmla="*/ 563 w 617"/>
                  <a:gd name="T83" fmla="*/ 449 h 492"/>
                  <a:gd name="T84" fmla="*/ 575 w 617"/>
                  <a:gd name="T85" fmla="*/ 456 h 492"/>
                  <a:gd name="T86" fmla="*/ 612 w 617"/>
                  <a:gd name="T87" fmla="*/ 481 h 492"/>
                  <a:gd name="T88" fmla="*/ 395 w 617"/>
                  <a:gd name="T89" fmla="*/ 492 h 492"/>
                  <a:gd name="T90" fmla="*/ 16 w 617"/>
                  <a:gd name="T91" fmla="*/ 241 h 492"/>
                  <a:gd name="T92" fmla="*/ 4 w 617"/>
                  <a:gd name="T93" fmla="*/ 82 h 492"/>
                  <a:gd name="T94" fmla="*/ 10 w 617"/>
                  <a:gd name="T95" fmla="*/ 20 h 492"/>
                  <a:gd name="T96" fmla="*/ 468 w 617"/>
                  <a:gd name="T97" fmla="*/ 213 h 492"/>
                  <a:gd name="T98" fmla="*/ 469 w 617"/>
                  <a:gd name="T99" fmla="*/ 228 h 492"/>
                  <a:gd name="T100" fmla="*/ 425 w 617"/>
                  <a:gd name="T101" fmla="*/ 24 h 492"/>
                  <a:gd name="T102" fmla="*/ 456 w 617"/>
                  <a:gd name="T103" fmla="*/ 202 h 492"/>
                  <a:gd name="T104" fmla="*/ 607 w 617"/>
                  <a:gd name="T105" fmla="*/ 476 h 492"/>
                  <a:gd name="T106" fmla="*/ 456 w 617"/>
                  <a:gd name="T107" fmla="*/ 202 h 492"/>
                  <a:gd name="T108" fmla="*/ 469 w 617"/>
                  <a:gd name="T109" fmla="*/ 228 h 492"/>
                  <a:gd name="T110" fmla="*/ 558 w 617"/>
                  <a:gd name="T111" fmla="*/ 444 h 492"/>
                  <a:gd name="T112" fmla="*/ 461 w 617"/>
                  <a:gd name="T113" fmla="*/ 202 h 492"/>
                  <a:gd name="T114" fmla="*/ 456 w 617"/>
                  <a:gd name="T115" fmla="*/ 197 h 492"/>
                  <a:gd name="T116" fmla="*/ 444 w 617"/>
                  <a:gd name="T117" fmla="*/ 27 h 492"/>
                  <a:gd name="T118" fmla="*/ 444 w 617"/>
                  <a:gd name="T119" fmla="*/ 27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7" h="492">
                    <a:moveTo>
                      <a:pt x="22" y="0"/>
                    </a:moveTo>
                    <a:lnTo>
                      <a:pt x="24" y="3"/>
                    </a:lnTo>
                    <a:lnTo>
                      <a:pt x="24" y="5"/>
                    </a:lnTo>
                    <a:lnTo>
                      <a:pt x="24" y="7"/>
                    </a:lnTo>
                    <a:lnTo>
                      <a:pt x="31" y="8"/>
                    </a:lnTo>
                    <a:lnTo>
                      <a:pt x="36" y="8"/>
                    </a:lnTo>
                    <a:lnTo>
                      <a:pt x="41" y="8"/>
                    </a:lnTo>
                    <a:lnTo>
                      <a:pt x="56" y="3"/>
                    </a:lnTo>
                    <a:lnTo>
                      <a:pt x="61" y="3"/>
                    </a:lnTo>
                    <a:lnTo>
                      <a:pt x="72" y="5"/>
                    </a:lnTo>
                    <a:lnTo>
                      <a:pt x="92" y="10"/>
                    </a:lnTo>
                    <a:lnTo>
                      <a:pt x="95" y="8"/>
                    </a:lnTo>
                    <a:lnTo>
                      <a:pt x="95" y="10"/>
                    </a:lnTo>
                    <a:lnTo>
                      <a:pt x="104" y="10"/>
                    </a:lnTo>
                    <a:lnTo>
                      <a:pt x="109" y="12"/>
                    </a:lnTo>
                    <a:lnTo>
                      <a:pt x="116" y="12"/>
                    </a:lnTo>
                    <a:lnTo>
                      <a:pt x="118" y="14"/>
                    </a:lnTo>
                    <a:lnTo>
                      <a:pt x="121" y="14"/>
                    </a:lnTo>
                    <a:lnTo>
                      <a:pt x="121" y="15"/>
                    </a:lnTo>
                    <a:lnTo>
                      <a:pt x="128" y="15"/>
                    </a:lnTo>
                    <a:lnTo>
                      <a:pt x="126" y="15"/>
                    </a:lnTo>
                    <a:lnTo>
                      <a:pt x="126" y="17"/>
                    </a:lnTo>
                    <a:lnTo>
                      <a:pt x="135" y="15"/>
                    </a:lnTo>
                    <a:lnTo>
                      <a:pt x="136" y="22"/>
                    </a:lnTo>
                    <a:lnTo>
                      <a:pt x="140" y="24"/>
                    </a:lnTo>
                    <a:lnTo>
                      <a:pt x="145" y="24"/>
                    </a:lnTo>
                    <a:lnTo>
                      <a:pt x="146" y="25"/>
                    </a:lnTo>
                    <a:lnTo>
                      <a:pt x="150" y="25"/>
                    </a:lnTo>
                    <a:lnTo>
                      <a:pt x="152" y="25"/>
                    </a:lnTo>
                    <a:lnTo>
                      <a:pt x="158" y="24"/>
                    </a:lnTo>
                    <a:lnTo>
                      <a:pt x="160" y="22"/>
                    </a:lnTo>
                    <a:lnTo>
                      <a:pt x="162" y="25"/>
                    </a:lnTo>
                    <a:lnTo>
                      <a:pt x="162" y="29"/>
                    </a:lnTo>
                    <a:lnTo>
                      <a:pt x="163" y="31"/>
                    </a:lnTo>
                    <a:lnTo>
                      <a:pt x="175" y="31"/>
                    </a:lnTo>
                    <a:lnTo>
                      <a:pt x="179" y="31"/>
                    </a:lnTo>
                    <a:lnTo>
                      <a:pt x="184" y="31"/>
                    </a:lnTo>
                    <a:lnTo>
                      <a:pt x="189" y="31"/>
                    </a:lnTo>
                    <a:lnTo>
                      <a:pt x="192" y="32"/>
                    </a:lnTo>
                    <a:lnTo>
                      <a:pt x="196" y="32"/>
                    </a:lnTo>
                    <a:lnTo>
                      <a:pt x="199" y="34"/>
                    </a:lnTo>
                    <a:lnTo>
                      <a:pt x="206" y="36"/>
                    </a:lnTo>
                    <a:lnTo>
                      <a:pt x="209" y="37"/>
                    </a:lnTo>
                    <a:lnTo>
                      <a:pt x="211" y="39"/>
                    </a:lnTo>
                    <a:lnTo>
                      <a:pt x="214" y="41"/>
                    </a:lnTo>
                    <a:lnTo>
                      <a:pt x="218" y="42"/>
                    </a:lnTo>
                    <a:lnTo>
                      <a:pt x="220" y="42"/>
                    </a:lnTo>
                    <a:lnTo>
                      <a:pt x="220" y="44"/>
                    </a:lnTo>
                    <a:lnTo>
                      <a:pt x="221" y="44"/>
                    </a:lnTo>
                    <a:lnTo>
                      <a:pt x="230" y="42"/>
                    </a:lnTo>
                    <a:lnTo>
                      <a:pt x="242" y="39"/>
                    </a:lnTo>
                    <a:lnTo>
                      <a:pt x="252" y="32"/>
                    </a:lnTo>
                    <a:lnTo>
                      <a:pt x="259" y="27"/>
                    </a:lnTo>
                    <a:lnTo>
                      <a:pt x="260" y="27"/>
                    </a:lnTo>
                    <a:lnTo>
                      <a:pt x="262" y="25"/>
                    </a:lnTo>
                    <a:lnTo>
                      <a:pt x="264" y="25"/>
                    </a:lnTo>
                    <a:lnTo>
                      <a:pt x="262" y="25"/>
                    </a:lnTo>
                    <a:lnTo>
                      <a:pt x="262" y="27"/>
                    </a:lnTo>
                    <a:lnTo>
                      <a:pt x="262" y="24"/>
                    </a:lnTo>
                    <a:lnTo>
                      <a:pt x="264" y="24"/>
                    </a:lnTo>
                    <a:lnTo>
                      <a:pt x="265" y="24"/>
                    </a:lnTo>
                    <a:lnTo>
                      <a:pt x="272" y="19"/>
                    </a:lnTo>
                    <a:lnTo>
                      <a:pt x="274" y="19"/>
                    </a:lnTo>
                    <a:lnTo>
                      <a:pt x="272" y="19"/>
                    </a:lnTo>
                    <a:lnTo>
                      <a:pt x="274" y="20"/>
                    </a:lnTo>
                    <a:lnTo>
                      <a:pt x="277" y="20"/>
                    </a:lnTo>
                    <a:lnTo>
                      <a:pt x="281" y="20"/>
                    </a:lnTo>
                    <a:lnTo>
                      <a:pt x="284" y="17"/>
                    </a:lnTo>
                    <a:lnTo>
                      <a:pt x="288" y="10"/>
                    </a:lnTo>
                    <a:lnTo>
                      <a:pt x="296" y="12"/>
                    </a:lnTo>
                    <a:lnTo>
                      <a:pt x="318" y="5"/>
                    </a:lnTo>
                    <a:lnTo>
                      <a:pt x="322" y="5"/>
                    </a:lnTo>
                    <a:lnTo>
                      <a:pt x="325" y="5"/>
                    </a:lnTo>
                    <a:lnTo>
                      <a:pt x="333" y="7"/>
                    </a:lnTo>
                    <a:lnTo>
                      <a:pt x="344" y="12"/>
                    </a:lnTo>
                    <a:lnTo>
                      <a:pt x="349" y="12"/>
                    </a:lnTo>
                    <a:lnTo>
                      <a:pt x="356" y="10"/>
                    </a:lnTo>
                    <a:lnTo>
                      <a:pt x="357" y="10"/>
                    </a:lnTo>
                    <a:lnTo>
                      <a:pt x="357" y="12"/>
                    </a:lnTo>
                    <a:lnTo>
                      <a:pt x="359" y="12"/>
                    </a:lnTo>
                    <a:lnTo>
                      <a:pt x="359" y="10"/>
                    </a:lnTo>
                    <a:lnTo>
                      <a:pt x="362" y="8"/>
                    </a:lnTo>
                    <a:lnTo>
                      <a:pt x="366" y="8"/>
                    </a:lnTo>
                    <a:lnTo>
                      <a:pt x="369" y="10"/>
                    </a:lnTo>
                    <a:lnTo>
                      <a:pt x="371" y="12"/>
                    </a:lnTo>
                    <a:lnTo>
                      <a:pt x="367" y="8"/>
                    </a:lnTo>
                    <a:lnTo>
                      <a:pt x="371" y="14"/>
                    </a:lnTo>
                    <a:lnTo>
                      <a:pt x="379" y="19"/>
                    </a:lnTo>
                    <a:lnTo>
                      <a:pt x="386" y="20"/>
                    </a:lnTo>
                    <a:lnTo>
                      <a:pt x="388" y="20"/>
                    </a:lnTo>
                    <a:lnTo>
                      <a:pt x="386" y="22"/>
                    </a:lnTo>
                    <a:lnTo>
                      <a:pt x="388" y="24"/>
                    </a:lnTo>
                    <a:lnTo>
                      <a:pt x="388" y="22"/>
                    </a:lnTo>
                    <a:lnTo>
                      <a:pt x="388" y="25"/>
                    </a:lnTo>
                    <a:lnTo>
                      <a:pt x="390" y="22"/>
                    </a:lnTo>
                    <a:lnTo>
                      <a:pt x="390" y="24"/>
                    </a:lnTo>
                    <a:lnTo>
                      <a:pt x="393" y="25"/>
                    </a:lnTo>
                    <a:lnTo>
                      <a:pt x="396" y="29"/>
                    </a:lnTo>
                    <a:lnTo>
                      <a:pt x="400" y="32"/>
                    </a:lnTo>
                    <a:lnTo>
                      <a:pt x="403" y="32"/>
                    </a:lnTo>
                    <a:lnTo>
                      <a:pt x="408" y="31"/>
                    </a:lnTo>
                    <a:lnTo>
                      <a:pt x="417" y="27"/>
                    </a:lnTo>
                    <a:lnTo>
                      <a:pt x="410" y="31"/>
                    </a:lnTo>
                    <a:lnTo>
                      <a:pt x="407" y="32"/>
                    </a:lnTo>
                    <a:lnTo>
                      <a:pt x="405" y="32"/>
                    </a:lnTo>
                    <a:lnTo>
                      <a:pt x="407" y="32"/>
                    </a:lnTo>
                    <a:lnTo>
                      <a:pt x="407" y="34"/>
                    </a:lnTo>
                    <a:lnTo>
                      <a:pt x="408" y="32"/>
                    </a:lnTo>
                    <a:lnTo>
                      <a:pt x="410" y="34"/>
                    </a:lnTo>
                    <a:lnTo>
                      <a:pt x="410" y="32"/>
                    </a:lnTo>
                    <a:lnTo>
                      <a:pt x="408" y="32"/>
                    </a:lnTo>
                    <a:lnTo>
                      <a:pt x="415" y="31"/>
                    </a:lnTo>
                    <a:lnTo>
                      <a:pt x="417" y="31"/>
                    </a:lnTo>
                    <a:lnTo>
                      <a:pt x="418" y="31"/>
                    </a:lnTo>
                    <a:lnTo>
                      <a:pt x="420" y="31"/>
                    </a:lnTo>
                    <a:lnTo>
                      <a:pt x="420" y="32"/>
                    </a:lnTo>
                    <a:lnTo>
                      <a:pt x="418" y="32"/>
                    </a:lnTo>
                    <a:lnTo>
                      <a:pt x="422" y="32"/>
                    </a:lnTo>
                    <a:lnTo>
                      <a:pt x="422" y="31"/>
                    </a:lnTo>
                    <a:lnTo>
                      <a:pt x="424" y="31"/>
                    </a:lnTo>
                    <a:lnTo>
                      <a:pt x="424" y="29"/>
                    </a:lnTo>
                    <a:lnTo>
                      <a:pt x="425" y="29"/>
                    </a:lnTo>
                    <a:lnTo>
                      <a:pt x="424" y="29"/>
                    </a:lnTo>
                    <a:lnTo>
                      <a:pt x="422" y="29"/>
                    </a:lnTo>
                    <a:lnTo>
                      <a:pt x="422" y="31"/>
                    </a:lnTo>
                    <a:lnTo>
                      <a:pt x="420" y="31"/>
                    </a:lnTo>
                    <a:lnTo>
                      <a:pt x="418" y="29"/>
                    </a:lnTo>
                    <a:lnTo>
                      <a:pt x="420" y="31"/>
                    </a:lnTo>
                    <a:lnTo>
                      <a:pt x="422" y="27"/>
                    </a:lnTo>
                    <a:lnTo>
                      <a:pt x="425" y="25"/>
                    </a:lnTo>
                    <a:lnTo>
                      <a:pt x="429" y="29"/>
                    </a:lnTo>
                    <a:lnTo>
                      <a:pt x="427" y="27"/>
                    </a:lnTo>
                    <a:lnTo>
                      <a:pt x="425" y="29"/>
                    </a:lnTo>
                    <a:lnTo>
                      <a:pt x="427" y="29"/>
                    </a:lnTo>
                    <a:lnTo>
                      <a:pt x="425" y="29"/>
                    </a:lnTo>
                    <a:lnTo>
                      <a:pt x="427" y="29"/>
                    </a:lnTo>
                    <a:lnTo>
                      <a:pt x="427" y="31"/>
                    </a:lnTo>
                    <a:lnTo>
                      <a:pt x="429" y="31"/>
                    </a:lnTo>
                    <a:lnTo>
                      <a:pt x="429" y="32"/>
                    </a:lnTo>
                    <a:lnTo>
                      <a:pt x="432" y="32"/>
                    </a:lnTo>
                    <a:lnTo>
                      <a:pt x="430" y="32"/>
                    </a:lnTo>
                    <a:lnTo>
                      <a:pt x="432" y="32"/>
                    </a:lnTo>
                    <a:lnTo>
                      <a:pt x="430" y="31"/>
                    </a:lnTo>
                    <a:lnTo>
                      <a:pt x="434" y="31"/>
                    </a:lnTo>
                    <a:lnTo>
                      <a:pt x="435" y="31"/>
                    </a:lnTo>
                    <a:lnTo>
                      <a:pt x="437" y="31"/>
                    </a:lnTo>
                    <a:lnTo>
                      <a:pt x="435" y="31"/>
                    </a:lnTo>
                    <a:lnTo>
                      <a:pt x="439" y="31"/>
                    </a:lnTo>
                    <a:lnTo>
                      <a:pt x="441" y="31"/>
                    </a:lnTo>
                    <a:lnTo>
                      <a:pt x="442" y="31"/>
                    </a:lnTo>
                    <a:lnTo>
                      <a:pt x="442" y="29"/>
                    </a:lnTo>
                    <a:lnTo>
                      <a:pt x="444" y="29"/>
                    </a:lnTo>
                    <a:lnTo>
                      <a:pt x="451" y="29"/>
                    </a:lnTo>
                    <a:lnTo>
                      <a:pt x="458" y="29"/>
                    </a:lnTo>
                    <a:lnTo>
                      <a:pt x="471" y="24"/>
                    </a:lnTo>
                    <a:lnTo>
                      <a:pt x="483" y="19"/>
                    </a:lnTo>
                    <a:lnTo>
                      <a:pt x="483" y="20"/>
                    </a:lnTo>
                    <a:lnTo>
                      <a:pt x="486" y="29"/>
                    </a:lnTo>
                    <a:lnTo>
                      <a:pt x="492" y="42"/>
                    </a:lnTo>
                    <a:lnTo>
                      <a:pt x="497" y="51"/>
                    </a:lnTo>
                    <a:lnTo>
                      <a:pt x="498" y="58"/>
                    </a:lnTo>
                    <a:lnTo>
                      <a:pt x="500" y="61"/>
                    </a:lnTo>
                    <a:lnTo>
                      <a:pt x="498" y="65"/>
                    </a:lnTo>
                    <a:lnTo>
                      <a:pt x="503" y="66"/>
                    </a:lnTo>
                    <a:lnTo>
                      <a:pt x="507" y="76"/>
                    </a:lnTo>
                    <a:lnTo>
                      <a:pt x="515" y="97"/>
                    </a:lnTo>
                    <a:lnTo>
                      <a:pt x="515" y="100"/>
                    </a:lnTo>
                    <a:lnTo>
                      <a:pt x="517" y="104"/>
                    </a:lnTo>
                    <a:lnTo>
                      <a:pt x="515" y="105"/>
                    </a:lnTo>
                    <a:lnTo>
                      <a:pt x="517" y="110"/>
                    </a:lnTo>
                    <a:lnTo>
                      <a:pt x="515" y="112"/>
                    </a:lnTo>
                    <a:lnTo>
                      <a:pt x="510" y="119"/>
                    </a:lnTo>
                    <a:lnTo>
                      <a:pt x="509" y="121"/>
                    </a:lnTo>
                    <a:lnTo>
                      <a:pt x="509" y="126"/>
                    </a:lnTo>
                    <a:lnTo>
                      <a:pt x="509" y="127"/>
                    </a:lnTo>
                    <a:lnTo>
                      <a:pt x="507" y="127"/>
                    </a:lnTo>
                    <a:lnTo>
                      <a:pt x="505" y="134"/>
                    </a:lnTo>
                    <a:lnTo>
                      <a:pt x="507" y="138"/>
                    </a:lnTo>
                    <a:lnTo>
                      <a:pt x="503" y="139"/>
                    </a:lnTo>
                    <a:lnTo>
                      <a:pt x="505" y="143"/>
                    </a:lnTo>
                    <a:lnTo>
                      <a:pt x="503" y="144"/>
                    </a:lnTo>
                    <a:lnTo>
                      <a:pt x="503" y="150"/>
                    </a:lnTo>
                    <a:lnTo>
                      <a:pt x="500" y="153"/>
                    </a:lnTo>
                    <a:lnTo>
                      <a:pt x="500" y="155"/>
                    </a:lnTo>
                    <a:lnTo>
                      <a:pt x="500" y="156"/>
                    </a:lnTo>
                    <a:lnTo>
                      <a:pt x="498" y="158"/>
                    </a:lnTo>
                    <a:lnTo>
                      <a:pt x="498" y="163"/>
                    </a:lnTo>
                    <a:lnTo>
                      <a:pt x="497" y="163"/>
                    </a:lnTo>
                    <a:lnTo>
                      <a:pt x="495" y="165"/>
                    </a:lnTo>
                    <a:lnTo>
                      <a:pt x="493" y="168"/>
                    </a:lnTo>
                    <a:lnTo>
                      <a:pt x="492" y="170"/>
                    </a:lnTo>
                    <a:lnTo>
                      <a:pt x="492" y="175"/>
                    </a:lnTo>
                    <a:lnTo>
                      <a:pt x="495" y="179"/>
                    </a:lnTo>
                    <a:lnTo>
                      <a:pt x="493" y="182"/>
                    </a:lnTo>
                    <a:lnTo>
                      <a:pt x="493" y="185"/>
                    </a:lnTo>
                    <a:lnTo>
                      <a:pt x="493" y="187"/>
                    </a:lnTo>
                    <a:lnTo>
                      <a:pt x="492" y="189"/>
                    </a:lnTo>
                    <a:lnTo>
                      <a:pt x="490" y="190"/>
                    </a:lnTo>
                    <a:lnTo>
                      <a:pt x="488" y="190"/>
                    </a:lnTo>
                    <a:lnTo>
                      <a:pt x="488" y="194"/>
                    </a:lnTo>
                    <a:lnTo>
                      <a:pt x="486" y="194"/>
                    </a:lnTo>
                    <a:lnTo>
                      <a:pt x="485" y="194"/>
                    </a:lnTo>
                    <a:lnTo>
                      <a:pt x="485" y="197"/>
                    </a:lnTo>
                    <a:lnTo>
                      <a:pt x="481" y="197"/>
                    </a:lnTo>
                    <a:lnTo>
                      <a:pt x="483" y="199"/>
                    </a:lnTo>
                    <a:lnTo>
                      <a:pt x="485" y="199"/>
                    </a:lnTo>
                    <a:lnTo>
                      <a:pt x="485" y="201"/>
                    </a:lnTo>
                    <a:lnTo>
                      <a:pt x="483" y="201"/>
                    </a:lnTo>
                    <a:lnTo>
                      <a:pt x="481" y="197"/>
                    </a:lnTo>
                    <a:lnTo>
                      <a:pt x="478" y="197"/>
                    </a:lnTo>
                    <a:lnTo>
                      <a:pt x="476" y="197"/>
                    </a:lnTo>
                    <a:lnTo>
                      <a:pt x="475" y="196"/>
                    </a:lnTo>
                    <a:lnTo>
                      <a:pt x="471" y="192"/>
                    </a:lnTo>
                    <a:lnTo>
                      <a:pt x="469" y="192"/>
                    </a:lnTo>
                    <a:lnTo>
                      <a:pt x="468" y="190"/>
                    </a:lnTo>
                    <a:lnTo>
                      <a:pt x="466" y="190"/>
                    </a:lnTo>
                    <a:lnTo>
                      <a:pt x="459" y="185"/>
                    </a:lnTo>
                    <a:lnTo>
                      <a:pt x="459" y="184"/>
                    </a:lnTo>
                    <a:lnTo>
                      <a:pt x="458" y="184"/>
                    </a:lnTo>
                    <a:lnTo>
                      <a:pt x="454" y="179"/>
                    </a:lnTo>
                    <a:lnTo>
                      <a:pt x="452" y="177"/>
                    </a:lnTo>
                    <a:lnTo>
                      <a:pt x="452" y="175"/>
                    </a:lnTo>
                    <a:lnTo>
                      <a:pt x="451" y="175"/>
                    </a:lnTo>
                    <a:lnTo>
                      <a:pt x="449" y="172"/>
                    </a:lnTo>
                    <a:lnTo>
                      <a:pt x="442" y="167"/>
                    </a:lnTo>
                    <a:lnTo>
                      <a:pt x="439" y="163"/>
                    </a:lnTo>
                    <a:lnTo>
                      <a:pt x="437" y="161"/>
                    </a:lnTo>
                    <a:lnTo>
                      <a:pt x="434" y="160"/>
                    </a:lnTo>
                    <a:lnTo>
                      <a:pt x="435" y="158"/>
                    </a:lnTo>
                    <a:lnTo>
                      <a:pt x="434" y="158"/>
                    </a:lnTo>
                    <a:lnTo>
                      <a:pt x="432" y="158"/>
                    </a:lnTo>
                    <a:lnTo>
                      <a:pt x="434" y="158"/>
                    </a:lnTo>
                    <a:lnTo>
                      <a:pt x="430" y="153"/>
                    </a:lnTo>
                    <a:lnTo>
                      <a:pt x="432" y="148"/>
                    </a:lnTo>
                    <a:lnTo>
                      <a:pt x="430" y="144"/>
                    </a:lnTo>
                    <a:lnTo>
                      <a:pt x="430" y="139"/>
                    </a:lnTo>
                    <a:lnTo>
                      <a:pt x="429" y="139"/>
                    </a:lnTo>
                    <a:lnTo>
                      <a:pt x="430" y="136"/>
                    </a:lnTo>
                    <a:lnTo>
                      <a:pt x="425" y="134"/>
                    </a:lnTo>
                    <a:lnTo>
                      <a:pt x="425" y="131"/>
                    </a:lnTo>
                    <a:lnTo>
                      <a:pt x="418" y="126"/>
                    </a:lnTo>
                    <a:lnTo>
                      <a:pt x="415" y="124"/>
                    </a:lnTo>
                    <a:lnTo>
                      <a:pt x="415" y="121"/>
                    </a:lnTo>
                    <a:lnTo>
                      <a:pt x="412" y="121"/>
                    </a:lnTo>
                    <a:lnTo>
                      <a:pt x="412" y="116"/>
                    </a:lnTo>
                    <a:lnTo>
                      <a:pt x="408" y="114"/>
                    </a:lnTo>
                    <a:lnTo>
                      <a:pt x="408" y="112"/>
                    </a:lnTo>
                    <a:lnTo>
                      <a:pt x="407" y="114"/>
                    </a:lnTo>
                    <a:lnTo>
                      <a:pt x="408" y="110"/>
                    </a:lnTo>
                    <a:lnTo>
                      <a:pt x="407" y="110"/>
                    </a:lnTo>
                    <a:lnTo>
                      <a:pt x="407" y="109"/>
                    </a:lnTo>
                    <a:lnTo>
                      <a:pt x="407" y="107"/>
                    </a:lnTo>
                    <a:lnTo>
                      <a:pt x="405" y="105"/>
                    </a:lnTo>
                    <a:lnTo>
                      <a:pt x="405" y="99"/>
                    </a:lnTo>
                    <a:lnTo>
                      <a:pt x="401" y="95"/>
                    </a:lnTo>
                    <a:lnTo>
                      <a:pt x="403" y="92"/>
                    </a:lnTo>
                    <a:lnTo>
                      <a:pt x="398" y="88"/>
                    </a:lnTo>
                    <a:lnTo>
                      <a:pt x="400" y="88"/>
                    </a:lnTo>
                    <a:lnTo>
                      <a:pt x="398" y="88"/>
                    </a:lnTo>
                    <a:lnTo>
                      <a:pt x="398" y="87"/>
                    </a:lnTo>
                    <a:lnTo>
                      <a:pt x="395" y="88"/>
                    </a:lnTo>
                    <a:lnTo>
                      <a:pt x="393" y="92"/>
                    </a:lnTo>
                    <a:lnTo>
                      <a:pt x="395" y="92"/>
                    </a:lnTo>
                    <a:lnTo>
                      <a:pt x="396" y="92"/>
                    </a:lnTo>
                    <a:lnTo>
                      <a:pt x="388" y="102"/>
                    </a:lnTo>
                    <a:lnTo>
                      <a:pt x="390" y="104"/>
                    </a:lnTo>
                    <a:lnTo>
                      <a:pt x="388" y="104"/>
                    </a:lnTo>
                    <a:lnTo>
                      <a:pt x="390" y="104"/>
                    </a:lnTo>
                    <a:lnTo>
                      <a:pt x="388" y="105"/>
                    </a:lnTo>
                    <a:lnTo>
                      <a:pt x="390" y="109"/>
                    </a:lnTo>
                    <a:lnTo>
                      <a:pt x="400" y="117"/>
                    </a:lnTo>
                    <a:lnTo>
                      <a:pt x="400" y="119"/>
                    </a:lnTo>
                    <a:lnTo>
                      <a:pt x="405" y="131"/>
                    </a:lnTo>
                    <a:lnTo>
                      <a:pt x="401" y="133"/>
                    </a:lnTo>
                    <a:lnTo>
                      <a:pt x="401" y="138"/>
                    </a:lnTo>
                    <a:lnTo>
                      <a:pt x="403" y="139"/>
                    </a:lnTo>
                    <a:lnTo>
                      <a:pt x="405" y="143"/>
                    </a:lnTo>
                    <a:lnTo>
                      <a:pt x="408" y="146"/>
                    </a:lnTo>
                    <a:lnTo>
                      <a:pt x="412" y="148"/>
                    </a:lnTo>
                    <a:lnTo>
                      <a:pt x="413" y="155"/>
                    </a:lnTo>
                    <a:lnTo>
                      <a:pt x="413" y="158"/>
                    </a:lnTo>
                    <a:lnTo>
                      <a:pt x="417" y="158"/>
                    </a:lnTo>
                    <a:lnTo>
                      <a:pt x="420" y="161"/>
                    </a:lnTo>
                    <a:lnTo>
                      <a:pt x="422" y="163"/>
                    </a:lnTo>
                    <a:lnTo>
                      <a:pt x="424" y="167"/>
                    </a:lnTo>
                    <a:lnTo>
                      <a:pt x="427" y="168"/>
                    </a:lnTo>
                    <a:lnTo>
                      <a:pt x="427" y="172"/>
                    </a:lnTo>
                    <a:lnTo>
                      <a:pt x="434" y="179"/>
                    </a:lnTo>
                    <a:lnTo>
                      <a:pt x="434" y="180"/>
                    </a:lnTo>
                    <a:lnTo>
                      <a:pt x="435" y="180"/>
                    </a:lnTo>
                    <a:lnTo>
                      <a:pt x="437" y="182"/>
                    </a:lnTo>
                    <a:lnTo>
                      <a:pt x="439" y="184"/>
                    </a:lnTo>
                    <a:lnTo>
                      <a:pt x="441" y="185"/>
                    </a:lnTo>
                    <a:lnTo>
                      <a:pt x="442" y="185"/>
                    </a:lnTo>
                    <a:lnTo>
                      <a:pt x="446" y="187"/>
                    </a:lnTo>
                    <a:lnTo>
                      <a:pt x="451" y="194"/>
                    </a:lnTo>
                    <a:lnTo>
                      <a:pt x="451" y="197"/>
                    </a:lnTo>
                    <a:lnTo>
                      <a:pt x="452" y="197"/>
                    </a:lnTo>
                    <a:lnTo>
                      <a:pt x="452" y="199"/>
                    </a:lnTo>
                    <a:lnTo>
                      <a:pt x="451" y="199"/>
                    </a:lnTo>
                    <a:lnTo>
                      <a:pt x="451" y="197"/>
                    </a:lnTo>
                    <a:lnTo>
                      <a:pt x="449" y="196"/>
                    </a:lnTo>
                    <a:lnTo>
                      <a:pt x="446" y="196"/>
                    </a:lnTo>
                    <a:lnTo>
                      <a:pt x="447" y="199"/>
                    </a:lnTo>
                    <a:lnTo>
                      <a:pt x="449" y="199"/>
                    </a:lnTo>
                    <a:lnTo>
                      <a:pt x="449" y="202"/>
                    </a:lnTo>
                    <a:lnTo>
                      <a:pt x="451" y="204"/>
                    </a:lnTo>
                    <a:lnTo>
                      <a:pt x="451" y="206"/>
                    </a:lnTo>
                    <a:lnTo>
                      <a:pt x="449" y="204"/>
                    </a:lnTo>
                    <a:lnTo>
                      <a:pt x="447" y="202"/>
                    </a:lnTo>
                    <a:lnTo>
                      <a:pt x="446" y="204"/>
                    </a:lnTo>
                    <a:lnTo>
                      <a:pt x="449" y="207"/>
                    </a:lnTo>
                    <a:lnTo>
                      <a:pt x="449" y="211"/>
                    </a:lnTo>
                    <a:lnTo>
                      <a:pt x="452" y="213"/>
                    </a:lnTo>
                    <a:lnTo>
                      <a:pt x="452" y="214"/>
                    </a:lnTo>
                    <a:lnTo>
                      <a:pt x="456" y="216"/>
                    </a:lnTo>
                    <a:lnTo>
                      <a:pt x="456" y="218"/>
                    </a:lnTo>
                    <a:lnTo>
                      <a:pt x="456" y="221"/>
                    </a:lnTo>
                    <a:lnTo>
                      <a:pt x="458" y="221"/>
                    </a:lnTo>
                    <a:lnTo>
                      <a:pt x="464" y="224"/>
                    </a:lnTo>
                    <a:lnTo>
                      <a:pt x="464" y="228"/>
                    </a:lnTo>
                    <a:lnTo>
                      <a:pt x="463" y="228"/>
                    </a:lnTo>
                    <a:lnTo>
                      <a:pt x="463" y="233"/>
                    </a:lnTo>
                    <a:lnTo>
                      <a:pt x="466" y="235"/>
                    </a:lnTo>
                    <a:lnTo>
                      <a:pt x="468" y="236"/>
                    </a:lnTo>
                    <a:lnTo>
                      <a:pt x="466" y="238"/>
                    </a:lnTo>
                    <a:lnTo>
                      <a:pt x="469" y="243"/>
                    </a:lnTo>
                    <a:lnTo>
                      <a:pt x="471" y="243"/>
                    </a:lnTo>
                    <a:lnTo>
                      <a:pt x="471" y="245"/>
                    </a:lnTo>
                    <a:lnTo>
                      <a:pt x="469" y="245"/>
                    </a:lnTo>
                    <a:lnTo>
                      <a:pt x="469" y="247"/>
                    </a:lnTo>
                    <a:lnTo>
                      <a:pt x="468" y="248"/>
                    </a:lnTo>
                    <a:lnTo>
                      <a:pt x="469" y="250"/>
                    </a:lnTo>
                    <a:lnTo>
                      <a:pt x="468" y="255"/>
                    </a:lnTo>
                    <a:lnTo>
                      <a:pt x="473" y="257"/>
                    </a:lnTo>
                    <a:lnTo>
                      <a:pt x="476" y="265"/>
                    </a:lnTo>
                    <a:lnTo>
                      <a:pt x="481" y="272"/>
                    </a:lnTo>
                    <a:lnTo>
                      <a:pt x="483" y="277"/>
                    </a:lnTo>
                    <a:lnTo>
                      <a:pt x="486" y="282"/>
                    </a:lnTo>
                    <a:lnTo>
                      <a:pt x="486" y="284"/>
                    </a:lnTo>
                    <a:lnTo>
                      <a:pt x="488" y="284"/>
                    </a:lnTo>
                    <a:lnTo>
                      <a:pt x="490" y="289"/>
                    </a:lnTo>
                    <a:lnTo>
                      <a:pt x="492" y="291"/>
                    </a:lnTo>
                    <a:lnTo>
                      <a:pt x="493" y="296"/>
                    </a:lnTo>
                    <a:lnTo>
                      <a:pt x="495" y="298"/>
                    </a:lnTo>
                    <a:lnTo>
                      <a:pt x="497" y="299"/>
                    </a:lnTo>
                    <a:lnTo>
                      <a:pt x="498" y="301"/>
                    </a:lnTo>
                    <a:lnTo>
                      <a:pt x="502" y="308"/>
                    </a:lnTo>
                    <a:lnTo>
                      <a:pt x="503" y="309"/>
                    </a:lnTo>
                    <a:lnTo>
                      <a:pt x="503" y="311"/>
                    </a:lnTo>
                    <a:lnTo>
                      <a:pt x="505" y="315"/>
                    </a:lnTo>
                    <a:lnTo>
                      <a:pt x="507" y="318"/>
                    </a:lnTo>
                    <a:lnTo>
                      <a:pt x="509" y="320"/>
                    </a:lnTo>
                    <a:lnTo>
                      <a:pt x="510" y="323"/>
                    </a:lnTo>
                    <a:lnTo>
                      <a:pt x="512" y="325"/>
                    </a:lnTo>
                    <a:lnTo>
                      <a:pt x="512" y="328"/>
                    </a:lnTo>
                    <a:lnTo>
                      <a:pt x="515" y="330"/>
                    </a:lnTo>
                    <a:lnTo>
                      <a:pt x="517" y="335"/>
                    </a:lnTo>
                    <a:lnTo>
                      <a:pt x="519" y="338"/>
                    </a:lnTo>
                    <a:lnTo>
                      <a:pt x="519" y="340"/>
                    </a:lnTo>
                    <a:lnTo>
                      <a:pt x="522" y="344"/>
                    </a:lnTo>
                    <a:lnTo>
                      <a:pt x="522" y="347"/>
                    </a:lnTo>
                    <a:lnTo>
                      <a:pt x="526" y="352"/>
                    </a:lnTo>
                    <a:lnTo>
                      <a:pt x="527" y="355"/>
                    </a:lnTo>
                    <a:lnTo>
                      <a:pt x="527" y="357"/>
                    </a:lnTo>
                    <a:lnTo>
                      <a:pt x="527" y="359"/>
                    </a:lnTo>
                    <a:lnTo>
                      <a:pt x="529" y="359"/>
                    </a:lnTo>
                    <a:lnTo>
                      <a:pt x="531" y="361"/>
                    </a:lnTo>
                    <a:lnTo>
                      <a:pt x="529" y="361"/>
                    </a:lnTo>
                    <a:lnTo>
                      <a:pt x="529" y="364"/>
                    </a:lnTo>
                    <a:lnTo>
                      <a:pt x="532" y="366"/>
                    </a:lnTo>
                    <a:lnTo>
                      <a:pt x="534" y="369"/>
                    </a:lnTo>
                    <a:lnTo>
                      <a:pt x="537" y="371"/>
                    </a:lnTo>
                    <a:lnTo>
                      <a:pt x="539" y="371"/>
                    </a:lnTo>
                    <a:lnTo>
                      <a:pt x="541" y="374"/>
                    </a:lnTo>
                    <a:lnTo>
                      <a:pt x="543" y="376"/>
                    </a:lnTo>
                    <a:lnTo>
                      <a:pt x="544" y="379"/>
                    </a:lnTo>
                    <a:lnTo>
                      <a:pt x="548" y="383"/>
                    </a:lnTo>
                    <a:lnTo>
                      <a:pt x="548" y="384"/>
                    </a:lnTo>
                    <a:lnTo>
                      <a:pt x="548" y="383"/>
                    </a:lnTo>
                    <a:lnTo>
                      <a:pt x="551" y="384"/>
                    </a:lnTo>
                    <a:lnTo>
                      <a:pt x="553" y="386"/>
                    </a:lnTo>
                    <a:lnTo>
                      <a:pt x="553" y="388"/>
                    </a:lnTo>
                    <a:lnTo>
                      <a:pt x="560" y="389"/>
                    </a:lnTo>
                    <a:lnTo>
                      <a:pt x="561" y="391"/>
                    </a:lnTo>
                    <a:lnTo>
                      <a:pt x="563" y="395"/>
                    </a:lnTo>
                    <a:lnTo>
                      <a:pt x="561" y="395"/>
                    </a:lnTo>
                    <a:lnTo>
                      <a:pt x="560" y="393"/>
                    </a:lnTo>
                    <a:lnTo>
                      <a:pt x="558" y="395"/>
                    </a:lnTo>
                    <a:lnTo>
                      <a:pt x="554" y="393"/>
                    </a:lnTo>
                    <a:lnTo>
                      <a:pt x="551" y="393"/>
                    </a:lnTo>
                    <a:lnTo>
                      <a:pt x="551" y="391"/>
                    </a:lnTo>
                    <a:lnTo>
                      <a:pt x="548" y="393"/>
                    </a:lnTo>
                    <a:lnTo>
                      <a:pt x="548" y="391"/>
                    </a:lnTo>
                    <a:lnTo>
                      <a:pt x="551" y="391"/>
                    </a:lnTo>
                    <a:lnTo>
                      <a:pt x="548" y="391"/>
                    </a:lnTo>
                    <a:lnTo>
                      <a:pt x="546" y="393"/>
                    </a:lnTo>
                    <a:lnTo>
                      <a:pt x="548" y="396"/>
                    </a:lnTo>
                    <a:lnTo>
                      <a:pt x="546" y="400"/>
                    </a:lnTo>
                    <a:lnTo>
                      <a:pt x="548" y="400"/>
                    </a:lnTo>
                    <a:lnTo>
                      <a:pt x="546" y="401"/>
                    </a:lnTo>
                    <a:lnTo>
                      <a:pt x="548" y="400"/>
                    </a:lnTo>
                    <a:lnTo>
                      <a:pt x="548" y="401"/>
                    </a:lnTo>
                    <a:lnTo>
                      <a:pt x="546" y="401"/>
                    </a:lnTo>
                    <a:lnTo>
                      <a:pt x="548" y="403"/>
                    </a:lnTo>
                    <a:lnTo>
                      <a:pt x="548" y="405"/>
                    </a:lnTo>
                    <a:lnTo>
                      <a:pt x="548" y="408"/>
                    </a:lnTo>
                    <a:lnTo>
                      <a:pt x="548" y="410"/>
                    </a:lnTo>
                    <a:lnTo>
                      <a:pt x="546" y="415"/>
                    </a:lnTo>
                    <a:lnTo>
                      <a:pt x="551" y="422"/>
                    </a:lnTo>
                    <a:lnTo>
                      <a:pt x="551" y="429"/>
                    </a:lnTo>
                    <a:lnTo>
                      <a:pt x="554" y="434"/>
                    </a:lnTo>
                    <a:lnTo>
                      <a:pt x="556" y="437"/>
                    </a:lnTo>
                    <a:lnTo>
                      <a:pt x="556" y="442"/>
                    </a:lnTo>
                    <a:lnTo>
                      <a:pt x="558" y="444"/>
                    </a:lnTo>
                    <a:lnTo>
                      <a:pt x="561" y="447"/>
                    </a:lnTo>
                    <a:lnTo>
                      <a:pt x="561" y="446"/>
                    </a:lnTo>
                    <a:lnTo>
                      <a:pt x="561" y="447"/>
                    </a:lnTo>
                    <a:lnTo>
                      <a:pt x="561" y="449"/>
                    </a:lnTo>
                    <a:lnTo>
                      <a:pt x="563" y="449"/>
                    </a:lnTo>
                    <a:lnTo>
                      <a:pt x="563" y="447"/>
                    </a:lnTo>
                    <a:lnTo>
                      <a:pt x="565" y="452"/>
                    </a:lnTo>
                    <a:lnTo>
                      <a:pt x="566" y="454"/>
                    </a:lnTo>
                    <a:lnTo>
                      <a:pt x="568" y="454"/>
                    </a:lnTo>
                    <a:lnTo>
                      <a:pt x="570" y="454"/>
                    </a:lnTo>
                    <a:lnTo>
                      <a:pt x="568" y="456"/>
                    </a:lnTo>
                    <a:lnTo>
                      <a:pt x="570" y="454"/>
                    </a:lnTo>
                    <a:lnTo>
                      <a:pt x="570" y="456"/>
                    </a:lnTo>
                    <a:lnTo>
                      <a:pt x="571" y="456"/>
                    </a:lnTo>
                    <a:lnTo>
                      <a:pt x="575" y="456"/>
                    </a:lnTo>
                    <a:lnTo>
                      <a:pt x="582" y="457"/>
                    </a:lnTo>
                    <a:lnTo>
                      <a:pt x="587" y="459"/>
                    </a:lnTo>
                    <a:lnTo>
                      <a:pt x="588" y="466"/>
                    </a:lnTo>
                    <a:lnTo>
                      <a:pt x="592" y="468"/>
                    </a:lnTo>
                    <a:lnTo>
                      <a:pt x="594" y="469"/>
                    </a:lnTo>
                    <a:lnTo>
                      <a:pt x="595" y="473"/>
                    </a:lnTo>
                    <a:lnTo>
                      <a:pt x="602" y="476"/>
                    </a:lnTo>
                    <a:lnTo>
                      <a:pt x="609" y="483"/>
                    </a:lnTo>
                    <a:lnTo>
                      <a:pt x="611" y="483"/>
                    </a:lnTo>
                    <a:lnTo>
                      <a:pt x="612" y="481"/>
                    </a:lnTo>
                    <a:lnTo>
                      <a:pt x="616" y="486"/>
                    </a:lnTo>
                    <a:lnTo>
                      <a:pt x="617" y="488"/>
                    </a:lnTo>
                    <a:lnTo>
                      <a:pt x="617" y="492"/>
                    </a:lnTo>
                    <a:lnTo>
                      <a:pt x="609" y="492"/>
                    </a:lnTo>
                    <a:lnTo>
                      <a:pt x="609" y="490"/>
                    </a:lnTo>
                    <a:lnTo>
                      <a:pt x="500" y="492"/>
                    </a:lnTo>
                    <a:lnTo>
                      <a:pt x="476" y="490"/>
                    </a:lnTo>
                    <a:lnTo>
                      <a:pt x="442" y="490"/>
                    </a:lnTo>
                    <a:lnTo>
                      <a:pt x="430" y="490"/>
                    </a:lnTo>
                    <a:lnTo>
                      <a:pt x="395" y="492"/>
                    </a:lnTo>
                    <a:lnTo>
                      <a:pt x="393" y="492"/>
                    </a:lnTo>
                    <a:lnTo>
                      <a:pt x="344" y="492"/>
                    </a:lnTo>
                    <a:lnTo>
                      <a:pt x="337" y="492"/>
                    </a:lnTo>
                    <a:lnTo>
                      <a:pt x="327" y="492"/>
                    </a:lnTo>
                    <a:lnTo>
                      <a:pt x="264" y="492"/>
                    </a:lnTo>
                    <a:lnTo>
                      <a:pt x="16" y="492"/>
                    </a:lnTo>
                    <a:lnTo>
                      <a:pt x="16" y="417"/>
                    </a:lnTo>
                    <a:lnTo>
                      <a:pt x="16" y="337"/>
                    </a:lnTo>
                    <a:lnTo>
                      <a:pt x="16" y="274"/>
                    </a:lnTo>
                    <a:lnTo>
                      <a:pt x="16" y="241"/>
                    </a:lnTo>
                    <a:lnTo>
                      <a:pt x="16" y="206"/>
                    </a:lnTo>
                    <a:lnTo>
                      <a:pt x="16" y="187"/>
                    </a:lnTo>
                    <a:lnTo>
                      <a:pt x="16" y="124"/>
                    </a:lnTo>
                    <a:lnTo>
                      <a:pt x="16" y="122"/>
                    </a:lnTo>
                    <a:lnTo>
                      <a:pt x="9" y="110"/>
                    </a:lnTo>
                    <a:lnTo>
                      <a:pt x="9" y="107"/>
                    </a:lnTo>
                    <a:lnTo>
                      <a:pt x="10" y="105"/>
                    </a:lnTo>
                    <a:lnTo>
                      <a:pt x="7" y="97"/>
                    </a:lnTo>
                    <a:lnTo>
                      <a:pt x="7" y="90"/>
                    </a:lnTo>
                    <a:lnTo>
                      <a:pt x="4" y="82"/>
                    </a:lnTo>
                    <a:lnTo>
                      <a:pt x="0" y="78"/>
                    </a:lnTo>
                    <a:lnTo>
                      <a:pt x="5" y="70"/>
                    </a:lnTo>
                    <a:lnTo>
                      <a:pt x="9" y="65"/>
                    </a:lnTo>
                    <a:lnTo>
                      <a:pt x="12" y="59"/>
                    </a:lnTo>
                    <a:lnTo>
                      <a:pt x="12" y="56"/>
                    </a:lnTo>
                    <a:lnTo>
                      <a:pt x="14" y="53"/>
                    </a:lnTo>
                    <a:lnTo>
                      <a:pt x="17" y="46"/>
                    </a:lnTo>
                    <a:lnTo>
                      <a:pt x="16" y="39"/>
                    </a:lnTo>
                    <a:lnTo>
                      <a:pt x="10" y="27"/>
                    </a:lnTo>
                    <a:lnTo>
                      <a:pt x="10" y="20"/>
                    </a:lnTo>
                    <a:lnTo>
                      <a:pt x="9" y="14"/>
                    </a:lnTo>
                    <a:lnTo>
                      <a:pt x="16" y="10"/>
                    </a:lnTo>
                    <a:lnTo>
                      <a:pt x="19" y="7"/>
                    </a:lnTo>
                    <a:lnTo>
                      <a:pt x="21" y="3"/>
                    </a:lnTo>
                    <a:lnTo>
                      <a:pt x="22" y="0"/>
                    </a:lnTo>
                    <a:close/>
                    <a:moveTo>
                      <a:pt x="469" y="211"/>
                    </a:moveTo>
                    <a:lnTo>
                      <a:pt x="473" y="213"/>
                    </a:lnTo>
                    <a:lnTo>
                      <a:pt x="473" y="214"/>
                    </a:lnTo>
                    <a:lnTo>
                      <a:pt x="471" y="213"/>
                    </a:lnTo>
                    <a:lnTo>
                      <a:pt x="468" y="213"/>
                    </a:lnTo>
                    <a:lnTo>
                      <a:pt x="468" y="211"/>
                    </a:lnTo>
                    <a:lnTo>
                      <a:pt x="469" y="211"/>
                    </a:lnTo>
                    <a:close/>
                    <a:moveTo>
                      <a:pt x="461" y="209"/>
                    </a:moveTo>
                    <a:lnTo>
                      <a:pt x="459" y="209"/>
                    </a:lnTo>
                    <a:lnTo>
                      <a:pt x="461" y="209"/>
                    </a:lnTo>
                    <a:lnTo>
                      <a:pt x="459" y="207"/>
                    </a:lnTo>
                    <a:lnTo>
                      <a:pt x="459" y="206"/>
                    </a:lnTo>
                    <a:lnTo>
                      <a:pt x="461" y="207"/>
                    </a:lnTo>
                    <a:lnTo>
                      <a:pt x="461" y="209"/>
                    </a:lnTo>
                    <a:close/>
                    <a:moveTo>
                      <a:pt x="469" y="228"/>
                    </a:moveTo>
                    <a:lnTo>
                      <a:pt x="466" y="224"/>
                    </a:lnTo>
                    <a:lnTo>
                      <a:pt x="469" y="228"/>
                    </a:lnTo>
                    <a:close/>
                    <a:moveTo>
                      <a:pt x="471" y="250"/>
                    </a:moveTo>
                    <a:lnTo>
                      <a:pt x="471" y="252"/>
                    </a:lnTo>
                    <a:lnTo>
                      <a:pt x="469" y="250"/>
                    </a:lnTo>
                    <a:lnTo>
                      <a:pt x="469" y="248"/>
                    </a:lnTo>
                    <a:lnTo>
                      <a:pt x="471" y="250"/>
                    </a:lnTo>
                    <a:close/>
                    <a:moveTo>
                      <a:pt x="435" y="24"/>
                    </a:moveTo>
                    <a:lnTo>
                      <a:pt x="427" y="24"/>
                    </a:lnTo>
                    <a:lnTo>
                      <a:pt x="425" y="24"/>
                    </a:lnTo>
                    <a:lnTo>
                      <a:pt x="418" y="27"/>
                    </a:lnTo>
                    <a:lnTo>
                      <a:pt x="425" y="24"/>
                    </a:lnTo>
                    <a:lnTo>
                      <a:pt x="427" y="24"/>
                    </a:lnTo>
                    <a:lnTo>
                      <a:pt x="435" y="24"/>
                    </a:lnTo>
                    <a:close/>
                    <a:moveTo>
                      <a:pt x="461" y="204"/>
                    </a:moveTo>
                    <a:lnTo>
                      <a:pt x="463" y="204"/>
                    </a:lnTo>
                    <a:lnTo>
                      <a:pt x="463" y="206"/>
                    </a:lnTo>
                    <a:lnTo>
                      <a:pt x="461" y="206"/>
                    </a:lnTo>
                    <a:lnTo>
                      <a:pt x="461" y="204"/>
                    </a:lnTo>
                    <a:close/>
                    <a:moveTo>
                      <a:pt x="456" y="202"/>
                    </a:moveTo>
                    <a:lnTo>
                      <a:pt x="458" y="202"/>
                    </a:lnTo>
                    <a:lnTo>
                      <a:pt x="458" y="204"/>
                    </a:lnTo>
                    <a:lnTo>
                      <a:pt x="456" y="204"/>
                    </a:lnTo>
                    <a:lnTo>
                      <a:pt x="456" y="202"/>
                    </a:lnTo>
                    <a:close/>
                    <a:moveTo>
                      <a:pt x="441" y="25"/>
                    </a:moveTo>
                    <a:lnTo>
                      <a:pt x="442" y="27"/>
                    </a:lnTo>
                    <a:lnTo>
                      <a:pt x="435" y="24"/>
                    </a:lnTo>
                    <a:lnTo>
                      <a:pt x="441" y="25"/>
                    </a:lnTo>
                    <a:close/>
                    <a:moveTo>
                      <a:pt x="605" y="476"/>
                    </a:moveTo>
                    <a:lnTo>
                      <a:pt x="607" y="476"/>
                    </a:lnTo>
                    <a:lnTo>
                      <a:pt x="607" y="478"/>
                    </a:lnTo>
                    <a:lnTo>
                      <a:pt x="605" y="478"/>
                    </a:lnTo>
                    <a:lnTo>
                      <a:pt x="605" y="476"/>
                    </a:lnTo>
                    <a:close/>
                    <a:moveTo>
                      <a:pt x="582" y="408"/>
                    </a:moveTo>
                    <a:lnTo>
                      <a:pt x="583" y="408"/>
                    </a:lnTo>
                    <a:lnTo>
                      <a:pt x="583" y="410"/>
                    </a:lnTo>
                    <a:lnTo>
                      <a:pt x="582" y="410"/>
                    </a:lnTo>
                    <a:lnTo>
                      <a:pt x="582" y="408"/>
                    </a:lnTo>
                    <a:close/>
                    <a:moveTo>
                      <a:pt x="456" y="201"/>
                    </a:moveTo>
                    <a:lnTo>
                      <a:pt x="456" y="202"/>
                    </a:lnTo>
                    <a:lnTo>
                      <a:pt x="456" y="201"/>
                    </a:lnTo>
                    <a:close/>
                    <a:moveTo>
                      <a:pt x="560" y="444"/>
                    </a:moveTo>
                    <a:lnTo>
                      <a:pt x="561" y="444"/>
                    </a:lnTo>
                    <a:lnTo>
                      <a:pt x="561" y="447"/>
                    </a:lnTo>
                    <a:lnTo>
                      <a:pt x="560" y="447"/>
                    </a:lnTo>
                    <a:lnTo>
                      <a:pt x="560" y="444"/>
                    </a:lnTo>
                    <a:close/>
                    <a:moveTo>
                      <a:pt x="469" y="226"/>
                    </a:moveTo>
                    <a:lnTo>
                      <a:pt x="471" y="226"/>
                    </a:lnTo>
                    <a:lnTo>
                      <a:pt x="471" y="228"/>
                    </a:lnTo>
                    <a:lnTo>
                      <a:pt x="469" y="228"/>
                    </a:lnTo>
                    <a:lnTo>
                      <a:pt x="469" y="226"/>
                    </a:lnTo>
                    <a:close/>
                    <a:moveTo>
                      <a:pt x="531" y="355"/>
                    </a:moveTo>
                    <a:lnTo>
                      <a:pt x="531" y="357"/>
                    </a:lnTo>
                    <a:lnTo>
                      <a:pt x="531" y="355"/>
                    </a:lnTo>
                    <a:close/>
                    <a:moveTo>
                      <a:pt x="452" y="202"/>
                    </a:moveTo>
                    <a:lnTo>
                      <a:pt x="454" y="202"/>
                    </a:lnTo>
                    <a:lnTo>
                      <a:pt x="454" y="204"/>
                    </a:lnTo>
                    <a:lnTo>
                      <a:pt x="452" y="204"/>
                    </a:lnTo>
                    <a:lnTo>
                      <a:pt x="452" y="202"/>
                    </a:lnTo>
                    <a:close/>
                    <a:moveTo>
                      <a:pt x="558" y="444"/>
                    </a:moveTo>
                    <a:lnTo>
                      <a:pt x="560" y="444"/>
                    </a:lnTo>
                    <a:lnTo>
                      <a:pt x="560" y="446"/>
                    </a:lnTo>
                    <a:lnTo>
                      <a:pt x="558" y="446"/>
                    </a:lnTo>
                    <a:lnTo>
                      <a:pt x="558" y="444"/>
                    </a:lnTo>
                    <a:close/>
                    <a:moveTo>
                      <a:pt x="464" y="226"/>
                    </a:moveTo>
                    <a:lnTo>
                      <a:pt x="466" y="226"/>
                    </a:lnTo>
                    <a:lnTo>
                      <a:pt x="466" y="228"/>
                    </a:lnTo>
                    <a:lnTo>
                      <a:pt x="464" y="228"/>
                    </a:lnTo>
                    <a:lnTo>
                      <a:pt x="464" y="226"/>
                    </a:lnTo>
                    <a:close/>
                    <a:moveTo>
                      <a:pt x="461" y="202"/>
                    </a:moveTo>
                    <a:lnTo>
                      <a:pt x="463" y="202"/>
                    </a:lnTo>
                    <a:lnTo>
                      <a:pt x="463" y="204"/>
                    </a:lnTo>
                    <a:lnTo>
                      <a:pt x="461" y="204"/>
                    </a:lnTo>
                    <a:lnTo>
                      <a:pt x="461" y="202"/>
                    </a:lnTo>
                    <a:close/>
                    <a:moveTo>
                      <a:pt x="558" y="444"/>
                    </a:moveTo>
                    <a:lnTo>
                      <a:pt x="560" y="444"/>
                    </a:lnTo>
                    <a:lnTo>
                      <a:pt x="560" y="446"/>
                    </a:lnTo>
                    <a:lnTo>
                      <a:pt x="558" y="446"/>
                    </a:lnTo>
                    <a:lnTo>
                      <a:pt x="558" y="444"/>
                    </a:lnTo>
                    <a:close/>
                    <a:moveTo>
                      <a:pt x="456" y="197"/>
                    </a:moveTo>
                    <a:lnTo>
                      <a:pt x="456" y="199"/>
                    </a:lnTo>
                    <a:lnTo>
                      <a:pt x="456" y="197"/>
                    </a:lnTo>
                    <a:close/>
                    <a:moveTo>
                      <a:pt x="424" y="29"/>
                    </a:moveTo>
                    <a:lnTo>
                      <a:pt x="425" y="29"/>
                    </a:lnTo>
                    <a:lnTo>
                      <a:pt x="424" y="29"/>
                    </a:lnTo>
                    <a:close/>
                    <a:moveTo>
                      <a:pt x="456" y="197"/>
                    </a:moveTo>
                    <a:lnTo>
                      <a:pt x="456" y="199"/>
                    </a:lnTo>
                    <a:lnTo>
                      <a:pt x="456" y="197"/>
                    </a:lnTo>
                    <a:close/>
                    <a:moveTo>
                      <a:pt x="442" y="27"/>
                    </a:moveTo>
                    <a:lnTo>
                      <a:pt x="444" y="27"/>
                    </a:lnTo>
                    <a:lnTo>
                      <a:pt x="442" y="27"/>
                    </a:lnTo>
                    <a:close/>
                    <a:moveTo>
                      <a:pt x="456" y="197"/>
                    </a:moveTo>
                    <a:lnTo>
                      <a:pt x="456" y="199"/>
                    </a:lnTo>
                    <a:lnTo>
                      <a:pt x="456" y="197"/>
                    </a:lnTo>
                    <a:close/>
                    <a:moveTo>
                      <a:pt x="583" y="451"/>
                    </a:moveTo>
                    <a:lnTo>
                      <a:pt x="585" y="451"/>
                    </a:lnTo>
                    <a:lnTo>
                      <a:pt x="583" y="451"/>
                    </a:lnTo>
                    <a:close/>
                    <a:moveTo>
                      <a:pt x="444" y="27"/>
                    </a:moveTo>
                    <a:lnTo>
                      <a:pt x="446" y="27"/>
                    </a:lnTo>
                    <a:lnTo>
                      <a:pt x="444" y="27"/>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Freeform 37">
                <a:extLst>
                  <a:ext uri="{FF2B5EF4-FFF2-40B4-BE49-F238E27FC236}">
                    <a16:creationId xmlns:a16="http://schemas.microsoft.com/office/drawing/2014/main" id="{EA86A249-755F-443B-970E-2C56F08849EE}"/>
                  </a:ext>
                </a:extLst>
              </p:cNvPr>
              <p:cNvSpPr>
                <a:spLocks/>
              </p:cNvSpPr>
              <p:nvPr/>
            </p:nvSpPr>
            <p:spPr bwMode="gray">
              <a:xfrm>
                <a:off x="5867393" y="1890741"/>
                <a:ext cx="987533" cy="857432"/>
              </a:xfrm>
              <a:custGeom>
                <a:avLst/>
                <a:gdLst>
                  <a:gd name="T0" fmla="*/ 784 w 797"/>
                  <a:gd name="T1" fmla="*/ 89 h 692"/>
                  <a:gd name="T2" fmla="*/ 789 w 797"/>
                  <a:gd name="T3" fmla="*/ 128 h 692"/>
                  <a:gd name="T4" fmla="*/ 775 w 797"/>
                  <a:gd name="T5" fmla="*/ 153 h 692"/>
                  <a:gd name="T6" fmla="*/ 784 w 797"/>
                  <a:gd name="T7" fmla="*/ 182 h 692"/>
                  <a:gd name="T8" fmla="*/ 791 w 797"/>
                  <a:gd name="T9" fmla="*/ 281 h 692"/>
                  <a:gd name="T10" fmla="*/ 791 w 797"/>
                  <a:gd name="T11" fmla="*/ 567 h 692"/>
                  <a:gd name="T12" fmla="*/ 648 w 797"/>
                  <a:gd name="T13" fmla="*/ 645 h 692"/>
                  <a:gd name="T14" fmla="*/ 490 w 797"/>
                  <a:gd name="T15" fmla="*/ 565 h 692"/>
                  <a:gd name="T16" fmla="*/ 284 w 797"/>
                  <a:gd name="T17" fmla="*/ 515 h 692"/>
                  <a:gd name="T18" fmla="*/ 184 w 797"/>
                  <a:gd name="T19" fmla="*/ 500 h 692"/>
                  <a:gd name="T20" fmla="*/ 85 w 797"/>
                  <a:gd name="T21" fmla="*/ 442 h 692"/>
                  <a:gd name="T22" fmla="*/ 70 w 797"/>
                  <a:gd name="T23" fmla="*/ 439 h 692"/>
                  <a:gd name="T24" fmla="*/ 49 w 797"/>
                  <a:gd name="T25" fmla="*/ 437 h 692"/>
                  <a:gd name="T26" fmla="*/ 32 w 797"/>
                  <a:gd name="T27" fmla="*/ 395 h 692"/>
                  <a:gd name="T28" fmla="*/ 7 w 797"/>
                  <a:gd name="T29" fmla="*/ 344 h 692"/>
                  <a:gd name="T30" fmla="*/ 24 w 797"/>
                  <a:gd name="T31" fmla="*/ 315 h 692"/>
                  <a:gd name="T32" fmla="*/ 22 w 797"/>
                  <a:gd name="T33" fmla="*/ 289 h 692"/>
                  <a:gd name="T34" fmla="*/ 24 w 797"/>
                  <a:gd name="T35" fmla="*/ 282 h 692"/>
                  <a:gd name="T36" fmla="*/ 29 w 797"/>
                  <a:gd name="T37" fmla="*/ 269 h 692"/>
                  <a:gd name="T38" fmla="*/ 20 w 797"/>
                  <a:gd name="T39" fmla="*/ 189 h 692"/>
                  <a:gd name="T40" fmla="*/ 9 w 797"/>
                  <a:gd name="T41" fmla="*/ 148 h 692"/>
                  <a:gd name="T42" fmla="*/ 32 w 797"/>
                  <a:gd name="T43" fmla="*/ 134 h 692"/>
                  <a:gd name="T44" fmla="*/ 44 w 797"/>
                  <a:gd name="T45" fmla="*/ 107 h 692"/>
                  <a:gd name="T46" fmla="*/ 54 w 797"/>
                  <a:gd name="T47" fmla="*/ 73 h 692"/>
                  <a:gd name="T48" fmla="*/ 63 w 797"/>
                  <a:gd name="T49" fmla="*/ 61 h 692"/>
                  <a:gd name="T50" fmla="*/ 80 w 797"/>
                  <a:gd name="T51" fmla="*/ 49 h 692"/>
                  <a:gd name="T52" fmla="*/ 112 w 797"/>
                  <a:gd name="T53" fmla="*/ 31 h 692"/>
                  <a:gd name="T54" fmla="*/ 109 w 797"/>
                  <a:gd name="T55" fmla="*/ 9 h 692"/>
                  <a:gd name="T56" fmla="*/ 121 w 797"/>
                  <a:gd name="T57" fmla="*/ 3 h 692"/>
                  <a:gd name="T58" fmla="*/ 124 w 797"/>
                  <a:gd name="T59" fmla="*/ 3 h 692"/>
                  <a:gd name="T60" fmla="*/ 182 w 797"/>
                  <a:gd name="T61" fmla="*/ 17 h 692"/>
                  <a:gd name="T62" fmla="*/ 194 w 797"/>
                  <a:gd name="T63" fmla="*/ 14 h 692"/>
                  <a:gd name="T64" fmla="*/ 224 w 797"/>
                  <a:gd name="T65" fmla="*/ 19 h 692"/>
                  <a:gd name="T66" fmla="*/ 247 w 797"/>
                  <a:gd name="T67" fmla="*/ 26 h 692"/>
                  <a:gd name="T68" fmla="*/ 279 w 797"/>
                  <a:gd name="T69" fmla="*/ 37 h 692"/>
                  <a:gd name="T70" fmla="*/ 296 w 797"/>
                  <a:gd name="T71" fmla="*/ 41 h 692"/>
                  <a:gd name="T72" fmla="*/ 303 w 797"/>
                  <a:gd name="T73" fmla="*/ 61 h 692"/>
                  <a:gd name="T74" fmla="*/ 342 w 797"/>
                  <a:gd name="T75" fmla="*/ 97 h 692"/>
                  <a:gd name="T76" fmla="*/ 406 w 797"/>
                  <a:gd name="T77" fmla="*/ 106 h 692"/>
                  <a:gd name="T78" fmla="*/ 445 w 797"/>
                  <a:gd name="T79" fmla="*/ 121 h 692"/>
                  <a:gd name="T80" fmla="*/ 466 w 797"/>
                  <a:gd name="T81" fmla="*/ 134 h 692"/>
                  <a:gd name="T82" fmla="*/ 476 w 797"/>
                  <a:gd name="T83" fmla="*/ 141 h 692"/>
                  <a:gd name="T84" fmla="*/ 496 w 797"/>
                  <a:gd name="T85" fmla="*/ 146 h 692"/>
                  <a:gd name="T86" fmla="*/ 527 w 797"/>
                  <a:gd name="T87" fmla="*/ 133 h 692"/>
                  <a:gd name="T88" fmla="*/ 546 w 797"/>
                  <a:gd name="T89" fmla="*/ 97 h 692"/>
                  <a:gd name="T90" fmla="*/ 536 w 797"/>
                  <a:gd name="T91" fmla="*/ 75 h 692"/>
                  <a:gd name="T92" fmla="*/ 541 w 797"/>
                  <a:gd name="T93" fmla="*/ 54 h 692"/>
                  <a:gd name="T94" fmla="*/ 541 w 797"/>
                  <a:gd name="T95" fmla="*/ 54 h 692"/>
                  <a:gd name="T96" fmla="*/ 544 w 797"/>
                  <a:gd name="T97" fmla="*/ 49 h 692"/>
                  <a:gd name="T98" fmla="*/ 609 w 797"/>
                  <a:gd name="T99" fmla="*/ 19 h 692"/>
                  <a:gd name="T100" fmla="*/ 641 w 797"/>
                  <a:gd name="T101" fmla="*/ 14 h 692"/>
                  <a:gd name="T102" fmla="*/ 658 w 797"/>
                  <a:gd name="T103" fmla="*/ 15 h 692"/>
                  <a:gd name="T104" fmla="*/ 680 w 797"/>
                  <a:gd name="T105" fmla="*/ 22 h 692"/>
                  <a:gd name="T106" fmla="*/ 695 w 797"/>
                  <a:gd name="T107" fmla="*/ 32 h 692"/>
                  <a:gd name="T108" fmla="*/ 697 w 797"/>
                  <a:gd name="T109" fmla="*/ 39 h 692"/>
                  <a:gd name="T110" fmla="*/ 704 w 797"/>
                  <a:gd name="T111" fmla="*/ 49 h 692"/>
                  <a:gd name="T112" fmla="*/ 726 w 797"/>
                  <a:gd name="T113" fmla="*/ 49 h 692"/>
                  <a:gd name="T114" fmla="*/ 738 w 797"/>
                  <a:gd name="T115" fmla="*/ 54 h 692"/>
                  <a:gd name="T116" fmla="*/ 760 w 797"/>
                  <a:gd name="T117" fmla="*/ 60 h 692"/>
                  <a:gd name="T118" fmla="*/ 779 w 797"/>
                  <a:gd name="T119" fmla="*/ 58 h 692"/>
                  <a:gd name="T120" fmla="*/ 796 w 797"/>
                  <a:gd name="T121" fmla="*/ 7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7" h="692">
                    <a:moveTo>
                      <a:pt x="797" y="75"/>
                    </a:moveTo>
                    <a:lnTo>
                      <a:pt x="796" y="78"/>
                    </a:lnTo>
                    <a:lnTo>
                      <a:pt x="794" y="82"/>
                    </a:lnTo>
                    <a:lnTo>
                      <a:pt x="791" y="85"/>
                    </a:lnTo>
                    <a:lnTo>
                      <a:pt x="784" y="89"/>
                    </a:lnTo>
                    <a:lnTo>
                      <a:pt x="785" y="95"/>
                    </a:lnTo>
                    <a:lnTo>
                      <a:pt x="785" y="102"/>
                    </a:lnTo>
                    <a:lnTo>
                      <a:pt x="791" y="114"/>
                    </a:lnTo>
                    <a:lnTo>
                      <a:pt x="792" y="121"/>
                    </a:lnTo>
                    <a:lnTo>
                      <a:pt x="789" y="128"/>
                    </a:lnTo>
                    <a:lnTo>
                      <a:pt x="787" y="131"/>
                    </a:lnTo>
                    <a:lnTo>
                      <a:pt x="787" y="134"/>
                    </a:lnTo>
                    <a:lnTo>
                      <a:pt x="784" y="140"/>
                    </a:lnTo>
                    <a:lnTo>
                      <a:pt x="780" y="145"/>
                    </a:lnTo>
                    <a:lnTo>
                      <a:pt x="775" y="153"/>
                    </a:lnTo>
                    <a:lnTo>
                      <a:pt x="779" y="157"/>
                    </a:lnTo>
                    <a:lnTo>
                      <a:pt x="782" y="165"/>
                    </a:lnTo>
                    <a:lnTo>
                      <a:pt x="782" y="172"/>
                    </a:lnTo>
                    <a:lnTo>
                      <a:pt x="785" y="180"/>
                    </a:lnTo>
                    <a:lnTo>
                      <a:pt x="784" y="182"/>
                    </a:lnTo>
                    <a:lnTo>
                      <a:pt x="784" y="185"/>
                    </a:lnTo>
                    <a:lnTo>
                      <a:pt x="791" y="197"/>
                    </a:lnTo>
                    <a:lnTo>
                      <a:pt x="791" y="199"/>
                    </a:lnTo>
                    <a:lnTo>
                      <a:pt x="791" y="262"/>
                    </a:lnTo>
                    <a:lnTo>
                      <a:pt x="791" y="281"/>
                    </a:lnTo>
                    <a:lnTo>
                      <a:pt x="791" y="316"/>
                    </a:lnTo>
                    <a:lnTo>
                      <a:pt x="791" y="349"/>
                    </a:lnTo>
                    <a:lnTo>
                      <a:pt x="791" y="412"/>
                    </a:lnTo>
                    <a:lnTo>
                      <a:pt x="791" y="492"/>
                    </a:lnTo>
                    <a:lnTo>
                      <a:pt x="791" y="567"/>
                    </a:lnTo>
                    <a:lnTo>
                      <a:pt x="791" y="612"/>
                    </a:lnTo>
                    <a:lnTo>
                      <a:pt x="791" y="667"/>
                    </a:lnTo>
                    <a:lnTo>
                      <a:pt x="740" y="667"/>
                    </a:lnTo>
                    <a:lnTo>
                      <a:pt x="740" y="692"/>
                    </a:lnTo>
                    <a:lnTo>
                      <a:pt x="648" y="645"/>
                    </a:lnTo>
                    <a:lnTo>
                      <a:pt x="588" y="614"/>
                    </a:lnTo>
                    <a:lnTo>
                      <a:pt x="580" y="609"/>
                    </a:lnTo>
                    <a:lnTo>
                      <a:pt x="530" y="585"/>
                    </a:lnTo>
                    <a:lnTo>
                      <a:pt x="491" y="567"/>
                    </a:lnTo>
                    <a:lnTo>
                      <a:pt x="490" y="565"/>
                    </a:lnTo>
                    <a:lnTo>
                      <a:pt x="435" y="539"/>
                    </a:lnTo>
                    <a:lnTo>
                      <a:pt x="381" y="514"/>
                    </a:lnTo>
                    <a:lnTo>
                      <a:pt x="335" y="492"/>
                    </a:lnTo>
                    <a:lnTo>
                      <a:pt x="291" y="512"/>
                    </a:lnTo>
                    <a:lnTo>
                      <a:pt x="284" y="515"/>
                    </a:lnTo>
                    <a:lnTo>
                      <a:pt x="243" y="532"/>
                    </a:lnTo>
                    <a:lnTo>
                      <a:pt x="218" y="512"/>
                    </a:lnTo>
                    <a:lnTo>
                      <a:pt x="211" y="507"/>
                    </a:lnTo>
                    <a:lnTo>
                      <a:pt x="204" y="504"/>
                    </a:lnTo>
                    <a:lnTo>
                      <a:pt x="184" y="500"/>
                    </a:lnTo>
                    <a:lnTo>
                      <a:pt x="133" y="488"/>
                    </a:lnTo>
                    <a:lnTo>
                      <a:pt x="112" y="451"/>
                    </a:lnTo>
                    <a:lnTo>
                      <a:pt x="104" y="454"/>
                    </a:lnTo>
                    <a:lnTo>
                      <a:pt x="88" y="444"/>
                    </a:lnTo>
                    <a:lnTo>
                      <a:pt x="85" y="442"/>
                    </a:lnTo>
                    <a:lnTo>
                      <a:pt x="80" y="437"/>
                    </a:lnTo>
                    <a:lnTo>
                      <a:pt x="77" y="436"/>
                    </a:lnTo>
                    <a:lnTo>
                      <a:pt x="73" y="436"/>
                    </a:lnTo>
                    <a:lnTo>
                      <a:pt x="71" y="437"/>
                    </a:lnTo>
                    <a:lnTo>
                      <a:pt x="70" y="439"/>
                    </a:lnTo>
                    <a:lnTo>
                      <a:pt x="66" y="436"/>
                    </a:lnTo>
                    <a:lnTo>
                      <a:pt x="63" y="436"/>
                    </a:lnTo>
                    <a:lnTo>
                      <a:pt x="61" y="437"/>
                    </a:lnTo>
                    <a:lnTo>
                      <a:pt x="60" y="437"/>
                    </a:lnTo>
                    <a:lnTo>
                      <a:pt x="49" y="437"/>
                    </a:lnTo>
                    <a:lnTo>
                      <a:pt x="46" y="434"/>
                    </a:lnTo>
                    <a:lnTo>
                      <a:pt x="43" y="432"/>
                    </a:lnTo>
                    <a:lnTo>
                      <a:pt x="37" y="424"/>
                    </a:lnTo>
                    <a:lnTo>
                      <a:pt x="32" y="415"/>
                    </a:lnTo>
                    <a:lnTo>
                      <a:pt x="32" y="395"/>
                    </a:lnTo>
                    <a:lnTo>
                      <a:pt x="15" y="373"/>
                    </a:lnTo>
                    <a:lnTo>
                      <a:pt x="7" y="362"/>
                    </a:lnTo>
                    <a:lnTo>
                      <a:pt x="0" y="354"/>
                    </a:lnTo>
                    <a:lnTo>
                      <a:pt x="4" y="350"/>
                    </a:lnTo>
                    <a:lnTo>
                      <a:pt x="7" y="344"/>
                    </a:lnTo>
                    <a:lnTo>
                      <a:pt x="24" y="337"/>
                    </a:lnTo>
                    <a:lnTo>
                      <a:pt x="27" y="330"/>
                    </a:lnTo>
                    <a:lnTo>
                      <a:pt x="26" y="325"/>
                    </a:lnTo>
                    <a:lnTo>
                      <a:pt x="27" y="320"/>
                    </a:lnTo>
                    <a:lnTo>
                      <a:pt x="24" y="315"/>
                    </a:lnTo>
                    <a:lnTo>
                      <a:pt x="22" y="306"/>
                    </a:lnTo>
                    <a:lnTo>
                      <a:pt x="20" y="305"/>
                    </a:lnTo>
                    <a:lnTo>
                      <a:pt x="20" y="299"/>
                    </a:lnTo>
                    <a:lnTo>
                      <a:pt x="20" y="294"/>
                    </a:lnTo>
                    <a:lnTo>
                      <a:pt x="22" y="289"/>
                    </a:lnTo>
                    <a:lnTo>
                      <a:pt x="22" y="288"/>
                    </a:lnTo>
                    <a:lnTo>
                      <a:pt x="24" y="288"/>
                    </a:lnTo>
                    <a:lnTo>
                      <a:pt x="26" y="284"/>
                    </a:lnTo>
                    <a:lnTo>
                      <a:pt x="22" y="284"/>
                    </a:lnTo>
                    <a:lnTo>
                      <a:pt x="24" y="282"/>
                    </a:lnTo>
                    <a:lnTo>
                      <a:pt x="26" y="282"/>
                    </a:lnTo>
                    <a:lnTo>
                      <a:pt x="27" y="277"/>
                    </a:lnTo>
                    <a:lnTo>
                      <a:pt x="29" y="276"/>
                    </a:lnTo>
                    <a:lnTo>
                      <a:pt x="29" y="271"/>
                    </a:lnTo>
                    <a:lnTo>
                      <a:pt x="29" y="269"/>
                    </a:lnTo>
                    <a:lnTo>
                      <a:pt x="22" y="247"/>
                    </a:lnTo>
                    <a:lnTo>
                      <a:pt x="26" y="230"/>
                    </a:lnTo>
                    <a:lnTo>
                      <a:pt x="26" y="223"/>
                    </a:lnTo>
                    <a:lnTo>
                      <a:pt x="24" y="209"/>
                    </a:lnTo>
                    <a:lnTo>
                      <a:pt x="20" y="189"/>
                    </a:lnTo>
                    <a:lnTo>
                      <a:pt x="9" y="165"/>
                    </a:lnTo>
                    <a:lnTo>
                      <a:pt x="2" y="158"/>
                    </a:lnTo>
                    <a:lnTo>
                      <a:pt x="0" y="155"/>
                    </a:lnTo>
                    <a:lnTo>
                      <a:pt x="0" y="151"/>
                    </a:lnTo>
                    <a:lnTo>
                      <a:pt x="9" y="148"/>
                    </a:lnTo>
                    <a:lnTo>
                      <a:pt x="22" y="143"/>
                    </a:lnTo>
                    <a:lnTo>
                      <a:pt x="26" y="143"/>
                    </a:lnTo>
                    <a:lnTo>
                      <a:pt x="27" y="141"/>
                    </a:lnTo>
                    <a:lnTo>
                      <a:pt x="32" y="136"/>
                    </a:lnTo>
                    <a:lnTo>
                      <a:pt x="32" y="134"/>
                    </a:lnTo>
                    <a:lnTo>
                      <a:pt x="39" y="126"/>
                    </a:lnTo>
                    <a:lnTo>
                      <a:pt x="43" y="124"/>
                    </a:lnTo>
                    <a:lnTo>
                      <a:pt x="44" y="119"/>
                    </a:lnTo>
                    <a:lnTo>
                      <a:pt x="46" y="114"/>
                    </a:lnTo>
                    <a:lnTo>
                      <a:pt x="44" y="107"/>
                    </a:lnTo>
                    <a:lnTo>
                      <a:pt x="46" y="106"/>
                    </a:lnTo>
                    <a:lnTo>
                      <a:pt x="37" y="85"/>
                    </a:lnTo>
                    <a:lnTo>
                      <a:pt x="46" y="75"/>
                    </a:lnTo>
                    <a:lnTo>
                      <a:pt x="51" y="71"/>
                    </a:lnTo>
                    <a:lnTo>
                      <a:pt x="54" y="73"/>
                    </a:lnTo>
                    <a:lnTo>
                      <a:pt x="58" y="71"/>
                    </a:lnTo>
                    <a:lnTo>
                      <a:pt x="60" y="70"/>
                    </a:lnTo>
                    <a:lnTo>
                      <a:pt x="63" y="65"/>
                    </a:lnTo>
                    <a:lnTo>
                      <a:pt x="63" y="63"/>
                    </a:lnTo>
                    <a:lnTo>
                      <a:pt x="63" y="61"/>
                    </a:lnTo>
                    <a:lnTo>
                      <a:pt x="65" y="60"/>
                    </a:lnTo>
                    <a:lnTo>
                      <a:pt x="68" y="61"/>
                    </a:lnTo>
                    <a:lnTo>
                      <a:pt x="71" y="60"/>
                    </a:lnTo>
                    <a:lnTo>
                      <a:pt x="75" y="54"/>
                    </a:lnTo>
                    <a:lnTo>
                      <a:pt x="80" y="49"/>
                    </a:lnTo>
                    <a:lnTo>
                      <a:pt x="90" y="46"/>
                    </a:lnTo>
                    <a:lnTo>
                      <a:pt x="100" y="43"/>
                    </a:lnTo>
                    <a:lnTo>
                      <a:pt x="111" y="39"/>
                    </a:lnTo>
                    <a:lnTo>
                      <a:pt x="112" y="36"/>
                    </a:lnTo>
                    <a:lnTo>
                      <a:pt x="112" y="31"/>
                    </a:lnTo>
                    <a:lnTo>
                      <a:pt x="107" y="27"/>
                    </a:lnTo>
                    <a:lnTo>
                      <a:pt x="107" y="26"/>
                    </a:lnTo>
                    <a:lnTo>
                      <a:pt x="107" y="15"/>
                    </a:lnTo>
                    <a:lnTo>
                      <a:pt x="107" y="14"/>
                    </a:lnTo>
                    <a:lnTo>
                      <a:pt x="109" y="9"/>
                    </a:lnTo>
                    <a:lnTo>
                      <a:pt x="109" y="5"/>
                    </a:lnTo>
                    <a:lnTo>
                      <a:pt x="111" y="0"/>
                    </a:lnTo>
                    <a:lnTo>
                      <a:pt x="114" y="3"/>
                    </a:lnTo>
                    <a:lnTo>
                      <a:pt x="122" y="5"/>
                    </a:lnTo>
                    <a:lnTo>
                      <a:pt x="121" y="3"/>
                    </a:lnTo>
                    <a:lnTo>
                      <a:pt x="117" y="3"/>
                    </a:lnTo>
                    <a:lnTo>
                      <a:pt x="117" y="2"/>
                    </a:lnTo>
                    <a:lnTo>
                      <a:pt x="121" y="3"/>
                    </a:lnTo>
                    <a:lnTo>
                      <a:pt x="122" y="5"/>
                    </a:lnTo>
                    <a:lnTo>
                      <a:pt x="124" y="3"/>
                    </a:lnTo>
                    <a:lnTo>
                      <a:pt x="143" y="15"/>
                    </a:lnTo>
                    <a:lnTo>
                      <a:pt x="150" y="17"/>
                    </a:lnTo>
                    <a:lnTo>
                      <a:pt x="162" y="19"/>
                    </a:lnTo>
                    <a:lnTo>
                      <a:pt x="170" y="19"/>
                    </a:lnTo>
                    <a:lnTo>
                      <a:pt x="182" y="17"/>
                    </a:lnTo>
                    <a:lnTo>
                      <a:pt x="190" y="14"/>
                    </a:lnTo>
                    <a:lnTo>
                      <a:pt x="192" y="14"/>
                    </a:lnTo>
                    <a:lnTo>
                      <a:pt x="194" y="12"/>
                    </a:lnTo>
                    <a:lnTo>
                      <a:pt x="192" y="14"/>
                    </a:lnTo>
                    <a:lnTo>
                      <a:pt x="194" y="14"/>
                    </a:lnTo>
                    <a:lnTo>
                      <a:pt x="194" y="12"/>
                    </a:lnTo>
                    <a:lnTo>
                      <a:pt x="202" y="14"/>
                    </a:lnTo>
                    <a:lnTo>
                      <a:pt x="204" y="15"/>
                    </a:lnTo>
                    <a:lnTo>
                      <a:pt x="214" y="19"/>
                    </a:lnTo>
                    <a:lnTo>
                      <a:pt x="224" y="19"/>
                    </a:lnTo>
                    <a:lnTo>
                      <a:pt x="231" y="20"/>
                    </a:lnTo>
                    <a:lnTo>
                      <a:pt x="235" y="22"/>
                    </a:lnTo>
                    <a:lnTo>
                      <a:pt x="243" y="22"/>
                    </a:lnTo>
                    <a:lnTo>
                      <a:pt x="247" y="24"/>
                    </a:lnTo>
                    <a:lnTo>
                      <a:pt x="247" y="26"/>
                    </a:lnTo>
                    <a:lnTo>
                      <a:pt x="250" y="27"/>
                    </a:lnTo>
                    <a:lnTo>
                      <a:pt x="258" y="32"/>
                    </a:lnTo>
                    <a:lnTo>
                      <a:pt x="264" y="34"/>
                    </a:lnTo>
                    <a:lnTo>
                      <a:pt x="272" y="37"/>
                    </a:lnTo>
                    <a:lnTo>
                      <a:pt x="279" y="37"/>
                    </a:lnTo>
                    <a:lnTo>
                      <a:pt x="282" y="37"/>
                    </a:lnTo>
                    <a:lnTo>
                      <a:pt x="289" y="37"/>
                    </a:lnTo>
                    <a:lnTo>
                      <a:pt x="296" y="41"/>
                    </a:lnTo>
                    <a:lnTo>
                      <a:pt x="298" y="41"/>
                    </a:lnTo>
                    <a:lnTo>
                      <a:pt x="296" y="41"/>
                    </a:lnTo>
                    <a:lnTo>
                      <a:pt x="298" y="43"/>
                    </a:lnTo>
                    <a:lnTo>
                      <a:pt x="301" y="48"/>
                    </a:lnTo>
                    <a:lnTo>
                      <a:pt x="303" y="51"/>
                    </a:lnTo>
                    <a:lnTo>
                      <a:pt x="303" y="56"/>
                    </a:lnTo>
                    <a:lnTo>
                      <a:pt x="303" y="61"/>
                    </a:lnTo>
                    <a:lnTo>
                      <a:pt x="309" y="75"/>
                    </a:lnTo>
                    <a:lnTo>
                      <a:pt x="316" y="85"/>
                    </a:lnTo>
                    <a:lnTo>
                      <a:pt x="321" y="90"/>
                    </a:lnTo>
                    <a:lnTo>
                      <a:pt x="333" y="95"/>
                    </a:lnTo>
                    <a:lnTo>
                      <a:pt x="342" y="97"/>
                    </a:lnTo>
                    <a:lnTo>
                      <a:pt x="355" y="99"/>
                    </a:lnTo>
                    <a:lnTo>
                      <a:pt x="374" y="99"/>
                    </a:lnTo>
                    <a:lnTo>
                      <a:pt x="386" y="102"/>
                    </a:lnTo>
                    <a:lnTo>
                      <a:pt x="401" y="106"/>
                    </a:lnTo>
                    <a:lnTo>
                      <a:pt x="406" y="106"/>
                    </a:lnTo>
                    <a:lnTo>
                      <a:pt x="411" y="109"/>
                    </a:lnTo>
                    <a:lnTo>
                      <a:pt x="420" y="112"/>
                    </a:lnTo>
                    <a:lnTo>
                      <a:pt x="428" y="114"/>
                    </a:lnTo>
                    <a:lnTo>
                      <a:pt x="432" y="117"/>
                    </a:lnTo>
                    <a:lnTo>
                      <a:pt x="445" y="121"/>
                    </a:lnTo>
                    <a:lnTo>
                      <a:pt x="447" y="121"/>
                    </a:lnTo>
                    <a:lnTo>
                      <a:pt x="452" y="126"/>
                    </a:lnTo>
                    <a:lnTo>
                      <a:pt x="457" y="129"/>
                    </a:lnTo>
                    <a:lnTo>
                      <a:pt x="462" y="134"/>
                    </a:lnTo>
                    <a:lnTo>
                      <a:pt x="466" y="134"/>
                    </a:lnTo>
                    <a:lnTo>
                      <a:pt x="466" y="136"/>
                    </a:lnTo>
                    <a:lnTo>
                      <a:pt x="466" y="134"/>
                    </a:lnTo>
                    <a:lnTo>
                      <a:pt x="466" y="136"/>
                    </a:lnTo>
                    <a:lnTo>
                      <a:pt x="469" y="140"/>
                    </a:lnTo>
                    <a:lnTo>
                      <a:pt x="476" y="141"/>
                    </a:lnTo>
                    <a:lnTo>
                      <a:pt x="476" y="143"/>
                    </a:lnTo>
                    <a:lnTo>
                      <a:pt x="481" y="143"/>
                    </a:lnTo>
                    <a:lnTo>
                      <a:pt x="485" y="146"/>
                    </a:lnTo>
                    <a:lnTo>
                      <a:pt x="488" y="146"/>
                    </a:lnTo>
                    <a:lnTo>
                      <a:pt x="496" y="146"/>
                    </a:lnTo>
                    <a:lnTo>
                      <a:pt x="500" y="146"/>
                    </a:lnTo>
                    <a:lnTo>
                      <a:pt x="507" y="145"/>
                    </a:lnTo>
                    <a:lnTo>
                      <a:pt x="515" y="140"/>
                    </a:lnTo>
                    <a:lnTo>
                      <a:pt x="519" y="140"/>
                    </a:lnTo>
                    <a:lnTo>
                      <a:pt x="527" y="133"/>
                    </a:lnTo>
                    <a:lnTo>
                      <a:pt x="534" y="126"/>
                    </a:lnTo>
                    <a:lnTo>
                      <a:pt x="541" y="117"/>
                    </a:lnTo>
                    <a:lnTo>
                      <a:pt x="546" y="107"/>
                    </a:lnTo>
                    <a:lnTo>
                      <a:pt x="546" y="102"/>
                    </a:lnTo>
                    <a:lnTo>
                      <a:pt x="546" y="97"/>
                    </a:lnTo>
                    <a:lnTo>
                      <a:pt x="542" y="92"/>
                    </a:lnTo>
                    <a:lnTo>
                      <a:pt x="539" y="90"/>
                    </a:lnTo>
                    <a:lnTo>
                      <a:pt x="539" y="87"/>
                    </a:lnTo>
                    <a:lnTo>
                      <a:pt x="537" y="85"/>
                    </a:lnTo>
                    <a:lnTo>
                      <a:pt x="536" y="75"/>
                    </a:lnTo>
                    <a:lnTo>
                      <a:pt x="534" y="71"/>
                    </a:lnTo>
                    <a:lnTo>
                      <a:pt x="536" y="63"/>
                    </a:lnTo>
                    <a:lnTo>
                      <a:pt x="536" y="61"/>
                    </a:lnTo>
                    <a:lnTo>
                      <a:pt x="539" y="56"/>
                    </a:lnTo>
                    <a:lnTo>
                      <a:pt x="541" y="54"/>
                    </a:lnTo>
                    <a:lnTo>
                      <a:pt x="539" y="54"/>
                    </a:lnTo>
                    <a:lnTo>
                      <a:pt x="539" y="53"/>
                    </a:lnTo>
                    <a:lnTo>
                      <a:pt x="539" y="54"/>
                    </a:lnTo>
                    <a:lnTo>
                      <a:pt x="541" y="53"/>
                    </a:lnTo>
                    <a:lnTo>
                      <a:pt x="541" y="54"/>
                    </a:lnTo>
                    <a:lnTo>
                      <a:pt x="541" y="53"/>
                    </a:lnTo>
                    <a:lnTo>
                      <a:pt x="539" y="53"/>
                    </a:lnTo>
                    <a:lnTo>
                      <a:pt x="541" y="53"/>
                    </a:lnTo>
                    <a:lnTo>
                      <a:pt x="542" y="49"/>
                    </a:lnTo>
                    <a:lnTo>
                      <a:pt x="544" y="49"/>
                    </a:lnTo>
                    <a:lnTo>
                      <a:pt x="547" y="44"/>
                    </a:lnTo>
                    <a:lnTo>
                      <a:pt x="558" y="37"/>
                    </a:lnTo>
                    <a:lnTo>
                      <a:pt x="571" y="29"/>
                    </a:lnTo>
                    <a:lnTo>
                      <a:pt x="592" y="20"/>
                    </a:lnTo>
                    <a:lnTo>
                      <a:pt x="609" y="19"/>
                    </a:lnTo>
                    <a:lnTo>
                      <a:pt x="612" y="17"/>
                    </a:lnTo>
                    <a:lnTo>
                      <a:pt x="621" y="12"/>
                    </a:lnTo>
                    <a:lnTo>
                      <a:pt x="624" y="12"/>
                    </a:lnTo>
                    <a:lnTo>
                      <a:pt x="634" y="14"/>
                    </a:lnTo>
                    <a:lnTo>
                      <a:pt x="641" y="14"/>
                    </a:lnTo>
                    <a:lnTo>
                      <a:pt x="646" y="12"/>
                    </a:lnTo>
                    <a:lnTo>
                      <a:pt x="648" y="12"/>
                    </a:lnTo>
                    <a:lnTo>
                      <a:pt x="648" y="14"/>
                    </a:lnTo>
                    <a:lnTo>
                      <a:pt x="649" y="14"/>
                    </a:lnTo>
                    <a:lnTo>
                      <a:pt x="658" y="15"/>
                    </a:lnTo>
                    <a:lnTo>
                      <a:pt x="663" y="17"/>
                    </a:lnTo>
                    <a:lnTo>
                      <a:pt x="666" y="19"/>
                    </a:lnTo>
                    <a:lnTo>
                      <a:pt x="670" y="20"/>
                    </a:lnTo>
                    <a:lnTo>
                      <a:pt x="672" y="20"/>
                    </a:lnTo>
                    <a:lnTo>
                      <a:pt x="680" y="22"/>
                    </a:lnTo>
                    <a:lnTo>
                      <a:pt x="685" y="26"/>
                    </a:lnTo>
                    <a:lnTo>
                      <a:pt x="695" y="27"/>
                    </a:lnTo>
                    <a:lnTo>
                      <a:pt x="695" y="29"/>
                    </a:lnTo>
                    <a:lnTo>
                      <a:pt x="695" y="31"/>
                    </a:lnTo>
                    <a:lnTo>
                      <a:pt x="695" y="32"/>
                    </a:lnTo>
                    <a:lnTo>
                      <a:pt x="697" y="36"/>
                    </a:lnTo>
                    <a:lnTo>
                      <a:pt x="697" y="37"/>
                    </a:lnTo>
                    <a:lnTo>
                      <a:pt x="697" y="39"/>
                    </a:lnTo>
                    <a:lnTo>
                      <a:pt x="695" y="39"/>
                    </a:lnTo>
                    <a:lnTo>
                      <a:pt x="697" y="39"/>
                    </a:lnTo>
                    <a:lnTo>
                      <a:pt x="694" y="37"/>
                    </a:lnTo>
                    <a:lnTo>
                      <a:pt x="694" y="43"/>
                    </a:lnTo>
                    <a:lnTo>
                      <a:pt x="700" y="44"/>
                    </a:lnTo>
                    <a:lnTo>
                      <a:pt x="702" y="49"/>
                    </a:lnTo>
                    <a:lnTo>
                      <a:pt x="704" y="49"/>
                    </a:lnTo>
                    <a:lnTo>
                      <a:pt x="706" y="51"/>
                    </a:lnTo>
                    <a:lnTo>
                      <a:pt x="706" y="49"/>
                    </a:lnTo>
                    <a:lnTo>
                      <a:pt x="706" y="48"/>
                    </a:lnTo>
                    <a:lnTo>
                      <a:pt x="711" y="49"/>
                    </a:lnTo>
                    <a:lnTo>
                      <a:pt x="726" y="49"/>
                    </a:lnTo>
                    <a:lnTo>
                      <a:pt x="734" y="53"/>
                    </a:lnTo>
                    <a:lnTo>
                      <a:pt x="740" y="54"/>
                    </a:lnTo>
                    <a:lnTo>
                      <a:pt x="741" y="54"/>
                    </a:lnTo>
                    <a:lnTo>
                      <a:pt x="741" y="56"/>
                    </a:lnTo>
                    <a:lnTo>
                      <a:pt x="738" y="54"/>
                    </a:lnTo>
                    <a:lnTo>
                      <a:pt x="738" y="56"/>
                    </a:lnTo>
                    <a:lnTo>
                      <a:pt x="745" y="58"/>
                    </a:lnTo>
                    <a:lnTo>
                      <a:pt x="750" y="60"/>
                    </a:lnTo>
                    <a:lnTo>
                      <a:pt x="753" y="58"/>
                    </a:lnTo>
                    <a:lnTo>
                      <a:pt x="760" y="60"/>
                    </a:lnTo>
                    <a:lnTo>
                      <a:pt x="765" y="60"/>
                    </a:lnTo>
                    <a:lnTo>
                      <a:pt x="768" y="60"/>
                    </a:lnTo>
                    <a:lnTo>
                      <a:pt x="774" y="58"/>
                    </a:lnTo>
                    <a:lnTo>
                      <a:pt x="775" y="58"/>
                    </a:lnTo>
                    <a:lnTo>
                      <a:pt x="779" y="58"/>
                    </a:lnTo>
                    <a:lnTo>
                      <a:pt x="784" y="60"/>
                    </a:lnTo>
                    <a:lnTo>
                      <a:pt x="791" y="61"/>
                    </a:lnTo>
                    <a:lnTo>
                      <a:pt x="792" y="63"/>
                    </a:lnTo>
                    <a:lnTo>
                      <a:pt x="792" y="66"/>
                    </a:lnTo>
                    <a:lnTo>
                      <a:pt x="796" y="71"/>
                    </a:lnTo>
                    <a:lnTo>
                      <a:pt x="797" y="71"/>
                    </a:lnTo>
                    <a:lnTo>
                      <a:pt x="797" y="75"/>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Freeform 41">
                <a:extLst>
                  <a:ext uri="{FF2B5EF4-FFF2-40B4-BE49-F238E27FC236}">
                    <a16:creationId xmlns:a16="http://schemas.microsoft.com/office/drawing/2014/main" id="{710BD97E-A03D-4150-B15E-EEDE977DE525}"/>
                  </a:ext>
                </a:extLst>
              </p:cNvPr>
              <p:cNvSpPr>
                <a:spLocks noEditPoints="1"/>
              </p:cNvSpPr>
              <p:nvPr/>
            </p:nvSpPr>
            <p:spPr bwMode="gray">
              <a:xfrm>
                <a:off x="4208288" y="2257504"/>
                <a:ext cx="768219" cy="790522"/>
              </a:xfrm>
              <a:custGeom>
                <a:avLst/>
                <a:gdLst>
                  <a:gd name="T0" fmla="*/ 549 w 620"/>
                  <a:gd name="T1" fmla="*/ 192 h 638"/>
                  <a:gd name="T2" fmla="*/ 477 w 620"/>
                  <a:gd name="T3" fmla="*/ 599 h 638"/>
                  <a:gd name="T4" fmla="*/ 387 w 620"/>
                  <a:gd name="T5" fmla="*/ 602 h 638"/>
                  <a:gd name="T6" fmla="*/ 367 w 620"/>
                  <a:gd name="T7" fmla="*/ 604 h 638"/>
                  <a:gd name="T8" fmla="*/ 334 w 620"/>
                  <a:gd name="T9" fmla="*/ 602 h 638"/>
                  <a:gd name="T10" fmla="*/ 321 w 620"/>
                  <a:gd name="T11" fmla="*/ 607 h 638"/>
                  <a:gd name="T12" fmla="*/ 311 w 620"/>
                  <a:gd name="T13" fmla="*/ 618 h 638"/>
                  <a:gd name="T14" fmla="*/ 295 w 620"/>
                  <a:gd name="T15" fmla="*/ 604 h 638"/>
                  <a:gd name="T16" fmla="*/ 282 w 620"/>
                  <a:gd name="T17" fmla="*/ 594 h 638"/>
                  <a:gd name="T18" fmla="*/ 272 w 620"/>
                  <a:gd name="T19" fmla="*/ 599 h 638"/>
                  <a:gd name="T20" fmla="*/ 265 w 620"/>
                  <a:gd name="T21" fmla="*/ 619 h 638"/>
                  <a:gd name="T22" fmla="*/ 265 w 620"/>
                  <a:gd name="T23" fmla="*/ 629 h 638"/>
                  <a:gd name="T24" fmla="*/ 255 w 620"/>
                  <a:gd name="T25" fmla="*/ 636 h 638"/>
                  <a:gd name="T26" fmla="*/ 239 w 620"/>
                  <a:gd name="T27" fmla="*/ 633 h 638"/>
                  <a:gd name="T28" fmla="*/ 222 w 620"/>
                  <a:gd name="T29" fmla="*/ 619 h 638"/>
                  <a:gd name="T30" fmla="*/ 212 w 620"/>
                  <a:gd name="T31" fmla="*/ 611 h 638"/>
                  <a:gd name="T32" fmla="*/ 207 w 620"/>
                  <a:gd name="T33" fmla="*/ 602 h 638"/>
                  <a:gd name="T34" fmla="*/ 193 w 620"/>
                  <a:gd name="T35" fmla="*/ 590 h 638"/>
                  <a:gd name="T36" fmla="*/ 188 w 620"/>
                  <a:gd name="T37" fmla="*/ 580 h 638"/>
                  <a:gd name="T38" fmla="*/ 180 w 620"/>
                  <a:gd name="T39" fmla="*/ 568 h 638"/>
                  <a:gd name="T40" fmla="*/ 168 w 620"/>
                  <a:gd name="T41" fmla="*/ 566 h 638"/>
                  <a:gd name="T42" fmla="*/ 156 w 620"/>
                  <a:gd name="T43" fmla="*/ 563 h 638"/>
                  <a:gd name="T44" fmla="*/ 151 w 620"/>
                  <a:gd name="T45" fmla="*/ 553 h 638"/>
                  <a:gd name="T46" fmla="*/ 141 w 620"/>
                  <a:gd name="T47" fmla="*/ 544 h 638"/>
                  <a:gd name="T48" fmla="*/ 127 w 620"/>
                  <a:gd name="T49" fmla="*/ 543 h 638"/>
                  <a:gd name="T50" fmla="*/ 115 w 620"/>
                  <a:gd name="T51" fmla="*/ 543 h 638"/>
                  <a:gd name="T52" fmla="*/ 107 w 620"/>
                  <a:gd name="T53" fmla="*/ 541 h 638"/>
                  <a:gd name="T54" fmla="*/ 98 w 620"/>
                  <a:gd name="T55" fmla="*/ 541 h 638"/>
                  <a:gd name="T56" fmla="*/ 81 w 620"/>
                  <a:gd name="T57" fmla="*/ 544 h 638"/>
                  <a:gd name="T58" fmla="*/ 62 w 620"/>
                  <a:gd name="T59" fmla="*/ 548 h 638"/>
                  <a:gd name="T60" fmla="*/ 49 w 620"/>
                  <a:gd name="T61" fmla="*/ 548 h 638"/>
                  <a:gd name="T62" fmla="*/ 39 w 620"/>
                  <a:gd name="T63" fmla="*/ 551 h 638"/>
                  <a:gd name="T64" fmla="*/ 34 w 620"/>
                  <a:gd name="T65" fmla="*/ 563 h 638"/>
                  <a:gd name="T66" fmla="*/ 27 w 620"/>
                  <a:gd name="T67" fmla="*/ 560 h 638"/>
                  <a:gd name="T68" fmla="*/ 51 w 620"/>
                  <a:gd name="T69" fmla="*/ 488 h 638"/>
                  <a:gd name="T70" fmla="*/ 39 w 620"/>
                  <a:gd name="T71" fmla="*/ 417 h 638"/>
                  <a:gd name="T72" fmla="*/ 28 w 620"/>
                  <a:gd name="T73" fmla="*/ 401 h 638"/>
                  <a:gd name="T74" fmla="*/ 34 w 620"/>
                  <a:gd name="T75" fmla="*/ 398 h 638"/>
                  <a:gd name="T76" fmla="*/ 32 w 620"/>
                  <a:gd name="T77" fmla="*/ 395 h 638"/>
                  <a:gd name="T78" fmla="*/ 40 w 620"/>
                  <a:gd name="T79" fmla="*/ 384 h 638"/>
                  <a:gd name="T80" fmla="*/ 39 w 620"/>
                  <a:gd name="T81" fmla="*/ 376 h 638"/>
                  <a:gd name="T82" fmla="*/ 42 w 620"/>
                  <a:gd name="T83" fmla="*/ 357 h 638"/>
                  <a:gd name="T84" fmla="*/ 32 w 620"/>
                  <a:gd name="T85" fmla="*/ 339 h 638"/>
                  <a:gd name="T86" fmla="*/ 18 w 620"/>
                  <a:gd name="T87" fmla="*/ 333 h 638"/>
                  <a:gd name="T88" fmla="*/ 8 w 620"/>
                  <a:gd name="T89" fmla="*/ 315 h 638"/>
                  <a:gd name="T90" fmla="*/ 3 w 620"/>
                  <a:gd name="T91" fmla="*/ 318 h 638"/>
                  <a:gd name="T92" fmla="*/ 0 w 620"/>
                  <a:gd name="T93" fmla="*/ 327 h 638"/>
                  <a:gd name="T94" fmla="*/ 144 w 620"/>
                  <a:gd name="T95" fmla="*/ 303 h 638"/>
                  <a:gd name="T96" fmla="*/ 207 w 620"/>
                  <a:gd name="T97" fmla="*/ 216 h 638"/>
                  <a:gd name="T98" fmla="*/ 256 w 620"/>
                  <a:gd name="T99" fmla="*/ 68 h 638"/>
                  <a:gd name="T100" fmla="*/ 37 w 620"/>
                  <a:gd name="T101" fmla="*/ 381 h 638"/>
                  <a:gd name="T102" fmla="*/ 28 w 620"/>
                  <a:gd name="T103" fmla="*/ 384 h 638"/>
                  <a:gd name="T104" fmla="*/ 30 w 620"/>
                  <a:gd name="T105" fmla="*/ 340 h 638"/>
                  <a:gd name="T106" fmla="*/ 35 w 620"/>
                  <a:gd name="T107" fmla="*/ 38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0" h="638">
                    <a:moveTo>
                      <a:pt x="425" y="0"/>
                    </a:moveTo>
                    <a:lnTo>
                      <a:pt x="578" y="92"/>
                    </a:lnTo>
                    <a:lnTo>
                      <a:pt x="618" y="117"/>
                    </a:lnTo>
                    <a:lnTo>
                      <a:pt x="620" y="117"/>
                    </a:lnTo>
                    <a:lnTo>
                      <a:pt x="542" y="117"/>
                    </a:lnTo>
                    <a:lnTo>
                      <a:pt x="544" y="134"/>
                    </a:lnTo>
                    <a:lnTo>
                      <a:pt x="549" y="192"/>
                    </a:lnTo>
                    <a:lnTo>
                      <a:pt x="578" y="529"/>
                    </a:lnTo>
                    <a:lnTo>
                      <a:pt x="579" y="548"/>
                    </a:lnTo>
                    <a:lnTo>
                      <a:pt x="595" y="556"/>
                    </a:lnTo>
                    <a:lnTo>
                      <a:pt x="586" y="599"/>
                    </a:lnTo>
                    <a:lnTo>
                      <a:pt x="547" y="599"/>
                    </a:lnTo>
                    <a:lnTo>
                      <a:pt x="545" y="599"/>
                    </a:lnTo>
                    <a:lnTo>
                      <a:pt x="477" y="599"/>
                    </a:lnTo>
                    <a:lnTo>
                      <a:pt x="442" y="599"/>
                    </a:lnTo>
                    <a:lnTo>
                      <a:pt x="408" y="599"/>
                    </a:lnTo>
                    <a:lnTo>
                      <a:pt x="391" y="599"/>
                    </a:lnTo>
                    <a:lnTo>
                      <a:pt x="392" y="590"/>
                    </a:lnTo>
                    <a:lnTo>
                      <a:pt x="391" y="589"/>
                    </a:lnTo>
                    <a:lnTo>
                      <a:pt x="385" y="594"/>
                    </a:lnTo>
                    <a:lnTo>
                      <a:pt x="387" y="602"/>
                    </a:lnTo>
                    <a:lnTo>
                      <a:pt x="385" y="602"/>
                    </a:lnTo>
                    <a:lnTo>
                      <a:pt x="384" y="604"/>
                    </a:lnTo>
                    <a:lnTo>
                      <a:pt x="380" y="602"/>
                    </a:lnTo>
                    <a:lnTo>
                      <a:pt x="374" y="602"/>
                    </a:lnTo>
                    <a:lnTo>
                      <a:pt x="372" y="604"/>
                    </a:lnTo>
                    <a:lnTo>
                      <a:pt x="368" y="604"/>
                    </a:lnTo>
                    <a:lnTo>
                      <a:pt x="367" y="604"/>
                    </a:lnTo>
                    <a:lnTo>
                      <a:pt x="363" y="604"/>
                    </a:lnTo>
                    <a:lnTo>
                      <a:pt x="358" y="602"/>
                    </a:lnTo>
                    <a:lnTo>
                      <a:pt x="345" y="602"/>
                    </a:lnTo>
                    <a:lnTo>
                      <a:pt x="341" y="602"/>
                    </a:lnTo>
                    <a:lnTo>
                      <a:pt x="338" y="602"/>
                    </a:lnTo>
                    <a:lnTo>
                      <a:pt x="336" y="602"/>
                    </a:lnTo>
                    <a:lnTo>
                      <a:pt x="334" y="602"/>
                    </a:lnTo>
                    <a:lnTo>
                      <a:pt x="331" y="602"/>
                    </a:lnTo>
                    <a:lnTo>
                      <a:pt x="326" y="604"/>
                    </a:lnTo>
                    <a:lnTo>
                      <a:pt x="324" y="604"/>
                    </a:lnTo>
                    <a:lnTo>
                      <a:pt x="323" y="602"/>
                    </a:lnTo>
                    <a:lnTo>
                      <a:pt x="321" y="602"/>
                    </a:lnTo>
                    <a:lnTo>
                      <a:pt x="321" y="606"/>
                    </a:lnTo>
                    <a:lnTo>
                      <a:pt x="321" y="607"/>
                    </a:lnTo>
                    <a:lnTo>
                      <a:pt x="319" y="607"/>
                    </a:lnTo>
                    <a:lnTo>
                      <a:pt x="317" y="609"/>
                    </a:lnTo>
                    <a:lnTo>
                      <a:pt x="316" y="611"/>
                    </a:lnTo>
                    <a:lnTo>
                      <a:pt x="316" y="614"/>
                    </a:lnTo>
                    <a:lnTo>
                      <a:pt x="314" y="614"/>
                    </a:lnTo>
                    <a:lnTo>
                      <a:pt x="312" y="619"/>
                    </a:lnTo>
                    <a:lnTo>
                      <a:pt x="311" y="618"/>
                    </a:lnTo>
                    <a:lnTo>
                      <a:pt x="309" y="616"/>
                    </a:lnTo>
                    <a:lnTo>
                      <a:pt x="307" y="612"/>
                    </a:lnTo>
                    <a:lnTo>
                      <a:pt x="306" y="611"/>
                    </a:lnTo>
                    <a:lnTo>
                      <a:pt x="302" y="609"/>
                    </a:lnTo>
                    <a:lnTo>
                      <a:pt x="300" y="609"/>
                    </a:lnTo>
                    <a:lnTo>
                      <a:pt x="299" y="606"/>
                    </a:lnTo>
                    <a:lnTo>
                      <a:pt x="295" y="604"/>
                    </a:lnTo>
                    <a:lnTo>
                      <a:pt x="292" y="601"/>
                    </a:lnTo>
                    <a:lnTo>
                      <a:pt x="289" y="597"/>
                    </a:lnTo>
                    <a:lnTo>
                      <a:pt x="289" y="595"/>
                    </a:lnTo>
                    <a:lnTo>
                      <a:pt x="285" y="592"/>
                    </a:lnTo>
                    <a:lnTo>
                      <a:pt x="283" y="592"/>
                    </a:lnTo>
                    <a:lnTo>
                      <a:pt x="282" y="592"/>
                    </a:lnTo>
                    <a:lnTo>
                      <a:pt x="282" y="594"/>
                    </a:lnTo>
                    <a:lnTo>
                      <a:pt x="278" y="595"/>
                    </a:lnTo>
                    <a:lnTo>
                      <a:pt x="278" y="597"/>
                    </a:lnTo>
                    <a:lnTo>
                      <a:pt x="277" y="597"/>
                    </a:lnTo>
                    <a:lnTo>
                      <a:pt x="275" y="599"/>
                    </a:lnTo>
                    <a:lnTo>
                      <a:pt x="273" y="597"/>
                    </a:lnTo>
                    <a:lnTo>
                      <a:pt x="272" y="597"/>
                    </a:lnTo>
                    <a:lnTo>
                      <a:pt x="272" y="599"/>
                    </a:lnTo>
                    <a:lnTo>
                      <a:pt x="270" y="601"/>
                    </a:lnTo>
                    <a:lnTo>
                      <a:pt x="268" y="607"/>
                    </a:lnTo>
                    <a:lnTo>
                      <a:pt x="266" y="611"/>
                    </a:lnTo>
                    <a:lnTo>
                      <a:pt x="266" y="612"/>
                    </a:lnTo>
                    <a:lnTo>
                      <a:pt x="265" y="616"/>
                    </a:lnTo>
                    <a:lnTo>
                      <a:pt x="266" y="618"/>
                    </a:lnTo>
                    <a:lnTo>
                      <a:pt x="265" y="619"/>
                    </a:lnTo>
                    <a:lnTo>
                      <a:pt x="265" y="621"/>
                    </a:lnTo>
                    <a:lnTo>
                      <a:pt x="265" y="623"/>
                    </a:lnTo>
                    <a:lnTo>
                      <a:pt x="266" y="623"/>
                    </a:lnTo>
                    <a:lnTo>
                      <a:pt x="266" y="626"/>
                    </a:lnTo>
                    <a:lnTo>
                      <a:pt x="265" y="628"/>
                    </a:lnTo>
                    <a:lnTo>
                      <a:pt x="266" y="629"/>
                    </a:lnTo>
                    <a:lnTo>
                      <a:pt x="265" y="629"/>
                    </a:lnTo>
                    <a:lnTo>
                      <a:pt x="265" y="631"/>
                    </a:lnTo>
                    <a:lnTo>
                      <a:pt x="263" y="631"/>
                    </a:lnTo>
                    <a:lnTo>
                      <a:pt x="261" y="633"/>
                    </a:lnTo>
                    <a:lnTo>
                      <a:pt x="260" y="633"/>
                    </a:lnTo>
                    <a:lnTo>
                      <a:pt x="260" y="635"/>
                    </a:lnTo>
                    <a:lnTo>
                      <a:pt x="258" y="636"/>
                    </a:lnTo>
                    <a:lnTo>
                      <a:pt x="255" y="636"/>
                    </a:lnTo>
                    <a:lnTo>
                      <a:pt x="253" y="638"/>
                    </a:lnTo>
                    <a:lnTo>
                      <a:pt x="251" y="638"/>
                    </a:lnTo>
                    <a:lnTo>
                      <a:pt x="249" y="636"/>
                    </a:lnTo>
                    <a:lnTo>
                      <a:pt x="248" y="636"/>
                    </a:lnTo>
                    <a:lnTo>
                      <a:pt x="244" y="636"/>
                    </a:lnTo>
                    <a:lnTo>
                      <a:pt x="243" y="636"/>
                    </a:lnTo>
                    <a:lnTo>
                      <a:pt x="239" y="633"/>
                    </a:lnTo>
                    <a:lnTo>
                      <a:pt x="236" y="633"/>
                    </a:lnTo>
                    <a:lnTo>
                      <a:pt x="234" y="629"/>
                    </a:lnTo>
                    <a:lnTo>
                      <a:pt x="232" y="626"/>
                    </a:lnTo>
                    <a:lnTo>
                      <a:pt x="231" y="624"/>
                    </a:lnTo>
                    <a:lnTo>
                      <a:pt x="229" y="623"/>
                    </a:lnTo>
                    <a:lnTo>
                      <a:pt x="226" y="621"/>
                    </a:lnTo>
                    <a:lnTo>
                      <a:pt x="222" y="619"/>
                    </a:lnTo>
                    <a:lnTo>
                      <a:pt x="221" y="621"/>
                    </a:lnTo>
                    <a:lnTo>
                      <a:pt x="215" y="616"/>
                    </a:lnTo>
                    <a:lnTo>
                      <a:pt x="217" y="614"/>
                    </a:lnTo>
                    <a:lnTo>
                      <a:pt x="215" y="614"/>
                    </a:lnTo>
                    <a:lnTo>
                      <a:pt x="214" y="614"/>
                    </a:lnTo>
                    <a:lnTo>
                      <a:pt x="210" y="611"/>
                    </a:lnTo>
                    <a:lnTo>
                      <a:pt x="212" y="611"/>
                    </a:lnTo>
                    <a:lnTo>
                      <a:pt x="214" y="611"/>
                    </a:lnTo>
                    <a:lnTo>
                      <a:pt x="214" y="609"/>
                    </a:lnTo>
                    <a:lnTo>
                      <a:pt x="209" y="607"/>
                    </a:lnTo>
                    <a:lnTo>
                      <a:pt x="209" y="606"/>
                    </a:lnTo>
                    <a:lnTo>
                      <a:pt x="209" y="604"/>
                    </a:lnTo>
                    <a:lnTo>
                      <a:pt x="209" y="602"/>
                    </a:lnTo>
                    <a:lnTo>
                      <a:pt x="207" y="602"/>
                    </a:lnTo>
                    <a:lnTo>
                      <a:pt x="207" y="599"/>
                    </a:lnTo>
                    <a:lnTo>
                      <a:pt x="204" y="601"/>
                    </a:lnTo>
                    <a:lnTo>
                      <a:pt x="200" y="599"/>
                    </a:lnTo>
                    <a:lnTo>
                      <a:pt x="202" y="595"/>
                    </a:lnTo>
                    <a:lnTo>
                      <a:pt x="197" y="592"/>
                    </a:lnTo>
                    <a:lnTo>
                      <a:pt x="193" y="594"/>
                    </a:lnTo>
                    <a:lnTo>
                      <a:pt x="193" y="590"/>
                    </a:lnTo>
                    <a:lnTo>
                      <a:pt x="195" y="590"/>
                    </a:lnTo>
                    <a:lnTo>
                      <a:pt x="195" y="589"/>
                    </a:lnTo>
                    <a:lnTo>
                      <a:pt x="190" y="585"/>
                    </a:lnTo>
                    <a:lnTo>
                      <a:pt x="192" y="585"/>
                    </a:lnTo>
                    <a:lnTo>
                      <a:pt x="190" y="583"/>
                    </a:lnTo>
                    <a:lnTo>
                      <a:pt x="190" y="580"/>
                    </a:lnTo>
                    <a:lnTo>
                      <a:pt x="188" y="580"/>
                    </a:lnTo>
                    <a:lnTo>
                      <a:pt x="190" y="578"/>
                    </a:lnTo>
                    <a:lnTo>
                      <a:pt x="187" y="577"/>
                    </a:lnTo>
                    <a:lnTo>
                      <a:pt x="187" y="572"/>
                    </a:lnTo>
                    <a:lnTo>
                      <a:pt x="183" y="570"/>
                    </a:lnTo>
                    <a:lnTo>
                      <a:pt x="183" y="568"/>
                    </a:lnTo>
                    <a:lnTo>
                      <a:pt x="180" y="570"/>
                    </a:lnTo>
                    <a:lnTo>
                      <a:pt x="180" y="568"/>
                    </a:lnTo>
                    <a:lnTo>
                      <a:pt x="181" y="566"/>
                    </a:lnTo>
                    <a:lnTo>
                      <a:pt x="180" y="568"/>
                    </a:lnTo>
                    <a:lnTo>
                      <a:pt x="176" y="566"/>
                    </a:lnTo>
                    <a:lnTo>
                      <a:pt x="171" y="568"/>
                    </a:lnTo>
                    <a:lnTo>
                      <a:pt x="170" y="566"/>
                    </a:lnTo>
                    <a:lnTo>
                      <a:pt x="170" y="565"/>
                    </a:lnTo>
                    <a:lnTo>
                      <a:pt x="168" y="566"/>
                    </a:lnTo>
                    <a:lnTo>
                      <a:pt x="164" y="566"/>
                    </a:lnTo>
                    <a:lnTo>
                      <a:pt x="163" y="568"/>
                    </a:lnTo>
                    <a:lnTo>
                      <a:pt x="161" y="566"/>
                    </a:lnTo>
                    <a:lnTo>
                      <a:pt x="161" y="563"/>
                    </a:lnTo>
                    <a:lnTo>
                      <a:pt x="159" y="563"/>
                    </a:lnTo>
                    <a:lnTo>
                      <a:pt x="159" y="561"/>
                    </a:lnTo>
                    <a:lnTo>
                      <a:pt x="156" y="563"/>
                    </a:lnTo>
                    <a:lnTo>
                      <a:pt x="158" y="560"/>
                    </a:lnTo>
                    <a:lnTo>
                      <a:pt x="156" y="560"/>
                    </a:lnTo>
                    <a:lnTo>
                      <a:pt x="156" y="558"/>
                    </a:lnTo>
                    <a:lnTo>
                      <a:pt x="158" y="558"/>
                    </a:lnTo>
                    <a:lnTo>
                      <a:pt x="156" y="556"/>
                    </a:lnTo>
                    <a:lnTo>
                      <a:pt x="153" y="556"/>
                    </a:lnTo>
                    <a:lnTo>
                      <a:pt x="151" y="553"/>
                    </a:lnTo>
                    <a:lnTo>
                      <a:pt x="147" y="551"/>
                    </a:lnTo>
                    <a:lnTo>
                      <a:pt x="147" y="549"/>
                    </a:lnTo>
                    <a:lnTo>
                      <a:pt x="144" y="548"/>
                    </a:lnTo>
                    <a:lnTo>
                      <a:pt x="144" y="546"/>
                    </a:lnTo>
                    <a:lnTo>
                      <a:pt x="142" y="546"/>
                    </a:lnTo>
                    <a:lnTo>
                      <a:pt x="142" y="548"/>
                    </a:lnTo>
                    <a:lnTo>
                      <a:pt x="141" y="544"/>
                    </a:lnTo>
                    <a:lnTo>
                      <a:pt x="137" y="544"/>
                    </a:lnTo>
                    <a:lnTo>
                      <a:pt x="137" y="541"/>
                    </a:lnTo>
                    <a:lnTo>
                      <a:pt x="134" y="541"/>
                    </a:lnTo>
                    <a:lnTo>
                      <a:pt x="132" y="543"/>
                    </a:lnTo>
                    <a:lnTo>
                      <a:pt x="130" y="543"/>
                    </a:lnTo>
                    <a:lnTo>
                      <a:pt x="127" y="541"/>
                    </a:lnTo>
                    <a:lnTo>
                      <a:pt x="127" y="543"/>
                    </a:lnTo>
                    <a:lnTo>
                      <a:pt x="124" y="543"/>
                    </a:lnTo>
                    <a:lnTo>
                      <a:pt x="122" y="543"/>
                    </a:lnTo>
                    <a:lnTo>
                      <a:pt x="122" y="541"/>
                    </a:lnTo>
                    <a:lnTo>
                      <a:pt x="119" y="541"/>
                    </a:lnTo>
                    <a:lnTo>
                      <a:pt x="117" y="543"/>
                    </a:lnTo>
                    <a:lnTo>
                      <a:pt x="117" y="541"/>
                    </a:lnTo>
                    <a:lnTo>
                      <a:pt x="115" y="543"/>
                    </a:lnTo>
                    <a:lnTo>
                      <a:pt x="113" y="541"/>
                    </a:lnTo>
                    <a:lnTo>
                      <a:pt x="112" y="541"/>
                    </a:lnTo>
                    <a:lnTo>
                      <a:pt x="110" y="541"/>
                    </a:lnTo>
                    <a:lnTo>
                      <a:pt x="110" y="543"/>
                    </a:lnTo>
                    <a:lnTo>
                      <a:pt x="108" y="541"/>
                    </a:lnTo>
                    <a:lnTo>
                      <a:pt x="107" y="543"/>
                    </a:lnTo>
                    <a:lnTo>
                      <a:pt x="107" y="541"/>
                    </a:lnTo>
                    <a:lnTo>
                      <a:pt x="107" y="539"/>
                    </a:lnTo>
                    <a:lnTo>
                      <a:pt x="105" y="539"/>
                    </a:lnTo>
                    <a:lnTo>
                      <a:pt x="105" y="541"/>
                    </a:lnTo>
                    <a:lnTo>
                      <a:pt x="103" y="543"/>
                    </a:lnTo>
                    <a:lnTo>
                      <a:pt x="102" y="543"/>
                    </a:lnTo>
                    <a:lnTo>
                      <a:pt x="100" y="539"/>
                    </a:lnTo>
                    <a:lnTo>
                      <a:pt x="98" y="541"/>
                    </a:lnTo>
                    <a:lnTo>
                      <a:pt x="100" y="543"/>
                    </a:lnTo>
                    <a:lnTo>
                      <a:pt x="98" y="544"/>
                    </a:lnTo>
                    <a:lnTo>
                      <a:pt x="96" y="544"/>
                    </a:lnTo>
                    <a:lnTo>
                      <a:pt x="93" y="546"/>
                    </a:lnTo>
                    <a:lnTo>
                      <a:pt x="88" y="544"/>
                    </a:lnTo>
                    <a:lnTo>
                      <a:pt x="83" y="546"/>
                    </a:lnTo>
                    <a:lnTo>
                      <a:pt x="81" y="544"/>
                    </a:lnTo>
                    <a:lnTo>
                      <a:pt x="78" y="546"/>
                    </a:lnTo>
                    <a:lnTo>
                      <a:pt x="78" y="548"/>
                    </a:lnTo>
                    <a:lnTo>
                      <a:pt x="76" y="548"/>
                    </a:lnTo>
                    <a:lnTo>
                      <a:pt x="73" y="548"/>
                    </a:lnTo>
                    <a:lnTo>
                      <a:pt x="73" y="549"/>
                    </a:lnTo>
                    <a:lnTo>
                      <a:pt x="69" y="549"/>
                    </a:lnTo>
                    <a:lnTo>
                      <a:pt x="62" y="548"/>
                    </a:lnTo>
                    <a:lnTo>
                      <a:pt x="61" y="549"/>
                    </a:lnTo>
                    <a:lnTo>
                      <a:pt x="61" y="548"/>
                    </a:lnTo>
                    <a:lnTo>
                      <a:pt x="59" y="548"/>
                    </a:lnTo>
                    <a:lnTo>
                      <a:pt x="56" y="549"/>
                    </a:lnTo>
                    <a:lnTo>
                      <a:pt x="54" y="548"/>
                    </a:lnTo>
                    <a:lnTo>
                      <a:pt x="51" y="549"/>
                    </a:lnTo>
                    <a:lnTo>
                      <a:pt x="49" y="548"/>
                    </a:lnTo>
                    <a:lnTo>
                      <a:pt x="47" y="546"/>
                    </a:lnTo>
                    <a:lnTo>
                      <a:pt x="45" y="546"/>
                    </a:lnTo>
                    <a:lnTo>
                      <a:pt x="44" y="548"/>
                    </a:lnTo>
                    <a:lnTo>
                      <a:pt x="40" y="548"/>
                    </a:lnTo>
                    <a:lnTo>
                      <a:pt x="39" y="548"/>
                    </a:lnTo>
                    <a:lnTo>
                      <a:pt x="39" y="549"/>
                    </a:lnTo>
                    <a:lnTo>
                      <a:pt x="39" y="551"/>
                    </a:lnTo>
                    <a:lnTo>
                      <a:pt x="39" y="553"/>
                    </a:lnTo>
                    <a:lnTo>
                      <a:pt x="37" y="553"/>
                    </a:lnTo>
                    <a:lnTo>
                      <a:pt x="37" y="556"/>
                    </a:lnTo>
                    <a:lnTo>
                      <a:pt x="35" y="558"/>
                    </a:lnTo>
                    <a:lnTo>
                      <a:pt x="35" y="560"/>
                    </a:lnTo>
                    <a:lnTo>
                      <a:pt x="35" y="561"/>
                    </a:lnTo>
                    <a:lnTo>
                      <a:pt x="34" y="563"/>
                    </a:lnTo>
                    <a:lnTo>
                      <a:pt x="32" y="563"/>
                    </a:lnTo>
                    <a:lnTo>
                      <a:pt x="30" y="565"/>
                    </a:lnTo>
                    <a:lnTo>
                      <a:pt x="32" y="568"/>
                    </a:lnTo>
                    <a:lnTo>
                      <a:pt x="28" y="572"/>
                    </a:lnTo>
                    <a:lnTo>
                      <a:pt x="28" y="570"/>
                    </a:lnTo>
                    <a:lnTo>
                      <a:pt x="28" y="572"/>
                    </a:lnTo>
                    <a:lnTo>
                      <a:pt x="27" y="560"/>
                    </a:lnTo>
                    <a:lnTo>
                      <a:pt x="30" y="549"/>
                    </a:lnTo>
                    <a:lnTo>
                      <a:pt x="32" y="543"/>
                    </a:lnTo>
                    <a:lnTo>
                      <a:pt x="35" y="531"/>
                    </a:lnTo>
                    <a:lnTo>
                      <a:pt x="40" y="519"/>
                    </a:lnTo>
                    <a:lnTo>
                      <a:pt x="45" y="509"/>
                    </a:lnTo>
                    <a:lnTo>
                      <a:pt x="49" y="498"/>
                    </a:lnTo>
                    <a:lnTo>
                      <a:pt x="51" y="488"/>
                    </a:lnTo>
                    <a:lnTo>
                      <a:pt x="52" y="473"/>
                    </a:lnTo>
                    <a:lnTo>
                      <a:pt x="52" y="471"/>
                    </a:lnTo>
                    <a:lnTo>
                      <a:pt x="52" y="464"/>
                    </a:lnTo>
                    <a:lnTo>
                      <a:pt x="51" y="449"/>
                    </a:lnTo>
                    <a:lnTo>
                      <a:pt x="47" y="439"/>
                    </a:lnTo>
                    <a:lnTo>
                      <a:pt x="44" y="425"/>
                    </a:lnTo>
                    <a:lnTo>
                      <a:pt x="39" y="417"/>
                    </a:lnTo>
                    <a:lnTo>
                      <a:pt x="35" y="412"/>
                    </a:lnTo>
                    <a:lnTo>
                      <a:pt x="30" y="408"/>
                    </a:lnTo>
                    <a:lnTo>
                      <a:pt x="28" y="403"/>
                    </a:lnTo>
                    <a:lnTo>
                      <a:pt x="27" y="403"/>
                    </a:lnTo>
                    <a:lnTo>
                      <a:pt x="28" y="401"/>
                    </a:lnTo>
                    <a:lnTo>
                      <a:pt x="28" y="403"/>
                    </a:lnTo>
                    <a:lnTo>
                      <a:pt x="28" y="401"/>
                    </a:lnTo>
                    <a:lnTo>
                      <a:pt x="28" y="403"/>
                    </a:lnTo>
                    <a:lnTo>
                      <a:pt x="30" y="403"/>
                    </a:lnTo>
                    <a:lnTo>
                      <a:pt x="34" y="401"/>
                    </a:lnTo>
                    <a:lnTo>
                      <a:pt x="35" y="400"/>
                    </a:lnTo>
                    <a:lnTo>
                      <a:pt x="39" y="395"/>
                    </a:lnTo>
                    <a:lnTo>
                      <a:pt x="37" y="395"/>
                    </a:lnTo>
                    <a:lnTo>
                      <a:pt x="34" y="398"/>
                    </a:lnTo>
                    <a:lnTo>
                      <a:pt x="35" y="395"/>
                    </a:lnTo>
                    <a:lnTo>
                      <a:pt x="34" y="396"/>
                    </a:lnTo>
                    <a:lnTo>
                      <a:pt x="34" y="400"/>
                    </a:lnTo>
                    <a:lnTo>
                      <a:pt x="32" y="400"/>
                    </a:lnTo>
                    <a:lnTo>
                      <a:pt x="32" y="401"/>
                    </a:lnTo>
                    <a:lnTo>
                      <a:pt x="30" y="400"/>
                    </a:lnTo>
                    <a:lnTo>
                      <a:pt x="32" y="395"/>
                    </a:lnTo>
                    <a:lnTo>
                      <a:pt x="35" y="390"/>
                    </a:lnTo>
                    <a:lnTo>
                      <a:pt x="34" y="391"/>
                    </a:lnTo>
                    <a:lnTo>
                      <a:pt x="35" y="386"/>
                    </a:lnTo>
                    <a:lnTo>
                      <a:pt x="37" y="384"/>
                    </a:lnTo>
                    <a:lnTo>
                      <a:pt x="39" y="384"/>
                    </a:lnTo>
                    <a:lnTo>
                      <a:pt x="39" y="386"/>
                    </a:lnTo>
                    <a:lnTo>
                      <a:pt x="40" y="384"/>
                    </a:lnTo>
                    <a:lnTo>
                      <a:pt x="39" y="384"/>
                    </a:lnTo>
                    <a:lnTo>
                      <a:pt x="40" y="383"/>
                    </a:lnTo>
                    <a:lnTo>
                      <a:pt x="40" y="379"/>
                    </a:lnTo>
                    <a:lnTo>
                      <a:pt x="40" y="378"/>
                    </a:lnTo>
                    <a:lnTo>
                      <a:pt x="40" y="376"/>
                    </a:lnTo>
                    <a:lnTo>
                      <a:pt x="39" y="378"/>
                    </a:lnTo>
                    <a:lnTo>
                      <a:pt x="39" y="376"/>
                    </a:lnTo>
                    <a:lnTo>
                      <a:pt x="42" y="371"/>
                    </a:lnTo>
                    <a:lnTo>
                      <a:pt x="42" y="369"/>
                    </a:lnTo>
                    <a:lnTo>
                      <a:pt x="42" y="367"/>
                    </a:lnTo>
                    <a:lnTo>
                      <a:pt x="40" y="364"/>
                    </a:lnTo>
                    <a:lnTo>
                      <a:pt x="42" y="364"/>
                    </a:lnTo>
                    <a:lnTo>
                      <a:pt x="44" y="361"/>
                    </a:lnTo>
                    <a:lnTo>
                      <a:pt x="42" y="357"/>
                    </a:lnTo>
                    <a:lnTo>
                      <a:pt x="40" y="357"/>
                    </a:lnTo>
                    <a:lnTo>
                      <a:pt x="37" y="350"/>
                    </a:lnTo>
                    <a:lnTo>
                      <a:pt x="35" y="350"/>
                    </a:lnTo>
                    <a:lnTo>
                      <a:pt x="35" y="349"/>
                    </a:lnTo>
                    <a:lnTo>
                      <a:pt x="34" y="345"/>
                    </a:lnTo>
                    <a:lnTo>
                      <a:pt x="32" y="340"/>
                    </a:lnTo>
                    <a:lnTo>
                      <a:pt x="32" y="339"/>
                    </a:lnTo>
                    <a:lnTo>
                      <a:pt x="28" y="337"/>
                    </a:lnTo>
                    <a:lnTo>
                      <a:pt x="28" y="335"/>
                    </a:lnTo>
                    <a:lnTo>
                      <a:pt x="27" y="333"/>
                    </a:lnTo>
                    <a:lnTo>
                      <a:pt x="27" y="344"/>
                    </a:lnTo>
                    <a:lnTo>
                      <a:pt x="20" y="337"/>
                    </a:lnTo>
                    <a:lnTo>
                      <a:pt x="20" y="333"/>
                    </a:lnTo>
                    <a:lnTo>
                      <a:pt x="18" y="333"/>
                    </a:lnTo>
                    <a:lnTo>
                      <a:pt x="17" y="330"/>
                    </a:lnTo>
                    <a:lnTo>
                      <a:pt x="15" y="328"/>
                    </a:lnTo>
                    <a:lnTo>
                      <a:pt x="15" y="325"/>
                    </a:lnTo>
                    <a:lnTo>
                      <a:pt x="13" y="323"/>
                    </a:lnTo>
                    <a:lnTo>
                      <a:pt x="11" y="322"/>
                    </a:lnTo>
                    <a:lnTo>
                      <a:pt x="10" y="320"/>
                    </a:lnTo>
                    <a:lnTo>
                      <a:pt x="8" y="315"/>
                    </a:lnTo>
                    <a:lnTo>
                      <a:pt x="8" y="311"/>
                    </a:lnTo>
                    <a:lnTo>
                      <a:pt x="6" y="313"/>
                    </a:lnTo>
                    <a:lnTo>
                      <a:pt x="6" y="315"/>
                    </a:lnTo>
                    <a:lnTo>
                      <a:pt x="5" y="315"/>
                    </a:lnTo>
                    <a:lnTo>
                      <a:pt x="3" y="318"/>
                    </a:lnTo>
                    <a:lnTo>
                      <a:pt x="3" y="320"/>
                    </a:lnTo>
                    <a:lnTo>
                      <a:pt x="3" y="318"/>
                    </a:lnTo>
                    <a:lnTo>
                      <a:pt x="1" y="318"/>
                    </a:lnTo>
                    <a:lnTo>
                      <a:pt x="1" y="320"/>
                    </a:lnTo>
                    <a:lnTo>
                      <a:pt x="3" y="320"/>
                    </a:lnTo>
                    <a:lnTo>
                      <a:pt x="3" y="322"/>
                    </a:lnTo>
                    <a:lnTo>
                      <a:pt x="3" y="325"/>
                    </a:lnTo>
                    <a:lnTo>
                      <a:pt x="1" y="325"/>
                    </a:lnTo>
                    <a:lnTo>
                      <a:pt x="0" y="327"/>
                    </a:lnTo>
                    <a:lnTo>
                      <a:pt x="1" y="328"/>
                    </a:lnTo>
                    <a:lnTo>
                      <a:pt x="1" y="332"/>
                    </a:lnTo>
                    <a:lnTo>
                      <a:pt x="0" y="325"/>
                    </a:lnTo>
                    <a:lnTo>
                      <a:pt x="6" y="303"/>
                    </a:lnTo>
                    <a:lnTo>
                      <a:pt x="66" y="303"/>
                    </a:lnTo>
                    <a:lnTo>
                      <a:pt x="115" y="303"/>
                    </a:lnTo>
                    <a:lnTo>
                      <a:pt x="144" y="303"/>
                    </a:lnTo>
                    <a:lnTo>
                      <a:pt x="205" y="305"/>
                    </a:lnTo>
                    <a:lnTo>
                      <a:pt x="204" y="288"/>
                    </a:lnTo>
                    <a:lnTo>
                      <a:pt x="198" y="238"/>
                    </a:lnTo>
                    <a:lnTo>
                      <a:pt x="198" y="233"/>
                    </a:lnTo>
                    <a:lnTo>
                      <a:pt x="200" y="225"/>
                    </a:lnTo>
                    <a:lnTo>
                      <a:pt x="205" y="219"/>
                    </a:lnTo>
                    <a:lnTo>
                      <a:pt x="207" y="216"/>
                    </a:lnTo>
                    <a:lnTo>
                      <a:pt x="227" y="204"/>
                    </a:lnTo>
                    <a:lnTo>
                      <a:pt x="239" y="202"/>
                    </a:lnTo>
                    <a:lnTo>
                      <a:pt x="249" y="197"/>
                    </a:lnTo>
                    <a:lnTo>
                      <a:pt x="256" y="196"/>
                    </a:lnTo>
                    <a:lnTo>
                      <a:pt x="256" y="145"/>
                    </a:lnTo>
                    <a:lnTo>
                      <a:pt x="256" y="117"/>
                    </a:lnTo>
                    <a:lnTo>
                      <a:pt x="256" y="68"/>
                    </a:lnTo>
                    <a:lnTo>
                      <a:pt x="314" y="66"/>
                    </a:lnTo>
                    <a:lnTo>
                      <a:pt x="425" y="66"/>
                    </a:lnTo>
                    <a:lnTo>
                      <a:pt x="425" y="37"/>
                    </a:lnTo>
                    <a:lnTo>
                      <a:pt x="425" y="22"/>
                    </a:lnTo>
                    <a:lnTo>
                      <a:pt x="425" y="0"/>
                    </a:lnTo>
                    <a:close/>
                    <a:moveTo>
                      <a:pt x="37" y="379"/>
                    </a:moveTo>
                    <a:lnTo>
                      <a:pt x="37" y="381"/>
                    </a:lnTo>
                    <a:lnTo>
                      <a:pt x="35" y="383"/>
                    </a:lnTo>
                    <a:lnTo>
                      <a:pt x="35" y="386"/>
                    </a:lnTo>
                    <a:lnTo>
                      <a:pt x="32" y="391"/>
                    </a:lnTo>
                    <a:lnTo>
                      <a:pt x="30" y="390"/>
                    </a:lnTo>
                    <a:lnTo>
                      <a:pt x="30" y="386"/>
                    </a:lnTo>
                    <a:lnTo>
                      <a:pt x="28" y="388"/>
                    </a:lnTo>
                    <a:lnTo>
                      <a:pt x="28" y="384"/>
                    </a:lnTo>
                    <a:lnTo>
                      <a:pt x="30" y="384"/>
                    </a:lnTo>
                    <a:lnTo>
                      <a:pt x="32" y="384"/>
                    </a:lnTo>
                    <a:lnTo>
                      <a:pt x="32" y="379"/>
                    </a:lnTo>
                    <a:lnTo>
                      <a:pt x="34" y="379"/>
                    </a:lnTo>
                    <a:lnTo>
                      <a:pt x="35" y="378"/>
                    </a:lnTo>
                    <a:lnTo>
                      <a:pt x="37" y="379"/>
                    </a:lnTo>
                    <a:close/>
                    <a:moveTo>
                      <a:pt x="30" y="340"/>
                    </a:moveTo>
                    <a:lnTo>
                      <a:pt x="30" y="342"/>
                    </a:lnTo>
                    <a:lnTo>
                      <a:pt x="30" y="340"/>
                    </a:lnTo>
                    <a:close/>
                    <a:moveTo>
                      <a:pt x="35" y="383"/>
                    </a:moveTo>
                    <a:lnTo>
                      <a:pt x="37" y="383"/>
                    </a:lnTo>
                    <a:lnTo>
                      <a:pt x="37" y="386"/>
                    </a:lnTo>
                    <a:lnTo>
                      <a:pt x="35" y="386"/>
                    </a:lnTo>
                    <a:lnTo>
                      <a:pt x="35" y="383"/>
                    </a:lnTo>
                    <a:close/>
                    <a:moveTo>
                      <a:pt x="28" y="339"/>
                    </a:moveTo>
                    <a:lnTo>
                      <a:pt x="28" y="340"/>
                    </a:lnTo>
                    <a:lnTo>
                      <a:pt x="28" y="339"/>
                    </a:lnTo>
                    <a:close/>
                    <a:moveTo>
                      <a:pt x="28" y="339"/>
                    </a:moveTo>
                    <a:lnTo>
                      <a:pt x="28" y="342"/>
                    </a:lnTo>
                    <a:lnTo>
                      <a:pt x="28" y="339"/>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Freeform 42">
                <a:extLst>
                  <a:ext uri="{FF2B5EF4-FFF2-40B4-BE49-F238E27FC236}">
                    <a16:creationId xmlns:a16="http://schemas.microsoft.com/office/drawing/2014/main" id="{866D21D9-0A69-46FE-9C8C-90C9E9E94D0E}"/>
                  </a:ext>
                </a:extLst>
              </p:cNvPr>
              <p:cNvSpPr>
                <a:spLocks/>
              </p:cNvSpPr>
              <p:nvPr/>
            </p:nvSpPr>
            <p:spPr bwMode="gray">
              <a:xfrm>
                <a:off x="4452383" y="1718511"/>
                <a:ext cx="762023" cy="517928"/>
              </a:xfrm>
              <a:custGeom>
                <a:avLst/>
                <a:gdLst>
                  <a:gd name="T0" fmla="*/ 399 w 615"/>
                  <a:gd name="T1" fmla="*/ 11 h 418"/>
                  <a:gd name="T2" fmla="*/ 413 w 615"/>
                  <a:gd name="T3" fmla="*/ 25 h 418"/>
                  <a:gd name="T4" fmla="*/ 433 w 615"/>
                  <a:gd name="T5" fmla="*/ 37 h 418"/>
                  <a:gd name="T6" fmla="*/ 462 w 615"/>
                  <a:gd name="T7" fmla="*/ 34 h 418"/>
                  <a:gd name="T8" fmla="*/ 477 w 615"/>
                  <a:gd name="T9" fmla="*/ 32 h 418"/>
                  <a:gd name="T10" fmla="*/ 508 w 615"/>
                  <a:gd name="T11" fmla="*/ 32 h 418"/>
                  <a:gd name="T12" fmla="*/ 518 w 615"/>
                  <a:gd name="T13" fmla="*/ 25 h 418"/>
                  <a:gd name="T14" fmla="*/ 518 w 615"/>
                  <a:gd name="T15" fmla="*/ 34 h 418"/>
                  <a:gd name="T16" fmla="*/ 525 w 615"/>
                  <a:gd name="T17" fmla="*/ 40 h 418"/>
                  <a:gd name="T18" fmla="*/ 539 w 615"/>
                  <a:gd name="T19" fmla="*/ 42 h 418"/>
                  <a:gd name="T20" fmla="*/ 564 w 615"/>
                  <a:gd name="T21" fmla="*/ 51 h 418"/>
                  <a:gd name="T22" fmla="*/ 576 w 615"/>
                  <a:gd name="T23" fmla="*/ 57 h 418"/>
                  <a:gd name="T24" fmla="*/ 579 w 615"/>
                  <a:gd name="T25" fmla="*/ 71 h 418"/>
                  <a:gd name="T26" fmla="*/ 581 w 615"/>
                  <a:gd name="T27" fmla="*/ 103 h 418"/>
                  <a:gd name="T28" fmla="*/ 586 w 615"/>
                  <a:gd name="T29" fmla="*/ 117 h 418"/>
                  <a:gd name="T30" fmla="*/ 583 w 615"/>
                  <a:gd name="T31" fmla="*/ 132 h 418"/>
                  <a:gd name="T32" fmla="*/ 590 w 615"/>
                  <a:gd name="T33" fmla="*/ 149 h 418"/>
                  <a:gd name="T34" fmla="*/ 605 w 615"/>
                  <a:gd name="T35" fmla="*/ 185 h 418"/>
                  <a:gd name="T36" fmla="*/ 608 w 615"/>
                  <a:gd name="T37" fmla="*/ 192 h 418"/>
                  <a:gd name="T38" fmla="*/ 568 w 615"/>
                  <a:gd name="T39" fmla="*/ 190 h 418"/>
                  <a:gd name="T40" fmla="*/ 539 w 615"/>
                  <a:gd name="T41" fmla="*/ 190 h 418"/>
                  <a:gd name="T42" fmla="*/ 501 w 615"/>
                  <a:gd name="T43" fmla="*/ 214 h 418"/>
                  <a:gd name="T44" fmla="*/ 476 w 615"/>
                  <a:gd name="T45" fmla="*/ 233 h 418"/>
                  <a:gd name="T46" fmla="*/ 476 w 615"/>
                  <a:gd name="T47" fmla="*/ 243 h 418"/>
                  <a:gd name="T48" fmla="*/ 481 w 615"/>
                  <a:gd name="T49" fmla="*/ 239 h 418"/>
                  <a:gd name="T50" fmla="*/ 483 w 615"/>
                  <a:gd name="T51" fmla="*/ 243 h 418"/>
                  <a:gd name="T52" fmla="*/ 486 w 615"/>
                  <a:gd name="T53" fmla="*/ 251 h 418"/>
                  <a:gd name="T54" fmla="*/ 435 w 615"/>
                  <a:gd name="T55" fmla="*/ 285 h 418"/>
                  <a:gd name="T56" fmla="*/ 398 w 615"/>
                  <a:gd name="T57" fmla="*/ 311 h 418"/>
                  <a:gd name="T58" fmla="*/ 381 w 615"/>
                  <a:gd name="T59" fmla="*/ 328 h 418"/>
                  <a:gd name="T60" fmla="*/ 375 w 615"/>
                  <a:gd name="T61" fmla="*/ 319 h 418"/>
                  <a:gd name="T62" fmla="*/ 353 w 615"/>
                  <a:gd name="T63" fmla="*/ 326 h 418"/>
                  <a:gd name="T64" fmla="*/ 340 w 615"/>
                  <a:gd name="T65" fmla="*/ 324 h 418"/>
                  <a:gd name="T66" fmla="*/ 321 w 615"/>
                  <a:gd name="T67" fmla="*/ 326 h 418"/>
                  <a:gd name="T68" fmla="*/ 296 w 615"/>
                  <a:gd name="T69" fmla="*/ 330 h 418"/>
                  <a:gd name="T70" fmla="*/ 273 w 615"/>
                  <a:gd name="T71" fmla="*/ 336 h 418"/>
                  <a:gd name="T72" fmla="*/ 228 w 615"/>
                  <a:gd name="T73" fmla="*/ 386 h 418"/>
                  <a:gd name="T74" fmla="*/ 109 w 615"/>
                  <a:gd name="T75" fmla="*/ 416 h 418"/>
                  <a:gd name="T76" fmla="*/ 0 w 615"/>
                  <a:gd name="T77" fmla="*/ 416 h 418"/>
                  <a:gd name="T78" fmla="*/ 47 w 615"/>
                  <a:gd name="T79" fmla="*/ 398 h 418"/>
                  <a:gd name="T80" fmla="*/ 47 w 615"/>
                  <a:gd name="T81" fmla="*/ 398 h 418"/>
                  <a:gd name="T82" fmla="*/ 92 w 615"/>
                  <a:gd name="T83" fmla="*/ 377 h 418"/>
                  <a:gd name="T84" fmla="*/ 137 w 615"/>
                  <a:gd name="T85" fmla="*/ 345 h 418"/>
                  <a:gd name="T86" fmla="*/ 161 w 615"/>
                  <a:gd name="T87" fmla="*/ 316 h 418"/>
                  <a:gd name="T88" fmla="*/ 178 w 615"/>
                  <a:gd name="T89" fmla="*/ 279 h 418"/>
                  <a:gd name="T90" fmla="*/ 170 w 615"/>
                  <a:gd name="T91" fmla="*/ 258 h 418"/>
                  <a:gd name="T92" fmla="*/ 168 w 615"/>
                  <a:gd name="T93" fmla="*/ 243 h 418"/>
                  <a:gd name="T94" fmla="*/ 177 w 615"/>
                  <a:gd name="T95" fmla="*/ 217 h 418"/>
                  <a:gd name="T96" fmla="*/ 197 w 615"/>
                  <a:gd name="T97" fmla="*/ 185 h 418"/>
                  <a:gd name="T98" fmla="*/ 197 w 615"/>
                  <a:gd name="T99" fmla="*/ 171 h 418"/>
                  <a:gd name="T100" fmla="*/ 229 w 615"/>
                  <a:gd name="T101" fmla="*/ 141 h 418"/>
                  <a:gd name="T102" fmla="*/ 239 w 615"/>
                  <a:gd name="T103" fmla="*/ 134 h 418"/>
                  <a:gd name="T104" fmla="*/ 279 w 615"/>
                  <a:gd name="T105" fmla="*/ 117 h 418"/>
                  <a:gd name="T106" fmla="*/ 292 w 615"/>
                  <a:gd name="T107" fmla="*/ 112 h 418"/>
                  <a:gd name="T108" fmla="*/ 311 w 615"/>
                  <a:gd name="T109" fmla="*/ 103 h 418"/>
                  <a:gd name="T110" fmla="*/ 336 w 615"/>
                  <a:gd name="T111" fmla="*/ 74 h 418"/>
                  <a:gd name="T112" fmla="*/ 358 w 615"/>
                  <a:gd name="T113" fmla="*/ 27 h 418"/>
                  <a:gd name="T114" fmla="*/ 374 w 615"/>
                  <a:gd name="T115" fmla="*/ 6 h 418"/>
                  <a:gd name="T116" fmla="*/ 389 w 615"/>
                  <a:gd name="T117"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5" h="418">
                    <a:moveTo>
                      <a:pt x="394" y="0"/>
                    </a:moveTo>
                    <a:lnTo>
                      <a:pt x="394" y="1"/>
                    </a:lnTo>
                    <a:lnTo>
                      <a:pt x="396" y="1"/>
                    </a:lnTo>
                    <a:lnTo>
                      <a:pt x="396" y="10"/>
                    </a:lnTo>
                    <a:lnTo>
                      <a:pt x="398" y="11"/>
                    </a:lnTo>
                    <a:lnTo>
                      <a:pt x="399" y="11"/>
                    </a:lnTo>
                    <a:lnTo>
                      <a:pt x="399" y="13"/>
                    </a:lnTo>
                    <a:lnTo>
                      <a:pt x="401" y="18"/>
                    </a:lnTo>
                    <a:lnTo>
                      <a:pt x="404" y="18"/>
                    </a:lnTo>
                    <a:lnTo>
                      <a:pt x="408" y="22"/>
                    </a:lnTo>
                    <a:lnTo>
                      <a:pt x="411" y="25"/>
                    </a:lnTo>
                    <a:lnTo>
                      <a:pt x="413" y="25"/>
                    </a:lnTo>
                    <a:lnTo>
                      <a:pt x="418" y="30"/>
                    </a:lnTo>
                    <a:lnTo>
                      <a:pt x="420" y="30"/>
                    </a:lnTo>
                    <a:lnTo>
                      <a:pt x="426" y="35"/>
                    </a:lnTo>
                    <a:lnTo>
                      <a:pt x="430" y="35"/>
                    </a:lnTo>
                    <a:lnTo>
                      <a:pt x="432" y="35"/>
                    </a:lnTo>
                    <a:lnTo>
                      <a:pt x="433" y="37"/>
                    </a:lnTo>
                    <a:lnTo>
                      <a:pt x="440" y="37"/>
                    </a:lnTo>
                    <a:lnTo>
                      <a:pt x="442" y="39"/>
                    </a:lnTo>
                    <a:lnTo>
                      <a:pt x="447" y="39"/>
                    </a:lnTo>
                    <a:lnTo>
                      <a:pt x="450" y="37"/>
                    </a:lnTo>
                    <a:lnTo>
                      <a:pt x="457" y="35"/>
                    </a:lnTo>
                    <a:lnTo>
                      <a:pt x="462" y="34"/>
                    </a:lnTo>
                    <a:lnTo>
                      <a:pt x="466" y="34"/>
                    </a:lnTo>
                    <a:lnTo>
                      <a:pt x="467" y="32"/>
                    </a:lnTo>
                    <a:lnTo>
                      <a:pt x="469" y="35"/>
                    </a:lnTo>
                    <a:lnTo>
                      <a:pt x="474" y="35"/>
                    </a:lnTo>
                    <a:lnTo>
                      <a:pt x="476" y="35"/>
                    </a:lnTo>
                    <a:lnTo>
                      <a:pt x="477" y="32"/>
                    </a:lnTo>
                    <a:lnTo>
                      <a:pt x="479" y="32"/>
                    </a:lnTo>
                    <a:lnTo>
                      <a:pt x="481" y="32"/>
                    </a:lnTo>
                    <a:lnTo>
                      <a:pt x="486" y="35"/>
                    </a:lnTo>
                    <a:lnTo>
                      <a:pt x="498" y="37"/>
                    </a:lnTo>
                    <a:lnTo>
                      <a:pt x="505" y="34"/>
                    </a:lnTo>
                    <a:lnTo>
                      <a:pt x="508" y="32"/>
                    </a:lnTo>
                    <a:lnTo>
                      <a:pt x="510" y="32"/>
                    </a:lnTo>
                    <a:lnTo>
                      <a:pt x="511" y="32"/>
                    </a:lnTo>
                    <a:lnTo>
                      <a:pt x="515" y="27"/>
                    </a:lnTo>
                    <a:lnTo>
                      <a:pt x="515" y="23"/>
                    </a:lnTo>
                    <a:lnTo>
                      <a:pt x="517" y="23"/>
                    </a:lnTo>
                    <a:lnTo>
                      <a:pt x="518" y="25"/>
                    </a:lnTo>
                    <a:lnTo>
                      <a:pt x="517" y="27"/>
                    </a:lnTo>
                    <a:lnTo>
                      <a:pt x="517" y="30"/>
                    </a:lnTo>
                    <a:lnTo>
                      <a:pt x="517" y="32"/>
                    </a:lnTo>
                    <a:lnTo>
                      <a:pt x="518" y="32"/>
                    </a:lnTo>
                    <a:lnTo>
                      <a:pt x="523" y="35"/>
                    </a:lnTo>
                    <a:lnTo>
                      <a:pt x="518" y="34"/>
                    </a:lnTo>
                    <a:lnTo>
                      <a:pt x="518" y="35"/>
                    </a:lnTo>
                    <a:lnTo>
                      <a:pt x="520" y="35"/>
                    </a:lnTo>
                    <a:lnTo>
                      <a:pt x="518" y="35"/>
                    </a:lnTo>
                    <a:lnTo>
                      <a:pt x="518" y="37"/>
                    </a:lnTo>
                    <a:lnTo>
                      <a:pt x="522" y="39"/>
                    </a:lnTo>
                    <a:lnTo>
                      <a:pt x="525" y="40"/>
                    </a:lnTo>
                    <a:lnTo>
                      <a:pt x="527" y="40"/>
                    </a:lnTo>
                    <a:lnTo>
                      <a:pt x="528" y="40"/>
                    </a:lnTo>
                    <a:lnTo>
                      <a:pt x="523" y="37"/>
                    </a:lnTo>
                    <a:lnTo>
                      <a:pt x="528" y="40"/>
                    </a:lnTo>
                    <a:lnTo>
                      <a:pt x="534" y="42"/>
                    </a:lnTo>
                    <a:lnTo>
                      <a:pt x="539" y="42"/>
                    </a:lnTo>
                    <a:lnTo>
                      <a:pt x="544" y="39"/>
                    </a:lnTo>
                    <a:lnTo>
                      <a:pt x="556" y="42"/>
                    </a:lnTo>
                    <a:lnTo>
                      <a:pt x="554" y="44"/>
                    </a:lnTo>
                    <a:lnTo>
                      <a:pt x="557" y="45"/>
                    </a:lnTo>
                    <a:lnTo>
                      <a:pt x="559" y="45"/>
                    </a:lnTo>
                    <a:lnTo>
                      <a:pt x="564" y="51"/>
                    </a:lnTo>
                    <a:lnTo>
                      <a:pt x="568" y="49"/>
                    </a:lnTo>
                    <a:lnTo>
                      <a:pt x="568" y="52"/>
                    </a:lnTo>
                    <a:lnTo>
                      <a:pt x="571" y="54"/>
                    </a:lnTo>
                    <a:lnTo>
                      <a:pt x="571" y="56"/>
                    </a:lnTo>
                    <a:lnTo>
                      <a:pt x="574" y="57"/>
                    </a:lnTo>
                    <a:lnTo>
                      <a:pt x="576" y="57"/>
                    </a:lnTo>
                    <a:lnTo>
                      <a:pt x="574" y="57"/>
                    </a:lnTo>
                    <a:lnTo>
                      <a:pt x="579" y="59"/>
                    </a:lnTo>
                    <a:lnTo>
                      <a:pt x="578" y="61"/>
                    </a:lnTo>
                    <a:lnTo>
                      <a:pt x="573" y="66"/>
                    </a:lnTo>
                    <a:lnTo>
                      <a:pt x="574" y="66"/>
                    </a:lnTo>
                    <a:lnTo>
                      <a:pt x="579" y="71"/>
                    </a:lnTo>
                    <a:lnTo>
                      <a:pt x="581" y="71"/>
                    </a:lnTo>
                    <a:lnTo>
                      <a:pt x="576" y="76"/>
                    </a:lnTo>
                    <a:lnTo>
                      <a:pt x="581" y="81"/>
                    </a:lnTo>
                    <a:lnTo>
                      <a:pt x="579" y="85"/>
                    </a:lnTo>
                    <a:lnTo>
                      <a:pt x="583" y="91"/>
                    </a:lnTo>
                    <a:lnTo>
                      <a:pt x="581" y="103"/>
                    </a:lnTo>
                    <a:lnTo>
                      <a:pt x="583" y="108"/>
                    </a:lnTo>
                    <a:lnTo>
                      <a:pt x="579" y="112"/>
                    </a:lnTo>
                    <a:lnTo>
                      <a:pt x="581" y="114"/>
                    </a:lnTo>
                    <a:lnTo>
                      <a:pt x="583" y="114"/>
                    </a:lnTo>
                    <a:lnTo>
                      <a:pt x="585" y="115"/>
                    </a:lnTo>
                    <a:lnTo>
                      <a:pt x="586" y="117"/>
                    </a:lnTo>
                    <a:lnTo>
                      <a:pt x="586" y="119"/>
                    </a:lnTo>
                    <a:lnTo>
                      <a:pt x="586" y="120"/>
                    </a:lnTo>
                    <a:lnTo>
                      <a:pt x="585" y="122"/>
                    </a:lnTo>
                    <a:lnTo>
                      <a:pt x="585" y="125"/>
                    </a:lnTo>
                    <a:lnTo>
                      <a:pt x="583" y="129"/>
                    </a:lnTo>
                    <a:lnTo>
                      <a:pt x="583" y="132"/>
                    </a:lnTo>
                    <a:lnTo>
                      <a:pt x="586" y="137"/>
                    </a:lnTo>
                    <a:lnTo>
                      <a:pt x="588" y="141"/>
                    </a:lnTo>
                    <a:lnTo>
                      <a:pt x="591" y="144"/>
                    </a:lnTo>
                    <a:lnTo>
                      <a:pt x="593" y="146"/>
                    </a:lnTo>
                    <a:lnTo>
                      <a:pt x="591" y="149"/>
                    </a:lnTo>
                    <a:lnTo>
                      <a:pt x="590" y="149"/>
                    </a:lnTo>
                    <a:lnTo>
                      <a:pt x="596" y="159"/>
                    </a:lnTo>
                    <a:lnTo>
                      <a:pt x="607" y="166"/>
                    </a:lnTo>
                    <a:lnTo>
                      <a:pt x="612" y="171"/>
                    </a:lnTo>
                    <a:lnTo>
                      <a:pt x="615" y="171"/>
                    </a:lnTo>
                    <a:lnTo>
                      <a:pt x="607" y="180"/>
                    </a:lnTo>
                    <a:lnTo>
                      <a:pt x="605" y="185"/>
                    </a:lnTo>
                    <a:lnTo>
                      <a:pt x="603" y="185"/>
                    </a:lnTo>
                    <a:lnTo>
                      <a:pt x="603" y="188"/>
                    </a:lnTo>
                    <a:lnTo>
                      <a:pt x="602" y="190"/>
                    </a:lnTo>
                    <a:lnTo>
                      <a:pt x="605" y="188"/>
                    </a:lnTo>
                    <a:lnTo>
                      <a:pt x="607" y="190"/>
                    </a:lnTo>
                    <a:lnTo>
                      <a:pt x="608" y="192"/>
                    </a:lnTo>
                    <a:lnTo>
                      <a:pt x="605" y="193"/>
                    </a:lnTo>
                    <a:lnTo>
                      <a:pt x="596" y="193"/>
                    </a:lnTo>
                    <a:lnTo>
                      <a:pt x="588" y="192"/>
                    </a:lnTo>
                    <a:lnTo>
                      <a:pt x="579" y="192"/>
                    </a:lnTo>
                    <a:lnTo>
                      <a:pt x="571" y="190"/>
                    </a:lnTo>
                    <a:lnTo>
                      <a:pt x="568" y="190"/>
                    </a:lnTo>
                    <a:lnTo>
                      <a:pt x="566" y="190"/>
                    </a:lnTo>
                    <a:lnTo>
                      <a:pt x="559" y="192"/>
                    </a:lnTo>
                    <a:lnTo>
                      <a:pt x="554" y="190"/>
                    </a:lnTo>
                    <a:lnTo>
                      <a:pt x="551" y="192"/>
                    </a:lnTo>
                    <a:lnTo>
                      <a:pt x="540" y="190"/>
                    </a:lnTo>
                    <a:lnTo>
                      <a:pt x="539" y="190"/>
                    </a:lnTo>
                    <a:lnTo>
                      <a:pt x="535" y="192"/>
                    </a:lnTo>
                    <a:lnTo>
                      <a:pt x="520" y="192"/>
                    </a:lnTo>
                    <a:lnTo>
                      <a:pt x="518" y="197"/>
                    </a:lnTo>
                    <a:lnTo>
                      <a:pt x="523" y="204"/>
                    </a:lnTo>
                    <a:lnTo>
                      <a:pt x="523" y="209"/>
                    </a:lnTo>
                    <a:lnTo>
                      <a:pt x="501" y="214"/>
                    </a:lnTo>
                    <a:lnTo>
                      <a:pt x="481" y="217"/>
                    </a:lnTo>
                    <a:lnTo>
                      <a:pt x="481" y="229"/>
                    </a:lnTo>
                    <a:lnTo>
                      <a:pt x="483" y="229"/>
                    </a:lnTo>
                    <a:lnTo>
                      <a:pt x="479" y="231"/>
                    </a:lnTo>
                    <a:lnTo>
                      <a:pt x="477" y="231"/>
                    </a:lnTo>
                    <a:lnTo>
                      <a:pt x="476" y="233"/>
                    </a:lnTo>
                    <a:lnTo>
                      <a:pt x="476" y="234"/>
                    </a:lnTo>
                    <a:lnTo>
                      <a:pt x="477" y="234"/>
                    </a:lnTo>
                    <a:lnTo>
                      <a:pt x="476" y="236"/>
                    </a:lnTo>
                    <a:lnTo>
                      <a:pt x="477" y="239"/>
                    </a:lnTo>
                    <a:lnTo>
                      <a:pt x="476" y="241"/>
                    </a:lnTo>
                    <a:lnTo>
                      <a:pt x="476" y="243"/>
                    </a:lnTo>
                    <a:lnTo>
                      <a:pt x="477" y="243"/>
                    </a:lnTo>
                    <a:lnTo>
                      <a:pt x="479" y="241"/>
                    </a:lnTo>
                    <a:lnTo>
                      <a:pt x="477" y="241"/>
                    </a:lnTo>
                    <a:lnTo>
                      <a:pt x="479" y="241"/>
                    </a:lnTo>
                    <a:lnTo>
                      <a:pt x="479" y="239"/>
                    </a:lnTo>
                    <a:lnTo>
                      <a:pt x="481" y="239"/>
                    </a:lnTo>
                    <a:lnTo>
                      <a:pt x="481" y="241"/>
                    </a:lnTo>
                    <a:lnTo>
                      <a:pt x="481" y="245"/>
                    </a:lnTo>
                    <a:lnTo>
                      <a:pt x="483" y="245"/>
                    </a:lnTo>
                    <a:lnTo>
                      <a:pt x="481" y="243"/>
                    </a:lnTo>
                    <a:lnTo>
                      <a:pt x="483" y="245"/>
                    </a:lnTo>
                    <a:lnTo>
                      <a:pt x="483" y="243"/>
                    </a:lnTo>
                    <a:lnTo>
                      <a:pt x="484" y="243"/>
                    </a:lnTo>
                    <a:lnTo>
                      <a:pt x="486" y="246"/>
                    </a:lnTo>
                    <a:lnTo>
                      <a:pt x="488" y="246"/>
                    </a:lnTo>
                    <a:lnTo>
                      <a:pt x="488" y="250"/>
                    </a:lnTo>
                    <a:lnTo>
                      <a:pt x="486" y="253"/>
                    </a:lnTo>
                    <a:lnTo>
                      <a:pt x="486" y="251"/>
                    </a:lnTo>
                    <a:lnTo>
                      <a:pt x="476" y="260"/>
                    </a:lnTo>
                    <a:lnTo>
                      <a:pt x="472" y="268"/>
                    </a:lnTo>
                    <a:lnTo>
                      <a:pt x="462" y="270"/>
                    </a:lnTo>
                    <a:lnTo>
                      <a:pt x="459" y="272"/>
                    </a:lnTo>
                    <a:lnTo>
                      <a:pt x="449" y="273"/>
                    </a:lnTo>
                    <a:lnTo>
                      <a:pt x="435" y="285"/>
                    </a:lnTo>
                    <a:lnTo>
                      <a:pt x="413" y="296"/>
                    </a:lnTo>
                    <a:lnTo>
                      <a:pt x="409" y="299"/>
                    </a:lnTo>
                    <a:lnTo>
                      <a:pt x="406" y="299"/>
                    </a:lnTo>
                    <a:lnTo>
                      <a:pt x="399" y="304"/>
                    </a:lnTo>
                    <a:lnTo>
                      <a:pt x="398" y="309"/>
                    </a:lnTo>
                    <a:lnTo>
                      <a:pt x="398" y="311"/>
                    </a:lnTo>
                    <a:lnTo>
                      <a:pt x="392" y="313"/>
                    </a:lnTo>
                    <a:lnTo>
                      <a:pt x="389" y="316"/>
                    </a:lnTo>
                    <a:lnTo>
                      <a:pt x="386" y="324"/>
                    </a:lnTo>
                    <a:lnTo>
                      <a:pt x="386" y="326"/>
                    </a:lnTo>
                    <a:lnTo>
                      <a:pt x="382" y="328"/>
                    </a:lnTo>
                    <a:lnTo>
                      <a:pt x="381" y="328"/>
                    </a:lnTo>
                    <a:lnTo>
                      <a:pt x="381" y="326"/>
                    </a:lnTo>
                    <a:lnTo>
                      <a:pt x="381" y="324"/>
                    </a:lnTo>
                    <a:lnTo>
                      <a:pt x="379" y="323"/>
                    </a:lnTo>
                    <a:lnTo>
                      <a:pt x="375" y="324"/>
                    </a:lnTo>
                    <a:lnTo>
                      <a:pt x="377" y="321"/>
                    </a:lnTo>
                    <a:lnTo>
                      <a:pt x="375" y="319"/>
                    </a:lnTo>
                    <a:lnTo>
                      <a:pt x="374" y="321"/>
                    </a:lnTo>
                    <a:lnTo>
                      <a:pt x="374" y="323"/>
                    </a:lnTo>
                    <a:lnTo>
                      <a:pt x="369" y="324"/>
                    </a:lnTo>
                    <a:lnTo>
                      <a:pt x="364" y="324"/>
                    </a:lnTo>
                    <a:lnTo>
                      <a:pt x="360" y="324"/>
                    </a:lnTo>
                    <a:lnTo>
                      <a:pt x="353" y="326"/>
                    </a:lnTo>
                    <a:lnTo>
                      <a:pt x="352" y="326"/>
                    </a:lnTo>
                    <a:lnTo>
                      <a:pt x="350" y="324"/>
                    </a:lnTo>
                    <a:lnTo>
                      <a:pt x="347" y="324"/>
                    </a:lnTo>
                    <a:lnTo>
                      <a:pt x="343" y="323"/>
                    </a:lnTo>
                    <a:lnTo>
                      <a:pt x="341" y="324"/>
                    </a:lnTo>
                    <a:lnTo>
                      <a:pt x="340" y="324"/>
                    </a:lnTo>
                    <a:lnTo>
                      <a:pt x="340" y="323"/>
                    </a:lnTo>
                    <a:lnTo>
                      <a:pt x="336" y="323"/>
                    </a:lnTo>
                    <a:lnTo>
                      <a:pt x="331" y="323"/>
                    </a:lnTo>
                    <a:lnTo>
                      <a:pt x="326" y="324"/>
                    </a:lnTo>
                    <a:lnTo>
                      <a:pt x="324" y="326"/>
                    </a:lnTo>
                    <a:lnTo>
                      <a:pt x="321" y="326"/>
                    </a:lnTo>
                    <a:lnTo>
                      <a:pt x="318" y="326"/>
                    </a:lnTo>
                    <a:lnTo>
                      <a:pt x="318" y="324"/>
                    </a:lnTo>
                    <a:lnTo>
                      <a:pt x="311" y="324"/>
                    </a:lnTo>
                    <a:lnTo>
                      <a:pt x="304" y="323"/>
                    </a:lnTo>
                    <a:lnTo>
                      <a:pt x="299" y="326"/>
                    </a:lnTo>
                    <a:lnTo>
                      <a:pt x="296" y="330"/>
                    </a:lnTo>
                    <a:lnTo>
                      <a:pt x="287" y="331"/>
                    </a:lnTo>
                    <a:lnTo>
                      <a:pt x="282" y="331"/>
                    </a:lnTo>
                    <a:lnTo>
                      <a:pt x="280" y="331"/>
                    </a:lnTo>
                    <a:lnTo>
                      <a:pt x="280" y="335"/>
                    </a:lnTo>
                    <a:lnTo>
                      <a:pt x="279" y="335"/>
                    </a:lnTo>
                    <a:lnTo>
                      <a:pt x="273" y="336"/>
                    </a:lnTo>
                    <a:lnTo>
                      <a:pt x="265" y="341"/>
                    </a:lnTo>
                    <a:lnTo>
                      <a:pt x="263" y="343"/>
                    </a:lnTo>
                    <a:lnTo>
                      <a:pt x="250" y="352"/>
                    </a:lnTo>
                    <a:lnTo>
                      <a:pt x="239" y="360"/>
                    </a:lnTo>
                    <a:lnTo>
                      <a:pt x="228" y="364"/>
                    </a:lnTo>
                    <a:lnTo>
                      <a:pt x="228" y="386"/>
                    </a:lnTo>
                    <a:lnTo>
                      <a:pt x="228" y="399"/>
                    </a:lnTo>
                    <a:lnTo>
                      <a:pt x="228" y="418"/>
                    </a:lnTo>
                    <a:lnTo>
                      <a:pt x="197" y="418"/>
                    </a:lnTo>
                    <a:lnTo>
                      <a:pt x="153" y="418"/>
                    </a:lnTo>
                    <a:lnTo>
                      <a:pt x="126" y="416"/>
                    </a:lnTo>
                    <a:lnTo>
                      <a:pt x="109" y="416"/>
                    </a:lnTo>
                    <a:lnTo>
                      <a:pt x="80" y="416"/>
                    </a:lnTo>
                    <a:lnTo>
                      <a:pt x="68" y="416"/>
                    </a:lnTo>
                    <a:lnTo>
                      <a:pt x="59" y="416"/>
                    </a:lnTo>
                    <a:lnTo>
                      <a:pt x="29" y="416"/>
                    </a:lnTo>
                    <a:lnTo>
                      <a:pt x="10" y="416"/>
                    </a:lnTo>
                    <a:lnTo>
                      <a:pt x="0" y="416"/>
                    </a:lnTo>
                    <a:lnTo>
                      <a:pt x="7" y="413"/>
                    </a:lnTo>
                    <a:lnTo>
                      <a:pt x="8" y="411"/>
                    </a:lnTo>
                    <a:lnTo>
                      <a:pt x="10" y="406"/>
                    </a:lnTo>
                    <a:lnTo>
                      <a:pt x="13" y="403"/>
                    </a:lnTo>
                    <a:lnTo>
                      <a:pt x="30" y="401"/>
                    </a:lnTo>
                    <a:lnTo>
                      <a:pt x="47" y="398"/>
                    </a:lnTo>
                    <a:lnTo>
                      <a:pt x="44" y="399"/>
                    </a:lnTo>
                    <a:lnTo>
                      <a:pt x="42" y="403"/>
                    </a:lnTo>
                    <a:lnTo>
                      <a:pt x="46" y="401"/>
                    </a:lnTo>
                    <a:lnTo>
                      <a:pt x="46" y="399"/>
                    </a:lnTo>
                    <a:lnTo>
                      <a:pt x="47" y="399"/>
                    </a:lnTo>
                    <a:lnTo>
                      <a:pt x="47" y="398"/>
                    </a:lnTo>
                    <a:lnTo>
                      <a:pt x="56" y="396"/>
                    </a:lnTo>
                    <a:lnTo>
                      <a:pt x="63" y="393"/>
                    </a:lnTo>
                    <a:lnTo>
                      <a:pt x="85" y="386"/>
                    </a:lnTo>
                    <a:lnTo>
                      <a:pt x="86" y="384"/>
                    </a:lnTo>
                    <a:lnTo>
                      <a:pt x="88" y="382"/>
                    </a:lnTo>
                    <a:lnTo>
                      <a:pt x="92" y="377"/>
                    </a:lnTo>
                    <a:lnTo>
                      <a:pt x="92" y="375"/>
                    </a:lnTo>
                    <a:lnTo>
                      <a:pt x="103" y="367"/>
                    </a:lnTo>
                    <a:lnTo>
                      <a:pt x="107" y="364"/>
                    </a:lnTo>
                    <a:lnTo>
                      <a:pt x="124" y="355"/>
                    </a:lnTo>
                    <a:lnTo>
                      <a:pt x="134" y="350"/>
                    </a:lnTo>
                    <a:lnTo>
                      <a:pt x="137" y="345"/>
                    </a:lnTo>
                    <a:lnTo>
                      <a:pt x="144" y="338"/>
                    </a:lnTo>
                    <a:lnTo>
                      <a:pt x="149" y="335"/>
                    </a:lnTo>
                    <a:lnTo>
                      <a:pt x="151" y="331"/>
                    </a:lnTo>
                    <a:lnTo>
                      <a:pt x="156" y="324"/>
                    </a:lnTo>
                    <a:lnTo>
                      <a:pt x="158" y="321"/>
                    </a:lnTo>
                    <a:lnTo>
                      <a:pt x="161" y="316"/>
                    </a:lnTo>
                    <a:lnTo>
                      <a:pt x="168" y="309"/>
                    </a:lnTo>
                    <a:lnTo>
                      <a:pt x="171" y="306"/>
                    </a:lnTo>
                    <a:lnTo>
                      <a:pt x="178" y="294"/>
                    </a:lnTo>
                    <a:lnTo>
                      <a:pt x="180" y="279"/>
                    </a:lnTo>
                    <a:lnTo>
                      <a:pt x="178" y="277"/>
                    </a:lnTo>
                    <a:lnTo>
                      <a:pt x="178" y="279"/>
                    </a:lnTo>
                    <a:lnTo>
                      <a:pt x="175" y="272"/>
                    </a:lnTo>
                    <a:lnTo>
                      <a:pt x="173" y="272"/>
                    </a:lnTo>
                    <a:lnTo>
                      <a:pt x="171" y="268"/>
                    </a:lnTo>
                    <a:lnTo>
                      <a:pt x="166" y="267"/>
                    </a:lnTo>
                    <a:lnTo>
                      <a:pt x="166" y="263"/>
                    </a:lnTo>
                    <a:lnTo>
                      <a:pt x="170" y="258"/>
                    </a:lnTo>
                    <a:lnTo>
                      <a:pt x="170" y="256"/>
                    </a:lnTo>
                    <a:lnTo>
                      <a:pt x="170" y="255"/>
                    </a:lnTo>
                    <a:lnTo>
                      <a:pt x="170" y="251"/>
                    </a:lnTo>
                    <a:lnTo>
                      <a:pt x="170" y="248"/>
                    </a:lnTo>
                    <a:lnTo>
                      <a:pt x="170" y="245"/>
                    </a:lnTo>
                    <a:lnTo>
                      <a:pt x="168" y="243"/>
                    </a:lnTo>
                    <a:lnTo>
                      <a:pt x="171" y="233"/>
                    </a:lnTo>
                    <a:lnTo>
                      <a:pt x="170" y="229"/>
                    </a:lnTo>
                    <a:lnTo>
                      <a:pt x="168" y="229"/>
                    </a:lnTo>
                    <a:lnTo>
                      <a:pt x="173" y="224"/>
                    </a:lnTo>
                    <a:lnTo>
                      <a:pt x="171" y="222"/>
                    </a:lnTo>
                    <a:lnTo>
                      <a:pt x="177" y="217"/>
                    </a:lnTo>
                    <a:lnTo>
                      <a:pt x="177" y="214"/>
                    </a:lnTo>
                    <a:lnTo>
                      <a:pt x="194" y="197"/>
                    </a:lnTo>
                    <a:lnTo>
                      <a:pt x="195" y="192"/>
                    </a:lnTo>
                    <a:lnTo>
                      <a:pt x="199" y="188"/>
                    </a:lnTo>
                    <a:lnTo>
                      <a:pt x="199" y="187"/>
                    </a:lnTo>
                    <a:lnTo>
                      <a:pt x="197" y="185"/>
                    </a:lnTo>
                    <a:lnTo>
                      <a:pt x="199" y="183"/>
                    </a:lnTo>
                    <a:lnTo>
                      <a:pt x="197" y="182"/>
                    </a:lnTo>
                    <a:lnTo>
                      <a:pt x="197" y="180"/>
                    </a:lnTo>
                    <a:lnTo>
                      <a:pt x="199" y="176"/>
                    </a:lnTo>
                    <a:lnTo>
                      <a:pt x="199" y="175"/>
                    </a:lnTo>
                    <a:lnTo>
                      <a:pt x="197" y="171"/>
                    </a:lnTo>
                    <a:lnTo>
                      <a:pt x="205" y="165"/>
                    </a:lnTo>
                    <a:lnTo>
                      <a:pt x="222" y="151"/>
                    </a:lnTo>
                    <a:lnTo>
                      <a:pt x="229" y="142"/>
                    </a:lnTo>
                    <a:lnTo>
                      <a:pt x="229" y="141"/>
                    </a:lnTo>
                    <a:lnTo>
                      <a:pt x="231" y="141"/>
                    </a:lnTo>
                    <a:lnTo>
                      <a:pt x="229" y="141"/>
                    </a:lnTo>
                    <a:lnTo>
                      <a:pt x="231" y="141"/>
                    </a:lnTo>
                    <a:lnTo>
                      <a:pt x="231" y="139"/>
                    </a:lnTo>
                    <a:lnTo>
                      <a:pt x="234" y="134"/>
                    </a:lnTo>
                    <a:lnTo>
                      <a:pt x="236" y="134"/>
                    </a:lnTo>
                    <a:lnTo>
                      <a:pt x="238" y="136"/>
                    </a:lnTo>
                    <a:lnTo>
                      <a:pt x="239" y="134"/>
                    </a:lnTo>
                    <a:lnTo>
                      <a:pt x="245" y="131"/>
                    </a:lnTo>
                    <a:lnTo>
                      <a:pt x="246" y="129"/>
                    </a:lnTo>
                    <a:lnTo>
                      <a:pt x="265" y="124"/>
                    </a:lnTo>
                    <a:lnTo>
                      <a:pt x="270" y="120"/>
                    </a:lnTo>
                    <a:lnTo>
                      <a:pt x="272" y="120"/>
                    </a:lnTo>
                    <a:lnTo>
                      <a:pt x="279" y="117"/>
                    </a:lnTo>
                    <a:lnTo>
                      <a:pt x="282" y="117"/>
                    </a:lnTo>
                    <a:lnTo>
                      <a:pt x="282" y="115"/>
                    </a:lnTo>
                    <a:lnTo>
                      <a:pt x="280" y="117"/>
                    </a:lnTo>
                    <a:lnTo>
                      <a:pt x="282" y="117"/>
                    </a:lnTo>
                    <a:lnTo>
                      <a:pt x="285" y="115"/>
                    </a:lnTo>
                    <a:lnTo>
                      <a:pt x="292" y="112"/>
                    </a:lnTo>
                    <a:lnTo>
                      <a:pt x="292" y="110"/>
                    </a:lnTo>
                    <a:lnTo>
                      <a:pt x="292" y="112"/>
                    </a:lnTo>
                    <a:lnTo>
                      <a:pt x="294" y="112"/>
                    </a:lnTo>
                    <a:lnTo>
                      <a:pt x="301" y="107"/>
                    </a:lnTo>
                    <a:lnTo>
                      <a:pt x="306" y="105"/>
                    </a:lnTo>
                    <a:lnTo>
                      <a:pt x="311" y="103"/>
                    </a:lnTo>
                    <a:lnTo>
                      <a:pt x="321" y="95"/>
                    </a:lnTo>
                    <a:lnTo>
                      <a:pt x="326" y="88"/>
                    </a:lnTo>
                    <a:lnTo>
                      <a:pt x="328" y="83"/>
                    </a:lnTo>
                    <a:lnTo>
                      <a:pt x="330" y="83"/>
                    </a:lnTo>
                    <a:lnTo>
                      <a:pt x="328" y="83"/>
                    </a:lnTo>
                    <a:lnTo>
                      <a:pt x="336" y="74"/>
                    </a:lnTo>
                    <a:lnTo>
                      <a:pt x="343" y="61"/>
                    </a:lnTo>
                    <a:lnTo>
                      <a:pt x="348" y="52"/>
                    </a:lnTo>
                    <a:lnTo>
                      <a:pt x="355" y="37"/>
                    </a:lnTo>
                    <a:lnTo>
                      <a:pt x="357" y="35"/>
                    </a:lnTo>
                    <a:lnTo>
                      <a:pt x="355" y="35"/>
                    </a:lnTo>
                    <a:lnTo>
                      <a:pt x="358" y="27"/>
                    </a:lnTo>
                    <a:lnTo>
                      <a:pt x="362" y="20"/>
                    </a:lnTo>
                    <a:lnTo>
                      <a:pt x="367" y="6"/>
                    </a:lnTo>
                    <a:lnTo>
                      <a:pt x="370" y="5"/>
                    </a:lnTo>
                    <a:lnTo>
                      <a:pt x="374" y="6"/>
                    </a:lnTo>
                    <a:lnTo>
                      <a:pt x="372" y="6"/>
                    </a:lnTo>
                    <a:lnTo>
                      <a:pt x="374" y="6"/>
                    </a:lnTo>
                    <a:lnTo>
                      <a:pt x="375" y="6"/>
                    </a:lnTo>
                    <a:lnTo>
                      <a:pt x="375" y="5"/>
                    </a:lnTo>
                    <a:lnTo>
                      <a:pt x="377" y="5"/>
                    </a:lnTo>
                    <a:lnTo>
                      <a:pt x="384" y="3"/>
                    </a:lnTo>
                    <a:lnTo>
                      <a:pt x="386" y="3"/>
                    </a:lnTo>
                    <a:lnTo>
                      <a:pt x="389" y="0"/>
                    </a:lnTo>
                    <a:lnTo>
                      <a:pt x="391" y="0"/>
                    </a:lnTo>
                    <a:lnTo>
                      <a:pt x="394" y="0"/>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Freeform 59">
                <a:extLst>
                  <a:ext uri="{FF2B5EF4-FFF2-40B4-BE49-F238E27FC236}">
                    <a16:creationId xmlns:a16="http://schemas.microsoft.com/office/drawing/2014/main" id="{4F90A3E7-4E05-488F-8C6A-323B19B2B600}"/>
                  </a:ext>
                </a:extLst>
              </p:cNvPr>
              <p:cNvSpPr>
                <a:spLocks noEditPoints="1"/>
              </p:cNvSpPr>
              <p:nvPr/>
            </p:nvSpPr>
            <p:spPr bwMode="gray">
              <a:xfrm>
                <a:off x="5752160" y="1616908"/>
                <a:ext cx="254008" cy="457215"/>
              </a:xfrm>
              <a:custGeom>
                <a:avLst/>
                <a:gdLst>
                  <a:gd name="T0" fmla="*/ 200 w 205"/>
                  <a:gd name="T1" fmla="*/ 247 h 369"/>
                  <a:gd name="T2" fmla="*/ 183 w 205"/>
                  <a:gd name="T3" fmla="*/ 267 h 369"/>
                  <a:gd name="T4" fmla="*/ 156 w 205"/>
                  <a:gd name="T5" fmla="*/ 282 h 369"/>
                  <a:gd name="T6" fmla="*/ 144 w 205"/>
                  <a:gd name="T7" fmla="*/ 292 h 369"/>
                  <a:gd name="T8" fmla="*/ 137 w 205"/>
                  <a:gd name="T9" fmla="*/ 340 h 369"/>
                  <a:gd name="T10" fmla="*/ 119 w 205"/>
                  <a:gd name="T11" fmla="*/ 364 h 369"/>
                  <a:gd name="T12" fmla="*/ 39 w 205"/>
                  <a:gd name="T13" fmla="*/ 238 h 369"/>
                  <a:gd name="T14" fmla="*/ 10 w 205"/>
                  <a:gd name="T15" fmla="*/ 216 h 369"/>
                  <a:gd name="T16" fmla="*/ 3 w 205"/>
                  <a:gd name="T17" fmla="*/ 192 h 369"/>
                  <a:gd name="T18" fmla="*/ 0 w 205"/>
                  <a:gd name="T19" fmla="*/ 175 h 369"/>
                  <a:gd name="T20" fmla="*/ 20 w 205"/>
                  <a:gd name="T21" fmla="*/ 158 h 369"/>
                  <a:gd name="T22" fmla="*/ 34 w 205"/>
                  <a:gd name="T23" fmla="*/ 148 h 369"/>
                  <a:gd name="T24" fmla="*/ 37 w 205"/>
                  <a:gd name="T25" fmla="*/ 139 h 369"/>
                  <a:gd name="T26" fmla="*/ 44 w 205"/>
                  <a:gd name="T27" fmla="*/ 121 h 369"/>
                  <a:gd name="T28" fmla="*/ 39 w 205"/>
                  <a:gd name="T29" fmla="*/ 107 h 369"/>
                  <a:gd name="T30" fmla="*/ 37 w 205"/>
                  <a:gd name="T31" fmla="*/ 87 h 369"/>
                  <a:gd name="T32" fmla="*/ 39 w 205"/>
                  <a:gd name="T33" fmla="*/ 75 h 369"/>
                  <a:gd name="T34" fmla="*/ 42 w 205"/>
                  <a:gd name="T35" fmla="*/ 59 h 369"/>
                  <a:gd name="T36" fmla="*/ 30 w 205"/>
                  <a:gd name="T37" fmla="*/ 53 h 369"/>
                  <a:gd name="T38" fmla="*/ 47 w 205"/>
                  <a:gd name="T39" fmla="*/ 42 h 369"/>
                  <a:gd name="T40" fmla="*/ 57 w 205"/>
                  <a:gd name="T41" fmla="*/ 34 h 369"/>
                  <a:gd name="T42" fmla="*/ 61 w 205"/>
                  <a:gd name="T43" fmla="*/ 29 h 369"/>
                  <a:gd name="T44" fmla="*/ 80 w 205"/>
                  <a:gd name="T45" fmla="*/ 19 h 369"/>
                  <a:gd name="T46" fmla="*/ 102 w 205"/>
                  <a:gd name="T47" fmla="*/ 12 h 369"/>
                  <a:gd name="T48" fmla="*/ 117 w 205"/>
                  <a:gd name="T49" fmla="*/ 10 h 369"/>
                  <a:gd name="T50" fmla="*/ 120 w 205"/>
                  <a:gd name="T51" fmla="*/ 15 h 369"/>
                  <a:gd name="T52" fmla="*/ 132 w 205"/>
                  <a:gd name="T53" fmla="*/ 15 h 369"/>
                  <a:gd name="T54" fmla="*/ 136 w 205"/>
                  <a:gd name="T55" fmla="*/ 20 h 369"/>
                  <a:gd name="T56" fmla="*/ 134 w 205"/>
                  <a:gd name="T57" fmla="*/ 22 h 369"/>
                  <a:gd name="T58" fmla="*/ 139 w 205"/>
                  <a:gd name="T59" fmla="*/ 37 h 369"/>
                  <a:gd name="T60" fmla="*/ 154 w 205"/>
                  <a:gd name="T61" fmla="*/ 32 h 369"/>
                  <a:gd name="T62" fmla="*/ 176 w 205"/>
                  <a:gd name="T63" fmla="*/ 22 h 369"/>
                  <a:gd name="T64" fmla="*/ 181 w 205"/>
                  <a:gd name="T65" fmla="*/ 36 h 369"/>
                  <a:gd name="T66" fmla="*/ 154 w 205"/>
                  <a:gd name="T67" fmla="*/ 58 h 369"/>
                  <a:gd name="T68" fmla="*/ 151 w 205"/>
                  <a:gd name="T69" fmla="*/ 78 h 369"/>
                  <a:gd name="T70" fmla="*/ 178 w 205"/>
                  <a:gd name="T71" fmla="*/ 97 h 369"/>
                  <a:gd name="T72" fmla="*/ 176 w 205"/>
                  <a:gd name="T73" fmla="*/ 110 h 369"/>
                  <a:gd name="T74" fmla="*/ 176 w 205"/>
                  <a:gd name="T75" fmla="*/ 122 h 369"/>
                  <a:gd name="T76" fmla="*/ 168 w 205"/>
                  <a:gd name="T77" fmla="*/ 138 h 369"/>
                  <a:gd name="T78" fmla="*/ 159 w 205"/>
                  <a:gd name="T79" fmla="*/ 146 h 369"/>
                  <a:gd name="T80" fmla="*/ 142 w 205"/>
                  <a:gd name="T81" fmla="*/ 156 h 369"/>
                  <a:gd name="T82" fmla="*/ 136 w 205"/>
                  <a:gd name="T83" fmla="*/ 162 h 369"/>
                  <a:gd name="T84" fmla="*/ 127 w 205"/>
                  <a:gd name="T85" fmla="*/ 180 h 369"/>
                  <a:gd name="T86" fmla="*/ 161 w 205"/>
                  <a:gd name="T87" fmla="*/ 194 h 369"/>
                  <a:gd name="T88" fmla="*/ 171 w 205"/>
                  <a:gd name="T89" fmla="*/ 202 h 369"/>
                  <a:gd name="T90" fmla="*/ 178 w 205"/>
                  <a:gd name="T91" fmla="*/ 197 h 369"/>
                  <a:gd name="T92" fmla="*/ 190 w 205"/>
                  <a:gd name="T93" fmla="*/ 216 h 369"/>
                  <a:gd name="T94" fmla="*/ 197 w 205"/>
                  <a:gd name="T95" fmla="*/ 221 h 369"/>
                  <a:gd name="T96" fmla="*/ 178 w 205"/>
                  <a:gd name="T97" fmla="*/ 187 h 369"/>
                  <a:gd name="T98" fmla="*/ 170 w 205"/>
                  <a:gd name="T99" fmla="*/ 196 h 369"/>
                  <a:gd name="T100" fmla="*/ 164 w 205"/>
                  <a:gd name="T101" fmla="*/ 194 h 369"/>
                  <a:gd name="T102" fmla="*/ 164 w 205"/>
                  <a:gd name="T103" fmla="*/ 184 h 369"/>
                  <a:gd name="T104" fmla="*/ 190 w 205"/>
                  <a:gd name="T105" fmla="*/ 139 h 369"/>
                  <a:gd name="T106" fmla="*/ 181 w 205"/>
                  <a:gd name="T107" fmla="*/ 143 h 369"/>
                  <a:gd name="T108" fmla="*/ 188 w 205"/>
                  <a:gd name="T109" fmla="*/ 139 h 369"/>
                  <a:gd name="T110" fmla="*/ 175 w 205"/>
                  <a:gd name="T111" fmla="*/ 144 h 369"/>
                  <a:gd name="T112" fmla="*/ 164 w 205"/>
                  <a:gd name="T113" fmla="*/ 19 h 369"/>
                  <a:gd name="T114" fmla="*/ 115 w 205"/>
                  <a:gd name="T115" fmla="*/ 15 h 369"/>
                  <a:gd name="T116" fmla="*/ 141 w 205"/>
                  <a:gd name="T117" fmla="*/ 160 h 369"/>
                  <a:gd name="T118" fmla="*/ 180 w 205"/>
                  <a:gd name="T119" fmla="*/ 209 h 369"/>
                  <a:gd name="T120" fmla="*/ 159 w 205"/>
                  <a:gd name="T121" fmla="*/ 192 h 369"/>
                  <a:gd name="T122" fmla="*/ 190 w 205"/>
                  <a:gd name="T123" fmla="*/ 138 h 369"/>
                  <a:gd name="T124" fmla="*/ 166 w 205"/>
                  <a:gd name="T125" fmla="*/ 9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369">
                    <a:moveTo>
                      <a:pt x="204" y="221"/>
                    </a:moveTo>
                    <a:lnTo>
                      <a:pt x="202" y="226"/>
                    </a:lnTo>
                    <a:lnTo>
                      <a:pt x="202" y="230"/>
                    </a:lnTo>
                    <a:lnTo>
                      <a:pt x="200" y="235"/>
                    </a:lnTo>
                    <a:lnTo>
                      <a:pt x="200" y="236"/>
                    </a:lnTo>
                    <a:lnTo>
                      <a:pt x="200" y="247"/>
                    </a:lnTo>
                    <a:lnTo>
                      <a:pt x="200" y="248"/>
                    </a:lnTo>
                    <a:lnTo>
                      <a:pt x="205" y="252"/>
                    </a:lnTo>
                    <a:lnTo>
                      <a:pt x="205" y="257"/>
                    </a:lnTo>
                    <a:lnTo>
                      <a:pt x="204" y="260"/>
                    </a:lnTo>
                    <a:lnTo>
                      <a:pt x="193" y="264"/>
                    </a:lnTo>
                    <a:lnTo>
                      <a:pt x="183" y="267"/>
                    </a:lnTo>
                    <a:lnTo>
                      <a:pt x="173" y="270"/>
                    </a:lnTo>
                    <a:lnTo>
                      <a:pt x="168" y="275"/>
                    </a:lnTo>
                    <a:lnTo>
                      <a:pt x="164" y="281"/>
                    </a:lnTo>
                    <a:lnTo>
                      <a:pt x="161" y="282"/>
                    </a:lnTo>
                    <a:lnTo>
                      <a:pt x="158" y="281"/>
                    </a:lnTo>
                    <a:lnTo>
                      <a:pt x="156" y="282"/>
                    </a:lnTo>
                    <a:lnTo>
                      <a:pt x="156" y="284"/>
                    </a:lnTo>
                    <a:lnTo>
                      <a:pt x="156" y="286"/>
                    </a:lnTo>
                    <a:lnTo>
                      <a:pt x="153" y="291"/>
                    </a:lnTo>
                    <a:lnTo>
                      <a:pt x="151" y="292"/>
                    </a:lnTo>
                    <a:lnTo>
                      <a:pt x="147" y="294"/>
                    </a:lnTo>
                    <a:lnTo>
                      <a:pt x="144" y="292"/>
                    </a:lnTo>
                    <a:lnTo>
                      <a:pt x="139" y="296"/>
                    </a:lnTo>
                    <a:lnTo>
                      <a:pt x="130" y="306"/>
                    </a:lnTo>
                    <a:lnTo>
                      <a:pt x="139" y="327"/>
                    </a:lnTo>
                    <a:lnTo>
                      <a:pt x="137" y="328"/>
                    </a:lnTo>
                    <a:lnTo>
                      <a:pt x="139" y="335"/>
                    </a:lnTo>
                    <a:lnTo>
                      <a:pt x="137" y="340"/>
                    </a:lnTo>
                    <a:lnTo>
                      <a:pt x="136" y="345"/>
                    </a:lnTo>
                    <a:lnTo>
                      <a:pt x="132" y="347"/>
                    </a:lnTo>
                    <a:lnTo>
                      <a:pt x="125" y="355"/>
                    </a:lnTo>
                    <a:lnTo>
                      <a:pt x="125" y="357"/>
                    </a:lnTo>
                    <a:lnTo>
                      <a:pt x="120" y="362"/>
                    </a:lnTo>
                    <a:lnTo>
                      <a:pt x="119" y="364"/>
                    </a:lnTo>
                    <a:lnTo>
                      <a:pt x="115" y="364"/>
                    </a:lnTo>
                    <a:lnTo>
                      <a:pt x="102" y="369"/>
                    </a:lnTo>
                    <a:lnTo>
                      <a:pt x="98" y="354"/>
                    </a:lnTo>
                    <a:lnTo>
                      <a:pt x="78" y="275"/>
                    </a:lnTo>
                    <a:lnTo>
                      <a:pt x="40" y="255"/>
                    </a:lnTo>
                    <a:lnTo>
                      <a:pt x="39" y="238"/>
                    </a:lnTo>
                    <a:lnTo>
                      <a:pt x="27" y="226"/>
                    </a:lnTo>
                    <a:lnTo>
                      <a:pt x="29" y="224"/>
                    </a:lnTo>
                    <a:lnTo>
                      <a:pt x="25" y="224"/>
                    </a:lnTo>
                    <a:lnTo>
                      <a:pt x="18" y="221"/>
                    </a:lnTo>
                    <a:lnTo>
                      <a:pt x="13" y="221"/>
                    </a:lnTo>
                    <a:lnTo>
                      <a:pt x="10" y="216"/>
                    </a:lnTo>
                    <a:lnTo>
                      <a:pt x="10" y="207"/>
                    </a:lnTo>
                    <a:lnTo>
                      <a:pt x="5" y="201"/>
                    </a:lnTo>
                    <a:lnTo>
                      <a:pt x="3" y="197"/>
                    </a:lnTo>
                    <a:lnTo>
                      <a:pt x="3" y="194"/>
                    </a:lnTo>
                    <a:lnTo>
                      <a:pt x="1" y="192"/>
                    </a:lnTo>
                    <a:lnTo>
                      <a:pt x="3" y="192"/>
                    </a:lnTo>
                    <a:lnTo>
                      <a:pt x="0" y="189"/>
                    </a:lnTo>
                    <a:lnTo>
                      <a:pt x="0" y="187"/>
                    </a:lnTo>
                    <a:lnTo>
                      <a:pt x="0" y="184"/>
                    </a:lnTo>
                    <a:lnTo>
                      <a:pt x="0" y="182"/>
                    </a:lnTo>
                    <a:lnTo>
                      <a:pt x="0" y="179"/>
                    </a:lnTo>
                    <a:lnTo>
                      <a:pt x="0" y="175"/>
                    </a:lnTo>
                    <a:lnTo>
                      <a:pt x="3" y="173"/>
                    </a:lnTo>
                    <a:lnTo>
                      <a:pt x="5" y="168"/>
                    </a:lnTo>
                    <a:lnTo>
                      <a:pt x="13" y="168"/>
                    </a:lnTo>
                    <a:lnTo>
                      <a:pt x="15" y="162"/>
                    </a:lnTo>
                    <a:lnTo>
                      <a:pt x="15" y="158"/>
                    </a:lnTo>
                    <a:lnTo>
                      <a:pt x="20" y="158"/>
                    </a:lnTo>
                    <a:lnTo>
                      <a:pt x="25" y="153"/>
                    </a:lnTo>
                    <a:lnTo>
                      <a:pt x="29" y="153"/>
                    </a:lnTo>
                    <a:lnTo>
                      <a:pt x="32" y="151"/>
                    </a:lnTo>
                    <a:lnTo>
                      <a:pt x="32" y="150"/>
                    </a:lnTo>
                    <a:lnTo>
                      <a:pt x="34" y="150"/>
                    </a:lnTo>
                    <a:lnTo>
                      <a:pt x="34" y="148"/>
                    </a:lnTo>
                    <a:lnTo>
                      <a:pt x="35" y="148"/>
                    </a:lnTo>
                    <a:lnTo>
                      <a:pt x="35" y="146"/>
                    </a:lnTo>
                    <a:lnTo>
                      <a:pt x="37" y="146"/>
                    </a:lnTo>
                    <a:lnTo>
                      <a:pt x="35" y="144"/>
                    </a:lnTo>
                    <a:lnTo>
                      <a:pt x="39" y="141"/>
                    </a:lnTo>
                    <a:lnTo>
                      <a:pt x="37" y="139"/>
                    </a:lnTo>
                    <a:lnTo>
                      <a:pt x="37" y="136"/>
                    </a:lnTo>
                    <a:lnTo>
                      <a:pt x="35" y="133"/>
                    </a:lnTo>
                    <a:lnTo>
                      <a:pt x="39" y="131"/>
                    </a:lnTo>
                    <a:lnTo>
                      <a:pt x="39" y="127"/>
                    </a:lnTo>
                    <a:lnTo>
                      <a:pt x="40" y="122"/>
                    </a:lnTo>
                    <a:lnTo>
                      <a:pt x="44" y="121"/>
                    </a:lnTo>
                    <a:lnTo>
                      <a:pt x="47" y="116"/>
                    </a:lnTo>
                    <a:lnTo>
                      <a:pt x="44" y="116"/>
                    </a:lnTo>
                    <a:lnTo>
                      <a:pt x="39" y="114"/>
                    </a:lnTo>
                    <a:lnTo>
                      <a:pt x="39" y="112"/>
                    </a:lnTo>
                    <a:lnTo>
                      <a:pt x="40" y="107"/>
                    </a:lnTo>
                    <a:lnTo>
                      <a:pt x="39" y="107"/>
                    </a:lnTo>
                    <a:lnTo>
                      <a:pt x="40" y="105"/>
                    </a:lnTo>
                    <a:lnTo>
                      <a:pt x="42" y="104"/>
                    </a:lnTo>
                    <a:lnTo>
                      <a:pt x="40" y="102"/>
                    </a:lnTo>
                    <a:lnTo>
                      <a:pt x="40" y="95"/>
                    </a:lnTo>
                    <a:lnTo>
                      <a:pt x="35" y="92"/>
                    </a:lnTo>
                    <a:lnTo>
                      <a:pt x="37" y="87"/>
                    </a:lnTo>
                    <a:lnTo>
                      <a:pt x="37" y="83"/>
                    </a:lnTo>
                    <a:lnTo>
                      <a:pt x="35" y="83"/>
                    </a:lnTo>
                    <a:lnTo>
                      <a:pt x="37" y="82"/>
                    </a:lnTo>
                    <a:lnTo>
                      <a:pt x="35" y="82"/>
                    </a:lnTo>
                    <a:lnTo>
                      <a:pt x="37" y="80"/>
                    </a:lnTo>
                    <a:lnTo>
                      <a:pt x="39" y="75"/>
                    </a:lnTo>
                    <a:lnTo>
                      <a:pt x="40" y="71"/>
                    </a:lnTo>
                    <a:lnTo>
                      <a:pt x="39" y="68"/>
                    </a:lnTo>
                    <a:lnTo>
                      <a:pt x="40" y="66"/>
                    </a:lnTo>
                    <a:lnTo>
                      <a:pt x="40" y="65"/>
                    </a:lnTo>
                    <a:lnTo>
                      <a:pt x="42" y="61"/>
                    </a:lnTo>
                    <a:lnTo>
                      <a:pt x="42" y="59"/>
                    </a:lnTo>
                    <a:lnTo>
                      <a:pt x="44" y="56"/>
                    </a:lnTo>
                    <a:lnTo>
                      <a:pt x="40" y="54"/>
                    </a:lnTo>
                    <a:lnTo>
                      <a:pt x="39" y="56"/>
                    </a:lnTo>
                    <a:lnTo>
                      <a:pt x="34" y="54"/>
                    </a:lnTo>
                    <a:lnTo>
                      <a:pt x="32" y="54"/>
                    </a:lnTo>
                    <a:lnTo>
                      <a:pt x="30" y="53"/>
                    </a:lnTo>
                    <a:lnTo>
                      <a:pt x="32" y="51"/>
                    </a:lnTo>
                    <a:lnTo>
                      <a:pt x="37" y="49"/>
                    </a:lnTo>
                    <a:lnTo>
                      <a:pt x="44" y="46"/>
                    </a:lnTo>
                    <a:lnTo>
                      <a:pt x="46" y="46"/>
                    </a:lnTo>
                    <a:lnTo>
                      <a:pt x="46" y="44"/>
                    </a:lnTo>
                    <a:lnTo>
                      <a:pt x="47" y="42"/>
                    </a:lnTo>
                    <a:lnTo>
                      <a:pt x="47" y="39"/>
                    </a:lnTo>
                    <a:lnTo>
                      <a:pt x="46" y="39"/>
                    </a:lnTo>
                    <a:lnTo>
                      <a:pt x="47" y="37"/>
                    </a:lnTo>
                    <a:lnTo>
                      <a:pt x="52" y="37"/>
                    </a:lnTo>
                    <a:lnTo>
                      <a:pt x="57" y="36"/>
                    </a:lnTo>
                    <a:lnTo>
                      <a:pt x="57" y="34"/>
                    </a:lnTo>
                    <a:lnTo>
                      <a:pt x="54" y="34"/>
                    </a:lnTo>
                    <a:lnTo>
                      <a:pt x="56" y="32"/>
                    </a:lnTo>
                    <a:lnTo>
                      <a:pt x="56" y="31"/>
                    </a:lnTo>
                    <a:lnTo>
                      <a:pt x="56" y="29"/>
                    </a:lnTo>
                    <a:lnTo>
                      <a:pt x="59" y="29"/>
                    </a:lnTo>
                    <a:lnTo>
                      <a:pt x="61" y="29"/>
                    </a:lnTo>
                    <a:lnTo>
                      <a:pt x="63" y="29"/>
                    </a:lnTo>
                    <a:lnTo>
                      <a:pt x="66" y="27"/>
                    </a:lnTo>
                    <a:lnTo>
                      <a:pt x="71" y="24"/>
                    </a:lnTo>
                    <a:lnTo>
                      <a:pt x="73" y="22"/>
                    </a:lnTo>
                    <a:lnTo>
                      <a:pt x="74" y="20"/>
                    </a:lnTo>
                    <a:lnTo>
                      <a:pt x="80" y="19"/>
                    </a:lnTo>
                    <a:lnTo>
                      <a:pt x="85" y="15"/>
                    </a:lnTo>
                    <a:lnTo>
                      <a:pt x="86" y="15"/>
                    </a:lnTo>
                    <a:lnTo>
                      <a:pt x="90" y="15"/>
                    </a:lnTo>
                    <a:lnTo>
                      <a:pt x="93" y="14"/>
                    </a:lnTo>
                    <a:lnTo>
                      <a:pt x="97" y="14"/>
                    </a:lnTo>
                    <a:lnTo>
                      <a:pt x="102" y="12"/>
                    </a:lnTo>
                    <a:lnTo>
                      <a:pt x="103" y="12"/>
                    </a:lnTo>
                    <a:lnTo>
                      <a:pt x="107" y="10"/>
                    </a:lnTo>
                    <a:lnTo>
                      <a:pt x="110" y="10"/>
                    </a:lnTo>
                    <a:lnTo>
                      <a:pt x="112" y="8"/>
                    </a:lnTo>
                    <a:lnTo>
                      <a:pt x="113" y="10"/>
                    </a:lnTo>
                    <a:lnTo>
                      <a:pt x="117" y="10"/>
                    </a:lnTo>
                    <a:lnTo>
                      <a:pt x="119" y="12"/>
                    </a:lnTo>
                    <a:lnTo>
                      <a:pt x="112" y="15"/>
                    </a:lnTo>
                    <a:lnTo>
                      <a:pt x="115" y="20"/>
                    </a:lnTo>
                    <a:lnTo>
                      <a:pt x="117" y="20"/>
                    </a:lnTo>
                    <a:lnTo>
                      <a:pt x="120" y="19"/>
                    </a:lnTo>
                    <a:lnTo>
                      <a:pt x="120" y="15"/>
                    </a:lnTo>
                    <a:lnTo>
                      <a:pt x="115" y="15"/>
                    </a:lnTo>
                    <a:lnTo>
                      <a:pt x="119" y="14"/>
                    </a:lnTo>
                    <a:lnTo>
                      <a:pt x="124" y="14"/>
                    </a:lnTo>
                    <a:lnTo>
                      <a:pt x="127" y="14"/>
                    </a:lnTo>
                    <a:lnTo>
                      <a:pt x="129" y="15"/>
                    </a:lnTo>
                    <a:lnTo>
                      <a:pt x="132" y="15"/>
                    </a:lnTo>
                    <a:lnTo>
                      <a:pt x="136" y="17"/>
                    </a:lnTo>
                    <a:lnTo>
                      <a:pt x="139" y="17"/>
                    </a:lnTo>
                    <a:lnTo>
                      <a:pt x="136" y="19"/>
                    </a:lnTo>
                    <a:lnTo>
                      <a:pt x="132" y="19"/>
                    </a:lnTo>
                    <a:lnTo>
                      <a:pt x="130" y="19"/>
                    </a:lnTo>
                    <a:lnTo>
                      <a:pt x="136" y="20"/>
                    </a:lnTo>
                    <a:lnTo>
                      <a:pt x="134" y="20"/>
                    </a:lnTo>
                    <a:lnTo>
                      <a:pt x="136" y="19"/>
                    </a:lnTo>
                    <a:lnTo>
                      <a:pt x="136" y="20"/>
                    </a:lnTo>
                    <a:lnTo>
                      <a:pt x="136" y="22"/>
                    </a:lnTo>
                    <a:lnTo>
                      <a:pt x="136" y="20"/>
                    </a:lnTo>
                    <a:lnTo>
                      <a:pt x="134" y="22"/>
                    </a:lnTo>
                    <a:lnTo>
                      <a:pt x="134" y="25"/>
                    </a:lnTo>
                    <a:lnTo>
                      <a:pt x="136" y="29"/>
                    </a:lnTo>
                    <a:lnTo>
                      <a:pt x="141" y="31"/>
                    </a:lnTo>
                    <a:lnTo>
                      <a:pt x="141" y="32"/>
                    </a:lnTo>
                    <a:lnTo>
                      <a:pt x="142" y="32"/>
                    </a:lnTo>
                    <a:lnTo>
                      <a:pt x="139" y="37"/>
                    </a:lnTo>
                    <a:lnTo>
                      <a:pt x="141" y="39"/>
                    </a:lnTo>
                    <a:lnTo>
                      <a:pt x="144" y="41"/>
                    </a:lnTo>
                    <a:lnTo>
                      <a:pt x="146" y="41"/>
                    </a:lnTo>
                    <a:lnTo>
                      <a:pt x="151" y="39"/>
                    </a:lnTo>
                    <a:lnTo>
                      <a:pt x="154" y="34"/>
                    </a:lnTo>
                    <a:lnTo>
                      <a:pt x="154" y="32"/>
                    </a:lnTo>
                    <a:lnTo>
                      <a:pt x="159" y="32"/>
                    </a:lnTo>
                    <a:lnTo>
                      <a:pt x="163" y="32"/>
                    </a:lnTo>
                    <a:lnTo>
                      <a:pt x="170" y="27"/>
                    </a:lnTo>
                    <a:lnTo>
                      <a:pt x="170" y="24"/>
                    </a:lnTo>
                    <a:lnTo>
                      <a:pt x="173" y="24"/>
                    </a:lnTo>
                    <a:lnTo>
                      <a:pt x="176" y="22"/>
                    </a:lnTo>
                    <a:lnTo>
                      <a:pt x="178" y="24"/>
                    </a:lnTo>
                    <a:lnTo>
                      <a:pt x="178" y="25"/>
                    </a:lnTo>
                    <a:lnTo>
                      <a:pt x="180" y="29"/>
                    </a:lnTo>
                    <a:lnTo>
                      <a:pt x="180" y="32"/>
                    </a:lnTo>
                    <a:lnTo>
                      <a:pt x="181" y="32"/>
                    </a:lnTo>
                    <a:lnTo>
                      <a:pt x="181" y="36"/>
                    </a:lnTo>
                    <a:lnTo>
                      <a:pt x="178" y="36"/>
                    </a:lnTo>
                    <a:lnTo>
                      <a:pt x="173" y="41"/>
                    </a:lnTo>
                    <a:lnTo>
                      <a:pt x="164" y="54"/>
                    </a:lnTo>
                    <a:lnTo>
                      <a:pt x="159" y="56"/>
                    </a:lnTo>
                    <a:lnTo>
                      <a:pt x="156" y="58"/>
                    </a:lnTo>
                    <a:lnTo>
                      <a:pt x="154" y="58"/>
                    </a:lnTo>
                    <a:lnTo>
                      <a:pt x="153" y="58"/>
                    </a:lnTo>
                    <a:lnTo>
                      <a:pt x="149" y="65"/>
                    </a:lnTo>
                    <a:lnTo>
                      <a:pt x="147" y="71"/>
                    </a:lnTo>
                    <a:lnTo>
                      <a:pt x="149" y="75"/>
                    </a:lnTo>
                    <a:lnTo>
                      <a:pt x="151" y="76"/>
                    </a:lnTo>
                    <a:lnTo>
                      <a:pt x="151" y="78"/>
                    </a:lnTo>
                    <a:lnTo>
                      <a:pt x="158" y="87"/>
                    </a:lnTo>
                    <a:lnTo>
                      <a:pt x="161" y="88"/>
                    </a:lnTo>
                    <a:lnTo>
                      <a:pt x="166" y="88"/>
                    </a:lnTo>
                    <a:lnTo>
                      <a:pt x="166" y="90"/>
                    </a:lnTo>
                    <a:lnTo>
                      <a:pt x="166" y="92"/>
                    </a:lnTo>
                    <a:lnTo>
                      <a:pt x="178" y="97"/>
                    </a:lnTo>
                    <a:lnTo>
                      <a:pt x="176" y="100"/>
                    </a:lnTo>
                    <a:lnTo>
                      <a:pt x="178" y="102"/>
                    </a:lnTo>
                    <a:lnTo>
                      <a:pt x="180" y="102"/>
                    </a:lnTo>
                    <a:lnTo>
                      <a:pt x="178" y="104"/>
                    </a:lnTo>
                    <a:lnTo>
                      <a:pt x="176" y="105"/>
                    </a:lnTo>
                    <a:lnTo>
                      <a:pt x="176" y="110"/>
                    </a:lnTo>
                    <a:lnTo>
                      <a:pt x="180" y="114"/>
                    </a:lnTo>
                    <a:lnTo>
                      <a:pt x="183" y="116"/>
                    </a:lnTo>
                    <a:lnTo>
                      <a:pt x="181" y="117"/>
                    </a:lnTo>
                    <a:lnTo>
                      <a:pt x="180" y="119"/>
                    </a:lnTo>
                    <a:lnTo>
                      <a:pt x="178" y="121"/>
                    </a:lnTo>
                    <a:lnTo>
                      <a:pt x="176" y="122"/>
                    </a:lnTo>
                    <a:lnTo>
                      <a:pt x="176" y="126"/>
                    </a:lnTo>
                    <a:lnTo>
                      <a:pt x="175" y="127"/>
                    </a:lnTo>
                    <a:lnTo>
                      <a:pt x="171" y="129"/>
                    </a:lnTo>
                    <a:lnTo>
                      <a:pt x="171" y="134"/>
                    </a:lnTo>
                    <a:lnTo>
                      <a:pt x="168" y="136"/>
                    </a:lnTo>
                    <a:lnTo>
                      <a:pt x="168" y="138"/>
                    </a:lnTo>
                    <a:lnTo>
                      <a:pt x="163" y="141"/>
                    </a:lnTo>
                    <a:lnTo>
                      <a:pt x="164" y="143"/>
                    </a:lnTo>
                    <a:lnTo>
                      <a:pt x="163" y="141"/>
                    </a:lnTo>
                    <a:lnTo>
                      <a:pt x="163" y="143"/>
                    </a:lnTo>
                    <a:lnTo>
                      <a:pt x="161" y="146"/>
                    </a:lnTo>
                    <a:lnTo>
                      <a:pt x="159" y="146"/>
                    </a:lnTo>
                    <a:lnTo>
                      <a:pt x="158" y="146"/>
                    </a:lnTo>
                    <a:lnTo>
                      <a:pt x="154" y="150"/>
                    </a:lnTo>
                    <a:lnTo>
                      <a:pt x="154" y="151"/>
                    </a:lnTo>
                    <a:lnTo>
                      <a:pt x="147" y="153"/>
                    </a:lnTo>
                    <a:lnTo>
                      <a:pt x="142" y="158"/>
                    </a:lnTo>
                    <a:lnTo>
                      <a:pt x="142" y="156"/>
                    </a:lnTo>
                    <a:lnTo>
                      <a:pt x="141" y="158"/>
                    </a:lnTo>
                    <a:lnTo>
                      <a:pt x="142" y="158"/>
                    </a:lnTo>
                    <a:lnTo>
                      <a:pt x="141" y="158"/>
                    </a:lnTo>
                    <a:lnTo>
                      <a:pt x="139" y="158"/>
                    </a:lnTo>
                    <a:lnTo>
                      <a:pt x="137" y="160"/>
                    </a:lnTo>
                    <a:lnTo>
                      <a:pt x="136" y="162"/>
                    </a:lnTo>
                    <a:lnTo>
                      <a:pt x="134" y="160"/>
                    </a:lnTo>
                    <a:lnTo>
                      <a:pt x="132" y="162"/>
                    </a:lnTo>
                    <a:lnTo>
                      <a:pt x="130" y="163"/>
                    </a:lnTo>
                    <a:lnTo>
                      <a:pt x="125" y="170"/>
                    </a:lnTo>
                    <a:lnTo>
                      <a:pt x="125" y="175"/>
                    </a:lnTo>
                    <a:lnTo>
                      <a:pt x="127" y="180"/>
                    </a:lnTo>
                    <a:lnTo>
                      <a:pt x="130" y="185"/>
                    </a:lnTo>
                    <a:lnTo>
                      <a:pt x="141" y="194"/>
                    </a:lnTo>
                    <a:lnTo>
                      <a:pt x="147" y="196"/>
                    </a:lnTo>
                    <a:lnTo>
                      <a:pt x="146" y="197"/>
                    </a:lnTo>
                    <a:lnTo>
                      <a:pt x="147" y="197"/>
                    </a:lnTo>
                    <a:lnTo>
                      <a:pt x="161" y="194"/>
                    </a:lnTo>
                    <a:lnTo>
                      <a:pt x="163" y="196"/>
                    </a:lnTo>
                    <a:lnTo>
                      <a:pt x="161" y="199"/>
                    </a:lnTo>
                    <a:lnTo>
                      <a:pt x="159" y="202"/>
                    </a:lnTo>
                    <a:lnTo>
                      <a:pt x="159" y="204"/>
                    </a:lnTo>
                    <a:lnTo>
                      <a:pt x="163" y="206"/>
                    </a:lnTo>
                    <a:lnTo>
                      <a:pt x="171" y="202"/>
                    </a:lnTo>
                    <a:lnTo>
                      <a:pt x="173" y="201"/>
                    </a:lnTo>
                    <a:lnTo>
                      <a:pt x="171" y="199"/>
                    </a:lnTo>
                    <a:lnTo>
                      <a:pt x="173" y="197"/>
                    </a:lnTo>
                    <a:lnTo>
                      <a:pt x="175" y="197"/>
                    </a:lnTo>
                    <a:lnTo>
                      <a:pt x="175" y="196"/>
                    </a:lnTo>
                    <a:lnTo>
                      <a:pt x="178" y="197"/>
                    </a:lnTo>
                    <a:lnTo>
                      <a:pt x="180" y="201"/>
                    </a:lnTo>
                    <a:lnTo>
                      <a:pt x="181" y="206"/>
                    </a:lnTo>
                    <a:lnTo>
                      <a:pt x="180" y="207"/>
                    </a:lnTo>
                    <a:lnTo>
                      <a:pt x="181" y="211"/>
                    </a:lnTo>
                    <a:lnTo>
                      <a:pt x="185" y="213"/>
                    </a:lnTo>
                    <a:lnTo>
                      <a:pt x="190" y="216"/>
                    </a:lnTo>
                    <a:lnTo>
                      <a:pt x="183" y="213"/>
                    </a:lnTo>
                    <a:lnTo>
                      <a:pt x="181" y="213"/>
                    </a:lnTo>
                    <a:lnTo>
                      <a:pt x="181" y="214"/>
                    </a:lnTo>
                    <a:lnTo>
                      <a:pt x="183" y="216"/>
                    </a:lnTo>
                    <a:lnTo>
                      <a:pt x="183" y="219"/>
                    </a:lnTo>
                    <a:lnTo>
                      <a:pt x="197" y="221"/>
                    </a:lnTo>
                    <a:lnTo>
                      <a:pt x="197" y="219"/>
                    </a:lnTo>
                    <a:lnTo>
                      <a:pt x="192" y="216"/>
                    </a:lnTo>
                    <a:lnTo>
                      <a:pt x="200" y="219"/>
                    </a:lnTo>
                    <a:lnTo>
                      <a:pt x="204" y="221"/>
                    </a:lnTo>
                    <a:close/>
                    <a:moveTo>
                      <a:pt x="176" y="187"/>
                    </a:moveTo>
                    <a:lnTo>
                      <a:pt x="178" y="187"/>
                    </a:lnTo>
                    <a:lnTo>
                      <a:pt x="178" y="190"/>
                    </a:lnTo>
                    <a:lnTo>
                      <a:pt x="175" y="190"/>
                    </a:lnTo>
                    <a:lnTo>
                      <a:pt x="173" y="196"/>
                    </a:lnTo>
                    <a:lnTo>
                      <a:pt x="173" y="192"/>
                    </a:lnTo>
                    <a:lnTo>
                      <a:pt x="171" y="194"/>
                    </a:lnTo>
                    <a:lnTo>
                      <a:pt x="170" y="196"/>
                    </a:lnTo>
                    <a:lnTo>
                      <a:pt x="170" y="197"/>
                    </a:lnTo>
                    <a:lnTo>
                      <a:pt x="168" y="196"/>
                    </a:lnTo>
                    <a:lnTo>
                      <a:pt x="168" y="194"/>
                    </a:lnTo>
                    <a:lnTo>
                      <a:pt x="166" y="192"/>
                    </a:lnTo>
                    <a:lnTo>
                      <a:pt x="164" y="192"/>
                    </a:lnTo>
                    <a:lnTo>
                      <a:pt x="164" y="194"/>
                    </a:lnTo>
                    <a:lnTo>
                      <a:pt x="163" y="194"/>
                    </a:lnTo>
                    <a:lnTo>
                      <a:pt x="161" y="192"/>
                    </a:lnTo>
                    <a:lnTo>
                      <a:pt x="161" y="190"/>
                    </a:lnTo>
                    <a:lnTo>
                      <a:pt x="163" y="189"/>
                    </a:lnTo>
                    <a:lnTo>
                      <a:pt x="161" y="184"/>
                    </a:lnTo>
                    <a:lnTo>
                      <a:pt x="164" y="184"/>
                    </a:lnTo>
                    <a:lnTo>
                      <a:pt x="173" y="185"/>
                    </a:lnTo>
                    <a:lnTo>
                      <a:pt x="170" y="184"/>
                    </a:lnTo>
                    <a:lnTo>
                      <a:pt x="176" y="187"/>
                    </a:lnTo>
                    <a:close/>
                    <a:moveTo>
                      <a:pt x="188" y="138"/>
                    </a:moveTo>
                    <a:lnTo>
                      <a:pt x="190" y="138"/>
                    </a:lnTo>
                    <a:lnTo>
                      <a:pt x="190" y="139"/>
                    </a:lnTo>
                    <a:lnTo>
                      <a:pt x="188" y="139"/>
                    </a:lnTo>
                    <a:lnTo>
                      <a:pt x="190" y="141"/>
                    </a:lnTo>
                    <a:lnTo>
                      <a:pt x="188" y="143"/>
                    </a:lnTo>
                    <a:lnTo>
                      <a:pt x="187" y="143"/>
                    </a:lnTo>
                    <a:lnTo>
                      <a:pt x="181" y="144"/>
                    </a:lnTo>
                    <a:lnTo>
                      <a:pt x="181" y="143"/>
                    </a:lnTo>
                    <a:lnTo>
                      <a:pt x="183" y="141"/>
                    </a:lnTo>
                    <a:lnTo>
                      <a:pt x="183" y="139"/>
                    </a:lnTo>
                    <a:lnTo>
                      <a:pt x="185" y="141"/>
                    </a:lnTo>
                    <a:lnTo>
                      <a:pt x="187" y="141"/>
                    </a:lnTo>
                    <a:lnTo>
                      <a:pt x="187" y="139"/>
                    </a:lnTo>
                    <a:lnTo>
                      <a:pt x="188" y="139"/>
                    </a:lnTo>
                    <a:lnTo>
                      <a:pt x="187" y="136"/>
                    </a:lnTo>
                    <a:lnTo>
                      <a:pt x="188" y="138"/>
                    </a:lnTo>
                    <a:close/>
                    <a:moveTo>
                      <a:pt x="181" y="144"/>
                    </a:moveTo>
                    <a:lnTo>
                      <a:pt x="178" y="148"/>
                    </a:lnTo>
                    <a:lnTo>
                      <a:pt x="173" y="146"/>
                    </a:lnTo>
                    <a:lnTo>
                      <a:pt x="175" y="144"/>
                    </a:lnTo>
                    <a:lnTo>
                      <a:pt x="180" y="144"/>
                    </a:lnTo>
                    <a:lnTo>
                      <a:pt x="181" y="144"/>
                    </a:lnTo>
                    <a:close/>
                    <a:moveTo>
                      <a:pt x="69" y="0"/>
                    </a:moveTo>
                    <a:lnTo>
                      <a:pt x="71" y="0"/>
                    </a:lnTo>
                    <a:lnTo>
                      <a:pt x="69" y="0"/>
                    </a:lnTo>
                    <a:close/>
                    <a:moveTo>
                      <a:pt x="164" y="19"/>
                    </a:moveTo>
                    <a:lnTo>
                      <a:pt x="166" y="19"/>
                    </a:lnTo>
                    <a:lnTo>
                      <a:pt x="166" y="20"/>
                    </a:lnTo>
                    <a:lnTo>
                      <a:pt x="164" y="20"/>
                    </a:lnTo>
                    <a:lnTo>
                      <a:pt x="164" y="19"/>
                    </a:lnTo>
                    <a:close/>
                    <a:moveTo>
                      <a:pt x="113" y="15"/>
                    </a:moveTo>
                    <a:lnTo>
                      <a:pt x="115" y="15"/>
                    </a:lnTo>
                    <a:lnTo>
                      <a:pt x="113" y="15"/>
                    </a:lnTo>
                    <a:close/>
                    <a:moveTo>
                      <a:pt x="176" y="87"/>
                    </a:moveTo>
                    <a:lnTo>
                      <a:pt x="176" y="88"/>
                    </a:lnTo>
                    <a:lnTo>
                      <a:pt x="176" y="87"/>
                    </a:lnTo>
                    <a:close/>
                    <a:moveTo>
                      <a:pt x="139" y="160"/>
                    </a:moveTo>
                    <a:lnTo>
                      <a:pt x="141" y="160"/>
                    </a:lnTo>
                    <a:lnTo>
                      <a:pt x="139" y="160"/>
                    </a:lnTo>
                    <a:close/>
                    <a:moveTo>
                      <a:pt x="180" y="209"/>
                    </a:moveTo>
                    <a:lnTo>
                      <a:pt x="181" y="209"/>
                    </a:lnTo>
                    <a:lnTo>
                      <a:pt x="181" y="211"/>
                    </a:lnTo>
                    <a:lnTo>
                      <a:pt x="180" y="211"/>
                    </a:lnTo>
                    <a:lnTo>
                      <a:pt x="180" y="209"/>
                    </a:lnTo>
                    <a:close/>
                    <a:moveTo>
                      <a:pt x="190" y="139"/>
                    </a:moveTo>
                    <a:lnTo>
                      <a:pt x="192" y="139"/>
                    </a:lnTo>
                    <a:lnTo>
                      <a:pt x="192" y="141"/>
                    </a:lnTo>
                    <a:lnTo>
                      <a:pt x="190" y="141"/>
                    </a:lnTo>
                    <a:lnTo>
                      <a:pt x="190" y="139"/>
                    </a:lnTo>
                    <a:close/>
                    <a:moveTo>
                      <a:pt x="159" y="192"/>
                    </a:moveTo>
                    <a:lnTo>
                      <a:pt x="161" y="192"/>
                    </a:lnTo>
                    <a:lnTo>
                      <a:pt x="159" y="192"/>
                    </a:lnTo>
                    <a:close/>
                    <a:moveTo>
                      <a:pt x="190" y="136"/>
                    </a:moveTo>
                    <a:lnTo>
                      <a:pt x="192" y="136"/>
                    </a:lnTo>
                    <a:lnTo>
                      <a:pt x="192" y="138"/>
                    </a:lnTo>
                    <a:lnTo>
                      <a:pt x="190" y="138"/>
                    </a:lnTo>
                    <a:lnTo>
                      <a:pt x="190" y="136"/>
                    </a:lnTo>
                    <a:close/>
                    <a:moveTo>
                      <a:pt x="175" y="194"/>
                    </a:moveTo>
                    <a:lnTo>
                      <a:pt x="175" y="196"/>
                    </a:lnTo>
                    <a:lnTo>
                      <a:pt x="175" y="194"/>
                    </a:lnTo>
                    <a:close/>
                    <a:moveTo>
                      <a:pt x="166" y="90"/>
                    </a:moveTo>
                    <a:lnTo>
                      <a:pt x="166" y="92"/>
                    </a:lnTo>
                    <a:lnTo>
                      <a:pt x="166" y="90"/>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61">
                <a:extLst>
                  <a:ext uri="{FF2B5EF4-FFF2-40B4-BE49-F238E27FC236}">
                    <a16:creationId xmlns:a16="http://schemas.microsoft.com/office/drawing/2014/main" id="{4AB66268-7771-46C7-872A-C61F0C720C05}"/>
                  </a:ext>
                </a:extLst>
              </p:cNvPr>
              <p:cNvSpPr>
                <a:spLocks/>
              </p:cNvSpPr>
              <p:nvPr/>
            </p:nvSpPr>
            <p:spPr bwMode="gray">
              <a:xfrm>
                <a:off x="4205809" y="2233961"/>
                <a:ext cx="529080" cy="434911"/>
              </a:xfrm>
              <a:custGeom>
                <a:avLst/>
                <a:gdLst>
                  <a:gd name="T0" fmla="*/ 0 w 427"/>
                  <a:gd name="T1" fmla="*/ 347 h 351"/>
                  <a:gd name="T2" fmla="*/ 0 w 427"/>
                  <a:gd name="T3" fmla="*/ 344 h 351"/>
                  <a:gd name="T4" fmla="*/ 3 w 427"/>
                  <a:gd name="T5" fmla="*/ 322 h 351"/>
                  <a:gd name="T6" fmla="*/ 7 w 427"/>
                  <a:gd name="T7" fmla="*/ 303 h 351"/>
                  <a:gd name="T8" fmla="*/ 7 w 427"/>
                  <a:gd name="T9" fmla="*/ 300 h 351"/>
                  <a:gd name="T10" fmla="*/ 10 w 427"/>
                  <a:gd name="T11" fmla="*/ 295 h 351"/>
                  <a:gd name="T12" fmla="*/ 15 w 427"/>
                  <a:gd name="T13" fmla="*/ 281 h 351"/>
                  <a:gd name="T14" fmla="*/ 22 w 427"/>
                  <a:gd name="T15" fmla="*/ 274 h 351"/>
                  <a:gd name="T16" fmla="*/ 30 w 427"/>
                  <a:gd name="T17" fmla="*/ 272 h 351"/>
                  <a:gd name="T18" fmla="*/ 34 w 427"/>
                  <a:gd name="T19" fmla="*/ 264 h 351"/>
                  <a:gd name="T20" fmla="*/ 39 w 427"/>
                  <a:gd name="T21" fmla="*/ 250 h 351"/>
                  <a:gd name="T22" fmla="*/ 41 w 427"/>
                  <a:gd name="T23" fmla="*/ 245 h 351"/>
                  <a:gd name="T24" fmla="*/ 42 w 427"/>
                  <a:gd name="T25" fmla="*/ 244 h 351"/>
                  <a:gd name="T26" fmla="*/ 47 w 427"/>
                  <a:gd name="T27" fmla="*/ 240 h 351"/>
                  <a:gd name="T28" fmla="*/ 47 w 427"/>
                  <a:gd name="T29" fmla="*/ 235 h 351"/>
                  <a:gd name="T30" fmla="*/ 49 w 427"/>
                  <a:gd name="T31" fmla="*/ 228 h 351"/>
                  <a:gd name="T32" fmla="*/ 53 w 427"/>
                  <a:gd name="T33" fmla="*/ 223 h 351"/>
                  <a:gd name="T34" fmla="*/ 56 w 427"/>
                  <a:gd name="T35" fmla="*/ 218 h 351"/>
                  <a:gd name="T36" fmla="*/ 58 w 427"/>
                  <a:gd name="T37" fmla="*/ 213 h 351"/>
                  <a:gd name="T38" fmla="*/ 61 w 427"/>
                  <a:gd name="T39" fmla="*/ 206 h 351"/>
                  <a:gd name="T40" fmla="*/ 66 w 427"/>
                  <a:gd name="T41" fmla="*/ 201 h 351"/>
                  <a:gd name="T42" fmla="*/ 68 w 427"/>
                  <a:gd name="T43" fmla="*/ 198 h 351"/>
                  <a:gd name="T44" fmla="*/ 68 w 427"/>
                  <a:gd name="T45" fmla="*/ 193 h 351"/>
                  <a:gd name="T46" fmla="*/ 66 w 427"/>
                  <a:gd name="T47" fmla="*/ 194 h 351"/>
                  <a:gd name="T48" fmla="*/ 61 w 427"/>
                  <a:gd name="T49" fmla="*/ 196 h 351"/>
                  <a:gd name="T50" fmla="*/ 58 w 427"/>
                  <a:gd name="T51" fmla="*/ 204 h 351"/>
                  <a:gd name="T52" fmla="*/ 56 w 427"/>
                  <a:gd name="T53" fmla="*/ 204 h 351"/>
                  <a:gd name="T54" fmla="*/ 61 w 427"/>
                  <a:gd name="T55" fmla="*/ 196 h 351"/>
                  <a:gd name="T56" fmla="*/ 76 w 427"/>
                  <a:gd name="T57" fmla="*/ 186 h 351"/>
                  <a:gd name="T58" fmla="*/ 90 w 427"/>
                  <a:gd name="T59" fmla="*/ 172 h 351"/>
                  <a:gd name="T60" fmla="*/ 98 w 427"/>
                  <a:gd name="T61" fmla="*/ 162 h 351"/>
                  <a:gd name="T62" fmla="*/ 107 w 427"/>
                  <a:gd name="T63" fmla="*/ 155 h 351"/>
                  <a:gd name="T64" fmla="*/ 112 w 427"/>
                  <a:gd name="T65" fmla="*/ 147 h 351"/>
                  <a:gd name="T66" fmla="*/ 115 w 427"/>
                  <a:gd name="T67" fmla="*/ 135 h 351"/>
                  <a:gd name="T68" fmla="*/ 114 w 427"/>
                  <a:gd name="T69" fmla="*/ 130 h 351"/>
                  <a:gd name="T70" fmla="*/ 117 w 427"/>
                  <a:gd name="T71" fmla="*/ 116 h 351"/>
                  <a:gd name="T72" fmla="*/ 124 w 427"/>
                  <a:gd name="T73" fmla="*/ 97 h 351"/>
                  <a:gd name="T74" fmla="*/ 132 w 427"/>
                  <a:gd name="T75" fmla="*/ 87 h 351"/>
                  <a:gd name="T76" fmla="*/ 131 w 427"/>
                  <a:gd name="T77" fmla="*/ 80 h 351"/>
                  <a:gd name="T78" fmla="*/ 136 w 427"/>
                  <a:gd name="T79" fmla="*/ 73 h 351"/>
                  <a:gd name="T80" fmla="*/ 144 w 427"/>
                  <a:gd name="T81" fmla="*/ 70 h 351"/>
                  <a:gd name="T82" fmla="*/ 155 w 427"/>
                  <a:gd name="T83" fmla="*/ 63 h 351"/>
                  <a:gd name="T84" fmla="*/ 173 w 427"/>
                  <a:gd name="T85" fmla="*/ 53 h 351"/>
                  <a:gd name="T86" fmla="*/ 180 w 427"/>
                  <a:gd name="T87" fmla="*/ 46 h 351"/>
                  <a:gd name="T88" fmla="*/ 187 w 427"/>
                  <a:gd name="T89" fmla="*/ 28 h 351"/>
                  <a:gd name="T90" fmla="*/ 199 w 427"/>
                  <a:gd name="T91" fmla="*/ 0 h 351"/>
                  <a:gd name="T92" fmla="*/ 228 w 427"/>
                  <a:gd name="T93" fmla="*/ 0 h 351"/>
                  <a:gd name="T94" fmla="*/ 267 w 427"/>
                  <a:gd name="T95" fmla="*/ 0 h 351"/>
                  <a:gd name="T96" fmla="*/ 308 w 427"/>
                  <a:gd name="T97" fmla="*/ 0 h 351"/>
                  <a:gd name="T98" fmla="*/ 352 w 427"/>
                  <a:gd name="T99" fmla="*/ 2 h 351"/>
                  <a:gd name="T100" fmla="*/ 427 w 427"/>
                  <a:gd name="T101" fmla="*/ 2 h 351"/>
                  <a:gd name="T102" fmla="*/ 427 w 427"/>
                  <a:gd name="T103" fmla="*/ 41 h 351"/>
                  <a:gd name="T104" fmla="*/ 427 w 427"/>
                  <a:gd name="T105" fmla="*/ 85 h 351"/>
                  <a:gd name="T106" fmla="*/ 258 w 427"/>
                  <a:gd name="T107" fmla="*/ 87 h 351"/>
                  <a:gd name="T108" fmla="*/ 258 w 427"/>
                  <a:gd name="T109" fmla="*/ 164 h 351"/>
                  <a:gd name="T110" fmla="*/ 251 w 427"/>
                  <a:gd name="T111" fmla="*/ 216 h 351"/>
                  <a:gd name="T112" fmla="*/ 229 w 427"/>
                  <a:gd name="T113" fmla="*/ 223 h 351"/>
                  <a:gd name="T114" fmla="*/ 207 w 427"/>
                  <a:gd name="T115" fmla="*/ 238 h 351"/>
                  <a:gd name="T116" fmla="*/ 200 w 427"/>
                  <a:gd name="T117" fmla="*/ 252 h 351"/>
                  <a:gd name="T118" fmla="*/ 206 w 427"/>
                  <a:gd name="T119" fmla="*/ 307 h 351"/>
                  <a:gd name="T120" fmla="*/ 146 w 427"/>
                  <a:gd name="T121" fmla="*/ 322 h 351"/>
                  <a:gd name="T122" fmla="*/ 68 w 427"/>
                  <a:gd name="T123" fmla="*/ 322 h 351"/>
                  <a:gd name="T124" fmla="*/ 2 w 427"/>
                  <a:gd name="T125" fmla="*/ 34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351">
                    <a:moveTo>
                      <a:pt x="3" y="351"/>
                    </a:moveTo>
                    <a:lnTo>
                      <a:pt x="0" y="347"/>
                    </a:lnTo>
                    <a:lnTo>
                      <a:pt x="2" y="346"/>
                    </a:lnTo>
                    <a:lnTo>
                      <a:pt x="0" y="344"/>
                    </a:lnTo>
                    <a:lnTo>
                      <a:pt x="2" y="339"/>
                    </a:lnTo>
                    <a:lnTo>
                      <a:pt x="3" y="322"/>
                    </a:lnTo>
                    <a:lnTo>
                      <a:pt x="7" y="312"/>
                    </a:lnTo>
                    <a:lnTo>
                      <a:pt x="7" y="303"/>
                    </a:lnTo>
                    <a:lnTo>
                      <a:pt x="8" y="301"/>
                    </a:lnTo>
                    <a:lnTo>
                      <a:pt x="7" y="300"/>
                    </a:lnTo>
                    <a:lnTo>
                      <a:pt x="7" y="298"/>
                    </a:lnTo>
                    <a:lnTo>
                      <a:pt x="10" y="295"/>
                    </a:lnTo>
                    <a:lnTo>
                      <a:pt x="10" y="291"/>
                    </a:lnTo>
                    <a:lnTo>
                      <a:pt x="15" y="281"/>
                    </a:lnTo>
                    <a:lnTo>
                      <a:pt x="17" y="279"/>
                    </a:lnTo>
                    <a:lnTo>
                      <a:pt x="22" y="274"/>
                    </a:lnTo>
                    <a:lnTo>
                      <a:pt x="24" y="276"/>
                    </a:lnTo>
                    <a:lnTo>
                      <a:pt x="30" y="272"/>
                    </a:lnTo>
                    <a:lnTo>
                      <a:pt x="32" y="269"/>
                    </a:lnTo>
                    <a:lnTo>
                      <a:pt x="34" y="264"/>
                    </a:lnTo>
                    <a:lnTo>
                      <a:pt x="37" y="261"/>
                    </a:lnTo>
                    <a:lnTo>
                      <a:pt x="39" y="250"/>
                    </a:lnTo>
                    <a:lnTo>
                      <a:pt x="41" y="247"/>
                    </a:lnTo>
                    <a:lnTo>
                      <a:pt x="41" y="245"/>
                    </a:lnTo>
                    <a:lnTo>
                      <a:pt x="41" y="244"/>
                    </a:lnTo>
                    <a:lnTo>
                      <a:pt x="42" y="244"/>
                    </a:lnTo>
                    <a:lnTo>
                      <a:pt x="46" y="242"/>
                    </a:lnTo>
                    <a:lnTo>
                      <a:pt x="47" y="240"/>
                    </a:lnTo>
                    <a:lnTo>
                      <a:pt x="49" y="238"/>
                    </a:lnTo>
                    <a:lnTo>
                      <a:pt x="47" y="235"/>
                    </a:lnTo>
                    <a:lnTo>
                      <a:pt x="46" y="233"/>
                    </a:lnTo>
                    <a:lnTo>
                      <a:pt x="49" y="228"/>
                    </a:lnTo>
                    <a:lnTo>
                      <a:pt x="49" y="227"/>
                    </a:lnTo>
                    <a:lnTo>
                      <a:pt x="53" y="223"/>
                    </a:lnTo>
                    <a:lnTo>
                      <a:pt x="53" y="221"/>
                    </a:lnTo>
                    <a:lnTo>
                      <a:pt x="56" y="218"/>
                    </a:lnTo>
                    <a:lnTo>
                      <a:pt x="58" y="215"/>
                    </a:lnTo>
                    <a:lnTo>
                      <a:pt x="58" y="213"/>
                    </a:lnTo>
                    <a:lnTo>
                      <a:pt x="61" y="210"/>
                    </a:lnTo>
                    <a:lnTo>
                      <a:pt x="61" y="206"/>
                    </a:lnTo>
                    <a:lnTo>
                      <a:pt x="63" y="206"/>
                    </a:lnTo>
                    <a:lnTo>
                      <a:pt x="66" y="201"/>
                    </a:lnTo>
                    <a:lnTo>
                      <a:pt x="70" y="196"/>
                    </a:lnTo>
                    <a:lnTo>
                      <a:pt x="68" y="198"/>
                    </a:lnTo>
                    <a:lnTo>
                      <a:pt x="70" y="194"/>
                    </a:lnTo>
                    <a:lnTo>
                      <a:pt x="68" y="193"/>
                    </a:lnTo>
                    <a:lnTo>
                      <a:pt x="68" y="191"/>
                    </a:lnTo>
                    <a:lnTo>
                      <a:pt x="66" y="194"/>
                    </a:lnTo>
                    <a:lnTo>
                      <a:pt x="64" y="194"/>
                    </a:lnTo>
                    <a:lnTo>
                      <a:pt x="61" y="196"/>
                    </a:lnTo>
                    <a:lnTo>
                      <a:pt x="59" y="203"/>
                    </a:lnTo>
                    <a:lnTo>
                      <a:pt x="58" y="204"/>
                    </a:lnTo>
                    <a:lnTo>
                      <a:pt x="56" y="206"/>
                    </a:lnTo>
                    <a:lnTo>
                      <a:pt x="56" y="204"/>
                    </a:lnTo>
                    <a:lnTo>
                      <a:pt x="59" y="201"/>
                    </a:lnTo>
                    <a:lnTo>
                      <a:pt x="61" y="196"/>
                    </a:lnTo>
                    <a:lnTo>
                      <a:pt x="66" y="191"/>
                    </a:lnTo>
                    <a:lnTo>
                      <a:pt x="76" y="186"/>
                    </a:lnTo>
                    <a:lnTo>
                      <a:pt x="76" y="182"/>
                    </a:lnTo>
                    <a:lnTo>
                      <a:pt x="90" y="172"/>
                    </a:lnTo>
                    <a:lnTo>
                      <a:pt x="95" y="165"/>
                    </a:lnTo>
                    <a:lnTo>
                      <a:pt x="98" y="162"/>
                    </a:lnTo>
                    <a:lnTo>
                      <a:pt x="105" y="159"/>
                    </a:lnTo>
                    <a:lnTo>
                      <a:pt x="107" y="155"/>
                    </a:lnTo>
                    <a:lnTo>
                      <a:pt x="112" y="152"/>
                    </a:lnTo>
                    <a:lnTo>
                      <a:pt x="112" y="147"/>
                    </a:lnTo>
                    <a:lnTo>
                      <a:pt x="115" y="142"/>
                    </a:lnTo>
                    <a:lnTo>
                      <a:pt x="115" y="135"/>
                    </a:lnTo>
                    <a:lnTo>
                      <a:pt x="114" y="133"/>
                    </a:lnTo>
                    <a:lnTo>
                      <a:pt x="114" y="130"/>
                    </a:lnTo>
                    <a:lnTo>
                      <a:pt x="115" y="121"/>
                    </a:lnTo>
                    <a:lnTo>
                      <a:pt x="117" y="116"/>
                    </a:lnTo>
                    <a:lnTo>
                      <a:pt x="122" y="109"/>
                    </a:lnTo>
                    <a:lnTo>
                      <a:pt x="124" y="97"/>
                    </a:lnTo>
                    <a:lnTo>
                      <a:pt x="127" y="94"/>
                    </a:lnTo>
                    <a:lnTo>
                      <a:pt x="132" y="87"/>
                    </a:lnTo>
                    <a:lnTo>
                      <a:pt x="132" y="82"/>
                    </a:lnTo>
                    <a:lnTo>
                      <a:pt x="131" y="80"/>
                    </a:lnTo>
                    <a:lnTo>
                      <a:pt x="132" y="77"/>
                    </a:lnTo>
                    <a:lnTo>
                      <a:pt x="136" y="73"/>
                    </a:lnTo>
                    <a:lnTo>
                      <a:pt x="141" y="72"/>
                    </a:lnTo>
                    <a:lnTo>
                      <a:pt x="144" y="70"/>
                    </a:lnTo>
                    <a:lnTo>
                      <a:pt x="148" y="65"/>
                    </a:lnTo>
                    <a:lnTo>
                      <a:pt x="155" y="63"/>
                    </a:lnTo>
                    <a:lnTo>
                      <a:pt x="158" y="62"/>
                    </a:lnTo>
                    <a:lnTo>
                      <a:pt x="173" y="53"/>
                    </a:lnTo>
                    <a:lnTo>
                      <a:pt x="178" y="50"/>
                    </a:lnTo>
                    <a:lnTo>
                      <a:pt x="180" y="46"/>
                    </a:lnTo>
                    <a:lnTo>
                      <a:pt x="187" y="31"/>
                    </a:lnTo>
                    <a:lnTo>
                      <a:pt x="187" y="28"/>
                    </a:lnTo>
                    <a:lnTo>
                      <a:pt x="194" y="16"/>
                    </a:lnTo>
                    <a:lnTo>
                      <a:pt x="199" y="0"/>
                    </a:lnTo>
                    <a:lnTo>
                      <a:pt x="209" y="0"/>
                    </a:lnTo>
                    <a:lnTo>
                      <a:pt x="228" y="0"/>
                    </a:lnTo>
                    <a:lnTo>
                      <a:pt x="258" y="0"/>
                    </a:lnTo>
                    <a:lnTo>
                      <a:pt x="267" y="0"/>
                    </a:lnTo>
                    <a:lnTo>
                      <a:pt x="279" y="0"/>
                    </a:lnTo>
                    <a:lnTo>
                      <a:pt x="308" y="0"/>
                    </a:lnTo>
                    <a:lnTo>
                      <a:pt x="325" y="0"/>
                    </a:lnTo>
                    <a:lnTo>
                      <a:pt x="352" y="2"/>
                    </a:lnTo>
                    <a:lnTo>
                      <a:pt x="396" y="2"/>
                    </a:lnTo>
                    <a:lnTo>
                      <a:pt x="427" y="2"/>
                    </a:lnTo>
                    <a:lnTo>
                      <a:pt x="427" y="19"/>
                    </a:lnTo>
                    <a:lnTo>
                      <a:pt x="427" y="41"/>
                    </a:lnTo>
                    <a:lnTo>
                      <a:pt x="427" y="56"/>
                    </a:lnTo>
                    <a:lnTo>
                      <a:pt x="427" y="85"/>
                    </a:lnTo>
                    <a:lnTo>
                      <a:pt x="316" y="85"/>
                    </a:lnTo>
                    <a:lnTo>
                      <a:pt x="258" y="87"/>
                    </a:lnTo>
                    <a:lnTo>
                      <a:pt x="258" y="136"/>
                    </a:lnTo>
                    <a:lnTo>
                      <a:pt x="258" y="164"/>
                    </a:lnTo>
                    <a:lnTo>
                      <a:pt x="258" y="215"/>
                    </a:lnTo>
                    <a:lnTo>
                      <a:pt x="251" y="216"/>
                    </a:lnTo>
                    <a:lnTo>
                      <a:pt x="241" y="221"/>
                    </a:lnTo>
                    <a:lnTo>
                      <a:pt x="229" y="223"/>
                    </a:lnTo>
                    <a:lnTo>
                      <a:pt x="209" y="235"/>
                    </a:lnTo>
                    <a:lnTo>
                      <a:pt x="207" y="238"/>
                    </a:lnTo>
                    <a:lnTo>
                      <a:pt x="202" y="244"/>
                    </a:lnTo>
                    <a:lnTo>
                      <a:pt x="200" y="252"/>
                    </a:lnTo>
                    <a:lnTo>
                      <a:pt x="200" y="257"/>
                    </a:lnTo>
                    <a:lnTo>
                      <a:pt x="206" y="307"/>
                    </a:lnTo>
                    <a:lnTo>
                      <a:pt x="207" y="324"/>
                    </a:lnTo>
                    <a:lnTo>
                      <a:pt x="146" y="322"/>
                    </a:lnTo>
                    <a:lnTo>
                      <a:pt x="117" y="322"/>
                    </a:lnTo>
                    <a:lnTo>
                      <a:pt x="68" y="322"/>
                    </a:lnTo>
                    <a:lnTo>
                      <a:pt x="8" y="322"/>
                    </a:lnTo>
                    <a:lnTo>
                      <a:pt x="2" y="344"/>
                    </a:lnTo>
                    <a:lnTo>
                      <a:pt x="3" y="351"/>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50" name="TextBox 49">
            <a:extLst>
              <a:ext uri="{FF2B5EF4-FFF2-40B4-BE49-F238E27FC236}">
                <a16:creationId xmlns:a16="http://schemas.microsoft.com/office/drawing/2014/main" id="{D0647146-4EEC-431D-8AE7-3C8F6C9F3686}"/>
              </a:ext>
            </a:extLst>
          </p:cNvPr>
          <p:cNvSpPr txBox="1">
            <a:spLocks/>
          </p:cNvSpPr>
          <p:nvPr/>
        </p:nvSpPr>
        <p:spPr>
          <a:xfrm>
            <a:off x="2973539" y="1723228"/>
            <a:ext cx="1266700" cy="223837"/>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égion du Nord</a:t>
            </a:r>
          </a:p>
        </p:txBody>
      </p:sp>
      <p:grpSp>
        <p:nvGrpSpPr>
          <p:cNvPr id="61" name="Group 60">
            <a:extLst>
              <a:ext uri="{FF2B5EF4-FFF2-40B4-BE49-F238E27FC236}">
                <a16:creationId xmlns:a16="http://schemas.microsoft.com/office/drawing/2014/main" id="{D4C04482-0A61-4DAF-8FEF-0BF52155E647}"/>
              </a:ext>
            </a:extLst>
          </p:cNvPr>
          <p:cNvGrpSpPr/>
          <p:nvPr/>
        </p:nvGrpSpPr>
        <p:grpSpPr>
          <a:xfrm>
            <a:off x="10307229" y="1243142"/>
            <a:ext cx="467523" cy="467523"/>
            <a:chOff x="7019566" y="1144592"/>
            <a:chExt cx="914400" cy="914400"/>
          </a:xfrm>
          <a:solidFill>
            <a:schemeClr val="accent1"/>
          </a:solidFill>
        </p:grpSpPr>
        <p:sp>
          <p:nvSpPr>
            <p:cNvPr id="63" name="Oval 62">
              <a:extLst>
                <a:ext uri="{FF2B5EF4-FFF2-40B4-BE49-F238E27FC236}">
                  <a16:creationId xmlns:a16="http://schemas.microsoft.com/office/drawing/2014/main" id="{D6674222-45C4-4309-9E97-BC8D81C1FA2D}"/>
                </a:ext>
              </a:extLst>
            </p:cNvPr>
            <p:cNvSpPr/>
            <p:nvPr/>
          </p:nvSpPr>
          <p:spPr>
            <a:xfrm>
              <a:off x="7019566" y="1144592"/>
              <a:ext cx="914400" cy="914400"/>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64" name="Group 63">
              <a:extLst>
                <a:ext uri="{FF2B5EF4-FFF2-40B4-BE49-F238E27FC236}">
                  <a16:creationId xmlns:a16="http://schemas.microsoft.com/office/drawing/2014/main" id="{925982A9-D11F-4D35-A879-02F8BC098131}"/>
                </a:ext>
              </a:extLst>
            </p:cNvPr>
            <p:cNvGrpSpPr/>
            <p:nvPr/>
          </p:nvGrpSpPr>
          <p:grpSpPr>
            <a:xfrm>
              <a:off x="7167997" y="1269317"/>
              <a:ext cx="663294" cy="693382"/>
              <a:chOff x="6011124" y="4247439"/>
              <a:chExt cx="1830096" cy="1913113"/>
            </a:xfrm>
            <a:grpFill/>
          </p:grpSpPr>
          <p:sp>
            <p:nvSpPr>
              <p:cNvPr id="65" name="Freeform 10">
                <a:extLst>
                  <a:ext uri="{FF2B5EF4-FFF2-40B4-BE49-F238E27FC236}">
                    <a16:creationId xmlns:a16="http://schemas.microsoft.com/office/drawing/2014/main" id="{DDA8FB54-CF67-43D0-857B-C40607006A22}"/>
                  </a:ext>
                </a:extLst>
              </p:cNvPr>
              <p:cNvSpPr>
                <a:spLocks noEditPoints="1"/>
              </p:cNvSpPr>
              <p:nvPr/>
            </p:nvSpPr>
            <p:spPr bwMode="gray">
              <a:xfrm>
                <a:off x="6011124" y="4247439"/>
                <a:ext cx="779370" cy="857432"/>
              </a:xfrm>
              <a:custGeom>
                <a:avLst/>
                <a:gdLst>
                  <a:gd name="T0" fmla="*/ 624 w 629"/>
                  <a:gd name="T1" fmla="*/ 371 h 692"/>
                  <a:gd name="T2" fmla="*/ 620 w 629"/>
                  <a:gd name="T3" fmla="*/ 422 h 692"/>
                  <a:gd name="T4" fmla="*/ 523 w 629"/>
                  <a:gd name="T5" fmla="*/ 600 h 692"/>
                  <a:gd name="T6" fmla="*/ 539 w 629"/>
                  <a:gd name="T7" fmla="*/ 622 h 692"/>
                  <a:gd name="T8" fmla="*/ 578 w 629"/>
                  <a:gd name="T9" fmla="*/ 660 h 692"/>
                  <a:gd name="T10" fmla="*/ 537 w 629"/>
                  <a:gd name="T11" fmla="*/ 684 h 692"/>
                  <a:gd name="T12" fmla="*/ 465 w 629"/>
                  <a:gd name="T13" fmla="*/ 692 h 692"/>
                  <a:gd name="T14" fmla="*/ 435 w 629"/>
                  <a:gd name="T15" fmla="*/ 684 h 692"/>
                  <a:gd name="T16" fmla="*/ 403 w 629"/>
                  <a:gd name="T17" fmla="*/ 684 h 692"/>
                  <a:gd name="T18" fmla="*/ 380 w 629"/>
                  <a:gd name="T19" fmla="*/ 680 h 692"/>
                  <a:gd name="T20" fmla="*/ 348 w 629"/>
                  <a:gd name="T21" fmla="*/ 670 h 692"/>
                  <a:gd name="T22" fmla="*/ 227 w 629"/>
                  <a:gd name="T23" fmla="*/ 660 h 692"/>
                  <a:gd name="T24" fmla="*/ 117 w 629"/>
                  <a:gd name="T25" fmla="*/ 662 h 692"/>
                  <a:gd name="T26" fmla="*/ 61 w 629"/>
                  <a:gd name="T27" fmla="*/ 643 h 692"/>
                  <a:gd name="T28" fmla="*/ 35 w 629"/>
                  <a:gd name="T29" fmla="*/ 651 h 692"/>
                  <a:gd name="T30" fmla="*/ 6 w 629"/>
                  <a:gd name="T31" fmla="*/ 628 h 692"/>
                  <a:gd name="T32" fmla="*/ 10 w 629"/>
                  <a:gd name="T33" fmla="*/ 578 h 692"/>
                  <a:gd name="T34" fmla="*/ 22 w 629"/>
                  <a:gd name="T35" fmla="*/ 546 h 692"/>
                  <a:gd name="T36" fmla="*/ 34 w 629"/>
                  <a:gd name="T37" fmla="*/ 505 h 692"/>
                  <a:gd name="T38" fmla="*/ 44 w 629"/>
                  <a:gd name="T39" fmla="*/ 480 h 692"/>
                  <a:gd name="T40" fmla="*/ 52 w 629"/>
                  <a:gd name="T41" fmla="*/ 449 h 692"/>
                  <a:gd name="T42" fmla="*/ 78 w 629"/>
                  <a:gd name="T43" fmla="*/ 417 h 692"/>
                  <a:gd name="T44" fmla="*/ 97 w 629"/>
                  <a:gd name="T45" fmla="*/ 405 h 692"/>
                  <a:gd name="T46" fmla="*/ 108 w 629"/>
                  <a:gd name="T47" fmla="*/ 352 h 692"/>
                  <a:gd name="T48" fmla="*/ 83 w 629"/>
                  <a:gd name="T49" fmla="*/ 284 h 692"/>
                  <a:gd name="T50" fmla="*/ 74 w 629"/>
                  <a:gd name="T51" fmla="*/ 228 h 692"/>
                  <a:gd name="T52" fmla="*/ 78 w 629"/>
                  <a:gd name="T53" fmla="*/ 224 h 692"/>
                  <a:gd name="T54" fmla="*/ 86 w 629"/>
                  <a:gd name="T55" fmla="*/ 207 h 692"/>
                  <a:gd name="T56" fmla="*/ 64 w 629"/>
                  <a:gd name="T57" fmla="*/ 155 h 692"/>
                  <a:gd name="T58" fmla="*/ 35 w 629"/>
                  <a:gd name="T59" fmla="*/ 90 h 692"/>
                  <a:gd name="T60" fmla="*/ 57 w 629"/>
                  <a:gd name="T61" fmla="*/ 83 h 692"/>
                  <a:gd name="T62" fmla="*/ 85 w 629"/>
                  <a:gd name="T63" fmla="*/ 78 h 692"/>
                  <a:gd name="T64" fmla="*/ 131 w 629"/>
                  <a:gd name="T65" fmla="*/ 76 h 692"/>
                  <a:gd name="T66" fmla="*/ 227 w 629"/>
                  <a:gd name="T67" fmla="*/ 76 h 692"/>
                  <a:gd name="T68" fmla="*/ 251 w 629"/>
                  <a:gd name="T69" fmla="*/ 88 h 692"/>
                  <a:gd name="T70" fmla="*/ 256 w 629"/>
                  <a:gd name="T71" fmla="*/ 105 h 692"/>
                  <a:gd name="T72" fmla="*/ 267 w 629"/>
                  <a:gd name="T73" fmla="*/ 134 h 692"/>
                  <a:gd name="T74" fmla="*/ 277 w 629"/>
                  <a:gd name="T75" fmla="*/ 155 h 692"/>
                  <a:gd name="T76" fmla="*/ 287 w 629"/>
                  <a:gd name="T77" fmla="*/ 172 h 692"/>
                  <a:gd name="T78" fmla="*/ 297 w 629"/>
                  <a:gd name="T79" fmla="*/ 187 h 692"/>
                  <a:gd name="T80" fmla="*/ 329 w 629"/>
                  <a:gd name="T81" fmla="*/ 184 h 692"/>
                  <a:gd name="T82" fmla="*/ 389 w 629"/>
                  <a:gd name="T83" fmla="*/ 180 h 692"/>
                  <a:gd name="T84" fmla="*/ 397 w 629"/>
                  <a:gd name="T85" fmla="*/ 153 h 692"/>
                  <a:gd name="T86" fmla="*/ 448 w 629"/>
                  <a:gd name="T87" fmla="*/ 141 h 692"/>
                  <a:gd name="T88" fmla="*/ 515 w 629"/>
                  <a:gd name="T89" fmla="*/ 156 h 692"/>
                  <a:gd name="T90" fmla="*/ 511 w 629"/>
                  <a:gd name="T91" fmla="*/ 185 h 692"/>
                  <a:gd name="T92" fmla="*/ 518 w 629"/>
                  <a:gd name="T93" fmla="*/ 214 h 692"/>
                  <a:gd name="T94" fmla="*/ 513 w 629"/>
                  <a:gd name="T95" fmla="*/ 252 h 692"/>
                  <a:gd name="T96" fmla="*/ 525 w 629"/>
                  <a:gd name="T97" fmla="*/ 277 h 692"/>
                  <a:gd name="T98" fmla="*/ 537 w 629"/>
                  <a:gd name="T99" fmla="*/ 325 h 692"/>
                  <a:gd name="T100" fmla="*/ 549 w 629"/>
                  <a:gd name="T101" fmla="*/ 338 h 692"/>
                  <a:gd name="T102" fmla="*/ 600 w 629"/>
                  <a:gd name="T103" fmla="*/ 333 h 692"/>
                  <a:gd name="T104" fmla="*/ 69 w 629"/>
                  <a:gd name="T105" fmla="*/ 17 h 692"/>
                  <a:gd name="T106" fmla="*/ 47 w 629"/>
                  <a:gd name="T107" fmla="*/ 34 h 692"/>
                  <a:gd name="T108" fmla="*/ 27 w 629"/>
                  <a:gd name="T109" fmla="*/ 70 h 692"/>
                  <a:gd name="T110" fmla="*/ 25 w 629"/>
                  <a:gd name="T111" fmla="*/ 27 h 692"/>
                  <a:gd name="T112" fmla="*/ 56 w 629"/>
                  <a:gd name="T113" fmla="*/ 7 h 692"/>
                  <a:gd name="T114" fmla="*/ 1 w 629"/>
                  <a:gd name="T115" fmla="*/ 619 h 692"/>
                  <a:gd name="T116" fmla="*/ 34 w 629"/>
                  <a:gd name="T117" fmla="*/ 87 h 692"/>
                  <a:gd name="T118" fmla="*/ 64 w 629"/>
                  <a:gd name="T119" fmla="*/ 80 h 692"/>
                  <a:gd name="T120" fmla="*/ 57 w 629"/>
                  <a:gd name="T121" fmla="*/ 83 h 692"/>
                  <a:gd name="T122" fmla="*/ 64 w 629"/>
                  <a:gd name="T123" fmla="*/ 80 h 692"/>
                  <a:gd name="T124" fmla="*/ 56 w 629"/>
                  <a:gd name="T125" fmla="*/ 83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9" h="692">
                    <a:moveTo>
                      <a:pt x="624" y="330"/>
                    </a:moveTo>
                    <a:lnTo>
                      <a:pt x="624" y="332"/>
                    </a:lnTo>
                    <a:lnTo>
                      <a:pt x="625" y="335"/>
                    </a:lnTo>
                    <a:lnTo>
                      <a:pt x="625" y="337"/>
                    </a:lnTo>
                    <a:lnTo>
                      <a:pt x="625" y="342"/>
                    </a:lnTo>
                    <a:lnTo>
                      <a:pt x="625" y="343"/>
                    </a:lnTo>
                    <a:lnTo>
                      <a:pt x="625" y="350"/>
                    </a:lnTo>
                    <a:lnTo>
                      <a:pt x="629" y="357"/>
                    </a:lnTo>
                    <a:lnTo>
                      <a:pt x="625" y="359"/>
                    </a:lnTo>
                    <a:lnTo>
                      <a:pt x="625" y="362"/>
                    </a:lnTo>
                    <a:lnTo>
                      <a:pt x="624" y="369"/>
                    </a:lnTo>
                    <a:lnTo>
                      <a:pt x="622" y="369"/>
                    </a:lnTo>
                    <a:lnTo>
                      <a:pt x="624" y="371"/>
                    </a:lnTo>
                    <a:lnTo>
                      <a:pt x="625" y="377"/>
                    </a:lnTo>
                    <a:lnTo>
                      <a:pt x="624" y="379"/>
                    </a:lnTo>
                    <a:lnTo>
                      <a:pt x="624" y="394"/>
                    </a:lnTo>
                    <a:lnTo>
                      <a:pt x="624" y="398"/>
                    </a:lnTo>
                    <a:lnTo>
                      <a:pt x="627" y="400"/>
                    </a:lnTo>
                    <a:lnTo>
                      <a:pt x="627" y="403"/>
                    </a:lnTo>
                    <a:lnTo>
                      <a:pt x="629" y="405"/>
                    </a:lnTo>
                    <a:lnTo>
                      <a:pt x="627" y="408"/>
                    </a:lnTo>
                    <a:lnTo>
                      <a:pt x="625" y="410"/>
                    </a:lnTo>
                    <a:lnTo>
                      <a:pt x="622" y="413"/>
                    </a:lnTo>
                    <a:lnTo>
                      <a:pt x="622" y="417"/>
                    </a:lnTo>
                    <a:lnTo>
                      <a:pt x="620" y="420"/>
                    </a:lnTo>
                    <a:lnTo>
                      <a:pt x="620" y="422"/>
                    </a:lnTo>
                    <a:lnTo>
                      <a:pt x="618" y="425"/>
                    </a:lnTo>
                    <a:lnTo>
                      <a:pt x="618" y="429"/>
                    </a:lnTo>
                    <a:lnTo>
                      <a:pt x="620" y="432"/>
                    </a:lnTo>
                    <a:lnTo>
                      <a:pt x="624" y="432"/>
                    </a:lnTo>
                    <a:lnTo>
                      <a:pt x="625" y="434"/>
                    </a:lnTo>
                    <a:lnTo>
                      <a:pt x="627" y="437"/>
                    </a:lnTo>
                    <a:lnTo>
                      <a:pt x="559" y="437"/>
                    </a:lnTo>
                    <a:lnTo>
                      <a:pt x="523" y="437"/>
                    </a:lnTo>
                    <a:lnTo>
                      <a:pt x="523" y="459"/>
                    </a:lnTo>
                    <a:lnTo>
                      <a:pt x="523" y="473"/>
                    </a:lnTo>
                    <a:lnTo>
                      <a:pt x="523" y="558"/>
                    </a:lnTo>
                    <a:lnTo>
                      <a:pt x="523" y="599"/>
                    </a:lnTo>
                    <a:lnTo>
                      <a:pt x="523" y="600"/>
                    </a:lnTo>
                    <a:lnTo>
                      <a:pt x="527" y="602"/>
                    </a:lnTo>
                    <a:lnTo>
                      <a:pt x="527" y="604"/>
                    </a:lnTo>
                    <a:lnTo>
                      <a:pt x="528" y="607"/>
                    </a:lnTo>
                    <a:lnTo>
                      <a:pt x="530" y="611"/>
                    </a:lnTo>
                    <a:lnTo>
                      <a:pt x="530" y="612"/>
                    </a:lnTo>
                    <a:lnTo>
                      <a:pt x="530" y="614"/>
                    </a:lnTo>
                    <a:lnTo>
                      <a:pt x="528" y="614"/>
                    </a:lnTo>
                    <a:lnTo>
                      <a:pt x="530" y="614"/>
                    </a:lnTo>
                    <a:lnTo>
                      <a:pt x="532" y="616"/>
                    </a:lnTo>
                    <a:lnTo>
                      <a:pt x="533" y="619"/>
                    </a:lnTo>
                    <a:lnTo>
                      <a:pt x="535" y="619"/>
                    </a:lnTo>
                    <a:lnTo>
                      <a:pt x="537" y="621"/>
                    </a:lnTo>
                    <a:lnTo>
                      <a:pt x="539" y="622"/>
                    </a:lnTo>
                    <a:lnTo>
                      <a:pt x="540" y="624"/>
                    </a:lnTo>
                    <a:lnTo>
                      <a:pt x="542" y="624"/>
                    </a:lnTo>
                    <a:lnTo>
                      <a:pt x="547" y="631"/>
                    </a:lnTo>
                    <a:lnTo>
                      <a:pt x="550" y="634"/>
                    </a:lnTo>
                    <a:lnTo>
                      <a:pt x="559" y="643"/>
                    </a:lnTo>
                    <a:lnTo>
                      <a:pt x="561" y="645"/>
                    </a:lnTo>
                    <a:lnTo>
                      <a:pt x="562" y="646"/>
                    </a:lnTo>
                    <a:lnTo>
                      <a:pt x="564" y="648"/>
                    </a:lnTo>
                    <a:lnTo>
                      <a:pt x="567" y="650"/>
                    </a:lnTo>
                    <a:lnTo>
                      <a:pt x="573" y="653"/>
                    </a:lnTo>
                    <a:lnTo>
                      <a:pt x="576" y="658"/>
                    </a:lnTo>
                    <a:lnTo>
                      <a:pt x="576" y="656"/>
                    </a:lnTo>
                    <a:lnTo>
                      <a:pt x="578" y="660"/>
                    </a:lnTo>
                    <a:lnTo>
                      <a:pt x="579" y="662"/>
                    </a:lnTo>
                    <a:lnTo>
                      <a:pt x="581" y="663"/>
                    </a:lnTo>
                    <a:lnTo>
                      <a:pt x="583" y="665"/>
                    </a:lnTo>
                    <a:lnTo>
                      <a:pt x="586" y="668"/>
                    </a:lnTo>
                    <a:lnTo>
                      <a:pt x="588" y="667"/>
                    </a:lnTo>
                    <a:lnTo>
                      <a:pt x="593" y="670"/>
                    </a:lnTo>
                    <a:lnTo>
                      <a:pt x="595" y="670"/>
                    </a:lnTo>
                    <a:lnTo>
                      <a:pt x="596" y="672"/>
                    </a:lnTo>
                    <a:lnTo>
                      <a:pt x="593" y="673"/>
                    </a:lnTo>
                    <a:lnTo>
                      <a:pt x="573" y="677"/>
                    </a:lnTo>
                    <a:lnTo>
                      <a:pt x="554" y="680"/>
                    </a:lnTo>
                    <a:lnTo>
                      <a:pt x="542" y="682"/>
                    </a:lnTo>
                    <a:lnTo>
                      <a:pt x="537" y="684"/>
                    </a:lnTo>
                    <a:lnTo>
                      <a:pt x="523" y="687"/>
                    </a:lnTo>
                    <a:lnTo>
                      <a:pt x="515" y="689"/>
                    </a:lnTo>
                    <a:lnTo>
                      <a:pt x="496" y="692"/>
                    </a:lnTo>
                    <a:lnTo>
                      <a:pt x="494" y="692"/>
                    </a:lnTo>
                    <a:lnTo>
                      <a:pt x="491" y="690"/>
                    </a:lnTo>
                    <a:lnTo>
                      <a:pt x="489" y="690"/>
                    </a:lnTo>
                    <a:lnTo>
                      <a:pt x="484" y="689"/>
                    </a:lnTo>
                    <a:lnTo>
                      <a:pt x="484" y="687"/>
                    </a:lnTo>
                    <a:lnTo>
                      <a:pt x="481" y="687"/>
                    </a:lnTo>
                    <a:lnTo>
                      <a:pt x="477" y="689"/>
                    </a:lnTo>
                    <a:lnTo>
                      <a:pt x="471" y="689"/>
                    </a:lnTo>
                    <a:lnTo>
                      <a:pt x="465" y="690"/>
                    </a:lnTo>
                    <a:lnTo>
                      <a:pt x="465" y="692"/>
                    </a:lnTo>
                    <a:lnTo>
                      <a:pt x="464" y="692"/>
                    </a:lnTo>
                    <a:lnTo>
                      <a:pt x="459" y="692"/>
                    </a:lnTo>
                    <a:lnTo>
                      <a:pt x="459" y="690"/>
                    </a:lnTo>
                    <a:lnTo>
                      <a:pt x="457" y="690"/>
                    </a:lnTo>
                    <a:lnTo>
                      <a:pt x="454" y="689"/>
                    </a:lnTo>
                    <a:lnTo>
                      <a:pt x="448" y="690"/>
                    </a:lnTo>
                    <a:lnTo>
                      <a:pt x="447" y="689"/>
                    </a:lnTo>
                    <a:lnTo>
                      <a:pt x="445" y="689"/>
                    </a:lnTo>
                    <a:lnTo>
                      <a:pt x="445" y="685"/>
                    </a:lnTo>
                    <a:lnTo>
                      <a:pt x="440" y="685"/>
                    </a:lnTo>
                    <a:lnTo>
                      <a:pt x="438" y="684"/>
                    </a:lnTo>
                    <a:lnTo>
                      <a:pt x="437" y="684"/>
                    </a:lnTo>
                    <a:lnTo>
                      <a:pt x="435" y="684"/>
                    </a:lnTo>
                    <a:lnTo>
                      <a:pt x="435" y="685"/>
                    </a:lnTo>
                    <a:lnTo>
                      <a:pt x="430" y="684"/>
                    </a:lnTo>
                    <a:lnTo>
                      <a:pt x="426" y="685"/>
                    </a:lnTo>
                    <a:lnTo>
                      <a:pt x="425" y="685"/>
                    </a:lnTo>
                    <a:lnTo>
                      <a:pt x="423" y="685"/>
                    </a:lnTo>
                    <a:lnTo>
                      <a:pt x="418" y="684"/>
                    </a:lnTo>
                    <a:lnTo>
                      <a:pt x="414" y="685"/>
                    </a:lnTo>
                    <a:lnTo>
                      <a:pt x="413" y="684"/>
                    </a:lnTo>
                    <a:lnTo>
                      <a:pt x="409" y="685"/>
                    </a:lnTo>
                    <a:lnTo>
                      <a:pt x="408" y="684"/>
                    </a:lnTo>
                    <a:lnTo>
                      <a:pt x="406" y="685"/>
                    </a:lnTo>
                    <a:lnTo>
                      <a:pt x="404" y="684"/>
                    </a:lnTo>
                    <a:lnTo>
                      <a:pt x="403" y="684"/>
                    </a:lnTo>
                    <a:lnTo>
                      <a:pt x="401" y="684"/>
                    </a:lnTo>
                    <a:lnTo>
                      <a:pt x="399" y="684"/>
                    </a:lnTo>
                    <a:lnTo>
                      <a:pt x="397" y="684"/>
                    </a:lnTo>
                    <a:lnTo>
                      <a:pt x="396" y="684"/>
                    </a:lnTo>
                    <a:lnTo>
                      <a:pt x="394" y="684"/>
                    </a:lnTo>
                    <a:lnTo>
                      <a:pt x="392" y="684"/>
                    </a:lnTo>
                    <a:lnTo>
                      <a:pt x="389" y="684"/>
                    </a:lnTo>
                    <a:lnTo>
                      <a:pt x="387" y="684"/>
                    </a:lnTo>
                    <a:lnTo>
                      <a:pt x="387" y="682"/>
                    </a:lnTo>
                    <a:lnTo>
                      <a:pt x="386" y="682"/>
                    </a:lnTo>
                    <a:lnTo>
                      <a:pt x="384" y="682"/>
                    </a:lnTo>
                    <a:lnTo>
                      <a:pt x="382" y="682"/>
                    </a:lnTo>
                    <a:lnTo>
                      <a:pt x="380" y="680"/>
                    </a:lnTo>
                    <a:lnTo>
                      <a:pt x="379" y="682"/>
                    </a:lnTo>
                    <a:lnTo>
                      <a:pt x="377" y="680"/>
                    </a:lnTo>
                    <a:lnTo>
                      <a:pt x="377" y="682"/>
                    </a:lnTo>
                    <a:lnTo>
                      <a:pt x="367" y="682"/>
                    </a:lnTo>
                    <a:lnTo>
                      <a:pt x="363" y="680"/>
                    </a:lnTo>
                    <a:lnTo>
                      <a:pt x="363" y="679"/>
                    </a:lnTo>
                    <a:lnTo>
                      <a:pt x="360" y="679"/>
                    </a:lnTo>
                    <a:lnTo>
                      <a:pt x="360" y="677"/>
                    </a:lnTo>
                    <a:lnTo>
                      <a:pt x="358" y="677"/>
                    </a:lnTo>
                    <a:lnTo>
                      <a:pt x="352" y="672"/>
                    </a:lnTo>
                    <a:lnTo>
                      <a:pt x="352" y="670"/>
                    </a:lnTo>
                    <a:lnTo>
                      <a:pt x="350" y="670"/>
                    </a:lnTo>
                    <a:lnTo>
                      <a:pt x="348" y="670"/>
                    </a:lnTo>
                    <a:lnTo>
                      <a:pt x="348" y="667"/>
                    </a:lnTo>
                    <a:lnTo>
                      <a:pt x="345" y="665"/>
                    </a:lnTo>
                    <a:lnTo>
                      <a:pt x="345" y="663"/>
                    </a:lnTo>
                    <a:lnTo>
                      <a:pt x="341" y="660"/>
                    </a:lnTo>
                    <a:lnTo>
                      <a:pt x="321" y="660"/>
                    </a:lnTo>
                    <a:lnTo>
                      <a:pt x="302" y="660"/>
                    </a:lnTo>
                    <a:lnTo>
                      <a:pt x="290" y="660"/>
                    </a:lnTo>
                    <a:lnTo>
                      <a:pt x="289" y="660"/>
                    </a:lnTo>
                    <a:lnTo>
                      <a:pt x="284" y="660"/>
                    </a:lnTo>
                    <a:lnTo>
                      <a:pt x="268" y="660"/>
                    </a:lnTo>
                    <a:lnTo>
                      <a:pt x="255" y="660"/>
                    </a:lnTo>
                    <a:lnTo>
                      <a:pt x="236" y="660"/>
                    </a:lnTo>
                    <a:lnTo>
                      <a:pt x="227" y="660"/>
                    </a:lnTo>
                    <a:lnTo>
                      <a:pt x="214" y="660"/>
                    </a:lnTo>
                    <a:lnTo>
                      <a:pt x="202" y="660"/>
                    </a:lnTo>
                    <a:lnTo>
                      <a:pt x="187" y="660"/>
                    </a:lnTo>
                    <a:lnTo>
                      <a:pt x="176" y="660"/>
                    </a:lnTo>
                    <a:lnTo>
                      <a:pt x="159" y="660"/>
                    </a:lnTo>
                    <a:lnTo>
                      <a:pt x="151" y="660"/>
                    </a:lnTo>
                    <a:lnTo>
                      <a:pt x="129" y="660"/>
                    </a:lnTo>
                    <a:lnTo>
                      <a:pt x="129" y="662"/>
                    </a:lnTo>
                    <a:lnTo>
                      <a:pt x="125" y="662"/>
                    </a:lnTo>
                    <a:lnTo>
                      <a:pt x="124" y="662"/>
                    </a:lnTo>
                    <a:lnTo>
                      <a:pt x="122" y="662"/>
                    </a:lnTo>
                    <a:lnTo>
                      <a:pt x="119" y="662"/>
                    </a:lnTo>
                    <a:lnTo>
                      <a:pt x="117" y="662"/>
                    </a:lnTo>
                    <a:lnTo>
                      <a:pt x="115" y="662"/>
                    </a:lnTo>
                    <a:lnTo>
                      <a:pt x="114" y="662"/>
                    </a:lnTo>
                    <a:lnTo>
                      <a:pt x="112" y="658"/>
                    </a:lnTo>
                    <a:lnTo>
                      <a:pt x="102" y="653"/>
                    </a:lnTo>
                    <a:lnTo>
                      <a:pt x="93" y="646"/>
                    </a:lnTo>
                    <a:lnTo>
                      <a:pt x="93" y="645"/>
                    </a:lnTo>
                    <a:lnTo>
                      <a:pt x="90" y="641"/>
                    </a:lnTo>
                    <a:lnTo>
                      <a:pt x="85" y="639"/>
                    </a:lnTo>
                    <a:lnTo>
                      <a:pt x="80" y="639"/>
                    </a:lnTo>
                    <a:lnTo>
                      <a:pt x="76" y="638"/>
                    </a:lnTo>
                    <a:lnTo>
                      <a:pt x="66" y="639"/>
                    </a:lnTo>
                    <a:lnTo>
                      <a:pt x="66" y="641"/>
                    </a:lnTo>
                    <a:lnTo>
                      <a:pt x="61" y="643"/>
                    </a:lnTo>
                    <a:lnTo>
                      <a:pt x="57" y="645"/>
                    </a:lnTo>
                    <a:lnTo>
                      <a:pt x="57" y="646"/>
                    </a:lnTo>
                    <a:lnTo>
                      <a:pt x="54" y="648"/>
                    </a:lnTo>
                    <a:lnTo>
                      <a:pt x="52" y="648"/>
                    </a:lnTo>
                    <a:lnTo>
                      <a:pt x="51" y="648"/>
                    </a:lnTo>
                    <a:lnTo>
                      <a:pt x="47" y="651"/>
                    </a:lnTo>
                    <a:lnTo>
                      <a:pt x="46" y="651"/>
                    </a:lnTo>
                    <a:lnTo>
                      <a:pt x="46" y="653"/>
                    </a:lnTo>
                    <a:lnTo>
                      <a:pt x="40" y="653"/>
                    </a:lnTo>
                    <a:lnTo>
                      <a:pt x="39" y="653"/>
                    </a:lnTo>
                    <a:lnTo>
                      <a:pt x="39" y="651"/>
                    </a:lnTo>
                    <a:lnTo>
                      <a:pt x="37" y="650"/>
                    </a:lnTo>
                    <a:lnTo>
                      <a:pt x="35" y="651"/>
                    </a:lnTo>
                    <a:lnTo>
                      <a:pt x="34" y="651"/>
                    </a:lnTo>
                    <a:lnTo>
                      <a:pt x="29" y="651"/>
                    </a:lnTo>
                    <a:lnTo>
                      <a:pt x="25" y="650"/>
                    </a:lnTo>
                    <a:lnTo>
                      <a:pt x="25" y="648"/>
                    </a:lnTo>
                    <a:lnTo>
                      <a:pt x="22" y="648"/>
                    </a:lnTo>
                    <a:lnTo>
                      <a:pt x="20" y="648"/>
                    </a:lnTo>
                    <a:lnTo>
                      <a:pt x="13" y="650"/>
                    </a:lnTo>
                    <a:lnTo>
                      <a:pt x="6" y="653"/>
                    </a:lnTo>
                    <a:lnTo>
                      <a:pt x="5" y="653"/>
                    </a:lnTo>
                    <a:lnTo>
                      <a:pt x="5" y="641"/>
                    </a:lnTo>
                    <a:lnTo>
                      <a:pt x="5" y="634"/>
                    </a:lnTo>
                    <a:lnTo>
                      <a:pt x="5" y="629"/>
                    </a:lnTo>
                    <a:lnTo>
                      <a:pt x="6" y="628"/>
                    </a:lnTo>
                    <a:lnTo>
                      <a:pt x="5" y="631"/>
                    </a:lnTo>
                    <a:lnTo>
                      <a:pt x="6" y="631"/>
                    </a:lnTo>
                    <a:lnTo>
                      <a:pt x="6" y="628"/>
                    </a:lnTo>
                    <a:lnTo>
                      <a:pt x="8" y="612"/>
                    </a:lnTo>
                    <a:lnTo>
                      <a:pt x="6" y="595"/>
                    </a:lnTo>
                    <a:lnTo>
                      <a:pt x="6" y="590"/>
                    </a:lnTo>
                    <a:lnTo>
                      <a:pt x="3" y="585"/>
                    </a:lnTo>
                    <a:lnTo>
                      <a:pt x="3" y="583"/>
                    </a:lnTo>
                    <a:lnTo>
                      <a:pt x="5" y="578"/>
                    </a:lnTo>
                    <a:lnTo>
                      <a:pt x="8" y="578"/>
                    </a:lnTo>
                    <a:lnTo>
                      <a:pt x="6" y="578"/>
                    </a:lnTo>
                    <a:lnTo>
                      <a:pt x="8" y="580"/>
                    </a:lnTo>
                    <a:lnTo>
                      <a:pt x="10" y="578"/>
                    </a:lnTo>
                    <a:lnTo>
                      <a:pt x="12" y="577"/>
                    </a:lnTo>
                    <a:lnTo>
                      <a:pt x="13" y="573"/>
                    </a:lnTo>
                    <a:lnTo>
                      <a:pt x="17" y="571"/>
                    </a:lnTo>
                    <a:lnTo>
                      <a:pt x="17" y="568"/>
                    </a:lnTo>
                    <a:lnTo>
                      <a:pt x="18" y="559"/>
                    </a:lnTo>
                    <a:lnTo>
                      <a:pt x="18" y="556"/>
                    </a:lnTo>
                    <a:lnTo>
                      <a:pt x="20" y="551"/>
                    </a:lnTo>
                    <a:lnTo>
                      <a:pt x="22" y="549"/>
                    </a:lnTo>
                    <a:lnTo>
                      <a:pt x="23" y="548"/>
                    </a:lnTo>
                    <a:lnTo>
                      <a:pt x="23" y="549"/>
                    </a:lnTo>
                    <a:lnTo>
                      <a:pt x="23" y="548"/>
                    </a:lnTo>
                    <a:lnTo>
                      <a:pt x="23" y="546"/>
                    </a:lnTo>
                    <a:lnTo>
                      <a:pt x="22" y="546"/>
                    </a:lnTo>
                    <a:lnTo>
                      <a:pt x="23" y="541"/>
                    </a:lnTo>
                    <a:lnTo>
                      <a:pt x="25" y="539"/>
                    </a:lnTo>
                    <a:lnTo>
                      <a:pt x="25" y="537"/>
                    </a:lnTo>
                    <a:lnTo>
                      <a:pt x="27" y="536"/>
                    </a:lnTo>
                    <a:lnTo>
                      <a:pt x="27" y="534"/>
                    </a:lnTo>
                    <a:lnTo>
                      <a:pt x="27" y="531"/>
                    </a:lnTo>
                    <a:lnTo>
                      <a:pt x="29" y="531"/>
                    </a:lnTo>
                    <a:lnTo>
                      <a:pt x="30" y="525"/>
                    </a:lnTo>
                    <a:lnTo>
                      <a:pt x="30" y="524"/>
                    </a:lnTo>
                    <a:lnTo>
                      <a:pt x="32" y="522"/>
                    </a:lnTo>
                    <a:lnTo>
                      <a:pt x="32" y="517"/>
                    </a:lnTo>
                    <a:lnTo>
                      <a:pt x="34" y="508"/>
                    </a:lnTo>
                    <a:lnTo>
                      <a:pt x="34" y="505"/>
                    </a:lnTo>
                    <a:lnTo>
                      <a:pt x="35" y="503"/>
                    </a:lnTo>
                    <a:lnTo>
                      <a:pt x="34" y="497"/>
                    </a:lnTo>
                    <a:lnTo>
                      <a:pt x="35" y="497"/>
                    </a:lnTo>
                    <a:lnTo>
                      <a:pt x="34" y="493"/>
                    </a:lnTo>
                    <a:lnTo>
                      <a:pt x="35" y="491"/>
                    </a:lnTo>
                    <a:lnTo>
                      <a:pt x="37" y="490"/>
                    </a:lnTo>
                    <a:lnTo>
                      <a:pt x="37" y="486"/>
                    </a:lnTo>
                    <a:lnTo>
                      <a:pt x="39" y="485"/>
                    </a:lnTo>
                    <a:lnTo>
                      <a:pt x="37" y="481"/>
                    </a:lnTo>
                    <a:lnTo>
                      <a:pt x="42" y="481"/>
                    </a:lnTo>
                    <a:lnTo>
                      <a:pt x="40" y="481"/>
                    </a:lnTo>
                    <a:lnTo>
                      <a:pt x="42" y="481"/>
                    </a:lnTo>
                    <a:lnTo>
                      <a:pt x="44" y="480"/>
                    </a:lnTo>
                    <a:lnTo>
                      <a:pt x="42" y="476"/>
                    </a:lnTo>
                    <a:lnTo>
                      <a:pt x="44" y="471"/>
                    </a:lnTo>
                    <a:lnTo>
                      <a:pt x="44" y="468"/>
                    </a:lnTo>
                    <a:lnTo>
                      <a:pt x="44" y="466"/>
                    </a:lnTo>
                    <a:lnTo>
                      <a:pt x="44" y="464"/>
                    </a:lnTo>
                    <a:lnTo>
                      <a:pt x="44" y="463"/>
                    </a:lnTo>
                    <a:lnTo>
                      <a:pt x="44" y="459"/>
                    </a:lnTo>
                    <a:lnTo>
                      <a:pt x="46" y="457"/>
                    </a:lnTo>
                    <a:lnTo>
                      <a:pt x="47" y="456"/>
                    </a:lnTo>
                    <a:lnTo>
                      <a:pt x="49" y="454"/>
                    </a:lnTo>
                    <a:lnTo>
                      <a:pt x="49" y="452"/>
                    </a:lnTo>
                    <a:lnTo>
                      <a:pt x="51" y="451"/>
                    </a:lnTo>
                    <a:lnTo>
                      <a:pt x="52" y="449"/>
                    </a:lnTo>
                    <a:lnTo>
                      <a:pt x="54" y="449"/>
                    </a:lnTo>
                    <a:lnTo>
                      <a:pt x="54" y="447"/>
                    </a:lnTo>
                    <a:lnTo>
                      <a:pt x="56" y="447"/>
                    </a:lnTo>
                    <a:lnTo>
                      <a:pt x="57" y="446"/>
                    </a:lnTo>
                    <a:lnTo>
                      <a:pt x="59" y="444"/>
                    </a:lnTo>
                    <a:lnTo>
                      <a:pt x="61" y="442"/>
                    </a:lnTo>
                    <a:lnTo>
                      <a:pt x="63" y="439"/>
                    </a:lnTo>
                    <a:lnTo>
                      <a:pt x="66" y="437"/>
                    </a:lnTo>
                    <a:lnTo>
                      <a:pt x="64" y="430"/>
                    </a:lnTo>
                    <a:lnTo>
                      <a:pt x="64" y="429"/>
                    </a:lnTo>
                    <a:lnTo>
                      <a:pt x="74" y="420"/>
                    </a:lnTo>
                    <a:lnTo>
                      <a:pt x="74" y="418"/>
                    </a:lnTo>
                    <a:lnTo>
                      <a:pt x="78" y="417"/>
                    </a:lnTo>
                    <a:lnTo>
                      <a:pt x="78" y="418"/>
                    </a:lnTo>
                    <a:lnTo>
                      <a:pt x="80" y="418"/>
                    </a:lnTo>
                    <a:lnTo>
                      <a:pt x="81" y="417"/>
                    </a:lnTo>
                    <a:lnTo>
                      <a:pt x="83" y="417"/>
                    </a:lnTo>
                    <a:lnTo>
                      <a:pt x="83" y="418"/>
                    </a:lnTo>
                    <a:lnTo>
                      <a:pt x="85" y="418"/>
                    </a:lnTo>
                    <a:lnTo>
                      <a:pt x="91" y="413"/>
                    </a:lnTo>
                    <a:lnTo>
                      <a:pt x="91" y="412"/>
                    </a:lnTo>
                    <a:lnTo>
                      <a:pt x="91" y="410"/>
                    </a:lnTo>
                    <a:lnTo>
                      <a:pt x="93" y="405"/>
                    </a:lnTo>
                    <a:lnTo>
                      <a:pt x="97" y="403"/>
                    </a:lnTo>
                    <a:lnTo>
                      <a:pt x="95" y="405"/>
                    </a:lnTo>
                    <a:lnTo>
                      <a:pt x="97" y="405"/>
                    </a:lnTo>
                    <a:lnTo>
                      <a:pt x="100" y="400"/>
                    </a:lnTo>
                    <a:lnTo>
                      <a:pt x="102" y="394"/>
                    </a:lnTo>
                    <a:lnTo>
                      <a:pt x="103" y="393"/>
                    </a:lnTo>
                    <a:lnTo>
                      <a:pt x="103" y="386"/>
                    </a:lnTo>
                    <a:lnTo>
                      <a:pt x="105" y="384"/>
                    </a:lnTo>
                    <a:lnTo>
                      <a:pt x="107" y="376"/>
                    </a:lnTo>
                    <a:lnTo>
                      <a:pt x="107" y="367"/>
                    </a:lnTo>
                    <a:lnTo>
                      <a:pt x="107" y="366"/>
                    </a:lnTo>
                    <a:lnTo>
                      <a:pt x="107" y="364"/>
                    </a:lnTo>
                    <a:lnTo>
                      <a:pt x="107" y="360"/>
                    </a:lnTo>
                    <a:lnTo>
                      <a:pt x="108" y="355"/>
                    </a:lnTo>
                    <a:lnTo>
                      <a:pt x="107" y="354"/>
                    </a:lnTo>
                    <a:lnTo>
                      <a:pt x="108" y="352"/>
                    </a:lnTo>
                    <a:lnTo>
                      <a:pt x="108" y="349"/>
                    </a:lnTo>
                    <a:lnTo>
                      <a:pt x="110" y="337"/>
                    </a:lnTo>
                    <a:lnTo>
                      <a:pt x="110" y="332"/>
                    </a:lnTo>
                    <a:lnTo>
                      <a:pt x="103" y="323"/>
                    </a:lnTo>
                    <a:lnTo>
                      <a:pt x="107" y="321"/>
                    </a:lnTo>
                    <a:lnTo>
                      <a:pt x="107" y="320"/>
                    </a:lnTo>
                    <a:lnTo>
                      <a:pt x="100" y="311"/>
                    </a:lnTo>
                    <a:lnTo>
                      <a:pt x="93" y="304"/>
                    </a:lnTo>
                    <a:lnTo>
                      <a:pt x="95" y="304"/>
                    </a:lnTo>
                    <a:lnTo>
                      <a:pt x="93" y="299"/>
                    </a:lnTo>
                    <a:lnTo>
                      <a:pt x="91" y="296"/>
                    </a:lnTo>
                    <a:lnTo>
                      <a:pt x="90" y="291"/>
                    </a:lnTo>
                    <a:lnTo>
                      <a:pt x="83" y="284"/>
                    </a:lnTo>
                    <a:lnTo>
                      <a:pt x="85" y="284"/>
                    </a:lnTo>
                    <a:lnTo>
                      <a:pt x="83" y="279"/>
                    </a:lnTo>
                    <a:lnTo>
                      <a:pt x="78" y="269"/>
                    </a:lnTo>
                    <a:lnTo>
                      <a:pt x="80" y="267"/>
                    </a:lnTo>
                    <a:lnTo>
                      <a:pt x="76" y="264"/>
                    </a:lnTo>
                    <a:lnTo>
                      <a:pt x="78" y="262"/>
                    </a:lnTo>
                    <a:lnTo>
                      <a:pt x="76" y="258"/>
                    </a:lnTo>
                    <a:lnTo>
                      <a:pt x="76" y="255"/>
                    </a:lnTo>
                    <a:lnTo>
                      <a:pt x="74" y="250"/>
                    </a:lnTo>
                    <a:lnTo>
                      <a:pt x="66" y="240"/>
                    </a:lnTo>
                    <a:lnTo>
                      <a:pt x="68" y="236"/>
                    </a:lnTo>
                    <a:lnTo>
                      <a:pt x="69" y="233"/>
                    </a:lnTo>
                    <a:lnTo>
                      <a:pt x="74" y="228"/>
                    </a:lnTo>
                    <a:lnTo>
                      <a:pt x="76" y="228"/>
                    </a:lnTo>
                    <a:lnTo>
                      <a:pt x="74" y="228"/>
                    </a:lnTo>
                    <a:lnTo>
                      <a:pt x="74" y="229"/>
                    </a:lnTo>
                    <a:lnTo>
                      <a:pt x="69" y="235"/>
                    </a:lnTo>
                    <a:lnTo>
                      <a:pt x="68" y="236"/>
                    </a:lnTo>
                    <a:lnTo>
                      <a:pt x="68" y="238"/>
                    </a:lnTo>
                    <a:lnTo>
                      <a:pt x="68" y="240"/>
                    </a:lnTo>
                    <a:lnTo>
                      <a:pt x="73" y="233"/>
                    </a:lnTo>
                    <a:lnTo>
                      <a:pt x="74" y="233"/>
                    </a:lnTo>
                    <a:lnTo>
                      <a:pt x="74" y="229"/>
                    </a:lnTo>
                    <a:lnTo>
                      <a:pt x="78" y="228"/>
                    </a:lnTo>
                    <a:lnTo>
                      <a:pt x="78" y="226"/>
                    </a:lnTo>
                    <a:lnTo>
                      <a:pt x="78" y="224"/>
                    </a:lnTo>
                    <a:lnTo>
                      <a:pt x="78" y="226"/>
                    </a:lnTo>
                    <a:lnTo>
                      <a:pt x="78" y="224"/>
                    </a:lnTo>
                    <a:lnTo>
                      <a:pt x="80" y="224"/>
                    </a:lnTo>
                    <a:lnTo>
                      <a:pt x="81" y="223"/>
                    </a:lnTo>
                    <a:lnTo>
                      <a:pt x="78" y="224"/>
                    </a:lnTo>
                    <a:lnTo>
                      <a:pt x="80" y="224"/>
                    </a:lnTo>
                    <a:lnTo>
                      <a:pt x="81" y="224"/>
                    </a:lnTo>
                    <a:lnTo>
                      <a:pt x="83" y="223"/>
                    </a:lnTo>
                    <a:lnTo>
                      <a:pt x="86" y="223"/>
                    </a:lnTo>
                    <a:lnTo>
                      <a:pt x="88" y="218"/>
                    </a:lnTo>
                    <a:lnTo>
                      <a:pt x="86" y="214"/>
                    </a:lnTo>
                    <a:lnTo>
                      <a:pt x="85" y="207"/>
                    </a:lnTo>
                    <a:lnTo>
                      <a:pt x="86" y="207"/>
                    </a:lnTo>
                    <a:lnTo>
                      <a:pt x="86" y="204"/>
                    </a:lnTo>
                    <a:lnTo>
                      <a:pt x="85" y="201"/>
                    </a:lnTo>
                    <a:lnTo>
                      <a:pt x="81" y="192"/>
                    </a:lnTo>
                    <a:lnTo>
                      <a:pt x="80" y="190"/>
                    </a:lnTo>
                    <a:lnTo>
                      <a:pt x="78" y="187"/>
                    </a:lnTo>
                    <a:lnTo>
                      <a:pt x="76" y="184"/>
                    </a:lnTo>
                    <a:lnTo>
                      <a:pt x="74" y="182"/>
                    </a:lnTo>
                    <a:lnTo>
                      <a:pt x="74" y="180"/>
                    </a:lnTo>
                    <a:lnTo>
                      <a:pt x="73" y="175"/>
                    </a:lnTo>
                    <a:lnTo>
                      <a:pt x="71" y="173"/>
                    </a:lnTo>
                    <a:lnTo>
                      <a:pt x="69" y="170"/>
                    </a:lnTo>
                    <a:lnTo>
                      <a:pt x="68" y="163"/>
                    </a:lnTo>
                    <a:lnTo>
                      <a:pt x="64" y="155"/>
                    </a:lnTo>
                    <a:lnTo>
                      <a:pt x="63" y="150"/>
                    </a:lnTo>
                    <a:lnTo>
                      <a:pt x="59" y="148"/>
                    </a:lnTo>
                    <a:lnTo>
                      <a:pt x="59" y="139"/>
                    </a:lnTo>
                    <a:lnTo>
                      <a:pt x="59" y="133"/>
                    </a:lnTo>
                    <a:lnTo>
                      <a:pt x="54" y="127"/>
                    </a:lnTo>
                    <a:lnTo>
                      <a:pt x="46" y="116"/>
                    </a:lnTo>
                    <a:lnTo>
                      <a:pt x="37" y="99"/>
                    </a:lnTo>
                    <a:lnTo>
                      <a:pt x="30" y="92"/>
                    </a:lnTo>
                    <a:lnTo>
                      <a:pt x="32" y="92"/>
                    </a:lnTo>
                    <a:lnTo>
                      <a:pt x="32" y="90"/>
                    </a:lnTo>
                    <a:lnTo>
                      <a:pt x="34" y="90"/>
                    </a:lnTo>
                    <a:lnTo>
                      <a:pt x="34" y="88"/>
                    </a:lnTo>
                    <a:lnTo>
                      <a:pt x="35" y="90"/>
                    </a:lnTo>
                    <a:lnTo>
                      <a:pt x="35" y="88"/>
                    </a:lnTo>
                    <a:lnTo>
                      <a:pt x="39" y="88"/>
                    </a:lnTo>
                    <a:lnTo>
                      <a:pt x="40" y="88"/>
                    </a:lnTo>
                    <a:lnTo>
                      <a:pt x="40" y="87"/>
                    </a:lnTo>
                    <a:lnTo>
                      <a:pt x="42" y="88"/>
                    </a:lnTo>
                    <a:lnTo>
                      <a:pt x="42" y="87"/>
                    </a:lnTo>
                    <a:lnTo>
                      <a:pt x="46" y="87"/>
                    </a:lnTo>
                    <a:lnTo>
                      <a:pt x="46" y="85"/>
                    </a:lnTo>
                    <a:lnTo>
                      <a:pt x="49" y="87"/>
                    </a:lnTo>
                    <a:lnTo>
                      <a:pt x="51" y="85"/>
                    </a:lnTo>
                    <a:lnTo>
                      <a:pt x="54" y="85"/>
                    </a:lnTo>
                    <a:lnTo>
                      <a:pt x="56" y="85"/>
                    </a:lnTo>
                    <a:lnTo>
                      <a:pt x="57" y="83"/>
                    </a:lnTo>
                    <a:lnTo>
                      <a:pt x="59" y="85"/>
                    </a:lnTo>
                    <a:lnTo>
                      <a:pt x="61" y="83"/>
                    </a:lnTo>
                    <a:lnTo>
                      <a:pt x="63" y="83"/>
                    </a:lnTo>
                    <a:lnTo>
                      <a:pt x="64" y="81"/>
                    </a:lnTo>
                    <a:lnTo>
                      <a:pt x="66" y="80"/>
                    </a:lnTo>
                    <a:lnTo>
                      <a:pt x="66" y="78"/>
                    </a:lnTo>
                    <a:lnTo>
                      <a:pt x="68" y="78"/>
                    </a:lnTo>
                    <a:lnTo>
                      <a:pt x="69" y="78"/>
                    </a:lnTo>
                    <a:lnTo>
                      <a:pt x="73" y="76"/>
                    </a:lnTo>
                    <a:lnTo>
                      <a:pt x="73" y="78"/>
                    </a:lnTo>
                    <a:lnTo>
                      <a:pt x="74" y="76"/>
                    </a:lnTo>
                    <a:lnTo>
                      <a:pt x="80" y="76"/>
                    </a:lnTo>
                    <a:lnTo>
                      <a:pt x="85" y="78"/>
                    </a:lnTo>
                    <a:lnTo>
                      <a:pt x="86" y="76"/>
                    </a:lnTo>
                    <a:lnTo>
                      <a:pt x="88" y="75"/>
                    </a:lnTo>
                    <a:lnTo>
                      <a:pt x="93" y="76"/>
                    </a:lnTo>
                    <a:lnTo>
                      <a:pt x="95" y="76"/>
                    </a:lnTo>
                    <a:lnTo>
                      <a:pt x="97" y="76"/>
                    </a:lnTo>
                    <a:lnTo>
                      <a:pt x="107" y="76"/>
                    </a:lnTo>
                    <a:lnTo>
                      <a:pt x="115" y="75"/>
                    </a:lnTo>
                    <a:lnTo>
                      <a:pt x="119" y="75"/>
                    </a:lnTo>
                    <a:lnTo>
                      <a:pt x="120" y="75"/>
                    </a:lnTo>
                    <a:lnTo>
                      <a:pt x="124" y="75"/>
                    </a:lnTo>
                    <a:lnTo>
                      <a:pt x="127" y="75"/>
                    </a:lnTo>
                    <a:lnTo>
                      <a:pt x="129" y="76"/>
                    </a:lnTo>
                    <a:lnTo>
                      <a:pt x="131" y="76"/>
                    </a:lnTo>
                    <a:lnTo>
                      <a:pt x="132" y="75"/>
                    </a:lnTo>
                    <a:lnTo>
                      <a:pt x="134" y="76"/>
                    </a:lnTo>
                    <a:lnTo>
                      <a:pt x="136" y="76"/>
                    </a:lnTo>
                    <a:lnTo>
                      <a:pt x="141" y="78"/>
                    </a:lnTo>
                    <a:lnTo>
                      <a:pt x="142" y="76"/>
                    </a:lnTo>
                    <a:lnTo>
                      <a:pt x="149" y="78"/>
                    </a:lnTo>
                    <a:lnTo>
                      <a:pt x="153" y="76"/>
                    </a:lnTo>
                    <a:lnTo>
                      <a:pt x="166" y="76"/>
                    </a:lnTo>
                    <a:lnTo>
                      <a:pt x="178" y="76"/>
                    </a:lnTo>
                    <a:lnTo>
                      <a:pt x="190" y="76"/>
                    </a:lnTo>
                    <a:lnTo>
                      <a:pt x="202" y="75"/>
                    </a:lnTo>
                    <a:lnTo>
                      <a:pt x="210" y="76"/>
                    </a:lnTo>
                    <a:lnTo>
                      <a:pt x="227" y="76"/>
                    </a:lnTo>
                    <a:lnTo>
                      <a:pt x="236" y="76"/>
                    </a:lnTo>
                    <a:lnTo>
                      <a:pt x="238" y="75"/>
                    </a:lnTo>
                    <a:lnTo>
                      <a:pt x="241" y="76"/>
                    </a:lnTo>
                    <a:lnTo>
                      <a:pt x="244" y="75"/>
                    </a:lnTo>
                    <a:lnTo>
                      <a:pt x="248" y="76"/>
                    </a:lnTo>
                    <a:lnTo>
                      <a:pt x="248" y="80"/>
                    </a:lnTo>
                    <a:lnTo>
                      <a:pt x="250" y="80"/>
                    </a:lnTo>
                    <a:lnTo>
                      <a:pt x="250" y="81"/>
                    </a:lnTo>
                    <a:lnTo>
                      <a:pt x="250" y="85"/>
                    </a:lnTo>
                    <a:lnTo>
                      <a:pt x="251" y="85"/>
                    </a:lnTo>
                    <a:lnTo>
                      <a:pt x="250" y="85"/>
                    </a:lnTo>
                    <a:lnTo>
                      <a:pt x="251" y="87"/>
                    </a:lnTo>
                    <a:lnTo>
                      <a:pt x="251" y="88"/>
                    </a:lnTo>
                    <a:lnTo>
                      <a:pt x="253" y="87"/>
                    </a:lnTo>
                    <a:lnTo>
                      <a:pt x="253" y="88"/>
                    </a:lnTo>
                    <a:lnTo>
                      <a:pt x="255" y="88"/>
                    </a:lnTo>
                    <a:lnTo>
                      <a:pt x="256" y="92"/>
                    </a:lnTo>
                    <a:lnTo>
                      <a:pt x="255" y="93"/>
                    </a:lnTo>
                    <a:lnTo>
                      <a:pt x="255" y="99"/>
                    </a:lnTo>
                    <a:lnTo>
                      <a:pt x="255" y="100"/>
                    </a:lnTo>
                    <a:lnTo>
                      <a:pt x="253" y="100"/>
                    </a:lnTo>
                    <a:lnTo>
                      <a:pt x="255" y="100"/>
                    </a:lnTo>
                    <a:lnTo>
                      <a:pt x="253" y="102"/>
                    </a:lnTo>
                    <a:lnTo>
                      <a:pt x="256" y="104"/>
                    </a:lnTo>
                    <a:lnTo>
                      <a:pt x="255" y="104"/>
                    </a:lnTo>
                    <a:lnTo>
                      <a:pt x="256" y="105"/>
                    </a:lnTo>
                    <a:lnTo>
                      <a:pt x="255" y="107"/>
                    </a:lnTo>
                    <a:lnTo>
                      <a:pt x="256" y="109"/>
                    </a:lnTo>
                    <a:lnTo>
                      <a:pt x="256" y="112"/>
                    </a:lnTo>
                    <a:lnTo>
                      <a:pt x="258" y="114"/>
                    </a:lnTo>
                    <a:lnTo>
                      <a:pt x="258" y="119"/>
                    </a:lnTo>
                    <a:lnTo>
                      <a:pt x="260" y="119"/>
                    </a:lnTo>
                    <a:lnTo>
                      <a:pt x="260" y="122"/>
                    </a:lnTo>
                    <a:lnTo>
                      <a:pt x="261" y="124"/>
                    </a:lnTo>
                    <a:lnTo>
                      <a:pt x="261" y="127"/>
                    </a:lnTo>
                    <a:lnTo>
                      <a:pt x="263" y="127"/>
                    </a:lnTo>
                    <a:lnTo>
                      <a:pt x="265" y="129"/>
                    </a:lnTo>
                    <a:lnTo>
                      <a:pt x="265" y="134"/>
                    </a:lnTo>
                    <a:lnTo>
                      <a:pt x="267" y="134"/>
                    </a:lnTo>
                    <a:lnTo>
                      <a:pt x="267" y="136"/>
                    </a:lnTo>
                    <a:lnTo>
                      <a:pt x="268" y="136"/>
                    </a:lnTo>
                    <a:lnTo>
                      <a:pt x="267" y="139"/>
                    </a:lnTo>
                    <a:lnTo>
                      <a:pt x="265" y="138"/>
                    </a:lnTo>
                    <a:lnTo>
                      <a:pt x="267" y="143"/>
                    </a:lnTo>
                    <a:lnTo>
                      <a:pt x="267" y="144"/>
                    </a:lnTo>
                    <a:lnTo>
                      <a:pt x="268" y="146"/>
                    </a:lnTo>
                    <a:lnTo>
                      <a:pt x="268" y="148"/>
                    </a:lnTo>
                    <a:lnTo>
                      <a:pt x="272" y="148"/>
                    </a:lnTo>
                    <a:lnTo>
                      <a:pt x="272" y="150"/>
                    </a:lnTo>
                    <a:lnTo>
                      <a:pt x="275" y="151"/>
                    </a:lnTo>
                    <a:lnTo>
                      <a:pt x="275" y="155"/>
                    </a:lnTo>
                    <a:lnTo>
                      <a:pt x="277" y="155"/>
                    </a:lnTo>
                    <a:lnTo>
                      <a:pt x="277" y="153"/>
                    </a:lnTo>
                    <a:lnTo>
                      <a:pt x="278" y="155"/>
                    </a:lnTo>
                    <a:lnTo>
                      <a:pt x="277" y="156"/>
                    </a:lnTo>
                    <a:lnTo>
                      <a:pt x="280" y="158"/>
                    </a:lnTo>
                    <a:lnTo>
                      <a:pt x="280" y="160"/>
                    </a:lnTo>
                    <a:lnTo>
                      <a:pt x="280" y="163"/>
                    </a:lnTo>
                    <a:lnTo>
                      <a:pt x="282" y="163"/>
                    </a:lnTo>
                    <a:lnTo>
                      <a:pt x="285" y="165"/>
                    </a:lnTo>
                    <a:lnTo>
                      <a:pt x="285" y="168"/>
                    </a:lnTo>
                    <a:lnTo>
                      <a:pt x="284" y="168"/>
                    </a:lnTo>
                    <a:lnTo>
                      <a:pt x="287" y="170"/>
                    </a:lnTo>
                    <a:lnTo>
                      <a:pt x="285" y="172"/>
                    </a:lnTo>
                    <a:lnTo>
                      <a:pt x="287" y="172"/>
                    </a:lnTo>
                    <a:lnTo>
                      <a:pt x="287" y="173"/>
                    </a:lnTo>
                    <a:lnTo>
                      <a:pt x="289" y="173"/>
                    </a:lnTo>
                    <a:lnTo>
                      <a:pt x="289" y="175"/>
                    </a:lnTo>
                    <a:lnTo>
                      <a:pt x="290" y="175"/>
                    </a:lnTo>
                    <a:lnTo>
                      <a:pt x="289" y="175"/>
                    </a:lnTo>
                    <a:lnTo>
                      <a:pt x="290" y="175"/>
                    </a:lnTo>
                    <a:lnTo>
                      <a:pt x="290" y="177"/>
                    </a:lnTo>
                    <a:lnTo>
                      <a:pt x="292" y="177"/>
                    </a:lnTo>
                    <a:lnTo>
                      <a:pt x="292" y="180"/>
                    </a:lnTo>
                    <a:lnTo>
                      <a:pt x="294" y="182"/>
                    </a:lnTo>
                    <a:lnTo>
                      <a:pt x="294" y="184"/>
                    </a:lnTo>
                    <a:lnTo>
                      <a:pt x="295" y="184"/>
                    </a:lnTo>
                    <a:lnTo>
                      <a:pt x="297" y="187"/>
                    </a:lnTo>
                    <a:lnTo>
                      <a:pt x="295" y="187"/>
                    </a:lnTo>
                    <a:lnTo>
                      <a:pt x="295" y="189"/>
                    </a:lnTo>
                    <a:lnTo>
                      <a:pt x="299" y="190"/>
                    </a:lnTo>
                    <a:lnTo>
                      <a:pt x="301" y="190"/>
                    </a:lnTo>
                    <a:lnTo>
                      <a:pt x="306" y="189"/>
                    </a:lnTo>
                    <a:lnTo>
                      <a:pt x="311" y="190"/>
                    </a:lnTo>
                    <a:lnTo>
                      <a:pt x="314" y="189"/>
                    </a:lnTo>
                    <a:lnTo>
                      <a:pt x="319" y="189"/>
                    </a:lnTo>
                    <a:lnTo>
                      <a:pt x="326" y="189"/>
                    </a:lnTo>
                    <a:lnTo>
                      <a:pt x="324" y="187"/>
                    </a:lnTo>
                    <a:lnTo>
                      <a:pt x="326" y="185"/>
                    </a:lnTo>
                    <a:lnTo>
                      <a:pt x="328" y="185"/>
                    </a:lnTo>
                    <a:lnTo>
                      <a:pt x="329" y="184"/>
                    </a:lnTo>
                    <a:lnTo>
                      <a:pt x="331" y="182"/>
                    </a:lnTo>
                    <a:lnTo>
                      <a:pt x="335" y="184"/>
                    </a:lnTo>
                    <a:lnTo>
                      <a:pt x="336" y="185"/>
                    </a:lnTo>
                    <a:lnTo>
                      <a:pt x="338" y="185"/>
                    </a:lnTo>
                    <a:lnTo>
                      <a:pt x="341" y="184"/>
                    </a:lnTo>
                    <a:lnTo>
                      <a:pt x="346" y="184"/>
                    </a:lnTo>
                    <a:lnTo>
                      <a:pt x="348" y="180"/>
                    </a:lnTo>
                    <a:lnTo>
                      <a:pt x="360" y="180"/>
                    </a:lnTo>
                    <a:lnTo>
                      <a:pt x="360" y="182"/>
                    </a:lnTo>
                    <a:lnTo>
                      <a:pt x="360" y="184"/>
                    </a:lnTo>
                    <a:lnTo>
                      <a:pt x="391" y="184"/>
                    </a:lnTo>
                    <a:lnTo>
                      <a:pt x="389" y="182"/>
                    </a:lnTo>
                    <a:lnTo>
                      <a:pt x="389" y="180"/>
                    </a:lnTo>
                    <a:lnTo>
                      <a:pt x="389" y="178"/>
                    </a:lnTo>
                    <a:lnTo>
                      <a:pt x="389" y="177"/>
                    </a:lnTo>
                    <a:lnTo>
                      <a:pt x="389" y="175"/>
                    </a:lnTo>
                    <a:lnTo>
                      <a:pt x="391" y="173"/>
                    </a:lnTo>
                    <a:lnTo>
                      <a:pt x="392" y="168"/>
                    </a:lnTo>
                    <a:lnTo>
                      <a:pt x="389" y="163"/>
                    </a:lnTo>
                    <a:lnTo>
                      <a:pt x="391" y="163"/>
                    </a:lnTo>
                    <a:lnTo>
                      <a:pt x="396" y="163"/>
                    </a:lnTo>
                    <a:lnTo>
                      <a:pt x="396" y="160"/>
                    </a:lnTo>
                    <a:lnTo>
                      <a:pt x="396" y="158"/>
                    </a:lnTo>
                    <a:lnTo>
                      <a:pt x="397" y="156"/>
                    </a:lnTo>
                    <a:lnTo>
                      <a:pt x="397" y="155"/>
                    </a:lnTo>
                    <a:lnTo>
                      <a:pt x="397" y="153"/>
                    </a:lnTo>
                    <a:lnTo>
                      <a:pt x="396" y="153"/>
                    </a:lnTo>
                    <a:lnTo>
                      <a:pt x="396" y="151"/>
                    </a:lnTo>
                    <a:lnTo>
                      <a:pt x="396" y="150"/>
                    </a:lnTo>
                    <a:lnTo>
                      <a:pt x="397" y="146"/>
                    </a:lnTo>
                    <a:lnTo>
                      <a:pt x="396" y="141"/>
                    </a:lnTo>
                    <a:lnTo>
                      <a:pt x="399" y="136"/>
                    </a:lnTo>
                    <a:lnTo>
                      <a:pt x="399" y="133"/>
                    </a:lnTo>
                    <a:lnTo>
                      <a:pt x="420" y="133"/>
                    </a:lnTo>
                    <a:lnTo>
                      <a:pt x="437" y="133"/>
                    </a:lnTo>
                    <a:lnTo>
                      <a:pt x="438" y="129"/>
                    </a:lnTo>
                    <a:lnTo>
                      <a:pt x="454" y="129"/>
                    </a:lnTo>
                    <a:lnTo>
                      <a:pt x="452" y="136"/>
                    </a:lnTo>
                    <a:lnTo>
                      <a:pt x="448" y="141"/>
                    </a:lnTo>
                    <a:lnTo>
                      <a:pt x="450" y="141"/>
                    </a:lnTo>
                    <a:lnTo>
                      <a:pt x="450" y="144"/>
                    </a:lnTo>
                    <a:lnTo>
                      <a:pt x="450" y="148"/>
                    </a:lnTo>
                    <a:lnTo>
                      <a:pt x="464" y="148"/>
                    </a:lnTo>
                    <a:lnTo>
                      <a:pt x="472" y="148"/>
                    </a:lnTo>
                    <a:lnTo>
                      <a:pt x="488" y="148"/>
                    </a:lnTo>
                    <a:lnTo>
                      <a:pt x="513" y="148"/>
                    </a:lnTo>
                    <a:lnTo>
                      <a:pt x="513" y="150"/>
                    </a:lnTo>
                    <a:lnTo>
                      <a:pt x="515" y="150"/>
                    </a:lnTo>
                    <a:lnTo>
                      <a:pt x="515" y="153"/>
                    </a:lnTo>
                    <a:lnTo>
                      <a:pt x="515" y="155"/>
                    </a:lnTo>
                    <a:lnTo>
                      <a:pt x="516" y="155"/>
                    </a:lnTo>
                    <a:lnTo>
                      <a:pt x="515" y="156"/>
                    </a:lnTo>
                    <a:lnTo>
                      <a:pt x="516" y="158"/>
                    </a:lnTo>
                    <a:lnTo>
                      <a:pt x="515" y="160"/>
                    </a:lnTo>
                    <a:lnTo>
                      <a:pt x="516" y="161"/>
                    </a:lnTo>
                    <a:lnTo>
                      <a:pt x="515" y="163"/>
                    </a:lnTo>
                    <a:lnTo>
                      <a:pt x="515" y="165"/>
                    </a:lnTo>
                    <a:lnTo>
                      <a:pt x="515" y="167"/>
                    </a:lnTo>
                    <a:lnTo>
                      <a:pt x="513" y="167"/>
                    </a:lnTo>
                    <a:lnTo>
                      <a:pt x="513" y="170"/>
                    </a:lnTo>
                    <a:lnTo>
                      <a:pt x="511" y="173"/>
                    </a:lnTo>
                    <a:lnTo>
                      <a:pt x="511" y="178"/>
                    </a:lnTo>
                    <a:lnTo>
                      <a:pt x="510" y="180"/>
                    </a:lnTo>
                    <a:lnTo>
                      <a:pt x="511" y="182"/>
                    </a:lnTo>
                    <a:lnTo>
                      <a:pt x="511" y="185"/>
                    </a:lnTo>
                    <a:lnTo>
                      <a:pt x="513" y="187"/>
                    </a:lnTo>
                    <a:lnTo>
                      <a:pt x="515" y="190"/>
                    </a:lnTo>
                    <a:lnTo>
                      <a:pt x="516" y="194"/>
                    </a:lnTo>
                    <a:lnTo>
                      <a:pt x="518" y="199"/>
                    </a:lnTo>
                    <a:lnTo>
                      <a:pt x="520" y="199"/>
                    </a:lnTo>
                    <a:lnTo>
                      <a:pt x="520" y="201"/>
                    </a:lnTo>
                    <a:lnTo>
                      <a:pt x="518" y="202"/>
                    </a:lnTo>
                    <a:lnTo>
                      <a:pt x="518" y="204"/>
                    </a:lnTo>
                    <a:lnTo>
                      <a:pt x="520" y="206"/>
                    </a:lnTo>
                    <a:lnTo>
                      <a:pt x="520" y="209"/>
                    </a:lnTo>
                    <a:lnTo>
                      <a:pt x="520" y="211"/>
                    </a:lnTo>
                    <a:lnTo>
                      <a:pt x="520" y="212"/>
                    </a:lnTo>
                    <a:lnTo>
                      <a:pt x="518" y="214"/>
                    </a:lnTo>
                    <a:lnTo>
                      <a:pt x="520" y="214"/>
                    </a:lnTo>
                    <a:lnTo>
                      <a:pt x="518" y="216"/>
                    </a:lnTo>
                    <a:lnTo>
                      <a:pt x="518" y="218"/>
                    </a:lnTo>
                    <a:lnTo>
                      <a:pt x="518" y="219"/>
                    </a:lnTo>
                    <a:lnTo>
                      <a:pt x="518" y="224"/>
                    </a:lnTo>
                    <a:lnTo>
                      <a:pt x="516" y="228"/>
                    </a:lnTo>
                    <a:lnTo>
                      <a:pt x="515" y="229"/>
                    </a:lnTo>
                    <a:lnTo>
                      <a:pt x="515" y="236"/>
                    </a:lnTo>
                    <a:lnTo>
                      <a:pt x="515" y="238"/>
                    </a:lnTo>
                    <a:lnTo>
                      <a:pt x="515" y="240"/>
                    </a:lnTo>
                    <a:lnTo>
                      <a:pt x="516" y="243"/>
                    </a:lnTo>
                    <a:lnTo>
                      <a:pt x="516" y="247"/>
                    </a:lnTo>
                    <a:lnTo>
                      <a:pt x="513" y="252"/>
                    </a:lnTo>
                    <a:lnTo>
                      <a:pt x="513" y="253"/>
                    </a:lnTo>
                    <a:lnTo>
                      <a:pt x="513" y="255"/>
                    </a:lnTo>
                    <a:lnTo>
                      <a:pt x="515" y="258"/>
                    </a:lnTo>
                    <a:lnTo>
                      <a:pt x="515" y="260"/>
                    </a:lnTo>
                    <a:lnTo>
                      <a:pt x="516" y="264"/>
                    </a:lnTo>
                    <a:lnTo>
                      <a:pt x="516" y="267"/>
                    </a:lnTo>
                    <a:lnTo>
                      <a:pt x="520" y="269"/>
                    </a:lnTo>
                    <a:lnTo>
                      <a:pt x="520" y="270"/>
                    </a:lnTo>
                    <a:lnTo>
                      <a:pt x="522" y="272"/>
                    </a:lnTo>
                    <a:lnTo>
                      <a:pt x="522" y="274"/>
                    </a:lnTo>
                    <a:lnTo>
                      <a:pt x="523" y="272"/>
                    </a:lnTo>
                    <a:lnTo>
                      <a:pt x="523" y="275"/>
                    </a:lnTo>
                    <a:lnTo>
                      <a:pt x="525" y="277"/>
                    </a:lnTo>
                    <a:lnTo>
                      <a:pt x="527" y="279"/>
                    </a:lnTo>
                    <a:lnTo>
                      <a:pt x="528" y="279"/>
                    </a:lnTo>
                    <a:lnTo>
                      <a:pt x="532" y="281"/>
                    </a:lnTo>
                    <a:lnTo>
                      <a:pt x="533" y="286"/>
                    </a:lnTo>
                    <a:lnTo>
                      <a:pt x="533" y="294"/>
                    </a:lnTo>
                    <a:lnTo>
                      <a:pt x="539" y="304"/>
                    </a:lnTo>
                    <a:lnTo>
                      <a:pt x="537" y="311"/>
                    </a:lnTo>
                    <a:lnTo>
                      <a:pt x="539" y="313"/>
                    </a:lnTo>
                    <a:lnTo>
                      <a:pt x="539" y="318"/>
                    </a:lnTo>
                    <a:lnTo>
                      <a:pt x="539" y="320"/>
                    </a:lnTo>
                    <a:lnTo>
                      <a:pt x="540" y="323"/>
                    </a:lnTo>
                    <a:lnTo>
                      <a:pt x="539" y="325"/>
                    </a:lnTo>
                    <a:lnTo>
                      <a:pt x="537" y="325"/>
                    </a:lnTo>
                    <a:lnTo>
                      <a:pt x="533" y="326"/>
                    </a:lnTo>
                    <a:lnTo>
                      <a:pt x="532" y="330"/>
                    </a:lnTo>
                    <a:lnTo>
                      <a:pt x="533" y="333"/>
                    </a:lnTo>
                    <a:lnTo>
                      <a:pt x="533" y="342"/>
                    </a:lnTo>
                    <a:lnTo>
                      <a:pt x="535" y="343"/>
                    </a:lnTo>
                    <a:lnTo>
                      <a:pt x="537" y="345"/>
                    </a:lnTo>
                    <a:lnTo>
                      <a:pt x="535" y="349"/>
                    </a:lnTo>
                    <a:lnTo>
                      <a:pt x="539" y="349"/>
                    </a:lnTo>
                    <a:lnTo>
                      <a:pt x="540" y="345"/>
                    </a:lnTo>
                    <a:lnTo>
                      <a:pt x="545" y="345"/>
                    </a:lnTo>
                    <a:lnTo>
                      <a:pt x="549" y="342"/>
                    </a:lnTo>
                    <a:lnTo>
                      <a:pt x="547" y="338"/>
                    </a:lnTo>
                    <a:lnTo>
                      <a:pt x="549" y="338"/>
                    </a:lnTo>
                    <a:lnTo>
                      <a:pt x="554" y="338"/>
                    </a:lnTo>
                    <a:lnTo>
                      <a:pt x="557" y="340"/>
                    </a:lnTo>
                    <a:lnTo>
                      <a:pt x="559" y="342"/>
                    </a:lnTo>
                    <a:lnTo>
                      <a:pt x="562" y="342"/>
                    </a:lnTo>
                    <a:lnTo>
                      <a:pt x="567" y="338"/>
                    </a:lnTo>
                    <a:lnTo>
                      <a:pt x="569" y="340"/>
                    </a:lnTo>
                    <a:lnTo>
                      <a:pt x="576" y="340"/>
                    </a:lnTo>
                    <a:lnTo>
                      <a:pt x="578" y="342"/>
                    </a:lnTo>
                    <a:lnTo>
                      <a:pt x="581" y="340"/>
                    </a:lnTo>
                    <a:lnTo>
                      <a:pt x="583" y="342"/>
                    </a:lnTo>
                    <a:lnTo>
                      <a:pt x="593" y="333"/>
                    </a:lnTo>
                    <a:lnTo>
                      <a:pt x="598" y="333"/>
                    </a:lnTo>
                    <a:lnTo>
                      <a:pt x="600" y="333"/>
                    </a:lnTo>
                    <a:lnTo>
                      <a:pt x="603" y="335"/>
                    </a:lnTo>
                    <a:lnTo>
                      <a:pt x="607" y="335"/>
                    </a:lnTo>
                    <a:lnTo>
                      <a:pt x="607" y="337"/>
                    </a:lnTo>
                    <a:lnTo>
                      <a:pt x="612" y="335"/>
                    </a:lnTo>
                    <a:lnTo>
                      <a:pt x="617" y="338"/>
                    </a:lnTo>
                    <a:lnTo>
                      <a:pt x="618" y="335"/>
                    </a:lnTo>
                    <a:lnTo>
                      <a:pt x="622" y="333"/>
                    </a:lnTo>
                    <a:lnTo>
                      <a:pt x="624" y="330"/>
                    </a:lnTo>
                    <a:close/>
                    <a:moveTo>
                      <a:pt x="73" y="13"/>
                    </a:moveTo>
                    <a:lnTo>
                      <a:pt x="73" y="15"/>
                    </a:lnTo>
                    <a:lnTo>
                      <a:pt x="73" y="17"/>
                    </a:lnTo>
                    <a:lnTo>
                      <a:pt x="69" y="15"/>
                    </a:lnTo>
                    <a:lnTo>
                      <a:pt x="69" y="17"/>
                    </a:lnTo>
                    <a:lnTo>
                      <a:pt x="66" y="17"/>
                    </a:lnTo>
                    <a:lnTo>
                      <a:pt x="64" y="19"/>
                    </a:lnTo>
                    <a:lnTo>
                      <a:pt x="63" y="19"/>
                    </a:lnTo>
                    <a:lnTo>
                      <a:pt x="61" y="19"/>
                    </a:lnTo>
                    <a:lnTo>
                      <a:pt x="61" y="20"/>
                    </a:lnTo>
                    <a:lnTo>
                      <a:pt x="59" y="19"/>
                    </a:lnTo>
                    <a:lnTo>
                      <a:pt x="57" y="24"/>
                    </a:lnTo>
                    <a:lnTo>
                      <a:pt x="56" y="25"/>
                    </a:lnTo>
                    <a:lnTo>
                      <a:pt x="54" y="27"/>
                    </a:lnTo>
                    <a:lnTo>
                      <a:pt x="52" y="29"/>
                    </a:lnTo>
                    <a:lnTo>
                      <a:pt x="51" y="30"/>
                    </a:lnTo>
                    <a:lnTo>
                      <a:pt x="49" y="29"/>
                    </a:lnTo>
                    <a:lnTo>
                      <a:pt x="47" y="34"/>
                    </a:lnTo>
                    <a:lnTo>
                      <a:pt x="46" y="34"/>
                    </a:lnTo>
                    <a:lnTo>
                      <a:pt x="44" y="34"/>
                    </a:lnTo>
                    <a:lnTo>
                      <a:pt x="44" y="36"/>
                    </a:lnTo>
                    <a:lnTo>
                      <a:pt x="42" y="34"/>
                    </a:lnTo>
                    <a:lnTo>
                      <a:pt x="40" y="37"/>
                    </a:lnTo>
                    <a:lnTo>
                      <a:pt x="42" y="39"/>
                    </a:lnTo>
                    <a:lnTo>
                      <a:pt x="44" y="39"/>
                    </a:lnTo>
                    <a:lnTo>
                      <a:pt x="42" y="41"/>
                    </a:lnTo>
                    <a:lnTo>
                      <a:pt x="44" y="41"/>
                    </a:lnTo>
                    <a:lnTo>
                      <a:pt x="44" y="64"/>
                    </a:lnTo>
                    <a:lnTo>
                      <a:pt x="44" y="70"/>
                    </a:lnTo>
                    <a:lnTo>
                      <a:pt x="32" y="70"/>
                    </a:lnTo>
                    <a:lnTo>
                      <a:pt x="27" y="70"/>
                    </a:lnTo>
                    <a:lnTo>
                      <a:pt x="27" y="71"/>
                    </a:lnTo>
                    <a:lnTo>
                      <a:pt x="23" y="66"/>
                    </a:lnTo>
                    <a:lnTo>
                      <a:pt x="23" y="64"/>
                    </a:lnTo>
                    <a:lnTo>
                      <a:pt x="25" y="59"/>
                    </a:lnTo>
                    <a:lnTo>
                      <a:pt x="27" y="59"/>
                    </a:lnTo>
                    <a:lnTo>
                      <a:pt x="29" y="59"/>
                    </a:lnTo>
                    <a:lnTo>
                      <a:pt x="29" y="56"/>
                    </a:lnTo>
                    <a:lnTo>
                      <a:pt x="25" y="49"/>
                    </a:lnTo>
                    <a:lnTo>
                      <a:pt x="25" y="47"/>
                    </a:lnTo>
                    <a:lnTo>
                      <a:pt x="23" y="44"/>
                    </a:lnTo>
                    <a:lnTo>
                      <a:pt x="23" y="42"/>
                    </a:lnTo>
                    <a:lnTo>
                      <a:pt x="17" y="34"/>
                    </a:lnTo>
                    <a:lnTo>
                      <a:pt x="25" y="27"/>
                    </a:lnTo>
                    <a:lnTo>
                      <a:pt x="27" y="20"/>
                    </a:lnTo>
                    <a:lnTo>
                      <a:pt x="29" y="22"/>
                    </a:lnTo>
                    <a:lnTo>
                      <a:pt x="32" y="22"/>
                    </a:lnTo>
                    <a:lnTo>
                      <a:pt x="34" y="22"/>
                    </a:lnTo>
                    <a:lnTo>
                      <a:pt x="37" y="15"/>
                    </a:lnTo>
                    <a:lnTo>
                      <a:pt x="37" y="12"/>
                    </a:lnTo>
                    <a:lnTo>
                      <a:pt x="39" y="12"/>
                    </a:lnTo>
                    <a:lnTo>
                      <a:pt x="47" y="8"/>
                    </a:lnTo>
                    <a:lnTo>
                      <a:pt x="49" y="7"/>
                    </a:lnTo>
                    <a:lnTo>
                      <a:pt x="51" y="5"/>
                    </a:lnTo>
                    <a:lnTo>
                      <a:pt x="54" y="5"/>
                    </a:lnTo>
                    <a:lnTo>
                      <a:pt x="54" y="7"/>
                    </a:lnTo>
                    <a:lnTo>
                      <a:pt x="56" y="7"/>
                    </a:lnTo>
                    <a:lnTo>
                      <a:pt x="56" y="5"/>
                    </a:lnTo>
                    <a:lnTo>
                      <a:pt x="52" y="3"/>
                    </a:lnTo>
                    <a:lnTo>
                      <a:pt x="54" y="0"/>
                    </a:lnTo>
                    <a:lnTo>
                      <a:pt x="57" y="2"/>
                    </a:lnTo>
                    <a:lnTo>
                      <a:pt x="63" y="2"/>
                    </a:lnTo>
                    <a:lnTo>
                      <a:pt x="61" y="5"/>
                    </a:lnTo>
                    <a:lnTo>
                      <a:pt x="66" y="8"/>
                    </a:lnTo>
                    <a:lnTo>
                      <a:pt x="68" y="12"/>
                    </a:lnTo>
                    <a:lnTo>
                      <a:pt x="69" y="13"/>
                    </a:lnTo>
                    <a:lnTo>
                      <a:pt x="71" y="13"/>
                    </a:lnTo>
                    <a:lnTo>
                      <a:pt x="73" y="13"/>
                    </a:lnTo>
                    <a:close/>
                    <a:moveTo>
                      <a:pt x="3" y="616"/>
                    </a:moveTo>
                    <a:lnTo>
                      <a:pt x="1" y="619"/>
                    </a:lnTo>
                    <a:lnTo>
                      <a:pt x="3" y="626"/>
                    </a:lnTo>
                    <a:lnTo>
                      <a:pt x="1" y="624"/>
                    </a:lnTo>
                    <a:lnTo>
                      <a:pt x="0" y="619"/>
                    </a:lnTo>
                    <a:lnTo>
                      <a:pt x="0" y="617"/>
                    </a:lnTo>
                    <a:lnTo>
                      <a:pt x="1" y="616"/>
                    </a:lnTo>
                    <a:lnTo>
                      <a:pt x="3" y="616"/>
                    </a:lnTo>
                    <a:close/>
                    <a:moveTo>
                      <a:pt x="32" y="88"/>
                    </a:moveTo>
                    <a:lnTo>
                      <a:pt x="30" y="88"/>
                    </a:lnTo>
                    <a:lnTo>
                      <a:pt x="32" y="88"/>
                    </a:lnTo>
                    <a:lnTo>
                      <a:pt x="32" y="90"/>
                    </a:lnTo>
                    <a:lnTo>
                      <a:pt x="30" y="90"/>
                    </a:lnTo>
                    <a:lnTo>
                      <a:pt x="30" y="88"/>
                    </a:lnTo>
                    <a:lnTo>
                      <a:pt x="34" y="87"/>
                    </a:lnTo>
                    <a:lnTo>
                      <a:pt x="32" y="88"/>
                    </a:lnTo>
                    <a:close/>
                    <a:moveTo>
                      <a:pt x="57" y="81"/>
                    </a:moveTo>
                    <a:lnTo>
                      <a:pt x="56" y="83"/>
                    </a:lnTo>
                    <a:lnTo>
                      <a:pt x="52" y="83"/>
                    </a:lnTo>
                    <a:lnTo>
                      <a:pt x="57" y="81"/>
                    </a:lnTo>
                    <a:close/>
                    <a:moveTo>
                      <a:pt x="47" y="85"/>
                    </a:moveTo>
                    <a:lnTo>
                      <a:pt x="51" y="85"/>
                    </a:lnTo>
                    <a:lnTo>
                      <a:pt x="51" y="87"/>
                    </a:lnTo>
                    <a:lnTo>
                      <a:pt x="47" y="87"/>
                    </a:lnTo>
                    <a:lnTo>
                      <a:pt x="47" y="85"/>
                    </a:lnTo>
                    <a:close/>
                    <a:moveTo>
                      <a:pt x="63" y="81"/>
                    </a:moveTo>
                    <a:lnTo>
                      <a:pt x="59" y="81"/>
                    </a:lnTo>
                    <a:lnTo>
                      <a:pt x="64" y="80"/>
                    </a:lnTo>
                    <a:lnTo>
                      <a:pt x="63" y="81"/>
                    </a:lnTo>
                    <a:close/>
                    <a:moveTo>
                      <a:pt x="69" y="76"/>
                    </a:moveTo>
                    <a:lnTo>
                      <a:pt x="71" y="76"/>
                    </a:lnTo>
                    <a:lnTo>
                      <a:pt x="69" y="76"/>
                    </a:lnTo>
                    <a:close/>
                    <a:moveTo>
                      <a:pt x="73" y="229"/>
                    </a:moveTo>
                    <a:lnTo>
                      <a:pt x="73" y="231"/>
                    </a:lnTo>
                    <a:lnTo>
                      <a:pt x="73" y="229"/>
                    </a:lnTo>
                    <a:close/>
                    <a:moveTo>
                      <a:pt x="59" y="80"/>
                    </a:moveTo>
                    <a:lnTo>
                      <a:pt x="59" y="81"/>
                    </a:lnTo>
                    <a:lnTo>
                      <a:pt x="59" y="80"/>
                    </a:lnTo>
                    <a:close/>
                    <a:moveTo>
                      <a:pt x="57" y="83"/>
                    </a:moveTo>
                    <a:lnTo>
                      <a:pt x="59" y="83"/>
                    </a:lnTo>
                    <a:lnTo>
                      <a:pt x="57" y="83"/>
                    </a:lnTo>
                    <a:close/>
                    <a:moveTo>
                      <a:pt x="30" y="90"/>
                    </a:moveTo>
                    <a:lnTo>
                      <a:pt x="32" y="90"/>
                    </a:lnTo>
                    <a:lnTo>
                      <a:pt x="30" y="90"/>
                    </a:lnTo>
                    <a:close/>
                    <a:moveTo>
                      <a:pt x="61" y="80"/>
                    </a:moveTo>
                    <a:lnTo>
                      <a:pt x="63" y="80"/>
                    </a:lnTo>
                    <a:lnTo>
                      <a:pt x="61" y="80"/>
                    </a:lnTo>
                    <a:close/>
                    <a:moveTo>
                      <a:pt x="54" y="81"/>
                    </a:moveTo>
                    <a:lnTo>
                      <a:pt x="56" y="81"/>
                    </a:lnTo>
                    <a:lnTo>
                      <a:pt x="54" y="81"/>
                    </a:lnTo>
                    <a:close/>
                    <a:moveTo>
                      <a:pt x="59" y="83"/>
                    </a:moveTo>
                    <a:lnTo>
                      <a:pt x="59" y="85"/>
                    </a:lnTo>
                    <a:lnTo>
                      <a:pt x="59" y="83"/>
                    </a:lnTo>
                    <a:close/>
                    <a:moveTo>
                      <a:pt x="64" y="80"/>
                    </a:moveTo>
                    <a:lnTo>
                      <a:pt x="66" y="80"/>
                    </a:lnTo>
                    <a:lnTo>
                      <a:pt x="66" y="81"/>
                    </a:lnTo>
                    <a:lnTo>
                      <a:pt x="64" y="81"/>
                    </a:lnTo>
                    <a:lnTo>
                      <a:pt x="64" y="80"/>
                    </a:lnTo>
                    <a:close/>
                    <a:moveTo>
                      <a:pt x="57" y="81"/>
                    </a:moveTo>
                    <a:lnTo>
                      <a:pt x="59" y="81"/>
                    </a:lnTo>
                    <a:lnTo>
                      <a:pt x="59" y="83"/>
                    </a:lnTo>
                    <a:lnTo>
                      <a:pt x="57" y="83"/>
                    </a:lnTo>
                    <a:lnTo>
                      <a:pt x="57" y="81"/>
                    </a:lnTo>
                    <a:close/>
                    <a:moveTo>
                      <a:pt x="54" y="85"/>
                    </a:moveTo>
                    <a:lnTo>
                      <a:pt x="56" y="85"/>
                    </a:lnTo>
                    <a:lnTo>
                      <a:pt x="54" y="85"/>
                    </a:lnTo>
                    <a:close/>
                    <a:moveTo>
                      <a:pt x="56" y="83"/>
                    </a:moveTo>
                    <a:lnTo>
                      <a:pt x="57" y="83"/>
                    </a:lnTo>
                    <a:lnTo>
                      <a:pt x="56" y="83"/>
                    </a:lnTo>
                    <a:close/>
                    <a:moveTo>
                      <a:pt x="68" y="76"/>
                    </a:moveTo>
                    <a:lnTo>
                      <a:pt x="69" y="76"/>
                    </a:lnTo>
                    <a:lnTo>
                      <a:pt x="68" y="76"/>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Freeform 13">
                <a:extLst>
                  <a:ext uri="{FF2B5EF4-FFF2-40B4-BE49-F238E27FC236}">
                    <a16:creationId xmlns:a16="http://schemas.microsoft.com/office/drawing/2014/main" id="{96D9F24E-C8AD-4195-9D01-9DC13B2919E4}"/>
                  </a:ext>
                </a:extLst>
              </p:cNvPr>
              <p:cNvSpPr>
                <a:spLocks/>
              </p:cNvSpPr>
              <p:nvPr/>
            </p:nvSpPr>
            <p:spPr bwMode="gray">
              <a:xfrm>
                <a:off x="6532770" y="5090002"/>
                <a:ext cx="588555" cy="571208"/>
              </a:xfrm>
              <a:custGeom>
                <a:avLst/>
                <a:gdLst>
                  <a:gd name="T0" fmla="*/ 284 w 475"/>
                  <a:gd name="T1" fmla="*/ 34 h 461"/>
                  <a:gd name="T2" fmla="*/ 303 w 475"/>
                  <a:gd name="T3" fmla="*/ 60 h 461"/>
                  <a:gd name="T4" fmla="*/ 323 w 475"/>
                  <a:gd name="T5" fmla="*/ 92 h 461"/>
                  <a:gd name="T6" fmla="*/ 345 w 475"/>
                  <a:gd name="T7" fmla="*/ 111 h 461"/>
                  <a:gd name="T8" fmla="*/ 369 w 475"/>
                  <a:gd name="T9" fmla="*/ 138 h 461"/>
                  <a:gd name="T10" fmla="*/ 391 w 475"/>
                  <a:gd name="T11" fmla="*/ 140 h 461"/>
                  <a:gd name="T12" fmla="*/ 391 w 475"/>
                  <a:gd name="T13" fmla="*/ 160 h 461"/>
                  <a:gd name="T14" fmla="*/ 403 w 475"/>
                  <a:gd name="T15" fmla="*/ 184 h 461"/>
                  <a:gd name="T16" fmla="*/ 420 w 475"/>
                  <a:gd name="T17" fmla="*/ 192 h 461"/>
                  <a:gd name="T18" fmla="*/ 458 w 475"/>
                  <a:gd name="T19" fmla="*/ 206 h 461"/>
                  <a:gd name="T20" fmla="*/ 475 w 475"/>
                  <a:gd name="T21" fmla="*/ 223 h 461"/>
                  <a:gd name="T22" fmla="*/ 449 w 475"/>
                  <a:gd name="T23" fmla="*/ 237 h 461"/>
                  <a:gd name="T24" fmla="*/ 422 w 475"/>
                  <a:gd name="T25" fmla="*/ 244 h 461"/>
                  <a:gd name="T26" fmla="*/ 403 w 475"/>
                  <a:gd name="T27" fmla="*/ 262 h 461"/>
                  <a:gd name="T28" fmla="*/ 390 w 475"/>
                  <a:gd name="T29" fmla="*/ 274 h 461"/>
                  <a:gd name="T30" fmla="*/ 374 w 475"/>
                  <a:gd name="T31" fmla="*/ 284 h 461"/>
                  <a:gd name="T32" fmla="*/ 366 w 475"/>
                  <a:gd name="T33" fmla="*/ 291 h 461"/>
                  <a:gd name="T34" fmla="*/ 357 w 475"/>
                  <a:gd name="T35" fmla="*/ 298 h 461"/>
                  <a:gd name="T36" fmla="*/ 352 w 475"/>
                  <a:gd name="T37" fmla="*/ 313 h 461"/>
                  <a:gd name="T38" fmla="*/ 339 w 475"/>
                  <a:gd name="T39" fmla="*/ 332 h 461"/>
                  <a:gd name="T40" fmla="*/ 296 w 475"/>
                  <a:gd name="T41" fmla="*/ 352 h 461"/>
                  <a:gd name="T42" fmla="*/ 282 w 475"/>
                  <a:gd name="T43" fmla="*/ 398 h 461"/>
                  <a:gd name="T44" fmla="*/ 248 w 475"/>
                  <a:gd name="T45" fmla="*/ 407 h 461"/>
                  <a:gd name="T46" fmla="*/ 220 w 475"/>
                  <a:gd name="T47" fmla="*/ 402 h 461"/>
                  <a:gd name="T48" fmla="*/ 206 w 475"/>
                  <a:gd name="T49" fmla="*/ 397 h 461"/>
                  <a:gd name="T50" fmla="*/ 194 w 475"/>
                  <a:gd name="T51" fmla="*/ 393 h 461"/>
                  <a:gd name="T52" fmla="*/ 184 w 475"/>
                  <a:gd name="T53" fmla="*/ 385 h 461"/>
                  <a:gd name="T54" fmla="*/ 174 w 475"/>
                  <a:gd name="T55" fmla="*/ 381 h 461"/>
                  <a:gd name="T56" fmla="*/ 155 w 475"/>
                  <a:gd name="T57" fmla="*/ 381 h 461"/>
                  <a:gd name="T58" fmla="*/ 148 w 475"/>
                  <a:gd name="T59" fmla="*/ 390 h 461"/>
                  <a:gd name="T60" fmla="*/ 143 w 475"/>
                  <a:gd name="T61" fmla="*/ 400 h 461"/>
                  <a:gd name="T62" fmla="*/ 138 w 475"/>
                  <a:gd name="T63" fmla="*/ 414 h 461"/>
                  <a:gd name="T64" fmla="*/ 131 w 475"/>
                  <a:gd name="T65" fmla="*/ 426 h 461"/>
                  <a:gd name="T66" fmla="*/ 118 w 475"/>
                  <a:gd name="T67" fmla="*/ 432 h 461"/>
                  <a:gd name="T68" fmla="*/ 104 w 475"/>
                  <a:gd name="T69" fmla="*/ 448 h 461"/>
                  <a:gd name="T70" fmla="*/ 78 w 475"/>
                  <a:gd name="T71" fmla="*/ 460 h 461"/>
                  <a:gd name="T72" fmla="*/ 50 w 475"/>
                  <a:gd name="T73" fmla="*/ 456 h 461"/>
                  <a:gd name="T74" fmla="*/ 36 w 475"/>
                  <a:gd name="T75" fmla="*/ 458 h 461"/>
                  <a:gd name="T76" fmla="*/ 31 w 475"/>
                  <a:gd name="T77" fmla="*/ 443 h 461"/>
                  <a:gd name="T78" fmla="*/ 43 w 475"/>
                  <a:gd name="T79" fmla="*/ 419 h 461"/>
                  <a:gd name="T80" fmla="*/ 38 w 475"/>
                  <a:gd name="T81" fmla="*/ 405 h 461"/>
                  <a:gd name="T82" fmla="*/ 33 w 475"/>
                  <a:gd name="T83" fmla="*/ 390 h 461"/>
                  <a:gd name="T84" fmla="*/ 27 w 475"/>
                  <a:gd name="T85" fmla="*/ 381 h 461"/>
                  <a:gd name="T86" fmla="*/ 21 w 475"/>
                  <a:gd name="T87" fmla="*/ 369 h 461"/>
                  <a:gd name="T88" fmla="*/ 5 w 475"/>
                  <a:gd name="T89" fmla="*/ 358 h 461"/>
                  <a:gd name="T90" fmla="*/ 0 w 475"/>
                  <a:gd name="T91" fmla="*/ 279 h 461"/>
                  <a:gd name="T92" fmla="*/ 51 w 475"/>
                  <a:gd name="T93" fmla="*/ 213 h 461"/>
                  <a:gd name="T94" fmla="*/ 51 w 475"/>
                  <a:gd name="T95" fmla="*/ 73 h 461"/>
                  <a:gd name="T96" fmla="*/ 140 w 475"/>
                  <a:gd name="T97" fmla="*/ 14 h 461"/>
                  <a:gd name="T98" fmla="*/ 174 w 475"/>
                  <a:gd name="T99" fmla="*/ 19 h 461"/>
                  <a:gd name="T100" fmla="*/ 180 w 475"/>
                  <a:gd name="T101" fmla="*/ 34 h 461"/>
                  <a:gd name="T102" fmla="*/ 199 w 475"/>
                  <a:gd name="T103" fmla="*/ 24 h 461"/>
                  <a:gd name="T104" fmla="*/ 211 w 475"/>
                  <a:gd name="T105" fmla="*/ 14 h 461"/>
                  <a:gd name="T106" fmla="*/ 228 w 475"/>
                  <a:gd name="T107" fmla="*/ 10 h 461"/>
                  <a:gd name="T108" fmla="*/ 238 w 475"/>
                  <a:gd name="T109" fmla="*/ 7 h 461"/>
                  <a:gd name="T110" fmla="*/ 252 w 475"/>
                  <a:gd name="T111" fmla="*/ 0 h 461"/>
                  <a:gd name="T112" fmla="*/ 267 w 475"/>
                  <a:gd name="T11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5" h="461">
                    <a:moveTo>
                      <a:pt x="267" y="0"/>
                    </a:moveTo>
                    <a:lnTo>
                      <a:pt x="265" y="5"/>
                    </a:lnTo>
                    <a:lnTo>
                      <a:pt x="267" y="9"/>
                    </a:lnTo>
                    <a:lnTo>
                      <a:pt x="269" y="12"/>
                    </a:lnTo>
                    <a:lnTo>
                      <a:pt x="271" y="14"/>
                    </a:lnTo>
                    <a:lnTo>
                      <a:pt x="272" y="16"/>
                    </a:lnTo>
                    <a:lnTo>
                      <a:pt x="276" y="19"/>
                    </a:lnTo>
                    <a:lnTo>
                      <a:pt x="281" y="31"/>
                    </a:lnTo>
                    <a:lnTo>
                      <a:pt x="284" y="34"/>
                    </a:lnTo>
                    <a:lnTo>
                      <a:pt x="286" y="36"/>
                    </a:lnTo>
                    <a:lnTo>
                      <a:pt x="289" y="39"/>
                    </a:lnTo>
                    <a:lnTo>
                      <a:pt x="293" y="43"/>
                    </a:lnTo>
                    <a:lnTo>
                      <a:pt x="294" y="46"/>
                    </a:lnTo>
                    <a:lnTo>
                      <a:pt x="294" y="48"/>
                    </a:lnTo>
                    <a:lnTo>
                      <a:pt x="294" y="50"/>
                    </a:lnTo>
                    <a:lnTo>
                      <a:pt x="296" y="53"/>
                    </a:lnTo>
                    <a:lnTo>
                      <a:pt x="301" y="56"/>
                    </a:lnTo>
                    <a:lnTo>
                      <a:pt x="303" y="60"/>
                    </a:lnTo>
                    <a:lnTo>
                      <a:pt x="305" y="63"/>
                    </a:lnTo>
                    <a:lnTo>
                      <a:pt x="303" y="65"/>
                    </a:lnTo>
                    <a:lnTo>
                      <a:pt x="303" y="67"/>
                    </a:lnTo>
                    <a:lnTo>
                      <a:pt x="308" y="75"/>
                    </a:lnTo>
                    <a:lnTo>
                      <a:pt x="311" y="84"/>
                    </a:lnTo>
                    <a:lnTo>
                      <a:pt x="313" y="89"/>
                    </a:lnTo>
                    <a:lnTo>
                      <a:pt x="316" y="90"/>
                    </a:lnTo>
                    <a:lnTo>
                      <a:pt x="320" y="90"/>
                    </a:lnTo>
                    <a:lnTo>
                      <a:pt x="323" y="92"/>
                    </a:lnTo>
                    <a:lnTo>
                      <a:pt x="322" y="96"/>
                    </a:lnTo>
                    <a:lnTo>
                      <a:pt x="325" y="96"/>
                    </a:lnTo>
                    <a:lnTo>
                      <a:pt x="327" y="99"/>
                    </a:lnTo>
                    <a:lnTo>
                      <a:pt x="333" y="101"/>
                    </a:lnTo>
                    <a:lnTo>
                      <a:pt x="335" y="106"/>
                    </a:lnTo>
                    <a:lnTo>
                      <a:pt x="340" y="106"/>
                    </a:lnTo>
                    <a:lnTo>
                      <a:pt x="342" y="109"/>
                    </a:lnTo>
                    <a:lnTo>
                      <a:pt x="344" y="109"/>
                    </a:lnTo>
                    <a:lnTo>
                      <a:pt x="345" y="111"/>
                    </a:lnTo>
                    <a:lnTo>
                      <a:pt x="350" y="111"/>
                    </a:lnTo>
                    <a:lnTo>
                      <a:pt x="352" y="113"/>
                    </a:lnTo>
                    <a:lnTo>
                      <a:pt x="357" y="113"/>
                    </a:lnTo>
                    <a:lnTo>
                      <a:pt x="359" y="114"/>
                    </a:lnTo>
                    <a:lnTo>
                      <a:pt x="361" y="116"/>
                    </a:lnTo>
                    <a:lnTo>
                      <a:pt x="366" y="116"/>
                    </a:lnTo>
                    <a:lnTo>
                      <a:pt x="367" y="118"/>
                    </a:lnTo>
                    <a:lnTo>
                      <a:pt x="371" y="128"/>
                    </a:lnTo>
                    <a:lnTo>
                      <a:pt x="369" y="138"/>
                    </a:lnTo>
                    <a:lnTo>
                      <a:pt x="374" y="136"/>
                    </a:lnTo>
                    <a:lnTo>
                      <a:pt x="378" y="136"/>
                    </a:lnTo>
                    <a:lnTo>
                      <a:pt x="379" y="136"/>
                    </a:lnTo>
                    <a:lnTo>
                      <a:pt x="384" y="136"/>
                    </a:lnTo>
                    <a:lnTo>
                      <a:pt x="386" y="136"/>
                    </a:lnTo>
                    <a:lnTo>
                      <a:pt x="388" y="138"/>
                    </a:lnTo>
                    <a:lnTo>
                      <a:pt x="390" y="136"/>
                    </a:lnTo>
                    <a:lnTo>
                      <a:pt x="391" y="138"/>
                    </a:lnTo>
                    <a:lnTo>
                      <a:pt x="391" y="140"/>
                    </a:lnTo>
                    <a:lnTo>
                      <a:pt x="391" y="143"/>
                    </a:lnTo>
                    <a:lnTo>
                      <a:pt x="391" y="145"/>
                    </a:lnTo>
                    <a:lnTo>
                      <a:pt x="393" y="148"/>
                    </a:lnTo>
                    <a:lnTo>
                      <a:pt x="393" y="150"/>
                    </a:lnTo>
                    <a:lnTo>
                      <a:pt x="391" y="155"/>
                    </a:lnTo>
                    <a:lnTo>
                      <a:pt x="390" y="155"/>
                    </a:lnTo>
                    <a:lnTo>
                      <a:pt x="391" y="158"/>
                    </a:lnTo>
                    <a:lnTo>
                      <a:pt x="390" y="160"/>
                    </a:lnTo>
                    <a:lnTo>
                      <a:pt x="391" y="160"/>
                    </a:lnTo>
                    <a:lnTo>
                      <a:pt x="390" y="164"/>
                    </a:lnTo>
                    <a:lnTo>
                      <a:pt x="391" y="165"/>
                    </a:lnTo>
                    <a:lnTo>
                      <a:pt x="390" y="165"/>
                    </a:lnTo>
                    <a:lnTo>
                      <a:pt x="390" y="167"/>
                    </a:lnTo>
                    <a:lnTo>
                      <a:pt x="393" y="170"/>
                    </a:lnTo>
                    <a:lnTo>
                      <a:pt x="396" y="172"/>
                    </a:lnTo>
                    <a:lnTo>
                      <a:pt x="401" y="179"/>
                    </a:lnTo>
                    <a:lnTo>
                      <a:pt x="401" y="181"/>
                    </a:lnTo>
                    <a:lnTo>
                      <a:pt x="403" y="184"/>
                    </a:lnTo>
                    <a:lnTo>
                      <a:pt x="405" y="186"/>
                    </a:lnTo>
                    <a:lnTo>
                      <a:pt x="403" y="187"/>
                    </a:lnTo>
                    <a:lnTo>
                      <a:pt x="405" y="187"/>
                    </a:lnTo>
                    <a:lnTo>
                      <a:pt x="405" y="189"/>
                    </a:lnTo>
                    <a:lnTo>
                      <a:pt x="407" y="189"/>
                    </a:lnTo>
                    <a:lnTo>
                      <a:pt x="405" y="189"/>
                    </a:lnTo>
                    <a:lnTo>
                      <a:pt x="407" y="192"/>
                    </a:lnTo>
                    <a:lnTo>
                      <a:pt x="415" y="192"/>
                    </a:lnTo>
                    <a:lnTo>
                      <a:pt x="420" y="192"/>
                    </a:lnTo>
                    <a:lnTo>
                      <a:pt x="424" y="192"/>
                    </a:lnTo>
                    <a:lnTo>
                      <a:pt x="432" y="196"/>
                    </a:lnTo>
                    <a:lnTo>
                      <a:pt x="435" y="194"/>
                    </a:lnTo>
                    <a:lnTo>
                      <a:pt x="449" y="201"/>
                    </a:lnTo>
                    <a:lnTo>
                      <a:pt x="454" y="203"/>
                    </a:lnTo>
                    <a:lnTo>
                      <a:pt x="456" y="201"/>
                    </a:lnTo>
                    <a:lnTo>
                      <a:pt x="458" y="203"/>
                    </a:lnTo>
                    <a:lnTo>
                      <a:pt x="459" y="204"/>
                    </a:lnTo>
                    <a:lnTo>
                      <a:pt x="458" y="206"/>
                    </a:lnTo>
                    <a:lnTo>
                      <a:pt x="458" y="210"/>
                    </a:lnTo>
                    <a:lnTo>
                      <a:pt x="458" y="211"/>
                    </a:lnTo>
                    <a:lnTo>
                      <a:pt x="459" y="215"/>
                    </a:lnTo>
                    <a:lnTo>
                      <a:pt x="463" y="216"/>
                    </a:lnTo>
                    <a:lnTo>
                      <a:pt x="464" y="216"/>
                    </a:lnTo>
                    <a:lnTo>
                      <a:pt x="469" y="216"/>
                    </a:lnTo>
                    <a:lnTo>
                      <a:pt x="469" y="218"/>
                    </a:lnTo>
                    <a:lnTo>
                      <a:pt x="471" y="220"/>
                    </a:lnTo>
                    <a:lnTo>
                      <a:pt x="475" y="223"/>
                    </a:lnTo>
                    <a:lnTo>
                      <a:pt x="473" y="223"/>
                    </a:lnTo>
                    <a:lnTo>
                      <a:pt x="469" y="223"/>
                    </a:lnTo>
                    <a:lnTo>
                      <a:pt x="468" y="223"/>
                    </a:lnTo>
                    <a:lnTo>
                      <a:pt x="464" y="225"/>
                    </a:lnTo>
                    <a:lnTo>
                      <a:pt x="458" y="225"/>
                    </a:lnTo>
                    <a:lnTo>
                      <a:pt x="454" y="228"/>
                    </a:lnTo>
                    <a:lnTo>
                      <a:pt x="454" y="233"/>
                    </a:lnTo>
                    <a:lnTo>
                      <a:pt x="452" y="237"/>
                    </a:lnTo>
                    <a:lnTo>
                      <a:pt x="449" y="237"/>
                    </a:lnTo>
                    <a:lnTo>
                      <a:pt x="447" y="237"/>
                    </a:lnTo>
                    <a:lnTo>
                      <a:pt x="447" y="238"/>
                    </a:lnTo>
                    <a:lnTo>
                      <a:pt x="444" y="238"/>
                    </a:lnTo>
                    <a:lnTo>
                      <a:pt x="439" y="242"/>
                    </a:lnTo>
                    <a:lnTo>
                      <a:pt x="434" y="242"/>
                    </a:lnTo>
                    <a:lnTo>
                      <a:pt x="432" y="244"/>
                    </a:lnTo>
                    <a:lnTo>
                      <a:pt x="430" y="242"/>
                    </a:lnTo>
                    <a:lnTo>
                      <a:pt x="424" y="242"/>
                    </a:lnTo>
                    <a:lnTo>
                      <a:pt x="422" y="244"/>
                    </a:lnTo>
                    <a:lnTo>
                      <a:pt x="420" y="245"/>
                    </a:lnTo>
                    <a:lnTo>
                      <a:pt x="418" y="247"/>
                    </a:lnTo>
                    <a:lnTo>
                      <a:pt x="417" y="247"/>
                    </a:lnTo>
                    <a:lnTo>
                      <a:pt x="415" y="249"/>
                    </a:lnTo>
                    <a:lnTo>
                      <a:pt x="413" y="252"/>
                    </a:lnTo>
                    <a:lnTo>
                      <a:pt x="410" y="255"/>
                    </a:lnTo>
                    <a:lnTo>
                      <a:pt x="408" y="255"/>
                    </a:lnTo>
                    <a:lnTo>
                      <a:pt x="408" y="259"/>
                    </a:lnTo>
                    <a:lnTo>
                      <a:pt x="403" y="262"/>
                    </a:lnTo>
                    <a:lnTo>
                      <a:pt x="403" y="267"/>
                    </a:lnTo>
                    <a:lnTo>
                      <a:pt x="400" y="269"/>
                    </a:lnTo>
                    <a:lnTo>
                      <a:pt x="396" y="269"/>
                    </a:lnTo>
                    <a:lnTo>
                      <a:pt x="396" y="271"/>
                    </a:lnTo>
                    <a:lnTo>
                      <a:pt x="395" y="271"/>
                    </a:lnTo>
                    <a:lnTo>
                      <a:pt x="395" y="272"/>
                    </a:lnTo>
                    <a:lnTo>
                      <a:pt x="393" y="276"/>
                    </a:lnTo>
                    <a:lnTo>
                      <a:pt x="391" y="276"/>
                    </a:lnTo>
                    <a:lnTo>
                      <a:pt x="390" y="274"/>
                    </a:lnTo>
                    <a:lnTo>
                      <a:pt x="388" y="276"/>
                    </a:lnTo>
                    <a:lnTo>
                      <a:pt x="386" y="276"/>
                    </a:lnTo>
                    <a:lnTo>
                      <a:pt x="384" y="278"/>
                    </a:lnTo>
                    <a:lnTo>
                      <a:pt x="384" y="281"/>
                    </a:lnTo>
                    <a:lnTo>
                      <a:pt x="381" y="284"/>
                    </a:lnTo>
                    <a:lnTo>
                      <a:pt x="378" y="284"/>
                    </a:lnTo>
                    <a:lnTo>
                      <a:pt x="376" y="286"/>
                    </a:lnTo>
                    <a:lnTo>
                      <a:pt x="376" y="284"/>
                    </a:lnTo>
                    <a:lnTo>
                      <a:pt x="374" y="284"/>
                    </a:lnTo>
                    <a:lnTo>
                      <a:pt x="374" y="286"/>
                    </a:lnTo>
                    <a:lnTo>
                      <a:pt x="373" y="286"/>
                    </a:lnTo>
                    <a:lnTo>
                      <a:pt x="373" y="284"/>
                    </a:lnTo>
                    <a:lnTo>
                      <a:pt x="371" y="288"/>
                    </a:lnTo>
                    <a:lnTo>
                      <a:pt x="367" y="288"/>
                    </a:lnTo>
                    <a:lnTo>
                      <a:pt x="367" y="289"/>
                    </a:lnTo>
                    <a:lnTo>
                      <a:pt x="366" y="289"/>
                    </a:lnTo>
                    <a:lnTo>
                      <a:pt x="364" y="289"/>
                    </a:lnTo>
                    <a:lnTo>
                      <a:pt x="366" y="291"/>
                    </a:lnTo>
                    <a:lnTo>
                      <a:pt x="364" y="291"/>
                    </a:lnTo>
                    <a:lnTo>
                      <a:pt x="362" y="291"/>
                    </a:lnTo>
                    <a:lnTo>
                      <a:pt x="362" y="293"/>
                    </a:lnTo>
                    <a:lnTo>
                      <a:pt x="361" y="293"/>
                    </a:lnTo>
                    <a:lnTo>
                      <a:pt x="361" y="295"/>
                    </a:lnTo>
                    <a:lnTo>
                      <a:pt x="357" y="295"/>
                    </a:lnTo>
                    <a:lnTo>
                      <a:pt x="359" y="296"/>
                    </a:lnTo>
                    <a:lnTo>
                      <a:pt x="359" y="298"/>
                    </a:lnTo>
                    <a:lnTo>
                      <a:pt x="357" y="298"/>
                    </a:lnTo>
                    <a:lnTo>
                      <a:pt x="356" y="296"/>
                    </a:lnTo>
                    <a:lnTo>
                      <a:pt x="356" y="298"/>
                    </a:lnTo>
                    <a:lnTo>
                      <a:pt x="356" y="300"/>
                    </a:lnTo>
                    <a:lnTo>
                      <a:pt x="354" y="300"/>
                    </a:lnTo>
                    <a:lnTo>
                      <a:pt x="352" y="305"/>
                    </a:lnTo>
                    <a:lnTo>
                      <a:pt x="352" y="306"/>
                    </a:lnTo>
                    <a:lnTo>
                      <a:pt x="352" y="308"/>
                    </a:lnTo>
                    <a:lnTo>
                      <a:pt x="352" y="312"/>
                    </a:lnTo>
                    <a:lnTo>
                      <a:pt x="352" y="313"/>
                    </a:lnTo>
                    <a:lnTo>
                      <a:pt x="350" y="313"/>
                    </a:lnTo>
                    <a:lnTo>
                      <a:pt x="349" y="320"/>
                    </a:lnTo>
                    <a:lnTo>
                      <a:pt x="349" y="323"/>
                    </a:lnTo>
                    <a:lnTo>
                      <a:pt x="349" y="325"/>
                    </a:lnTo>
                    <a:lnTo>
                      <a:pt x="349" y="327"/>
                    </a:lnTo>
                    <a:lnTo>
                      <a:pt x="347" y="329"/>
                    </a:lnTo>
                    <a:lnTo>
                      <a:pt x="344" y="330"/>
                    </a:lnTo>
                    <a:lnTo>
                      <a:pt x="342" y="330"/>
                    </a:lnTo>
                    <a:lnTo>
                      <a:pt x="339" y="332"/>
                    </a:lnTo>
                    <a:lnTo>
                      <a:pt x="339" y="334"/>
                    </a:lnTo>
                    <a:lnTo>
                      <a:pt x="333" y="335"/>
                    </a:lnTo>
                    <a:lnTo>
                      <a:pt x="333" y="337"/>
                    </a:lnTo>
                    <a:lnTo>
                      <a:pt x="330" y="339"/>
                    </a:lnTo>
                    <a:lnTo>
                      <a:pt x="328" y="344"/>
                    </a:lnTo>
                    <a:lnTo>
                      <a:pt x="325" y="347"/>
                    </a:lnTo>
                    <a:lnTo>
                      <a:pt x="305" y="351"/>
                    </a:lnTo>
                    <a:lnTo>
                      <a:pt x="303" y="352"/>
                    </a:lnTo>
                    <a:lnTo>
                      <a:pt x="296" y="352"/>
                    </a:lnTo>
                    <a:lnTo>
                      <a:pt x="296" y="354"/>
                    </a:lnTo>
                    <a:lnTo>
                      <a:pt x="298" y="356"/>
                    </a:lnTo>
                    <a:lnTo>
                      <a:pt x="299" y="359"/>
                    </a:lnTo>
                    <a:lnTo>
                      <a:pt x="298" y="361"/>
                    </a:lnTo>
                    <a:lnTo>
                      <a:pt x="291" y="378"/>
                    </a:lnTo>
                    <a:lnTo>
                      <a:pt x="289" y="380"/>
                    </a:lnTo>
                    <a:lnTo>
                      <a:pt x="288" y="386"/>
                    </a:lnTo>
                    <a:lnTo>
                      <a:pt x="286" y="393"/>
                    </a:lnTo>
                    <a:lnTo>
                      <a:pt x="282" y="398"/>
                    </a:lnTo>
                    <a:lnTo>
                      <a:pt x="279" y="400"/>
                    </a:lnTo>
                    <a:lnTo>
                      <a:pt x="271" y="405"/>
                    </a:lnTo>
                    <a:lnTo>
                      <a:pt x="260" y="403"/>
                    </a:lnTo>
                    <a:lnTo>
                      <a:pt x="259" y="403"/>
                    </a:lnTo>
                    <a:lnTo>
                      <a:pt x="255" y="402"/>
                    </a:lnTo>
                    <a:lnTo>
                      <a:pt x="254" y="402"/>
                    </a:lnTo>
                    <a:lnTo>
                      <a:pt x="252" y="403"/>
                    </a:lnTo>
                    <a:lnTo>
                      <a:pt x="250" y="405"/>
                    </a:lnTo>
                    <a:lnTo>
                      <a:pt x="248" y="407"/>
                    </a:lnTo>
                    <a:lnTo>
                      <a:pt x="245" y="407"/>
                    </a:lnTo>
                    <a:lnTo>
                      <a:pt x="243" y="407"/>
                    </a:lnTo>
                    <a:lnTo>
                      <a:pt x="240" y="407"/>
                    </a:lnTo>
                    <a:lnTo>
                      <a:pt x="238" y="407"/>
                    </a:lnTo>
                    <a:lnTo>
                      <a:pt x="226" y="403"/>
                    </a:lnTo>
                    <a:lnTo>
                      <a:pt x="225" y="403"/>
                    </a:lnTo>
                    <a:lnTo>
                      <a:pt x="223" y="403"/>
                    </a:lnTo>
                    <a:lnTo>
                      <a:pt x="221" y="403"/>
                    </a:lnTo>
                    <a:lnTo>
                      <a:pt x="220" y="402"/>
                    </a:lnTo>
                    <a:lnTo>
                      <a:pt x="218" y="402"/>
                    </a:lnTo>
                    <a:lnTo>
                      <a:pt x="218" y="400"/>
                    </a:lnTo>
                    <a:lnTo>
                      <a:pt x="216" y="402"/>
                    </a:lnTo>
                    <a:lnTo>
                      <a:pt x="214" y="398"/>
                    </a:lnTo>
                    <a:lnTo>
                      <a:pt x="213" y="397"/>
                    </a:lnTo>
                    <a:lnTo>
                      <a:pt x="211" y="397"/>
                    </a:lnTo>
                    <a:lnTo>
                      <a:pt x="209" y="397"/>
                    </a:lnTo>
                    <a:lnTo>
                      <a:pt x="208" y="398"/>
                    </a:lnTo>
                    <a:lnTo>
                      <a:pt x="206" y="397"/>
                    </a:lnTo>
                    <a:lnTo>
                      <a:pt x="206" y="398"/>
                    </a:lnTo>
                    <a:lnTo>
                      <a:pt x="204" y="398"/>
                    </a:lnTo>
                    <a:lnTo>
                      <a:pt x="204" y="397"/>
                    </a:lnTo>
                    <a:lnTo>
                      <a:pt x="203" y="397"/>
                    </a:lnTo>
                    <a:lnTo>
                      <a:pt x="201" y="398"/>
                    </a:lnTo>
                    <a:lnTo>
                      <a:pt x="199" y="397"/>
                    </a:lnTo>
                    <a:lnTo>
                      <a:pt x="197" y="395"/>
                    </a:lnTo>
                    <a:lnTo>
                      <a:pt x="196" y="395"/>
                    </a:lnTo>
                    <a:lnTo>
                      <a:pt x="194" y="393"/>
                    </a:lnTo>
                    <a:lnTo>
                      <a:pt x="194" y="392"/>
                    </a:lnTo>
                    <a:lnTo>
                      <a:pt x="191" y="392"/>
                    </a:lnTo>
                    <a:lnTo>
                      <a:pt x="191" y="390"/>
                    </a:lnTo>
                    <a:lnTo>
                      <a:pt x="189" y="388"/>
                    </a:lnTo>
                    <a:lnTo>
                      <a:pt x="187" y="388"/>
                    </a:lnTo>
                    <a:lnTo>
                      <a:pt x="186" y="388"/>
                    </a:lnTo>
                    <a:lnTo>
                      <a:pt x="186" y="386"/>
                    </a:lnTo>
                    <a:lnTo>
                      <a:pt x="184" y="386"/>
                    </a:lnTo>
                    <a:lnTo>
                      <a:pt x="184" y="385"/>
                    </a:lnTo>
                    <a:lnTo>
                      <a:pt x="182" y="385"/>
                    </a:lnTo>
                    <a:lnTo>
                      <a:pt x="180" y="385"/>
                    </a:lnTo>
                    <a:lnTo>
                      <a:pt x="180" y="383"/>
                    </a:lnTo>
                    <a:lnTo>
                      <a:pt x="179" y="383"/>
                    </a:lnTo>
                    <a:lnTo>
                      <a:pt x="177" y="383"/>
                    </a:lnTo>
                    <a:lnTo>
                      <a:pt x="177" y="381"/>
                    </a:lnTo>
                    <a:lnTo>
                      <a:pt x="175" y="381"/>
                    </a:lnTo>
                    <a:lnTo>
                      <a:pt x="175" y="380"/>
                    </a:lnTo>
                    <a:lnTo>
                      <a:pt x="174" y="381"/>
                    </a:lnTo>
                    <a:lnTo>
                      <a:pt x="172" y="381"/>
                    </a:lnTo>
                    <a:lnTo>
                      <a:pt x="170" y="380"/>
                    </a:lnTo>
                    <a:lnTo>
                      <a:pt x="169" y="380"/>
                    </a:lnTo>
                    <a:lnTo>
                      <a:pt x="167" y="380"/>
                    </a:lnTo>
                    <a:lnTo>
                      <a:pt x="163" y="380"/>
                    </a:lnTo>
                    <a:lnTo>
                      <a:pt x="160" y="381"/>
                    </a:lnTo>
                    <a:lnTo>
                      <a:pt x="158" y="381"/>
                    </a:lnTo>
                    <a:lnTo>
                      <a:pt x="157" y="383"/>
                    </a:lnTo>
                    <a:lnTo>
                      <a:pt x="155" y="381"/>
                    </a:lnTo>
                    <a:lnTo>
                      <a:pt x="155" y="380"/>
                    </a:lnTo>
                    <a:lnTo>
                      <a:pt x="153" y="381"/>
                    </a:lnTo>
                    <a:lnTo>
                      <a:pt x="153" y="380"/>
                    </a:lnTo>
                    <a:lnTo>
                      <a:pt x="153" y="383"/>
                    </a:lnTo>
                    <a:lnTo>
                      <a:pt x="152" y="383"/>
                    </a:lnTo>
                    <a:lnTo>
                      <a:pt x="152" y="385"/>
                    </a:lnTo>
                    <a:lnTo>
                      <a:pt x="148" y="386"/>
                    </a:lnTo>
                    <a:lnTo>
                      <a:pt x="146" y="390"/>
                    </a:lnTo>
                    <a:lnTo>
                      <a:pt x="148" y="390"/>
                    </a:lnTo>
                    <a:lnTo>
                      <a:pt x="146" y="390"/>
                    </a:lnTo>
                    <a:lnTo>
                      <a:pt x="145" y="390"/>
                    </a:lnTo>
                    <a:lnTo>
                      <a:pt x="145" y="392"/>
                    </a:lnTo>
                    <a:lnTo>
                      <a:pt x="145" y="393"/>
                    </a:lnTo>
                    <a:lnTo>
                      <a:pt x="143" y="395"/>
                    </a:lnTo>
                    <a:lnTo>
                      <a:pt x="145" y="397"/>
                    </a:lnTo>
                    <a:lnTo>
                      <a:pt x="143" y="397"/>
                    </a:lnTo>
                    <a:lnTo>
                      <a:pt x="145" y="398"/>
                    </a:lnTo>
                    <a:lnTo>
                      <a:pt x="143" y="400"/>
                    </a:lnTo>
                    <a:lnTo>
                      <a:pt x="143" y="402"/>
                    </a:lnTo>
                    <a:lnTo>
                      <a:pt x="141" y="402"/>
                    </a:lnTo>
                    <a:lnTo>
                      <a:pt x="140" y="405"/>
                    </a:lnTo>
                    <a:lnTo>
                      <a:pt x="141" y="407"/>
                    </a:lnTo>
                    <a:lnTo>
                      <a:pt x="140" y="409"/>
                    </a:lnTo>
                    <a:lnTo>
                      <a:pt x="140" y="410"/>
                    </a:lnTo>
                    <a:lnTo>
                      <a:pt x="138" y="410"/>
                    </a:lnTo>
                    <a:lnTo>
                      <a:pt x="140" y="412"/>
                    </a:lnTo>
                    <a:lnTo>
                      <a:pt x="138" y="414"/>
                    </a:lnTo>
                    <a:lnTo>
                      <a:pt x="138" y="417"/>
                    </a:lnTo>
                    <a:lnTo>
                      <a:pt x="136" y="417"/>
                    </a:lnTo>
                    <a:lnTo>
                      <a:pt x="136" y="420"/>
                    </a:lnTo>
                    <a:lnTo>
                      <a:pt x="135" y="420"/>
                    </a:lnTo>
                    <a:lnTo>
                      <a:pt x="135" y="422"/>
                    </a:lnTo>
                    <a:lnTo>
                      <a:pt x="133" y="422"/>
                    </a:lnTo>
                    <a:lnTo>
                      <a:pt x="133" y="424"/>
                    </a:lnTo>
                    <a:lnTo>
                      <a:pt x="131" y="424"/>
                    </a:lnTo>
                    <a:lnTo>
                      <a:pt x="131" y="426"/>
                    </a:lnTo>
                    <a:lnTo>
                      <a:pt x="129" y="427"/>
                    </a:lnTo>
                    <a:lnTo>
                      <a:pt x="126" y="426"/>
                    </a:lnTo>
                    <a:lnTo>
                      <a:pt x="124" y="427"/>
                    </a:lnTo>
                    <a:lnTo>
                      <a:pt x="123" y="427"/>
                    </a:lnTo>
                    <a:lnTo>
                      <a:pt x="123" y="429"/>
                    </a:lnTo>
                    <a:lnTo>
                      <a:pt x="123" y="431"/>
                    </a:lnTo>
                    <a:lnTo>
                      <a:pt x="121" y="431"/>
                    </a:lnTo>
                    <a:lnTo>
                      <a:pt x="121" y="432"/>
                    </a:lnTo>
                    <a:lnTo>
                      <a:pt x="118" y="432"/>
                    </a:lnTo>
                    <a:lnTo>
                      <a:pt x="118" y="434"/>
                    </a:lnTo>
                    <a:lnTo>
                      <a:pt x="114" y="434"/>
                    </a:lnTo>
                    <a:lnTo>
                      <a:pt x="111" y="436"/>
                    </a:lnTo>
                    <a:lnTo>
                      <a:pt x="112" y="437"/>
                    </a:lnTo>
                    <a:lnTo>
                      <a:pt x="111" y="439"/>
                    </a:lnTo>
                    <a:lnTo>
                      <a:pt x="111" y="441"/>
                    </a:lnTo>
                    <a:lnTo>
                      <a:pt x="111" y="443"/>
                    </a:lnTo>
                    <a:lnTo>
                      <a:pt x="106" y="446"/>
                    </a:lnTo>
                    <a:lnTo>
                      <a:pt x="104" y="448"/>
                    </a:lnTo>
                    <a:lnTo>
                      <a:pt x="99" y="449"/>
                    </a:lnTo>
                    <a:lnTo>
                      <a:pt x="94" y="449"/>
                    </a:lnTo>
                    <a:lnTo>
                      <a:pt x="90" y="451"/>
                    </a:lnTo>
                    <a:lnTo>
                      <a:pt x="92" y="454"/>
                    </a:lnTo>
                    <a:lnTo>
                      <a:pt x="90" y="456"/>
                    </a:lnTo>
                    <a:lnTo>
                      <a:pt x="87" y="460"/>
                    </a:lnTo>
                    <a:lnTo>
                      <a:pt x="84" y="460"/>
                    </a:lnTo>
                    <a:lnTo>
                      <a:pt x="80" y="458"/>
                    </a:lnTo>
                    <a:lnTo>
                      <a:pt x="78" y="460"/>
                    </a:lnTo>
                    <a:lnTo>
                      <a:pt x="72" y="458"/>
                    </a:lnTo>
                    <a:lnTo>
                      <a:pt x="68" y="458"/>
                    </a:lnTo>
                    <a:lnTo>
                      <a:pt x="67" y="460"/>
                    </a:lnTo>
                    <a:lnTo>
                      <a:pt x="65" y="458"/>
                    </a:lnTo>
                    <a:lnTo>
                      <a:pt x="63" y="460"/>
                    </a:lnTo>
                    <a:lnTo>
                      <a:pt x="58" y="460"/>
                    </a:lnTo>
                    <a:lnTo>
                      <a:pt x="55" y="460"/>
                    </a:lnTo>
                    <a:lnTo>
                      <a:pt x="51" y="460"/>
                    </a:lnTo>
                    <a:lnTo>
                      <a:pt x="50" y="456"/>
                    </a:lnTo>
                    <a:lnTo>
                      <a:pt x="48" y="458"/>
                    </a:lnTo>
                    <a:lnTo>
                      <a:pt x="46" y="456"/>
                    </a:lnTo>
                    <a:lnTo>
                      <a:pt x="43" y="458"/>
                    </a:lnTo>
                    <a:lnTo>
                      <a:pt x="43" y="460"/>
                    </a:lnTo>
                    <a:lnTo>
                      <a:pt x="41" y="460"/>
                    </a:lnTo>
                    <a:lnTo>
                      <a:pt x="39" y="460"/>
                    </a:lnTo>
                    <a:lnTo>
                      <a:pt x="38" y="460"/>
                    </a:lnTo>
                    <a:lnTo>
                      <a:pt x="36" y="461"/>
                    </a:lnTo>
                    <a:lnTo>
                      <a:pt x="36" y="458"/>
                    </a:lnTo>
                    <a:lnTo>
                      <a:pt x="33" y="458"/>
                    </a:lnTo>
                    <a:lnTo>
                      <a:pt x="34" y="458"/>
                    </a:lnTo>
                    <a:lnTo>
                      <a:pt x="33" y="456"/>
                    </a:lnTo>
                    <a:lnTo>
                      <a:pt x="33" y="454"/>
                    </a:lnTo>
                    <a:lnTo>
                      <a:pt x="33" y="451"/>
                    </a:lnTo>
                    <a:lnTo>
                      <a:pt x="33" y="449"/>
                    </a:lnTo>
                    <a:lnTo>
                      <a:pt x="33" y="446"/>
                    </a:lnTo>
                    <a:lnTo>
                      <a:pt x="31" y="444"/>
                    </a:lnTo>
                    <a:lnTo>
                      <a:pt x="31" y="443"/>
                    </a:lnTo>
                    <a:lnTo>
                      <a:pt x="33" y="439"/>
                    </a:lnTo>
                    <a:lnTo>
                      <a:pt x="36" y="436"/>
                    </a:lnTo>
                    <a:lnTo>
                      <a:pt x="38" y="432"/>
                    </a:lnTo>
                    <a:lnTo>
                      <a:pt x="41" y="431"/>
                    </a:lnTo>
                    <a:lnTo>
                      <a:pt x="43" y="426"/>
                    </a:lnTo>
                    <a:lnTo>
                      <a:pt x="44" y="422"/>
                    </a:lnTo>
                    <a:lnTo>
                      <a:pt x="43" y="422"/>
                    </a:lnTo>
                    <a:lnTo>
                      <a:pt x="43" y="420"/>
                    </a:lnTo>
                    <a:lnTo>
                      <a:pt x="43" y="419"/>
                    </a:lnTo>
                    <a:lnTo>
                      <a:pt x="41" y="417"/>
                    </a:lnTo>
                    <a:lnTo>
                      <a:pt x="43" y="414"/>
                    </a:lnTo>
                    <a:lnTo>
                      <a:pt x="41" y="412"/>
                    </a:lnTo>
                    <a:lnTo>
                      <a:pt x="41" y="410"/>
                    </a:lnTo>
                    <a:lnTo>
                      <a:pt x="41" y="409"/>
                    </a:lnTo>
                    <a:lnTo>
                      <a:pt x="41" y="407"/>
                    </a:lnTo>
                    <a:lnTo>
                      <a:pt x="38" y="407"/>
                    </a:lnTo>
                    <a:lnTo>
                      <a:pt x="39" y="405"/>
                    </a:lnTo>
                    <a:lnTo>
                      <a:pt x="38" y="405"/>
                    </a:lnTo>
                    <a:lnTo>
                      <a:pt x="38" y="402"/>
                    </a:lnTo>
                    <a:lnTo>
                      <a:pt x="34" y="400"/>
                    </a:lnTo>
                    <a:lnTo>
                      <a:pt x="36" y="398"/>
                    </a:lnTo>
                    <a:lnTo>
                      <a:pt x="34" y="398"/>
                    </a:lnTo>
                    <a:lnTo>
                      <a:pt x="34" y="397"/>
                    </a:lnTo>
                    <a:lnTo>
                      <a:pt x="36" y="395"/>
                    </a:lnTo>
                    <a:lnTo>
                      <a:pt x="34" y="393"/>
                    </a:lnTo>
                    <a:lnTo>
                      <a:pt x="33" y="392"/>
                    </a:lnTo>
                    <a:lnTo>
                      <a:pt x="33" y="390"/>
                    </a:lnTo>
                    <a:lnTo>
                      <a:pt x="34" y="390"/>
                    </a:lnTo>
                    <a:lnTo>
                      <a:pt x="34" y="388"/>
                    </a:lnTo>
                    <a:lnTo>
                      <a:pt x="33" y="388"/>
                    </a:lnTo>
                    <a:lnTo>
                      <a:pt x="33" y="386"/>
                    </a:lnTo>
                    <a:lnTo>
                      <a:pt x="31" y="386"/>
                    </a:lnTo>
                    <a:lnTo>
                      <a:pt x="31" y="385"/>
                    </a:lnTo>
                    <a:lnTo>
                      <a:pt x="29" y="385"/>
                    </a:lnTo>
                    <a:lnTo>
                      <a:pt x="27" y="383"/>
                    </a:lnTo>
                    <a:lnTo>
                      <a:pt x="27" y="381"/>
                    </a:lnTo>
                    <a:lnTo>
                      <a:pt x="27" y="380"/>
                    </a:lnTo>
                    <a:lnTo>
                      <a:pt x="26" y="380"/>
                    </a:lnTo>
                    <a:lnTo>
                      <a:pt x="26" y="378"/>
                    </a:lnTo>
                    <a:lnTo>
                      <a:pt x="26" y="376"/>
                    </a:lnTo>
                    <a:lnTo>
                      <a:pt x="24" y="376"/>
                    </a:lnTo>
                    <a:lnTo>
                      <a:pt x="22" y="376"/>
                    </a:lnTo>
                    <a:lnTo>
                      <a:pt x="24" y="373"/>
                    </a:lnTo>
                    <a:lnTo>
                      <a:pt x="22" y="373"/>
                    </a:lnTo>
                    <a:lnTo>
                      <a:pt x="21" y="369"/>
                    </a:lnTo>
                    <a:lnTo>
                      <a:pt x="19" y="368"/>
                    </a:lnTo>
                    <a:lnTo>
                      <a:pt x="21" y="368"/>
                    </a:lnTo>
                    <a:lnTo>
                      <a:pt x="16" y="364"/>
                    </a:lnTo>
                    <a:lnTo>
                      <a:pt x="14" y="361"/>
                    </a:lnTo>
                    <a:lnTo>
                      <a:pt x="12" y="361"/>
                    </a:lnTo>
                    <a:lnTo>
                      <a:pt x="10" y="361"/>
                    </a:lnTo>
                    <a:lnTo>
                      <a:pt x="9" y="359"/>
                    </a:lnTo>
                    <a:lnTo>
                      <a:pt x="7" y="359"/>
                    </a:lnTo>
                    <a:lnTo>
                      <a:pt x="5" y="358"/>
                    </a:lnTo>
                    <a:lnTo>
                      <a:pt x="2" y="356"/>
                    </a:lnTo>
                    <a:lnTo>
                      <a:pt x="0" y="354"/>
                    </a:lnTo>
                    <a:lnTo>
                      <a:pt x="0" y="352"/>
                    </a:lnTo>
                    <a:lnTo>
                      <a:pt x="0" y="347"/>
                    </a:lnTo>
                    <a:lnTo>
                      <a:pt x="0" y="320"/>
                    </a:lnTo>
                    <a:lnTo>
                      <a:pt x="0" y="308"/>
                    </a:lnTo>
                    <a:lnTo>
                      <a:pt x="0" y="306"/>
                    </a:lnTo>
                    <a:lnTo>
                      <a:pt x="0" y="293"/>
                    </a:lnTo>
                    <a:lnTo>
                      <a:pt x="0" y="279"/>
                    </a:lnTo>
                    <a:lnTo>
                      <a:pt x="0" y="276"/>
                    </a:lnTo>
                    <a:lnTo>
                      <a:pt x="0" y="262"/>
                    </a:lnTo>
                    <a:lnTo>
                      <a:pt x="0" y="255"/>
                    </a:lnTo>
                    <a:lnTo>
                      <a:pt x="0" y="233"/>
                    </a:lnTo>
                    <a:lnTo>
                      <a:pt x="0" y="221"/>
                    </a:lnTo>
                    <a:lnTo>
                      <a:pt x="0" y="213"/>
                    </a:lnTo>
                    <a:lnTo>
                      <a:pt x="14" y="213"/>
                    </a:lnTo>
                    <a:lnTo>
                      <a:pt x="36" y="213"/>
                    </a:lnTo>
                    <a:lnTo>
                      <a:pt x="51" y="213"/>
                    </a:lnTo>
                    <a:lnTo>
                      <a:pt x="51" y="192"/>
                    </a:lnTo>
                    <a:lnTo>
                      <a:pt x="51" y="162"/>
                    </a:lnTo>
                    <a:lnTo>
                      <a:pt x="51" y="158"/>
                    </a:lnTo>
                    <a:lnTo>
                      <a:pt x="51" y="133"/>
                    </a:lnTo>
                    <a:lnTo>
                      <a:pt x="51" y="131"/>
                    </a:lnTo>
                    <a:lnTo>
                      <a:pt x="51" y="121"/>
                    </a:lnTo>
                    <a:lnTo>
                      <a:pt x="51" y="113"/>
                    </a:lnTo>
                    <a:lnTo>
                      <a:pt x="51" y="96"/>
                    </a:lnTo>
                    <a:lnTo>
                      <a:pt x="51" y="73"/>
                    </a:lnTo>
                    <a:lnTo>
                      <a:pt x="51" y="70"/>
                    </a:lnTo>
                    <a:lnTo>
                      <a:pt x="51" y="53"/>
                    </a:lnTo>
                    <a:lnTo>
                      <a:pt x="51" y="36"/>
                    </a:lnTo>
                    <a:lnTo>
                      <a:pt x="51" y="27"/>
                    </a:lnTo>
                    <a:lnTo>
                      <a:pt x="75" y="27"/>
                    </a:lnTo>
                    <a:lnTo>
                      <a:pt x="92" y="24"/>
                    </a:lnTo>
                    <a:lnTo>
                      <a:pt x="114" y="19"/>
                    </a:lnTo>
                    <a:lnTo>
                      <a:pt x="128" y="17"/>
                    </a:lnTo>
                    <a:lnTo>
                      <a:pt x="140" y="14"/>
                    </a:lnTo>
                    <a:lnTo>
                      <a:pt x="157" y="10"/>
                    </a:lnTo>
                    <a:lnTo>
                      <a:pt x="167" y="10"/>
                    </a:lnTo>
                    <a:lnTo>
                      <a:pt x="169" y="12"/>
                    </a:lnTo>
                    <a:lnTo>
                      <a:pt x="170" y="14"/>
                    </a:lnTo>
                    <a:lnTo>
                      <a:pt x="169" y="14"/>
                    </a:lnTo>
                    <a:lnTo>
                      <a:pt x="169" y="16"/>
                    </a:lnTo>
                    <a:lnTo>
                      <a:pt x="172" y="17"/>
                    </a:lnTo>
                    <a:lnTo>
                      <a:pt x="172" y="19"/>
                    </a:lnTo>
                    <a:lnTo>
                      <a:pt x="174" y="19"/>
                    </a:lnTo>
                    <a:lnTo>
                      <a:pt x="172" y="21"/>
                    </a:lnTo>
                    <a:lnTo>
                      <a:pt x="175" y="21"/>
                    </a:lnTo>
                    <a:lnTo>
                      <a:pt x="175" y="22"/>
                    </a:lnTo>
                    <a:lnTo>
                      <a:pt x="177" y="22"/>
                    </a:lnTo>
                    <a:lnTo>
                      <a:pt x="179" y="24"/>
                    </a:lnTo>
                    <a:lnTo>
                      <a:pt x="180" y="29"/>
                    </a:lnTo>
                    <a:lnTo>
                      <a:pt x="180" y="33"/>
                    </a:lnTo>
                    <a:lnTo>
                      <a:pt x="182" y="34"/>
                    </a:lnTo>
                    <a:lnTo>
                      <a:pt x="180" y="34"/>
                    </a:lnTo>
                    <a:lnTo>
                      <a:pt x="184" y="36"/>
                    </a:lnTo>
                    <a:lnTo>
                      <a:pt x="186" y="34"/>
                    </a:lnTo>
                    <a:lnTo>
                      <a:pt x="187" y="33"/>
                    </a:lnTo>
                    <a:lnTo>
                      <a:pt x="189" y="33"/>
                    </a:lnTo>
                    <a:lnTo>
                      <a:pt x="192" y="31"/>
                    </a:lnTo>
                    <a:lnTo>
                      <a:pt x="194" y="27"/>
                    </a:lnTo>
                    <a:lnTo>
                      <a:pt x="196" y="27"/>
                    </a:lnTo>
                    <a:lnTo>
                      <a:pt x="197" y="24"/>
                    </a:lnTo>
                    <a:lnTo>
                      <a:pt x="199" y="24"/>
                    </a:lnTo>
                    <a:lnTo>
                      <a:pt x="199" y="22"/>
                    </a:lnTo>
                    <a:lnTo>
                      <a:pt x="199" y="21"/>
                    </a:lnTo>
                    <a:lnTo>
                      <a:pt x="201" y="21"/>
                    </a:lnTo>
                    <a:lnTo>
                      <a:pt x="203" y="21"/>
                    </a:lnTo>
                    <a:lnTo>
                      <a:pt x="204" y="17"/>
                    </a:lnTo>
                    <a:lnTo>
                      <a:pt x="206" y="17"/>
                    </a:lnTo>
                    <a:lnTo>
                      <a:pt x="206" y="16"/>
                    </a:lnTo>
                    <a:lnTo>
                      <a:pt x="209" y="16"/>
                    </a:lnTo>
                    <a:lnTo>
                      <a:pt x="211" y="14"/>
                    </a:lnTo>
                    <a:lnTo>
                      <a:pt x="211" y="12"/>
                    </a:lnTo>
                    <a:lnTo>
                      <a:pt x="213" y="12"/>
                    </a:lnTo>
                    <a:lnTo>
                      <a:pt x="216" y="12"/>
                    </a:lnTo>
                    <a:lnTo>
                      <a:pt x="218" y="12"/>
                    </a:lnTo>
                    <a:lnTo>
                      <a:pt x="221" y="9"/>
                    </a:lnTo>
                    <a:lnTo>
                      <a:pt x="225" y="9"/>
                    </a:lnTo>
                    <a:lnTo>
                      <a:pt x="226" y="9"/>
                    </a:lnTo>
                    <a:lnTo>
                      <a:pt x="226" y="10"/>
                    </a:lnTo>
                    <a:lnTo>
                      <a:pt x="228" y="10"/>
                    </a:lnTo>
                    <a:lnTo>
                      <a:pt x="228" y="12"/>
                    </a:lnTo>
                    <a:lnTo>
                      <a:pt x="228" y="14"/>
                    </a:lnTo>
                    <a:lnTo>
                      <a:pt x="230" y="14"/>
                    </a:lnTo>
                    <a:lnTo>
                      <a:pt x="231" y="14"/>
                    </a:lnTo>
                    <a:lnTo>
                      <a:pt x="233" y="12"/>
                    </a:lnTo>
                    <a:lnTo>
                      <a:pt x="235" y="10"/>
                    </a:lnTo>
                    <a:lnTo>
                      <a:pt x="237" y="9"/>
                    </a:lnTo>
                    <a:lnTo>
                      <a:pt x="237" y="7"/>
                    </a:lnTo>
                    <a:lnTo>
                      <a:pt x="238" y="7"/>
                    </a:lnTo>
                    <a:lnTo>
                      <a:pt x="240" y="5"/>
                    </a:lnTo>
                    <a:lnTo>
                      <a:pt x="242" y="5"/>
                    </a:lnTo>
                    <a:lnTo>
                      <a:pt x="242" y="4"/>
                    </a:lnTo>
                    <a:lnTo>
                      <a:pt x="243" y="4"/>
                    </a:lnTo>
                    <a:lnTo>
                      <a:pt x="245" y="4"/>
                    </a:lnTo>
                    <a:lnTo>
                      <a:pt x="247" y="4"/>
                    </a:lnTo>
                    <a:lnTo>
                      <a:pt x="248" y="0"/>
                    </a:lnTo>
                    <a:lnTo>
                      <a:pt x="250" y="2"/>
                    </a:lnTo>
                    <a:lnTo>
                      <a:pt x="252" y="0"/>
                    </a:lnTo>
                    <a:lnTo>
                      <a:pt x="254" y="0"/>
                    </a:lnTo>
                    <a:lnTo>
                      <a:pt x="252" y="0"/>
                    </a:lnTo>
                    <a:lnTo>
                      <a:pt x="254" y="2"/>
                    </a:lnTo>
                    <a:lnTo>
                      <a:pt x="255" y="2"/>
                    </a:lnTo>
                    <a:lnTo>
                      <a:pt x="257" y="0"/>
                    </a:lnTo>
                    <a:lnTo>
                      <a:pt x="257" y="2"/>
                    </a:lnTo>
                    <a:lnTo>
                      <a:pt x="260" y="2"/>
                    </a:lnTo>
                    <a:lnTo>
                      <a:pt x="262" y="0"/>
                    </a:lnTo>
                    <a:lnTo>
                      <a:pt x="267" y="0"/>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Freeform 35">
                <a:extLst>
                  <a:ext uri="{FF2B5EF4-FFF2-40B4-BE49-F238E27FC236}">
                    <a16:creationId xmlns:a16="http://schemas.microsoft.com/office/drawing/2014/main" id="{9E3F82A4-4A5E-4D76-B2B0-F30571578EEF}"/>
                  </a:ext>
                </a:extLst>
              </p:cNvPr>
              <p:cNvSpPr>
                <a:spLocks/>
              </p:cNvSpPr>
              <p:nvPr/>
            </p:nvSpPr>
            <p:spPr bwMode="gray">
              <a:xfrm>
                <a:off x="6973876" y="5766530"/>
                <a:ext cx="153644" cy="132580"/>
              </a:xfrm>
              <a:custGeom>
                <a:avLst/>
                <a:gdLst>
                  <a:gd name="T0" fmla="*/ 91 w 124"/>
                  <a:gd name="T1" fmla="*/ 7 h 107"/>
                  <a:gd name="T2" fmla="*/ 95 w 124"/>
                  <a:gd name="T3" fmla="*/ 11 h 107"/>
                  <a:gd name="T4" fmla="*/ 96 w 124"/>
                  <a:gd name="T5" fmla="*/ 12 h 107"/>
                  <a:gd name="T6" fmla="*/ 98 w 124"/>
                  <a:gd name="T7" fmla="*/ 14 h 107"/>
                  <a:gd name="T8" fmla="*/ 100 w 124"/>
                  <a:gd name="T9" fmla="*/ 17 h 107"/>
                  <a:gd name="T10" fmla="*/ 105 w 124"/>
                  <a:gd name="T11" fmla="*/ 17 h 107"/>
                  <a:gd name="T12" fmla="*/ 112 w 124"/>
                  <a:gd name="T13" fmla="*/ 24 h 107"/>
                  <a:gd name="T14" fmla="*/ 117 w 124"/>
                  <a:gd name="T15" fmla="*/ 26 h 107"/>
                  <a:gd name="T16" fmla="*/ 119 w 124"/>
                  <a:gd name="T17" fmla="*/ 33 h 107"/>
                  <a:gd name="T18" fmla="*/ 122 w 124"/>
                  <a:gd name="T19" fmla="*/ 36 h 107"/>
                  <a:gd name="T20" fmla="*/ 122 w 124"/>
                  <a:gd name="T21" fmla="*/ 39 h 107"/>
                  <a:gd name="T22" fmla="*/ 120 w 124"/>
                  <a:gd name="T23" fmla="*/ 45 h 107"/>
                  <a:gd name="T24" fmla="*/ 117 w 124"/>
                  <a:gd name="T25" fmla="*/ 50 h 107"/>
                  <a:gd name="T26" fmla="*/ 115 w 124"/>
                  <a:gd name="T27" fmla="*/ 51 h 107"/>
                  <a:gd name="T28" fmla="*/ 108 w 124"/>
                  <a:gd name="T29" fmla="*/ 56 h 107"/>
                  <a:gd name="T30" fmla="*/ 107 w 124"/>
                  <a:gd name="T31" fmla="*/ 63 h 107"/>
                  <a:gd name="T32" fmla="*/ 108 w 124"/>
                  <a:gd name="T33" fmla="*/ 68 h 107"/>
                  <a:gd name="T34" fmla="*/ 105 w 124"/>
                  <a:gd name="T35" fmla="*/ 70 h 107"/>
                  <a:gd name="T36" fmla="*/ 93 w 124"/>
                  <a:gd name="T37" fmla="*/ 77 h 107"/>
                  <a:gd name="T38" fmla="*/ 83 w 124"/>
                  <a:gd name="T39" fmla="*/ 80 h 107"/>
                  <a:gd name="T40" fmla="*/ 69 w 124"/>
                  <a:gd name="T41" fmla="*/ 80 h 107"/>
                  <a:gd name="T42" fmla="*/ 66 w 124"/>
                  <a:gd name="T43" fmla="*/ 84 h 107"/>
                  <a:gd name="T44" fmla="*/ 61 w 124"/>
                  <a:gd name="T45" fmla="*/ 87 h 107"/>
                  <a:gd name="T46" fmla="*/ 62 w 124"/>
                  <a:gd name="T47" fmla="*/ 94 h 107"/>
                  <a:gd name="T48" fmla="*/ 57 w 124"/>
                  <a:gd name="T49" fmla="*/ 96 h 107"/>
                  <a:gd name="T50" fmla="*/ 57 w 124"/>
                  <a:gd name="T51" fmla="*/ 101 h 107"/>
                  <a:gd name="T52" fmla="*/ 56 w 124"/>
                  <a:gd name="T53" fmla="*/ 107 h 107"/>
                  <a:gd name="T54" fmla="*/ 47 w 124"/>
                  <a:gd name="T55" fmla="*/ 106 h 107"/>
                  <a:gd name="T56" fmla="*/ 37 w 124"/>
                  <a:gd name="T57" fmla="*/ 104 h 107"/>
                  <a:gd name="T58" fmla="*/ 30 w 124"/>
                  <a:gd name="T59" fmla="*/ 96 h 107"/>
                  <a:gd name="T60" fmla="*/ 23 w 124"/>
                  <a:gd name="T61" fmla="*/ 92 h 107"/>
                  <a:gd name="T62" fmla="*/ 18 w 124"/>
                  <a:gd name="T63" fmla="*/ 89 h 107"/>
                  <a:gd name="T64" fmla="*/ 20 w 124"/>
                  <a:gd name="T65" fmla="*/ 80 h 107"/>
                  <a:gd name="T66" fmla="*/ 13 w 124"/>
                  <a:gd name="T67" fmla="*/ 75 h 107"/>
                  <a:gd name="T68" fmla="*/ 5 w 124"/>
                  <a:gd name="T69" fmla="*/ 60 h 107"/>
                  <a:gd name="T70" fmla="*/ 0 w 124"/>
                  <a:gd name="T71" fmla="*/ 53 h 107"/>
                  <a:gd name="T72" fmla="*/ 3 w 124"/>
                  <a:gd name="T73" fmla="*/ 53 h 107"/>
                  <a:gd name="T74" fmla="*/ 10 w 124"/>
                  <a:gd name="T75" fmla="*/ 50 h 107"/>
                  <a:gd name="T76" fmla="*/ 15 w 124"/>
                  <a:gd name="T77" fmla="*/ 50 h 107"/>
                  <a:gd name="T78" fmla="*/ 17 w 124"/>
                  <a:gd name="T79" fmla="*/ 45 h 107"/>
                  <a:gd name="T80" fmla="*/ 22 w 124"/>
                  <a:gd name="T81" fmla="*/ 41 h 107"/>
                  <a:gd name="T82" fmla="*/ 22 w 124"/>
                  <a:gd name="T83" fmla="*/ 38 h 107"/>
                  <a:gd name="T84" fmla="*/ 27 w 124"/>
                  <a:gd name="T85" fmla="*/ 36 h 107"/>
                  <a:gd name="T86" fmla="*/ 25 w 124"/>
                  <a:gd name="T87" fmla="*/ 33 h 107"/>
                  <a:gd name="T88" fmla="*/ 30 w 124"/>
                  <a:gd name="T89" fmla="*/ 29 h 107"/>
                  <a:gd name="T90" fmla="*/ 34 w 124"/>
                  <a:gd name="T91" fmla="*/ 26 h 107"/>
                  <a:gd name="T92" fmla="*/ 34 w 124"/>
                  <a:gd name="T93" fmla="*/ 22 h 107"/>
                  <a:gd name="T94" fmla="*/ 35 w 124"/>
                  <a:gd name="T95" fmla="*/ 19 h 107"/>
                  <a:gd name="T96" fmla="*/ 40 w 124"/>
                  <a:gd name="T97" fmla="*/ 17 h 107"/>
                  <a:gd name="T98" fmla="*/ 44 w 124"/>
                  <a:gd name="T99" fmla="*/ 16 h 107"/>
                  <a:gd name="T100" fmla="*/ 49 w 124"/>
                  <a:gd name="T101" fmla="*/ 16 h 107"/>
                  <a:gd name="T102" fmla="*/ 52 w 124"/>
                  <a:gd name="T103" fmla="*/ 12 h 107"/>
                  <a:gd name="T104" fmla="*/ 57 w 124"/>
                  <a:gd name="T105" fmla="*/ 9 h 107"/>
                  <a:gd name="T106" fmla="*/ 64 w 124"/>
                  <a:gd name="T107" fmla="*/ 7 h 107"/>
                  <a:gd name="T108" fmla="*/ 69 w 124"/>
                  <a:gd name="T109" fmla="*/ 5 h 107"/>
                  <a:gd name="T110" fmla="*/ 69 w 124"/>
                  <a:gd name="T111" fmla="*/ 4 h 107"/>
                  <a:gd name="T112" fmla="*/ 79 w 124"/>
                  <a:gd name="T113" fmla="*/ 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107">
                    <a:moveTo>
                      <a:pt x="85" y="2"/>
                    </a:moveTo>
                    <a:lnTo>
                      <a:pt x="86" y="5"/>
                    </a:lnTo>
                    <a:lnTo>
                      <a:pt x="91" y="7"/>
                    </a:lnTo>
                    <a:lnTo>
                      <a:pt x="91" y="11"/>
                    </a:lnTo>
                    <a:lnTo>
                      <a:pt x="93" y="11"/>
                    </a:lnTo>
                    <a:lnTo>
                      <a:pt x="95" y="11"/>
                    </a:lnTo>
                    <a:lnTo>
                      <a:pt x="96" y="11"/>
                    </a:lnTo>
                    <a:lnTo>
                      <a:pt x="98" y="11"/>
                    </a:lnTo>
                    <a:lnTo>
                      <a:pt x="96" y="12"/>
                    </a:lnTo>
                    <a:lnTo>
                      <a:pt x="98" y="12"/>
                    </a:lnTo>
                    <a:lnTo>
                      <a:pt x="96" y="12"/>
                    </a:lnTo>
                    <a:lnTo>
                      <a:pt x="98" y="14"/>
                    </a:lnTo>
                    <a:lnTo>
                      <a:pt x="96" y="16"/>
                    </a:lnTo>
                    <a:lnTo>
                      <a:pt x="98" y="16"/>
                    </a:lnTo>
                    <a:lnTo>
                      <a:pt x="100" y="17"/>
                    </a:lnTo>
                    <a:lnTo>
                      <a:pt x="102" y="16"/>
                    </a:lnTo>
                    <a:lnTo>
                      <a:pt x="103" y="17"/>
                    </a:lnTo>
                    <a:lnTo>
                      <a:pt x="105" y="17"/>
                    </a:lnTo>
                    <a:lnTo>
                      <a:pt x="105" y="19"/>
                    </a:lnTo>
                    <a:lnTo>
                      <a:pt x="107" y="21"/>
                    </a:lnTo>
                    <a:lnTo>
                      <a:pt x="112" y="24"/>
                    </a:lnTo>
                    <a:lnTo>
                      <a:pt x="113" y="26"/>
                    </a:lnTo>
                    <a:lnTo>
                      <a:pt x="115" y="26"/>
                    </a:lnTo>
                    <a:lnTo>
                      <a:pt x="117" y="26"/>
                    </a:lnTo>
                    <a:lnTo>
                      <a:pt x="119" y="29"/>
                    </a:lnTo>
                    <a:lnTo>
                      <a:pt x="119" y="31"/>
                    </a:lnTo>
                    <a:lnTo>
                      <a:pt x="119" y="33"/>
                    </a:lnTo>
                    <a:lnTo>
                      <a:pt x="120" y="33"/>
                    </a:lnTo>
                    <a:lnTo>
                      <a:pt x="122" y="34"/>
                    </a:lnTo>
                    <a:lnTo>
                      <a:pt x="122" y="36"/>
                    </a:lnTo>
                    <a:lnTo>
                      <a:pt x="122" y="38"/>
                    </a:lnTo>
                    <a:lnTo>
                      <a:pt x="124" y="39"/>
                    </a:lnTo>
                    <a:lnTo>
                      <a:pt x="122" y="39"/>
                    </a:lnTo>
                    <a:lnTo>
                      <a:pt x="124" y="41"/>
                    </a:lnTo>
                    <a:lnTo>
                      <a:pt x="122" y="43"/>
                    </a:lnTo>
                    <a:lnTo>
                      <a:pt x="120" y="45"/>
                    </a:lnTo>
                    <a:lnTo>
                      <a:pt x="115" y="46"/>
                    </a:lnTo>
                    <a:lnTo>
                      <a:pt x="115" y="48"/>
                    </a:lnTo>
                    <a:lnTo>
                      <a:pt x="117" y="50"/>
                    </a:lnTo>
                    <a:lnTo>
                      <a:pt x="115" y="50"/>
                    </a:lnTo>
                    <a:lnTo>
                      <a:pt x="117" y="51"/>
                    </a:lnTo>
                    <a:lnTo>
                      <a:pt x="115" y="51"/>
                    </a:lnTo>
                    <a:lnTo>
                      <a:pt x="115" y="55"/>
                    </a:lnTo>
                    <a:lnTo>
                      <a:pt x="112" y="55"/>
                    </a:lnTo>
                    <a:lnTo>
                      <a:pt x="108" y="56"/>
                    </a:lnTo>
                    <a:lnTo>
                      <a:pt x="108" y="60"/>
                    </a:lnTo>
                    <a:lnTo>
                      <a:pt x="107" y="62"/>
                    </a:lnTo>
                    <a:lnTo>
                      <a:pt x="107" y="63"/>
                    </a:lnTo>
                    <a:lnTo>
                      <a:pt x="105" y="65"/>
                    </a:lnTo>
                    <a:lnTo>
                      <a:pt x="108" y="67"/>
                    </a:lnTo>
                    <a:lnTo>
                      <a:pt x="108" y="68"/>
                    </a:lnTo>
                    <a:lnTo>
                      <a:pt x="107" y="70"/>
                    </a:lnTo>
                    <a:lnTo>
                      <a:pt x="105" y="72"/>
                    </a:lnTo>
                    <a:lnTo>
                      <a:pt x="105" y="70"/>
                    </a:lnTo>
                    <a:lnTo>
                      <a:pt x="100" y="73"/>
                    </a:lnTo>
                    <a:lnTo>
                      <a:pt x="98" y="75"/>
                    </a:lnTo>
                    <a:lnTo>
                      <a:pt x="93" y="77"/>
                    </a:lnTo>
                    <a:lnTo>
                      <a:pt x="90" y="79"/>
                    </a:lnTo>
                    <a:lnTo>
                      <a:pt x="88" y="79"/>
                    </a:lnTo>
                    <a:lnTo>
                      <a:pt x="83" y="80"/>
                    </a:lnTo>
                    <a:lnTo>
                      <a:pt x="78" y="79"/>
                    </a:lnTo>
                    <a:lnTo>
                      <a:pt x="74" y="80"/>
                    </a:lnTo>
                    <a:lnTo>
                      <a:pt x="69" y="80"/>
                    </a:lnTo>
                    <a:lnTo>
                      <a:pt x="68" y="82"/>
                    </a:lnTo>
                    <a:lnTo>
                      <a:pt x="68" y="84"/>
                    </a:lnTo>
                    <a:lnTo>
                      <a:pt x="66" y="84"/>
                    </a:lnTo>
                    <a:lnTo>
                      <a:pt x="66" y="85"/>
                    </a:lnTo>
                    <a:lnTo>
                      <a:pt x="62" y="85"/>
                    </a:lnTo>
                    <a:lnTo>
                      <a:pt x="61" y="87"/>
                    </a:lnTo>
                    <a:lnTo>
                      <a:pt x="62" y="89"/>
                    </a:lnTo>
                    <a:lnTo>
                      <a:pt x="64" y="92"/>
                    </a:lnTo>
                    <a:lnTo>
                      <a:pt x="62" y="94"/>
                    </a:lnTo>
                    <a:lnTo>
                      <a:pt x="61" y="94"/>
                    </a:lnTo>
                    <a:lnTo>
                      <a:pt x="59" y="96"/>
                    </a:lnTo>
                    <a:lnTo>
                      <a:pt x="57" y="96"/>
                    </a:lnTo>
                    <a:lnTo>
                      <a:pt x="59" y="97"/>
                    </a:lnTo>
                    <a:lnTo>
                      <a:pt x="59" y="99"/>
                    </a:lnTo>
                    <a:lnTo>
                      <a:pt x="57" y="101"/>
                    </a:lnTo>
                    <a:lnTo>
                      <a:pt x="57" y="102"/>
                    </a:lnTo>
                    <a:lnTo>
                      <a:pt x="56" y="102"/>
                    </a:lnTo>
                    <a:lnTo>
                      <a:pt x="56" y="107"/>
                    </a:lnTo>
                    <a:lnTo>
                      <a:pt x="54" y="106"/>
                    </a:lnTo>
                    <a:lnTo>
                      <a:pt x="51" y="106"/>
                    </a:lnTo>
                    <a:lnTo>
                      <a:pt x="47" y="106"/>
                    </a:lnTo>
                    <a:lnTo>
                      <a:pt x="45" y="102"/>
                    </a:lnTo>
                    <a:lnTo>
                      <a:pt x="39" y="104"/>
                    </a:lnTo>
                    <a:lnTo>
                      <a:pt x="37" y="104"/>
                    </a:lnTo>
                    <a:lnTo>
                      <a:pt x="34" y="101"/>
                    </a:lnTo>
                    <a:lnTo>
                      <a:pt x="30" y="97"/>
                    </a:lnTo>
                    <a:lnTo>
                      <a:pt x="30" y="96"/>
                    </a:lnTo>
                    <a:lnTo>
                      <a:pt x="28" y="96"/>
                    </a:lnTo>
                    <a:lnTo>
                      <a:pt x="27" y="94"/>
                    </a:lnTo>
                    <a:lnTo>
                      <a:pt x="23" y="92"/>
                    </a:lnTo>
                    <a:lnTo>
                      <a:pt x="23" y="89"/>
                    </a:lnTo>
                    <a:lnTo>
                      <a:pt x="18" y="90"/>
                    </a:lnTo>
                    <a:lnTo>
                      <a:pt x="18" y="89"/>
                    </a:lnTo>
                    <a:lnTo>
                      <a:pt x="18" y="87"/>
                    </a:lnTo>
                    <a:lnTo>
                      <a:pt x="18" y="82"/>
                    </a:lnTo>
                    <a:lnTo>
                      <a:pt x="20" y="80"/>
                    </a:lnTo>
                    <a:lnTo>
                      <a:pt x="15" y="80"/>
                    </a:lnTo>
                    <a:lnTo>
                      <a:pt x="15" y="75"/>
                    </a:lnTo>
                    <a:lnTo>
                      <a:pt x="13" y="75"/>
                    </a:lnTo>
                    <a:lnTo>
                      <a:pt x="13" y="73"/>
                    </a:lnTo>
                    <a:lnTo>
                      <a:pt x="10" y="73"/>
                    </a:lnTo>
                    <a:lnTo>
                      <a:pt x="5" y="60"/>
                    </a:lnTo>
                    <a:lnTo>
                      <a:pt x="0" y="55"/>
                    </a:lnTo>
                    <a:lnTo>
                      <a:pt x="1" y="55"/>
                    </a:lnTo>
                    <a:lnTo>
                      <a:pt x="0" y="53"/>
                    </a:lnTo>
                    <a:lnTo>
                      <a:pt x="1" y="53"/>
                    </a:lnTo>
                    <a:lnTo>
                      <a:pt x="1" y="55"/>
                    </a:lnTo>
                    <a:lnTo>
                      <a:pt x="3" y="53"/>
                    </a:lnTo>
                    <a:lnTo>
                      <a:pt x="6" y="51"/>
                    </a:lnTo>
                    <a:lnTo>
                      <a:pt x="10" y="51"/>
                    </a:lnTo>
                    <a:lnTo>
                      <a:pt x="10" y="50"/>
                    </a:lnTo>
                    <a:lnTo>
                      <a:pt x="11" y="50"/>
                    </a:lnTo>
                    <a:lnTo>
                      <a:pt x="13" y="48"/>
                    </a:lnTo>
                    <a:lnTo>
                      <a:pt x="15" y="50"/>
                    </a:lnTo>
                    <a:lnTo>
                      <a:pt x="15" y="48"/>
                    </a:lnTo>
                    <a:lnTo>
                      <a:pt x="17" y="46"/>
                    </a:lnTo>
                    <a:lnTo>
                      <a:pt x="17" y="45"/>
                    </a:lnTo>
                    <a:lnTo>
                      <a:pt x="20" y="43"/>
                    </a:lnTo>
                    <a:lnTo>
                      <a:pt x="20" y="41"/>
                    </a:lnTo>
                    <a:lnTo>
                      <a:pt x="22" y="41"/>
                    </a:lnTo>
                    <a:lnTo>
                      <a:pt x="22" y="39"/>
                    </a:lnTo>
                    <a:lnTo>
                      <a:pt x="23" y="38"/>
                    </a:lnTo>
                    <a:lnTo>
                      <a:pt x="22" y="38"/>
                    </a:lnTo>
                    <a:lnTo>
                      <a:pt x="23" y="38"/>
                    </a:lnTo>
                    <a:lnTo>
                      <a:pt x="23" y="36"/>
                    </a:lnTo>
                    <a:lnTo>
                      <a:pt x="27" y="36"/>
                    </a:lnTo>
                    <a:lnTo>
                      <a:pt x="27" y="34"/>
                    </a:lnTo>
                    <a:lnTo>
                      <a:pt x="25" y="34"/>
                    </a:lnTo>
                    <a:lnTo>
                      <a:pt x="25" y="33"/>
                    </a:lnTo>
                    <a:lnTo>
                      <a:pt x="28" y="31"/>
                    </a:lnTo>
                    <a:lnTo>
                      <a:pt x="30" y="31"/>
                    </a:lnTo>
                    <a:lnTo>
                      <a:pt x="30" y="29"/>
                    </a:lnTo>
                    <a:lnTo>
                      <a:pt x="32" y="28"/>
                    </a:lnTo>
                    <a:lnTo>
                      <a:pt x="32" y="26"/>
                    </a:lnTo>
                    <a:lnTo>
                      <a:pt x="34" y="26"/>
                    </a:lnTo>
                    <a:lnTo>
                      <a:pt x="32" y="24"/>
                    </a:lnTo>
                    <a:lnTo>
                      <a:pt x="34" y="24"/>
                    </a:lnTo>
                    <a:lnTo>
                      <a:pt x="34" y="22"/>
                    </a:lnTo>
                    <a:lnTo>
                      <a:pt x="35" y="22"/>
                    </a:lnTo>
                    <a:lnTo>
                      <a:pt x="35" y="21"/>
                    </a:lnTo>
                    <a:lnTo>
                      <a:pt x="35" y="19"/>
                    </a:lnTo>
                    <a:lnTo>
                      <a:pt x="37" y="19"/>
                    </a:lnTo>
                    <a:lnTo>
                      <a:pt x="37" y="17"/>
                    </a:lnTo>
                    <a:lnTo>
                      <a:pt x="40" y="17"/>
                    </a:lnTo>
                    <a:lnTo>
                      <a:pt x="42" y="17"/>
                    </a:lnTo>
                    <a:lnTo>
                      <a:pt x="44" y="17"/>
                    </a:lnTo>
                    <a:lnTo>
                      <a:pt x="44" y="16"/>
                    </a:lnTo>
                    <a:lnTo>
                      <a:pt x="45" y="16"/>
                    </a:lnTo>
                    <a:lnTo>
                      <a:pt x="47" y="14"/>
                    </a:lnTo>
                    <a:lnTo>
                      <a:pt x="49" y="16"/>
                    </a:lnTo>
                    <a:lnTo>
                      <a:pt x="51" y="16"/>
                    </a:lnTo>
                    <a:lnTo>
                      <a:pt x="52" y="14"/>
                    </a:lnTo>
                    <a:lnTo>
                      <a:pt x="52" y="12"/>
                    </a:lnTo>
                    <a:lnTo>
                      <a:pt x="54" y="12"/>
                    </a:lnTo>
                    <a:lnTo>
                      <a:pt x="56" y="9"/>
                    </a:lnTo>
                    <a:lnTo>
                      <a:pt x="57" y="9"/>
                    </a:lnTo>
                    <a:lnTo>
                      <a:pt x="59" y="7"/>
                    </a:lnTo>
                    <a:lnTo>
                      <a:pt x="61" y="7"/>
                    </a:lnTo>
                    <a:lnTo>
                      <a:pt x="64" y="7"/>
                    </a:lnTo>
                    <a:lnTo>
                      <a:pt x="66" y="7"/>
                    </a:lnTo>
                    <a:lnTo>
                      <a:pt x="68" y="7"/>
                    </a:lnTo>
                    <a:lnTo>
                      <a:pt x="69" y="5"/>
                    </a:lnTo>
                    <a:lnTo>
                      <a:pt x="68" y="5"/>
                    </a:lnTo>
                    <a:lnTo>
                      <a:pt x="71" y="4"/>
                    </a:lnTo>
                    <a:lnTo>
                      <a:pt x="69" y="4"/>
                    </a:lnTo>
                    <a:lnTo>
                      <a:pt x="74" y="2"/>
                    </a:lnTo>
                    <a:lnTo>
                      <a:pt x="76" y="2"/>
                    </a:lnTo>
                    <a:lnTo>
                      <a:pt x="79" y="2"/>
                    </a:lnTo>
                    <a:lnTo>
                      <a:pt x="83" y="0"/>
                    </a:lnTo>
                    <a:lnTo>
                      <a:pt x="85" y="2"/>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Freeform 39">
                <a:extLst>
                  <a:ext uri="{FF2B5EF4-FFF2-40B4-BE49-F238E27FC236}">
                    <a16:creationId xmlns:a16="http://schemas.microsoft.com/office/drawing/2014/main" id="{88AB797D-4A0B-458F-8415-6874567239D3}"/>
                  </a:ext>
                </a:extLst>
              </p:cNvPr>
              <p:cNvSpPr>
                <a:spLocks noEditPoints="1"/>
              </p:cNvSpPr>
              <p:nvPr/>
            </p:nvSpPr>
            <p:spPr bwMode="gray">
              <a:xfrm>
                <a:off x="7329487" y="4560921"/>
                <a:ext cx="201967" cy="486952"/>
              </a:xfrm>
              <a:custGeom>
                <a:avLst/>
                <a:gdLst>
                  <a:gd name="T0" fmla="*/ 88 w 163"/>
                  <a:gd name="T1" fmla="*/ 152 h 393"/>
                  <a:gd name="T2" fmla="*/ 93 w 163"/>
                  <a:gd name="T3" fmla="*/ 203 h 393"/>
                  <a:gd name="T4" fmla="*/ 144 w 163"/>
                  <a:gd name="T5" fmla="*/ 249 h 393"/>
                  <a:gd name="T6" fmla="*/ 160 w 163"/>
                  <a:gd name="T7" fmla="*/ 306 h 393"/>
                  <a:gd name="T8" fmla="*/ 151 w 163"/>
                  <a:gd name="T9" fmla="*/ 341 h 393"/>
                  <a:gd name="T10" fmla="*/ 139 w 163"/>
                  <a:gd name="T11" fmla="*/ 342 h 393"/>
                  <a:gd name="T12" fmla="*/ 131 w 163"/>
                  <a:gd name="T13" fmla="*/ 356 h 393"/>
                  <a:gd name="T14" fmla="*/ 132 w 163"/>
                  <a:gd name="T15" fmla="*/ 373 h 393"/>
                  <a:gd name="T16" fmla="*/ 132 w 163"/>
                  <a:gd name="T17" fmla="*/ 385 h 393"/>
                  <a:gd name="T18" fmla="*/ 122 w 163"/>
                  <a:gd name="T19" fmla="*/ 393 h 393"/>
                  <a:gd name="T20" fmla="*/ 124 w 163"/>
                  <a:gd name="T21" fmla="*/ 381 h 393"/>
                  <a:gd name="T22" fmla="*/ 114 w 163"/>
                  <a:gd name="T23" fmla="*/ 375 h 393"/>
                  <a:gd name="T24" fmla="*/ 105 w 163"/>
                  <a:gd name="T25" fmla="*/ 363 h 393"/>
                  <a:gd name="T26" fmla="*/ 92 w 163"/>
                  <a:gd name="T27" fmla="*/ 351 h 393"/>
                  <a:gd name="T28" fmla="*/ 81 w 163"/>
                  <a:gd name="T29" fmla="*/ 332 h 393"/>
                  <a:gd name="T30" fmla="*/ 85 w 163"/>
                  <a:gd name="T31" fmla="*/ 324 h 393"/>
                  <a:gd name="T32" fmla="*/ 90 w 163"/>
                  <a:gd name="T33" fmla="*/ 310 h 393"/>
                  <a:gd name="T34" fmla="*/ 95 w 163"/>
                  <a:gd name="T35" fmla="*/ 293 h 393"/>
                  <a:gd name="T36" fmla="*/ 93 w 163"/>
                  <a:gd name="T37" fmla="*/ 269 h 393"/>
                  <a:gd name="T38" fmla="*/ 81 w 163"/>
                  <a:gd name="T39" fmla="*/ 255 h 393"/>
                  <a:gd name="T40" fmla="*/ 59 w 163"/>
                  <a:gd name="T41" fmla="*/ 261 h 393"/>
                  <a:gd name="T42" fmla="*/ 49 w 163"/>
                  <a:gd name="T43" fmla="*/ 264 h 393"/>
                  <a:gd name="T44" fmla="*/ 36 w 163"/>
                  <a:gd name="T45" fmla="*/ 245 h 393"/>
                  <a:gd name="T46" fmla="*/ 27 w 163"/>
                  <a:gd name="T47" fmla="*/ 235 h 393"/>
                  <a:gd name="T48" fmla="*/ 19 w 163"/>
                  <a:gd name="T49" fmla="*/ 237 h 393"/>
                  <a:gd name="T50" fmla="*/ 10 w 163"/>
                  <a:gd name="T51" fmla="*/ 227 h 393"/>
                  <a:gd name="T52" fmla="*/ 5 w 163"/>
                  <a:gd name="T53" fmla="*/ 218 h 393"/>
                  <a:gd name="T54" fmla="*/ 3 w 163"/>
                  <a:gd name="T55" fmla="*/ 215 h 393"/>
                  <a:gd name="T56" fmla="*/ 12 w 163"/>
                  <a:gd name="T57" fmla="*/ 203 h 393"/>
                  <a:gd name="T58" fmla="*/ 13 w 163"/>
                  <a:gd name="T59" fmla="*/ 177 h 393"/>
                  <a:gd name="T60" fmla="*/ 24 w 163"/>
                  <a:gd name="T61" fmla="*/ 164 h 393"/>
                  <a:gd name="T62" fmla="*/ 37 w 163"/>
                  <a:gd name="T63" fmla="*/ 159 h 393"/>
                  <a:gd name="T64" fmla="*/ 41 w 163"/>
                  <a:gd name="T65" fmla="*/ 150 h 393"/>
                  <a:gd name="T66" fmla="*/ 30 w 163"/>
                  <a:gd name="T67" fmla="*/ 141 h 393"/>
                  <a:gd name="T68" fmla="*/ 32 w 163"/>
                  <a:gd name="T69" fmla="*/ 123 h 393"/>
                  <a:gd name="T70" fmla="*/ 29 w 163"/>
                  <a:gd name="T71" fmla="*/ 109 h 393"/>
                  <a:gd name="T72" fmla="*/ 32 w 163"/>
                  <a:gd name="T73" fmla="*/ 102 h 393"/>
                  <a:gd name="T74" fmla="*/ 30 w 163"/>
                  <a:gd name="T75" fmla="*/ 79 h 393"/>
                  <a:gd name="T76" fmla="*/ 34 w 163"/>
                  <a:gd name="T77" fmla="*/ 75 h 393"/>
                  <a:gd name="T78" fmla="*/ 46 w 163"/>
                  <a:gd name="T79" fmla="*/ 65 h 393"/>
                  <a:gd name="T80" fmla="*/ 46 w 163"/>
                  <a:gd name="T81" fmla="*/ 55 h 393"/>
                  <a:gd name="T82" fmla="*/ 32 w 163"/>
                  <a:gd name="T83" fmla="*/ 36 h 393"/>
                  <a:gd name="T84" fmla="*/ 27 w 163"/>
                  <a:gd name="T85" fmla="*/ 19 h 393"/>
                  <a:gd name="T86" fmla="*/ 19 w 163"/>
                  <a:gd name="T87" fmla="*/ 14 h 393"/>
                  <a:gd name="T88" fmla="*/ 13 w 163"/>
                  <a:gd name="T89" fmla="*/ 2 h 393"/>
                  <a:gd name="T90" fmla="*/ 30 w 163"/>
                  <a:gd name="T91" fmla="*/ 7 h 393"/>
                  <a:gd name="T92" fmla="*/ 39 w 163"/>
                  <a:gd name="T93" fmla="*/ 12 h 393"/>
                  <a:gd name="T94" fmla="*/ 53 w 163"/>
                  <a:gd name="T95" fmla="*/ 11 h 393"/>
                  <a:gd name="T96" fmla="*/ 64 w 163"/>
                  <a:gd name="T97" fmla="*/ 11 h 393"/>
                  <a:gd name="T98" fmla="*/ 93 w 163"/>
                  <a:gd name="T99" fmla="*/ 36 h 393"/>
                  <a:gd name="T100" fmla="*/ 95 w 163"/>
                  <a:gd name="T101" fmla="*/ 56 h 393"/>
                  <a:gd name="T102" fmla="*/ 98 w 163"/>
                  <a:gd name="T103" fmla="*/ 65 h 393"/>
                  <a:gd name="T104" fmla="*/ 98 w 163"/>
                  <a:gd name="T105" fmla="*/ 85 h 393"/>
                  <a:gd name="T106" fmla="*/ 107 w 163"/>
                  <a:gd name="T107" fmla="*/ 97 h 393"/>
                  <a:gd name="T108" fmla="*/ 115 w 163"/>
                  <a:gd name="T109" fmla="*/ 113 h 393"/>
                  <a:gd name="T110" fmla="*/ 97 w 163"/>
                  <a:gd name="T111" fmla="*/ 13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393">
                    <a:moveTo>
                      <a:pt x="115" y="113"/>
                    </a:moveTo>
                    <a:lnTo>
                      <a:pt x="98" y="113"/>
                    </a:lnTo>
                    <a:lnTo>
                      <a:pt x="98" y="119"/>
                    </a:lnTo>
                    <a:lnTo>
                      <a:pt x="93" y="130"/>
                    </a:lnTo>
                    <a:lnTo>
                      <a:pt x="88" y="141"/>
                    </a:lnTo>
                    <a:lnTo>
                      <a:pt x="88" y="152"/>
                    </a:lnTo>
                    <a:lnTo>
                      <a:pt x="93" y="170"/>
                    </a:lnTo>
                    <a:lnTo>
                      <a:pt x="92" y="177"/>
                    </a:lnTo>
                    <a:lnTo>
                      <a:pt x="95" y="187"/>
                    </a:lnTo>
                    <a:lnTo>
                      <a:pt x="93" y="191"/>
                    </a:lnTo>
                    <a:lnTo>
                      <a:pt x="93" y="198"/>
                    </a:lnTo>
                    <a:lnTo>
                      <a:pt x="93" y="203"/>
                    </a:lnTo>
                    <a:lnTo>
                      <a:pt x="97" y="210"/>
                    </a:lnTo>
                    <a:lnTo>
                      <a:pt x="110" y="210"/>
                    </a:lnTo>
                    <a:lnTo>
                      <a:pt x="122" y="220"/>
                    </a:lnTo>
                    <a:lnTo>
                      <a:pt x="129" y="230"/>
                    </a:lnTo>
                    <a:lnTo>
                      <a:pt x="141" y="244"/>
                    </a:lnTo>
                    <a:lnTo>
                      <a:pt x="144" y="249"/>
                    </a:lnTo>
                    <a:lnTo>
                      <a:pt x="156" y="262"/>
                    </a:lnTo>
                    <a:lnTo>
                      <a:pt x="161" y="269"/>
                    </a:lnTo>
                    <a:lnTo>
                      <a:pt x="161" y="279"/>
                    </a:lnTo>
                    <a:lnTo>
                      <a:pt x="163" y="281"/>
                    </a:lnTo>
                    <a:lnTo>
                      <a:pt x="158" y="295"/>
                    </a:lnTo>
                    <a:lnTo>
                      <a:pt x="160" y="306"/>
                    </a:lnTo>
                    <a:lnTo>
                      <a:pt x="160" y="308"/>
                    </a:lnTo>
                    <a:lnTo>
                      <a:pt x="160" y="312"/>
                    </a:lnTo>
                    <a:lnTo>
                      <a:pt x="158" y="334"/>
                    </a:lnTo>
                    <a:lnTo>
                      <a:pt x="158" y="337"/>
                    </a:lnTo>
                    <a:lnTo>
                      <a:pt x="153" y="342"/>
                    </a:lnTo>
                    <a:lnTo>
                      <a:pt x="151" y="341"/>
                    </a:lnTo>
                    <a:lnTo>
                      <a:pt x="148" y="342"/>
                    </a:lnTo>
                    <a:lnTo>
                      <a:pt x="146" y="342"/>
                    </a:lnTo>
                    <a:lnTo>
                      <a:pt x="144" y="346"/>
                    </a:lnTo>
                    <a:lnTo>
                      <a:pt x="143" y="344"/>
                    </a:lnTo>
                    <a:lnTo>
                      <a:pt x="143" y="342"/>
                    </a:lnTo>
                    <a:lnTo>
                      <a:pt x="139" y="342"/>
                    </a:lnTo>
                    <a:lnTo>
                      <a:pt x="138" y="342"/>
                    </a:lnTo>
                    <a:lnTo>
                      <a:pt x="132" y="347"/>
                    </a:lnTo>
                    <a:lnTo>
                      <a:pt x="132" y="351"/>
                    </a:lnTo>
                    <a:lnTo>
                      <a:pt x="131" y="352"/>
                    </a:lnTo>
                    <a:lnTo>
                      <a:pt x="132" y="354"/>
                    </a:lnTo>
                    <a:lnTo>
                      <a:pt x="131" y="356"/>
                    </a:lnTo>
                    <a:lnTo>
                      <a:pt x="131" y="361"/>
                    </a:lnTo>
                    <a:lnTo>
                      <a:pt x="124" y="364"/>
                    </a:lnTo>
                    <a:lnTo>
                      <a:pt x="126" y="368"/>
                    </a:lnTo>
                    <a:lnTo>
                      <a:pt x="127" y="369"/>
                    </a:lnTo>
                    <a:lnTo>
                      <a:pt x="129" y="369"/>
                    </a:lnTo>
                    <a:lnTo>
                      <a:pt x="132" y="373"/>
                    </a:lnTo>
                    <a:lnTo>
                      <a:pt x="132" y="376"/>
                    </a:lnTo>
                    <a:lnTo>
                      <a:pt x="132" y="378"/>
                    </a:lnTo>
                    <a:lnTo>
                      <a:pt x="131" y="381"/>
                    </a:lnTo>
                    <a:lnTo>
                      <a:pt x="132" y="381"/>
                    </a:lnTo>
                    <a:lnTo>
                      <a:pt x="131" y="385"/>
                    </a:lnTo>
                    <a:lnTo>
                      <a:pt x="132" y="385"/>
                    </a:lnTo>
                    <a:lnTo>
                      <a:pt x="132" y="386"/>
                    </a:lnTo>
                    <a:lnTo>
                      <a:pt x="132" y="388"/>
                    </a:lnTo>
                    <a:lnTo>
                      <a:pt x="132" y="390"/>
                    </a:lnTo>
                    <a:lnTo>
                      <a:pt x="132" y="392"/>
                    </a:lnTo>
                    <a:lnTo>
                      <a:pt x="132" y="393"/>
                    </a:lnTo>
                    <a:lnTo>
                      <a:pt x="122" y="393"/>
                    </a:lnTo>
                    <a:lnTo>
                      <a:pt x="121" y="392"/>
                    </a:lnTo>
                    <a:lnTo>
                      <a:pt x="122" y="392"/>
                    </a:lnTo>
                    <a:lnTo>
                      <a:pt x="121" y="390"/>
                    </a:lnTo>
                    <a:lnTo>
                      <a:pt x="121" y="386"/>
                    </a:lnTo>
                    <a:lnTo>
                      <a:pt x="126" y="383"/>
                    </a:lnTo>
                    <a:lnTo>
                      <a:pt x="124" y="381"/>
                    </a:lnTo>
                    <a:lnTo>
                      <a:pt x="126" y="378"/>
                    </a:lnTo>
                    <a:lnTo>
                      <a:pt x="122" y="378"/>
                    </a:lnTo>
                    <a:lnTo>
                      <a:pt x="119" y="378"/>
                    </a:lnTo>
                    <a:lnTo>
                      <a:pt x="117" y="376"/>
                    </a:lnTo>
                    <a:lnTo>
                      <a:pt x="117" y="375"/>
                    </a:lnTo>
                    <a:lnTo>
                      <a:pt x="114" y="375"/>
                    </a:lnTo>
                    <a:lnTo>
                      <a:pt x="112" y="371"/>
                    </a:lnTo>
                    <a:lnTo>
                      <a:pt x="110" y="371"/>
                    </a:lnTo>
                    <a:lnTo>
                      <a:pt x="109" y="368"/>
                    </a:lnTo>
                    <a:lnTo>
                      <a:pt x="107" y="366"/>
                    </a:lnTo>
                    <a:lnTo>
                      <a:pt x="107" y="364"/>
                    </a:lnTo>
                    <a:lnTo>
                      <a:pt x="105" y="363"/>
                    </a:lnTo>
                    <a:lnTo>
                      <a:pt x="102" y="361"/>
                    </a:lnTo>
                    <a:lnTo>
                      <a:pt x="100" y="359"/>
                    </a:lnTo>
                    <a:lnTo>
                      <a:pt x="97" y="358"/>
                    </a:lnTo>
                    <a:lnTo>
                      <a:pt x="95" y="352"/>
                    </a:lnTo>
                    <a:lnTo>
                      <a:pt x="93" y="351"/>
                    </a:lnTo>
                    <a:lnTo>
                      <a:pt x="92" y="351"/>
                    </a:lnTo>
                    <a:lnTo>
                      <a:pt x="88" y="349"/>
                    </a:lnTo>
                    <a:lnTo>
                      <a:pt x="87" y="342"/>
                    </a:lnTo>
                    <a:lnTo>
                      <a:pt x="88" y="339"/>
                    </a:lnTo>
                    <a:lnTo>
                      <a:pt x="87" y="337"/>
                    </a:lnTo>
                    <a:lnTo>
                      <a:pt x="85" y="335"/>
                    </a:lnTo>
                    <a:lnTo>
                      <a:pt x="81" y="332"/>
                    </a:lnTo>
                    <a:lnTo>
                      <a:pt x="80" y="332"/>
                    </a:lnTo>
                    <a:lnTo>
                      <a:pt x="80" y="330"/>
                    </a:lnTo>
                    <a:lnTo>
                      <a:pt x="80" y="329"/>
                    </a:lnTo>
                    <a:lnTo>
                      <a:pt x="80" y="325"/>
                    </a:lnTo>
                    <a:lnTo>
                      <a:pt x="83" y="324"/>
                    </a:lnTo>
                    <a:lnTo>
                      <a:pt x="85" y="324"/>
                    </a:lnTo>
                    <a:lnTo>
                      <a:pt x="87" y="320"/>
                    </a:lnTo>
                    <a:lnTo>
                      <a:pt x="88" y="318"/>
                    </a:lnTo>
                    <a:lnTo>
                      <a:pt x="88" y="317"/>
                    </a:lnTo>
                    <a:lnTo>
                      <a:pt x="90" y="315"/>
                    </a:lnTo>
                    <a:lnTo>
                      <a:pt x="88" y="310"/>
                    </a:lnTo>
                    <a:lnTo>
                      <a:pt x="90" y="310"/>
                    </a:lnTo>
                    <a:lnTo>
                      <a:pt x="90" y="308"/>
                    </a:lnTo>
                    <a:lnTo>
                      <a:pt x="93" y="306"/>
                    </a:lnTo>
                    <a:lnTo>
                      <a:pt x="93" y="303"/>
                    </a:lnTo>
                    <a:lnTo>
                      <a:pt x="95" y="301"/>
                    </a:lnTo>
                    <a:lnTo>
                      <a:pt x="97" y="300"/>
                    </a:lnTo>
                    <a:lnTo>
                      <a:pt x="95" y="293"/>
                    </a:lnTo>
                    <a:lnTo>
                      <a:pt x="97" y="289"/>
                    </a:lnTo>
                    <a:lnTo>
                      <a:pt x="95" y="289"/>
                    </a:lnTo>
                    <a:lnTo>
                      <a:pt x="98" y="286"/>
                    </a:lnTo>
                    <a:lnTo>
                      <a:pt x="95" y="281"/>
                    </a:lnTo>
                    <a:lnTo>
                      <a:pt x="95" y="276"/>
                    </a:lnTo>
                    <a:lnTo>
                      <a:pt x="93" y="269"/>
                    </a:lnTo>
                    <a:lnTo>
                      <a:pt x="93" y="267"/>
                    </a:lnTo>
                    <a:lnTo>
                      <a:pt x="93" y="264"/>
                    </a:lnTo>
                    <a:lnTo>
                      <a:pt x="90" y="261"/>
                    </a:lnTo>
                    <a:lnTo>
                      <a:pt x="87" y="255"/>
                    </a:lnTo>
                    <a:lnTo>
                      <a:pt x="85" y="255"/>
                    </a:lnTo>
                    <a:lnTo>
                      <a:pt x="81" y="255"/>
                    </a:lnTo>
                    <a:lnTo>
                      <a:pt x="80" y="257"/>
                    </a:lnTo>
                    <a:lnTo>
                      <a:pt x="71" y="257"/>
                    </a:lnTo>
                    <a:lnTo>
                      <a:pt x="71" y="259"/>
                    </a:lnTo>
                    <a:lnTo>
                      <a:pt x="63" y="259"/>
                    </a:lnTo>
                    <a:lnTo>
                      <a:pt x="61" y="261"/>
                    </a:lnTo>
                    <a:lnTo>
                      <a:pt x="59" y="261"/>
                    </a:lnTo>
                    <a:lnTo>
                      <a:pt x="58" y="262"/>
                    </a:lnTo>
                    <a:lnTo>
                      <a:pt x="53" y="261"/>
                    </a:lnTo>
                    <a:lnTo>
                      <a:pt x="51" y="262"/>
                    </a:lnTo>
                    <a:lnTo>
                      <a:pt x="53" y="264"/>
                    </a:lnTo>
                    <a:lnTo>
                      <a:pt x="51" y="266"/>
                    </a:lnTo>
                    <a:lnTo>
                      <a:pt x="49" y="264"/>
                    </a:lnTo>
                    <a:lnTo>
                      <a:pt x="47" y="261"/>
                    </a:lnTo>
                    <a:lnTo>
                      <a:pt x="46" y="259"/>
                    </a:lnTo>
                    <a:lnTo>
                      <a:pt x="44" y="259"/>
                    </a:lnTo>
                    <a:lnTo>
                      <a:pt x="42" y="257"/>
                    </a:lnTo>
                    <a:lnTo>
                      <a:pt x="41" y="255"/>
                    </a:lnTo>
                    <a:lnTo>
                      <a:pt x="36" y="245"/>
                    </a:lnTo>
                    <a:lnTo>
                      <a:pt x="34" y="245"/>
                    </a:lnTo>
                    <a:lnTo>
                      <a:pt x="30" y="242"/>
                    </a:lnTo>
                    <a:lnTo>
                      <a:pt x="32" y="240"/>
                    </a:lnTo>
                    <a:lnTo>
                      <a:pt x="30" y="237"/>
                    </a:lnTo>
                    <a:lnTo>
                      <a:pt x="29" y="235"/>
                    </a:lnTo>
                    <a:lnTo>
                      <a:pt x="27" y="235"/>
                    </a:lnTo>
                    <a:lnTo>
                      <a:pt x="25" y="233"/>
                    </a:lnTo>
                    <a:lnTo>
                      <a:pt x="25" y="232"/>
                    </a:lnTo>
                    <a:lnTo>
                      <a:pt x="24" y="232"/>
                    </a:lnTo>
                    <a:lnTo>
                      <a:pt x="22" y="233"/>
                    </a:lnTo>
                    <a:lnTo>
                      <a:pt x="19" y="235"/>
                    </a:lnTo>
                    <a:lnTo>
                      <a:pt x="19" y="237"/>
                    </a:lnTo>
                    <a:lnTo>
                      <a:pt x="17" y="238"/>
                    </a:lnTo>
                    <a:lnTo>
                      <a:pt x="15" y="235"/>
                    </a:lnTo>
                    <a:lnTo>
                      <a:pt x="15" y="233"/>
                    </a:lnTo>
                    <a:lnTo>
                      <a:pt x="13" y="232"/>
                    </a:lnTo>
                    <a:lnTo>
                      <a:pt x="13" y="230"/>
                    </a:lnTo>
                    <a:lnTo>
                      <a:pt x="10" y="227"/>
                    </a:lnTo>
                    <a:lnTo>
                      <a:pt x="8" y="225"/>
                    </a:lnTo>
                    <a:lnTo>
                      <a:pt x="7" y="225"/>
                    </a:lnTo>
                    <a:lnTo>
                      <a:pt x="5" y="223"/>
                    </a:lnTo>
                    <a:lnTo>
                      <a:pt x="5" y="221"/>
                    </a:lnTo>
                    <a:lnTo>
                      <a:pt x="8" y="220"/>
                    </a:lnTo>
                    <a:lnTo>
                      <a:pt x="5" y="218"/>
                    </a:lnTo>
                    <a:lnTo>
                      <a:pt x="7" y="218"/>
                    </a:lnTo>
                    <a:lnTo>
                      <a:pt x="5" y="216"/>
                    </a:lnTo>
                    <a:lnTo>
                      <a:pt x="2" y="216"/>
                    </a:lnTo>
                    <a:lnTo>
                      <a:pt x="0" y="215"/>
                    </a:lnTo>
                    <a:lnTo>
                      <a:pt x="0" y="213"/>
                    </a:lnTo>
                    <a:lnTo>
                      <a:pt x="3" y="215"/>
                    </a:lnTo>
                    <a:lnTo>
                      <a:pt x="5" y="213"/>
                    </a:lnTo>
                    <a:lnTo>
                      <a:pt x="8" y="210"/>
                    </a:lnTo>
                    <a:lnTo>
                      <a:pt x="8" y="208"/>
                    </a:lnTo>
                    <a:lnTo>
                      <a:pt x="10" y="208"/>
                    </a:lnTo>
                    <a:lnTo>
                      <a:pt x="12" y="204"/>
                    </a:lnTo>
                    <a:lnTo>
                      <a:pt x="12" y="203"/>
                    </a:lnTo>
                    <a:lnTo>
                      <a:pt x="13" y="198"/>
                    </a:lnTo>
                    <a:lnTo>
                      <a:pt x="17" y="196"/>
                    </a:lnTo>
                    <a:lnTo>
                      <a:pt x="15" y="193"/>
                    </a:lnTo>
                    <a:lnTo>
                      <a:pt x="15" y="191"/>
                    </a:lnTo>
                    <a:lnTo>
                      <a:pt x="17" y="179"/>
                    </a:lnTo>
                    <a:lnTo>
                      <a:pt x="13" y="177"/>
                    </a:lnTo>
                    <a:lnTo>
                      <a:pt x="13" y="172"/>
                    </a:lnTo>
                    <a:lnTo>
                      <a:pt x="15" y="170"/>
                    </a:lnTo>
                    <a:lnTo>
                      <a:pt x="19" y="165"/>
                    </a:lnTo>
                    <a:lnTo>
                      <a:pt x="20" y="164"/>
                    </a:lnTo>
                    <a:lnTo>
                      <a:pt x="22" y="165"/>
                    </a:lnTo>
                    <a:lnTo>
                      <a:pt x="24" y="164"/>
                    </a:lnTo>
                    <a:lnTo>
                      <a:pt x="25" y="165"/>
                    </a:lnTo>
                    <a:lnTo>
                      <a:pt x="30" y="160"/>
                    </a:lnTo>
                    <a:lnTo>
                      <a:pt x="32" y="160"/>
                    </a:lnTo>
                    <a:lnTo>
                      <a:pt x="34" y="162"/>
                    </a:lnTo>
                    <a:lnTo>
                      <a:pt x="36" y="162"/>
                    </a:lnTo>
                    <a:lnTo>
                      <a:pt x="37" y="159"/>
                    </a:lnTo>
                    <a:lnTo>
                      <a:pt x="41" y="157"/>
                    </a:lnTo>
                    <a:lnTo>
                      <a:pt x="41" y="155"/>
                    </a:lnTo>
                    <a:lnTo>
                      <a:pt x="44" y="152"/>
                    </a:lnTo>
                    <a:lnTo>
                      <a:pt x="42" y="150"/>
                    </a:lnTo>
                    <a:lnTo>
                      <a:pt x="42" y="152"/>
                    </a:lnTo>
                    <a:lnTo>
                      <a:pt x="41" y="150"/>
                    </a:lnTo>
                    <a:lnTo>
                      <a:pt x="36" y="152"/>
                    </a:lnTo>
                    <a:lnTo>
                      <a:pt x="34" y="150"/>
                    </a:lnTo>
                    <a:lnTo>
                      <a:pt x="34" y="148"/>
                    </a:lnTo>
                    <a:lnTo>
                      <a:pt x="32" y="147"/>
                    </a:lnTo>
                    <a:lnTo>
                      <a:pt x="32" y="141"/>
                    </a:lnTo>
                    <a:lnTo>
                      <a:pt x="30" y="141"/>
                    </a:lnTo>
                    <a:lnTo>
                      <a:pt x="29" y="140"/>
                    </a:lnTo>
                    <a:lnTo>
                      <a:pt x="30" y="136"/>
                    </a:lnTo>
                    <a:lnTo>
                      <a:pt x="32" y="133"/>
                    </a:lnTo>
                    <a:lnTo>
                      <a:pt x="32" y="130"/>
                    </a:lnTo>
                    <a:lnTo>
                      <a:pt x="32" y="126"/>
                    </a:lnTo>
                    <a:lnTo>
                      <a:pt x="32" y="123"/>
                    </a:lnTo>
                    <a:lnTo>
                      <a:pt x="32" y="119"/>
                    </a:lnTo>
                    <a:lnTo>
                      <a:pt x="32" y="113"/>
                    </a:lnTo>
                    <a:lnTo>
                      <a:pt x="30" y="113"/>
                    </a:lnTo>
                    <a:lnTo>
                      <a:pt x="27" y="113"/>
                    </a:lnTo>
                    <a:lnTo>
                      <a:pt x="27" y="111"/>
                    </a:lnTo>
                    <a:lnTo>
                      <a:pt x="29" y="109"/>
                    </a:lnTo>
                    <a:lnTo>
                      <a:pt x="29" y="106"/>
                    </a:lnTo>
                    <a:lnTo>
                      <a:pt x="27" y="104"/>
                    </a:lnTo>
                    <a:lnTo>
                      <a:pt x="29" y="104"/>
                    </a:lnTo>
                    <a:lnTo>
                      <a:pt x="30" y="106"/>
                    </a:lnTo>
                    <a:lnTo>
                      <a:pt x="30" y="102"/>
                    </a:lnTo>
                    <a:lnTo>
                      <a:pt x="32" y="102"/>
                    </a:lnTo>
                    <a:lnTo>
                      <a:pt x="32" y="101"/>
                    </a:lnTo>
                    <a:lnTo>
                      <a:pt x="34" y="96"/>
                    </a:lnTo>
                    <a:lnTo>
                      <a:pt x="36" y="96"/>
                    </a:lnTo>
                    <a:lnTo>
                      <a:pt x="37" y="90"/>
                    </a:lnTo>
                    <a:lnTo>
                      <a:pt x="32" y="87"/>
                    </a:lnTo>
                    <a:lnTo>
                      <a:pt x="30" y="79"/>
                    </a:lnTo>
                    <a:lnTo>
                      <a:pt x="29" y="79"/>
                    </a:lnTo>
                    <a:lnTo>
                      <a:pt x="29" y="77"/>
                    </a:lnTo>
                    <a:lnTo>
                      <a:pt x="30" y="77"/>
                    </a:lnTo>
                    <a:lnTo>
                      <a:pt x="32" y="77"/>
                    </a:lnTo>
                    <a:lnTo>
                      <a:pt x="32" y="75"/>
                    </a:lnTo>
                    <a:lnTo>
                      <a:pt x="34" y="75"/>
                    </a:lnTo>
                    <a:lnTo>
                      <a:pt x="37" y="73"/>
                    </a:lnTo>
                    <a:lnTo>
                      <a:pt x="39" y="73"/>
                    </a:lnTo>
                    <a:lnTo>
                      <a:pt x="42" y="72"/>
                    </a:lnTo>
                    <a:lnTo>
                      <a:pt x="42" y="70"/>
                    </a:lnTo>
                    <a:lnTo>
                      <a:pt x="44" y="70"/>
                    </a:lnTo>
                    <a:lnTo>
                      <a:pt x="46" y="65"/>
                    </a:lnTo>
                    <a:lnTo>
                      <a:pt x="47" y="65"/>
                    </a:lnTo>
                    <a:lnTo>
                      <a:pt x="51" y="62"/>
                    </a:lnTo>
                    <a:lnTo>
                      <a:pt x="49" y="60"/>
                    </a:lnTo>
                    <a:lnTo>
                      <a:pt x="47" y="58"/>
                    </a:lnTo>
                    <a:lnTo>
                      <a:pt x="47" y="56"/>
                    </a:lnTo>
                    <a:lnTo>
                      <a:pt x="46" y="55"/>
                    </a:lnTo>
                    <a:lnTo>
                      <a:pt x="44" y="51"/>
                    </a:lnTo>
                    <a:lnTo>
                      <a:pt x="42" y="48"/>
                    </a:lnTo>
                    <a:lnTo>
                      <a:pt x="44" y="45"/>
                    </a:lnTo>
                    <a:lnTo>
                      <a:pt x="39" y="41"/>
                    </a:lnTo>
                    <a:lnTo>
                      <a:pt x="37" y="39"/>
                    </a:lnTo>
                    <a:lnTo>
                      <a:pt x="32" y="36"/>
                    </a:lnTo>
                    <a:lnTo>
                      <a:pt x="34" y="29"/>
                    </a:lnTo>
                    <a:lnTo>
                      <a:pt x="36" y="28"/>
                    </a:lnTo>
                    <a:lnTo>
                      <a:pt x="34" y="24"/>
                    </a:lnTo>
                    <a:lnTo>
                      <a:pt x="30" y="22"/>
                    </a:lnTo>
                    <a:lnTo>
                      <a:pt x="30" y="21"/>
                    </a:lnTo>
                    <a:lnTo>
                      <a:pt x="27" y="19"/>
                    </a:lnTo>
                    <a:lnTo>
                      <a:pt x="27" y="16"/>
                    </a:lnTo>
                    <a:lnTo>
                      <a:pt x="25" y="12"/>
                    </a:lnTo>
                    <a:lnTo>
                      <a:pt x="22" y="12"/>
                    </a:lnTo>
                    <a:lnTo>
                      <a:pt x="22" y="14"/>
                    </a:lnTo>
                    <a:lnTo>
                      <a:pt x="22" y="16"/>
                    </a:lnTo>
                    <a:lnTo>
                      <a:pt x="19" y="14"/>
                    </a:lnTo>
                    <a:lnTo>
                      <a:pt x="17" y="14"/>
                    </a:lnTo>
                    <a:lnTo>
                      <a:pt x="17" y="7"/>
                    </a:lnTo>
                    <a:lnTo>
                      <a:pt x="15" y="5"/>
                    </a:lnTo>
                    <a:lnTo>
                      <a:pt x="13" y="5"/>
                    </a:lnTo>
                    <a:lnTo>
                      <a:pt x="13" y="4"/>
                    </a:lnTo>
                    <a:lnTo>
                      <a:pt x="13" y="2"/>
                    </a:lnTo>
                    <a:lnTo>
                      <a:pt x="15" y="0"/>
                    </a:lnTo>
                    <a:lnTo>
                      <a:pt x="19" y="2"/>
                    </a:lnTo>
                    <a:lnTo>
                      <a:pt x="24" y="7"/>
                    </a:lnTo>
                    <a:lnTo>
                      <a:pt x="27" y="7"/>
                    </a:lnTo>
                    <a:lnTo>
                      <a:pt x="29" y="7"/>
                    </a:lnTo>
                    <a:lnTo>
                      <a:pt x="30" y="7"/>
                    </a:lnTo>
                    <a:lnTo>
                      <a:pt x="32" y="7"/>
                    </a:lnTo>
                    <a:lnTo>
                      <a:pt x="34" y="9"/>
                    </a:lnTo>
                    <a:lnTo>
                      <a:pt x="36" y="9"/>
                    </a:lnTo>
                    <a:lnTo>
                      <a:pt x="37" y="11"/>
                    </a:lnTo>
                    <a:lnTo>
                      <a:pt x="37" y="12"/>
                    </a:lnTo>
                    <a:lnTo>
                      <a:pt x="39" y="12"/>
                    </a:lnTo>
                    <a:lnTo>
                      <a:pt x="42" y="14"/>
                    </a:lnTo>
                    <a:lnTo>
                      <a:pt x="44" y="12"/>
                    </a:lnTo>
                    <a:lnTo>
                      <a:pt x="46" y="11"/>
                    </a:lnTo>
                    <a:lnTo>
                      <a:pt x="47" y="12"/>
                    </a:lnTo>
                    <a:lnTo>
                      <a:pt x="51" y="12"/>
                    </a:lnTo>
                    <a:lnTo>
                      <a:pt x="53" y="11"/>
                    </a:lnTo>
                    <a:lnTo>
                      <a:pt x="56" y="11"/>
                    </a:lnTo>
                    <a:lnTo>
                      <a:pt x="58" y="14"/>
                    </a:lnTo>
                    <a:lnTo>
                      <a:pt x="61" y="17"/>
                    </a:lnTo>
                    <a:lnTo>
                      <a:pt x="63" y="17"/>
                    </a:lnTo>
                    <a:lnTo>
                      <a:pt x="64" y="12"/>
                    </a:lnTo>
                    <a:lnTo>
                      <a:pt x="64" y="11"/>
                    </a:lnTo>
                    <a:lnTo>
                      <a:pt x="64" y="9"/>
                    </a:lnTo>
                    <a:lnTo>
                      <a:pt x="68" y="7"/>
                    </a:lnTo>
                    <a:lnTo>
                      <a:pt x="83" y="21"/>
                    </a:lnTo>
                    <a:lnTo>
                      <a:pt x="90" y="29"/>
                    </a:lnTo>
                    <a:lnTo>
                      <a:pt x="92" y="33"/>
                    </a:lnTo>
                    <a:lnTo>
                      <a:pt x="93" y="36"/>
                    </a:lnTo>
                    <a:lnTo>
                      <a:pt x="93" y="38"/>
                    </a:lnTo>
                    <a:lnTo>
                      <a:pt x="95" y="43"/>
                    </a:lnTo>
                    <a:lnTo>
                      <a:pt x="95" y="45"/>
                    </a:lnTo>
                    <a:lnTo>
                      <a:pt x="97" y="48"/>
                    </a:lnTo>
                    <a:lnTo>
                      <a:pt x="95" y="55"/>
                    </a:lnTo>
                    <a:lnTo>
                      <a:pt x="95" y="56"/>
                    </a:lnTo>
                    <a:lnTo>
                      <a:pt x="97" y="55"/>
                    </a:lnTo>
                    <a:lnTo>
                      <a:pt x="97" y="56"/>
                    </a:lnTo>
                    <a:lnTo>
                      <a:pt x="95" y="60"/>
                    </a:lnTo>
                    <a:lnTo>
                      <a:pt x="97" y="62"/>
                    </a:lnTo>
                    <a:lnTo>
                      <a:pt x="98" y="63"/>
                    </a:lnTo>
                    <a:lnTo>
                      <a:pt x="98" y="65"/>
                    </a:lnTo>
                    <a:lnTo>
                      <a:pt x="100" y="67"/>
                    </a:lnTo>
                    <a:lnTo>
                      <a:pt x="100" y="68"/>
                    </a:lnTo>
                    <a:lnTo>
                      <a:pt x="102" y="70"/>
                    </a:lnTo>
                    <a:lnTo>
                      <a:pt x="100" y="80"/>
                    </a:lnTo>
                    <a:lnTo>
                      <a:pt x="97" y="84"/>
                    </a:lnTo>
                    <a:lnTo>
                      <a:pt x="98" y="85"/>
                    </a:lnTo>
                    <a:lnTo>
                      <a:pt x="98" y="89"/>
                    </a:lnTo>
                    <a:lnTo>
                      <a:pt x="102" y="90"/>
                    </a:lnTo>
                    <a:lnTo>
                      <a:pt x="102" y="92"/>
                    </a:lnTo>
                    <a:lnTo>
                      <a:pt x="105" y="94"/>
                    </a:lnTo>
                    <a:lnTo>
                      <a:pt x="105" y="96"/>
                    </a:lnTo>
                    <a:lnTo>
                      <a:pt x="107" y="97"/>
                    </a:lnTo>
                    <a:lnTo>
                      <a:pt x="107" y="99"/>
                    </a:lnTo>
                    <a:lnTo>
                      <a:pt x="114" y="102"/>
                    </a:lnTo>
                    <a:lnTo>
                      <a:pt x="114" y="104"/>
                    </a:lnTo>
                    <a:lnTo>
                      <a:pt x="114" y="106"/>
                    </a:lnTo>
                    <a:lnTo>
                      <a:pt x="115" y="107"/>
                    </a:lnTo>
                    <a:lnTo>
                      <a:pt x="115" y="113"/>
                    </a:lnTo>
                    <a:close/>
                    <a:moveTo>
                      <a:pt x="105" y="136"/>
                    </a:moveTo>
                    <a:lnTo>
                      <a:pt x="104" y="138"/>
                    </a:lnTo>
                    <a:lnTo>
                      <a:pt x="102" y="138"/>
                    </a:lnTo>
                    <a:lnTo>
                      <a:pt x="104" y="135"/>
                    </a:lnTo>
                    <a:lnTo>
                      <a:pt x="105" y="136"/>
                    </a:lnTo>
                    <a:close/>
                    <a:moveTo>
                      <a:pt x="97" y="135"/>
                    </a:moveTo>
                    <a:lnTo>
                      <a:pt x="98" y="135"/>
                    </a:lnTo>
                    <a:lnTo>
                      <a:pt x="98" y="136"/>
                    </a:lnTo>
                    <a:lnTo>
                      <a:pt x="97" y="136"/>
                    </a:lnTo>
                    <a:lnTo>
                      <a:pt x="97" y="135"/>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Freeform 43">
                <a:extLst>
                  <a:ext uri="{FF2B5EF4-FFF2-40B4-BE49-F238E27FC236}">
                    <a16:creationId xmlns:a16="http://schemas.microsoft.com/office/drawing/2014/main" id="{5B0AFA35-5851-4796-A4D0-2CF62BB0E71B}"/>
                  </a:ext>
                </a:extLst>
              </p:cNvPr>
              <p:cNvSpPr>
                <a:spLocks noEditPoints="1"/>
              </p:cNvSpPr>
              <p:nvPr/>
            </p:nvSpPr>
            <p:spPr bwMode="gray">
              <a:xfrm>
                <a:off x="7175843" y="4630309"/>
                <a:ext cx="665377" cy="1029662"/>
              </a:xfrm>
              <a:custGeom>
                <a:avLst/>
                <a:gdLst>
                  <a:gd name="T0" fmla="*/ 92 w 537"/>
                  <a:gd name="T1" fmla="*/ 744 h 831"/>
                  <a:gd name="T2" fmla="*/ 64 w 537"/>
                  <a:gd name="T3" fmla="*/ 596 h 831"/>
                  <a:gd name="T4" fmla="*/ 132 w 537"/>
                  <a:gd name="T5" fmla="*/ 497 h 831"/>
                  <a:gd name="T6" fmla="*/ 134 w 537"/>
                  <a:gd name="T7" fmla="*/ 467 h 831"/>
                  <a:gd name="T8" fmla="*/ 134 w 537"/>
                  <a:gd name="T9" fmla="*/ 422 h 831"/>
                  <a:gd name="T10" fmla="*/ 139 w 537"/>
                  <a:gd name="T11" fmla="*/ 378 h 831"/>
                  <a:gd name="T12" fmla="*/ 137 w 537"/>
                  <a:gd name="T13" fmla="*/ 336 h 831"/>
                  <a:gd name="T14" fmla="*/ 76 w 537"/>
                  <a:gd name="T15" fmla="*/ 291 h 831"/>
                  <a:gd name="T16" fmla="*/ 39 w 537"/>
                  <a:gd name="T17" fmla="*/ 283 h 831"/>
                  <a:gd name="T18" fmla="*/ 64 w 537"/>
                  <a:gd name="T19" fmla="*/ 210 h 831"/>
                  <a:gd name="T20" fmla="*/ 168 w 537"/>
                  <a:gd name="T21" fmla="*/ 203 h 831"/>
                  <a:gd name="T22" fmla="*/ 211 w 537"/>
                  <a:gd name="T23" fmla="*/ 199 h 831"/>
                  <a:gd name="T24" fmla="*/ 212 w 537"/>
                  <a:gd name="T25" fmla="*/ 254 h 831"/>
                  <a:gd name="T26" fmla="*/ 216 w 537"/>
                  <a:gd name="T27" fmla="*/ 295 h 831"/>
                  <a:gd name="T28" fmla="*/ 250 w 537"/>
                  <a:gd name="T29" fmla="*/ 322 h 831"/>
                  <a:gd name="T30" fmla="*/ 256 w 537"/>
                  <a:gd name="T31" fmla="*/ 322 h 831"/>
                  <a:gd name="T32" fmla="*/ 268 w 537"/>
                  <a:gd name="T33" fmla="*/ 290 h 831"/>
                  <a:gd name="T34" fmla="*/ 253 w 537"/>
                  <a:gd name="T35" fmla="*/ 174 h 831"/>
                  <a:gd name="T36" fmla="*/ 262 w 537"/>
                  <a:gd name="T37" fmla="*/ 57 h 831"/>
                  <a:gd name="T38" fmla="*/ 284 w 537"/>
                  <a:gd name="T39" fmla="*/ 48 h 831"/>
                  <a:gd name="T40" fmla="*/ 309 w 537"/>
                  <a:gd name="T41" fmla="*/ 63 h 831"/>
                  <a:gd name="T42" fmla="*/ 357 w 537"/>
                  <a:gd name="T43" fmla="*/ 60 h 831"/>
                  <a:gd name="T44" fmla="*/ 396 w 537"/>
                  <a:gd name="T45" fmla="*/ 41 h 831"/>
                  <a:gd name="T46" fmla="*/ 452 w 537"/>
                  <a:gd name="T47" fmla="*/ 34 h 831"/>
                  <a:gd name="T48" fmla="*/ 489 w 537"/>
                  <a:gd name="T49" fmla="*/ 19 h 831"/>
                  <a:gd name="T50" fmla="*/ 518 w 537"/>
                  <a:gd name="T51" fmla="*/ 14 h 831"/>
                  <a:gd name="T52" fmla="*/ 515 w 537"/>
                  <a:gd name="T53" fmla="*/ 46 h 831"/>
                  <a:gd name="T54" fmla="*/ 518 w 537"/>
                  <a:gd name="T55" fmla="*/ 72 h 831"/>
                  <a:gd name="T56" fmla="*/ 520 w 537"/>
                  <a:gd name="T57" fmla="*/ 104 h 831"/>
                  <a:gd name="T58" fmla="*/ 523 w 537"/>
                  <a:gd name="T59" fmla="*/ 118 h 831"/>
                  <a:gd name="T60" fmla="*/ 523 w 537"/>
                  <a:gd name="T61" fmla="*/ 137 h 831"/>
                  <a:gd name="T62" fmla="*/ 523 w 537"/>
                  <a:gd name="T63" fmla="*/ 179 h 831"/>
                  <a:gd name="T64" fmla="*/ 527 w 537"/>
                  <a:gd name="T65" fmla="*/ 189 h 831"/>
                  <a:gd name="T66" fmla="*/ 528 w 537"/>
                  <a:gd name="T67" fmla="*/ 208 h 831"/>
                  <a:gd name="T68" fmla="*/ 528 w 537"/>
                  <a:gd name="T69" fmla="*/ 225 h 831"/>
                  <a:gd name="T70" fmla="*/ 530 w 537"/>
                  <a:gd name="T71" fmla="*/ 233 h 831"/>
                  <a:gd name="T72" fmla="*/ 527 w 537"/>
                  <a:gd name="T73" fmla="*/ 247 h 831"/>
                  <a:gd name="T74" fmla="*/ 493 w 537"/>
                  <a:gd name="T75" fmla="*/ 293 h 831"/>
                  <a:gd name="T76" fmla="*/ 457 w 537"/>
                  <a:gd name="T77" fmla="*/ 320 h 831"/>
                  <a:gd name="T78" fmla="*/ 374 w 537"/>
                  <a:gd name="T79" fmla="*/ 358 h 831"/>
                  <a:gd name="T80" fmla="*/ 324 w 537"/>
                  <a:gd name="T81" fmla="*/ 402 h 831"/>
                  <a:gd name="T82" fmla="*/ 306 w 537"/>
                  <a:gd name="T83" fmla="*/ 426 h 831"/>
                  <a:gd name="T84" fmla="*/ 292 w 537"/>
                  <a:gd name="T85" fmla="*/ 427 h 831"/>
                  <a:gd name="T86" fmla="*/ 246 w 537"/>
                  <a:gd name="T87" fmla="*/ 468 h 831"/>
                  <a:gd name="T88" fmla="*/ 226 w 537"/>
                  <a:gd name="T89" fmla="*/ 499 h 831"/>
                  <a:gd name="T90" fmla="*/ 234 w 537"/>
                  <a:gd name="T91" fmla="*/ 514 h 831"/>
                  <a:gd name="T92" fmla="*/ 236 w 537"/>
                  <a:gd name="T93" fmla="*/ 521 h 831"/>
                  <a:gd name="T94" fmla="*/ 243 w 537"/>
                  <a:gd name="T95" fmla="*/ 524 h 831"/>
                  <a:gd name="T96" fmla="*/ 246 w 537"/>
                  <a:gd name="T97" fmla="*/ 545 h 831"/>
                  <a:gd name="T98" fmla="*/ 260 w 537"/>
                  <a:gd name="T99" fmla="*/ 596 h 831"/>
                  <a:gd name="T100" fmla="*/ 268 w 537"/>
                  <a:gd name="T101" fmla="*/ 632 h 831"/>
                  <a:gd name="T102" fmla="*/ 258 w 537"/>
                  <a:gd name="T103" fmla="*/ 683 h 831"/>
                  <a:gd name="T104" fmla="*/ 262 w 537"/>
                  <a:gd name="T105" fmla="*/ 698 h 831"/>
                  <a:gd name="T106" fmla="*/ 127 w 537"/>
                  <a:gd name="T107" fmla="*/ 781 h 831"/>
                  <a:gd name="T108" fmla="*/ 132 w 537"/>
                  <a:gd name="T109" fmla="*/ 800 h 831"/>
                  <a:gd name="T110" fmla="*/ 221 w 537"/>
                  <a:gd name="T111" fmla="*/ 80 h 831"/>
                  <a:gd name="T112" fmla="*/ 136 w 537"/>
                  <a:gd name="T113" fmla="*/ 791 h 831"/>
                  <a:gd name="T114" fmla="*/ 525 w 537"/>
                  <a:gd name="T115" fmla="*/ 89 h 831"/>
                  <a:gd name="T116" fmla="*/ 238 w 537"/>
                  <a:gd name="T117" fmla="*/ 514 h 831"/>
                  <a:gd name="T118" fmla="*/ 523 w 537"/>
                  <a:gd name="T119" fmla="*/ 106 h 831"/>
                  <a:gd name="T120" fmla="*/ 126 w 537"/>
                  <a:gd name="T121" fmla="*/ 778 h 831"/>
                  <a:gd name="T122" fmla="*/ 535 w 537"/>
                  <a:gd name="T123" fmla="*/ 222 h 831"/>
                  <a:gd name="T124" fmla="*/ 333 w 537"/>
                  <a:gd name="T125" fmla="*/ 393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 h="831">
                    <a:moveTo>
                      <a:pt x="134" y="831"/>
                    </a:moveTo>
                    <a:lnTo>
                      <a:pt x="124" y="831"/>
                    </a:lnTo>
                    <a:lnTo>
                      <a:pt x="107" y="831"/>
                    </a:lnTo>
                    <a:lnTo>
                      <a:pt x="100" y="829"/>
                    </a:lnTo>
                    <a:lnTo>
                      <a:pt x="98" y="831"/>
                    </a:lnTo>
                    <a:lnTo>
                      <a:pt x="95" y="829"/>
                    </a:lnTo>
                    <a:lnTo>
                      <a:pt x="97" y="814"/>
                    </a:lnTo>
                    <a:lnTo>
                      <a:pt x="93" y="807"/>
                    </a:lnTo>
                    <a:lnTo>
                      <a:pt x="95" y="795"/>
                    </a:lnTo>
                    <a:lnTo>
                      <a:pt x="93" y="788"/>
                    </a:lnTo>
                    <a:lnTo>
                      <a:pt x="90" y="786"/>
                    </a:lnTo>
                    <a:lnTo>
                      <a:pt x="88" y="785"/>
                    </a:lnTo>
                    <a:lnTo>
                      <a:pt x="86" y="780"/>
                    </a:lnTo>
                    <a:lnTo>
                      <a:pt x="90" y="769"/>
                    </a:lnTo>
                    <a:lnTo>
                      <a:pt x="88" y="761"/>
                    </a:lnTo>
                    <a:lnTo>
                      <a:pt x="90" y="756"/>
                    </a:lnTo>
                    <a:lnTo>
                      <a:pt x="92" y="744"/>
                    </a:lnTo>
                    <a:lnTo>
                      <a:pt x="90" y="720"/>
                    </a:lnTo>
                    <a:lnTo>
                      <a:pt x="90" y="708"/>
                    </a:lnTo>
                    <a:lnTo>
                      <a:pt x="88" y="701"/>
                    </a:lnTo>
                    <a:lnTo>
                      <a:pt x="85" y="694"/>
                    </a:lnTo>
                    <a:lnTo>
                      <a:pt x="83" y="684"/>
                    </a:lnTo>
                    <a:lnTo>
                      <a:pt x="78" y="681"/>
                    </a:lnTo>
                    <a:lnTo>
                      <a:pt x="75" y="672"/>
                    </a:lnTo>
                    <a:lnTo>
                      <a:pt x="73" y="667"/>
                    </a:lnTo>
                    <a:lnTo>
                      <a:pt x="68" y="659"/>
                    </a:lnTo>
                    <a:lnTo>
                      <a:pt x="66" y="655"/>
                    </a:lnTo>
                    <a:lnTo>
                      <a:pt x="68" y="645"/>
                    </a:lnTo>
                    <a:lnTo>
                      <a:pt x="66" y="642"/>
                    </a:lnTo>
                    <a:lnTo>
                      <a:pt x="63" y="632"/>
                    </a:lnTo>
                    <a:lnTo>
                      <a:pt x="56" y="611"/>
                    </a:lnTo>
                    <a:lnTo>
                      <a:pt x="54" y="606"/>
                    </a:lnTo>
                    <a:lnTo>
                      <a:pt x="64" y="598"/>
                    </a:lnTo>
                    <a:lnTo>
                      <a:pt x="64" y="596"/>
                    </a:lnTo>
                    <a:lnTo>
                      <a:pt x="73" y="587"/>
                    </a:lnTo>
                    <a:lnTo>
                      <a:pt x="88" y="572"/>
                    </a:lnTo>
                    <a:lnTo>
                      <a:pt x="105" y="555"/>
                    </a:lnTo>
                    <a:lnTo>
                      <a:pt x="110" y="550"/>
                    </a:lnTo>
                    <a:lnTo>
                      <a:pt x="114" y="550"/>
                    </a:lnTo>
                    <a:lnTo>
                      <a:pt x="109" y="543"/>
                    </a:lnTo>
                    <a:lnTo>
                      <a:pt x="110" y="543"/>
                    </a:lnTo>
                    <a:lnTo>
                      <a:pt x="107" y="541"/>
                    </a:lnTo>
                    <a:lnTo>
                      <a:pt x="112" y="536"/>
                    </a:lnTo>
                    <a:lnTo>
                      <a:pt x="115" y="529"/>
                    </a:lnTo>
                    <a:lnTo>
                      <a:pt x="114" y="524"/>
                    </a:lnTo>
                    <a:lnTo>
                      <a:pt x="114" y="514"/>
                    </a:lnTo>
                    <a:lnTo>
                      <a:pt x="119" y="512"/>
                    </a:lnTo>
                    <a:lnTo>
                      <a:pt x="124" y="511"/>
                    </a:lnTo>
                    <a:lnTo>
                      <a:pt x="129" y="502"/>
                    </a:lnTo>
                    <a:lnTo>
                      <a:pt x="131" y="501"/>
                    </a:lnTo>
                    <a:lnTo>
                      <a:pt x="132" y="497"/>
                    </a:lnTo>
                    <a:lnTo>
                      <a:pt x="132" y="495"/>
                    </a:lnTo>
                    <a:lnTo>
                      <a:pt x="132" y="494"/>
                    </a:lnTo>
                    <a:lnTo>
                      <a:pt x="134" y="492"/>
                    </a:lnTo>
                    <a:lnTo>
                      <a:pt x="132" y="490"/>
                    </a:lnTo>
                    <a:lnTo>
                      <a:pt x="134" y="489"/>
                    </a:lnTo>
                    <a:lnTo>
                      <a:pt x="136" y="489"/>
                    </a:lnTo>
                    <a:lnTo>
                      <a:pt x="136" y="485"/>
                    </a:lnTo>
                    <a:lnTo>
                      <a:pt x="139" y="485"/>
                    </a:lnTo>
                    <a:lnTo>
                      <a:pt x="141" y="484"/>
                    </a:lnTo>
                    <a:lnTo>
                      <a:pt x="141" y="477"/>
                    </a:lnTo>
                    <a:lnTo>
                      <a:pt x="143" y="473"/>
                    </a:lnTo>
                    <a:lnTo>
                      <a:pt x="141" y="472"/>
                    </a:lnTo>
                    <a:lnTo>
                      <a:pt x="137" y="470"/>
                    </a:lnTo>
                    <a:lnTo>
                      <a:pt x="137" y="468"/>
                    </a:lnTo>
                    <a:lnTo>
                      <a:pt x="139" y="467"/>
                    </a:lnTo>
                    <a:lnTo>
                      <a:pt x="137" y="467"/>
                    </a:lnTo>
                    <a:lnTo>
                      <a:pt x="134" y="467"/>
                    </a:lnTo>
                    <a:lnTo>
                      <a:pt x="131" y="467"/>
                    </a:lnTo>
                    <a:lnTo>
                      <a:pt x="132" y="463"/>
                    </a:lnTo>
                    <a:lnTo>
                      <a:pt x="132" y="460"/>
                    </a:lnTo>
                    <a:lnTo>
                      <a:pt x="132" y="458"/>
                    </a:lnTo>
                    <a:lnTo>
                      <a:pt x="132" y="456"/>
                    </a:lnTo>
                    <a:lnTo>
                      <a:pt x="129" y="456"/>
                    </a:lnTo>
                    <a:lnTo>
                      <a:pt x="129" y="451"/>
                    </a:lnTo>
                    <a:lnTo>
                      <a:pt x="132" y="448"/>
                    </a:lnTo>
                    <a:lnTo>
                      <a:pt x="134" y="438"/>
                    </a:lnTo>
                    <a:lnTo>
                      <a:pt x="131" y="433"/>
                    </a:lnTo>
                    <a:lnTo>
                      <a:pt x="129" y="433"/>
                    </a:lnTo>
                    <a:lnTo>
                      <a:pt x="127" y="434"/>
                    </a:lnTo>
                    <a:lnTo>
                      <a:pt x="126" y="434"/>
                    </a:lnTo>
                    <a:lnTo>
                      <a:pt x="126" y="429"/>
                    </a:lnTo>
                    <a:lnTo>
                      <a:pt x="126" y="424"/>
                    </a:lnTo>
                    <a:lnTo>
                      <a:pt x="131" y="421"/>
                    </a:lnTo>
                    <a:lnTo>
                      <a:pt x="134" y="422"/>
                    </a:lnTo>
                    <a:lnTo>
                      <a:pt x="136" y="421"/>
                    </a:lnTo>
                    <a:lnTo>
                      <a:pt x="137" y="416"/>
                    </a:lnTo>
                    <a:lnTo>
                      <a:pt x="134" y="412"/>
                    </a:lnTo>
                    <a:lnTo>
                      <a:pt x="134" y="407"/>
                    </a:lnTo>
                    <a:lnTo>
                      <a:pt x="137" y="405"/>
                    </a:lnTo>
                    <a:lnTo>
                      <a:pt x="139" y="407"/>
                    </a:lnTo>
                    <a:lnTo>
                      <a:pt x="141" y="405"/>
                    </a:lnTo>
                    <a:lnTo>
                      <a:pt x="141" y="402"/>
                    </a:lnTo>
                    <a:lnTo>
                      <a:pt x="143" y="400"/>
                    </a:lnTo>
                    <a:lnTo>
                      <a:pt x="139" y="397"/>
                    </a:lnTo>
                    <a:lnTo>
                      <a:pt x="139" y="390"/>
                    </a:lnTo>
                    <a:lnTo>
                      <a:pt x="139" y="388"/>
                    </a:lnTo>
                    <a:lnTo>
                      <a:pt x="137" y="383"/>
                    </a:lnTo>
                    <a:lnTo>
                      <a:pt x="137" y="381"/>
                    </a:lnTo>
                    <a:lnTo>
                      <a:pt x="137" y="380"/>
                    </a:lnTo>
                    <a:lnTo>
                      <a:pt x="139" y="380"/>
                    </a:lnTo>
                    <a:lnTo>
                      <a:pt x="139" y="378"/>
                    </a:lnTo>
                    <a:lnTo>
                      <a:pt x="137" y="376"/>
                    </a:lnTo>
                    <a:lnTo>
                      <a:pt x="137" y="373"/>
                    </a:lnTo>
                    <a:lnTo>
                      <a:pt x="139" y="371"/>
                    </a:lnTo>
                    <a:lnTo>
                      <a:pt x="141" y="371"/>
                    </a:lnTo>
                    <a:lnTo>
                      <a:pt x="141" y="370"/>
                    </a:lnTo>
                    <a:lnTo>
                      <a:pt x="141" y="368"/>
                    </a:lnTo>
                    <a:lnTo>
                      <a:pt x="141" y="366"/>
                    </a:lnTo>
                    <a:lnTo>
                      <a:pt x="143" y="361"/>
                    </a:lnTo>
                    <a:lnTo>
                      <a:pt x="141" y="359"/>
                    </a:lnTo>
                    <a:lnTo>
                      <a:pt x="139" y="359"/>
                    </a:lnTo>
                    <a:lnTo>
                      <a:pt x="137" y="356"/>
                    </a:lnTo>
                    <a:lnTo>
                      <a:pt x="139" y="354"/>
                    </a:lnTo>
                    <a:lnTo>
                      <a:pt x="141" y="351"/>
                    </a:lnTo>
                    <a:lnTo>
                      <a:pt x="143" y="349"/>
                    </a:lnTo>
                    <a:lnTo>
                      <a:pt x="139" y="346"/>
                    </a:lnTo>
                    <a:lnTo>
                      <a:pt x="139" y="341"/>
                    </a:lnTo>
                    <a:lnTo>
                      <a:pt x="137" y="336"/>
                    </a:lnTo>
                    <a:lnTo>
                      <a:pt x="132" y="327"/>
                    </a:lnTo>
                    <a:lnTo>
                      <a:pt x="136" y="325"/>
                    </a:lnTo>
                    <a:lnTo>
                      <a:pt x="139" y="317"/>
                    </a:lnTo>
                    <a:lnTo>
                      <a:pt x="136" y="315"/>
                    </a:lnTo>
                    <a:lnTo>
                      <a:pt x="134" y="317"/>
                    </a:lnTo>
                    <a:lnTo>
                      <a:pt x="132" y="315"/>
                    </a:lnTo>
                    <a:lnTo>
                      <a:pt x="127" y="317"/>
                    </a:lnTo>
                    <a:lnTo>
                      <a:pt x="124" y="315"/>
                    </a:lnTo>
                    <a:lnTo>
                      <a:pt x="126" y="312"/>
                    </a:lnTo>
                    <a:lnTo>
                      <a:pt x="119" y="308"/>
                    </a:lnTo>
                    <a:lnTo>
                      <a:pt x="105" y="303"/>
                    </a:lnTo>
                    <a:lnTo>
                      <a:pt x="92" y="303"/>
                    </a:lnTo>
                    <a:lnTo>
                      <a:pt x="85" y="302"/>
                    </a:lnTo>
                    <a:lnTo>
                      <a:pt x="85" y="298"/>
                    </a:lnTo>
                    <a:lnTo>
                      <a:pt x="81" y="296"/>
                    </a:lnTo>
                    <a:lnTo>
                      <a:pt x="80" y="295"/>
                    </a:lnTo>
                    <a:lnTo>
                      <a:pt x="76" y="291"/>
                    </a:lnTo>
                    <a:lnTo>
                      <a:pt x="71" y="290"/>
                    </a:lnTo>
                    <a:lnTo>
                      <a:pt x="68" y="290"/>
                    </a:lnTo>
                    <a:lnTo>
                      <a:pt x="64" y="288"/>
                    </a:lnTo>
                    <a:lnTo>
                      <a:pt x="64" y="290"/>
                    </a:lnTo>
                    <a:lnTo>
                      <a:pt x="64" y="288"/>
                    </a:lnTo>
                    <a:lnTo>
                      <a:pt x="61" y="288"/>
                    </a:lnTo>
                    <a:lnTo>
                      <a:pt x="59" y="288"/>
                    </a:lnTo>
                    <a:lnTo>
                      <a:pt x="59" y="286"/>
                    </a:lnTo>
                    <a:lnTo>
                      <a:pt x="56" y="285"/>
                    </a:lnTo>
                    <a:lnTo>
                      <a:pt x="56" y="283"/>
                    </a:lnTo>
                    <a:lnTo>
                      <a:pt x="54" y="281"/>
                    </a:lnTo>
                    <a:lnTo>
                      <a:pt x="52" y="281"/>
                    </a:lnTo>
                    <a:lnTo>
                      <a:pt x="47" y="281"/>
                    </a:lnTo>
                    <a:lnTo>
                      <a:pt x="47" y="279"/>
                    </a:lnTo>
                    <a:lnTo>
                      <a:pt x="46" y="279"/>
                    </a:lnTo>
                    <a:lnTo>
                      <a:pt x="41" y="281"/>
                    </a:lnTo>
                    <a:lnTo>
                      <a:pt x="39" y="283"/>
                    </a:lnTo>
                    <a:lnTo>
                      <a:pt x="34" y="281"/>
                    </a:lnTo>
                    <a:lnTo>
                      <a:pt x="15" y="281"/>
                    </a:lnTo>
                    <a:lnTo>
                      <a:pt x="10" y="281"/>
                    </a:lnTo>
                    <a:lnTo>
                      <a:pt x="10" y="261"/>
                    </a:lnTo>
                    <a:lnTo>
                      <a:pt x="7" y="257"/>
                    </a:lnTo>
                    <a:lnTo>
                      <a:pt x="8" y="254"/>
                    </a:lnTo>
                    <a:lnTo>
                      <a:pt x="7" y="252"/>
                    </a:lnTo>
                    <a:lnTo>
                      <a:pt x="7" y="247"/>
                    </a:lnTo>
                    <a:lnTo>
                      <a:pt x="1" y="240"/>
                    </a:lnTo>
                    <a:lnTo>
                      <a:pt x="0" y="233"/>
                    </a:lnTo>
                    <a:lnTo>
                      <a:pt x="0" y="232"/>
                    </a:lnTo>
                    <a:lnTo>
                      <a:pt x="0" y="230"/>
                    </a:lnTo>
                    <a:lnTo>
                      <a:pt x="8" y="227"/>
                    </a:lnTo>
                    <a:lnTo>
                      <a:pt x="27" y="218"/>
                    </a:lnTo>
                    <a:lnTo>
                      <a:pt x="42" y="216"/>
                    </a:lnTo>
                    <a:lnTo>
                      <a:pt x="52" y="213"/>
                    </a:lnTo>
                    <a:lnTo>
                      <a:pt x="64" y="210"/>
                    </a:lnTo>
                    <a:lnTo>
                      <a:pt x="73" y="205"/>
                    </a:lnTo>
                    <a:lnTo>
                      <a:pt x="80" y="203"/>
                    </a:lnTo>
                    <a:lnTo>
                      <a:pt x="86" y="199"/>
                    </a:lnTo>
                    <a:lnTo>
                      <a:pt x="103" y="194"/>
                    </a:lnTo>
                    <a:lnTo>
                      <a:pt x="112" y="193"/>
                    </a:lnTo>
                    <a:lnTo>
                      <a:pt x="122" y="189"/>
                    </a:lnTo>
                    <a:lnTo>
                      <a:pt x="141" y="182"/>
                    </a:lnTo>
                    <a:lnTo>
                      <a:pt x="151" y="179"/>
                    </a:lnTo>
                    <a:lnTo>
                      <a:pt x="153" y="179"/>
                    </a:lnTo>
                    <a:lnTo>
                      <a:pt x="154" y="181"/>
                    </a:lnTo>
                    <a:lnTo>
                      <a:pt x="156" y="184"/>
                    </a:lnTo>
                    <a:lnTo>
                      <a:pt x="154" y="186"/>
                    </a:lnTo>
                    <a:lnTo>
                      <a:pt x="158" y="189"/>
                    </a:lnTo>
                    <a:lnTo>
                      <a:pt x="160" y="189"/>
                    </a:lnTo>
                    <a:lnTo>
                      <a:pt x="165" y="199"/>
                    </a:lnTo>
                    <a:lnTo>
                      <a:pt x="166" y="201"/>
                    </a:lnTo>
                    <a:lnTo>
                      <a:pt x="168" y="203"/>
                    </a:lnTo>
                    <a:lnTo>
                      <a:pt x="170" y="203"/>
                    </a:lnTo>
                    <a:lnTo>
                      <a:pt x="171" y="205"/>
                    </a:lnTo>
                    <a:lnTo>
                      <a:pt x="173" y="208"/>
                    </a:lnTo>
                    <a:lnTo>
                      <a:pt x="175" y="210"/>
                    </a:lnTo>
                    <a:lnTo>
                      <a:pt x="177" y="208"/>
                    </a:lnTo>
                    <a:lnTo>
                      <a:pt x="175" y="206"/>
                    </a:lnTo>
                    <a:lnTo>
                      <a:pt x="177" y="205"/>
                    </a:lnTo>
                    <a:lnTo>
                      <a:pt x="182" y="206"/>
                    </a:lnTo>
                    <a:lnTo>
                      <a:pt x="183" y="205"/>
                    </a:lnTo>
                    <a:lnTo>
                      <a:pt x="185" y="205"/>
                    </a:lnTo>
                    <a:lnTo>
                      <a:pt x="187" y="203"/>
                    </a:lnTo>
                    <a:lnTo>
                      <a:pt x="195" y="203"/>
                    </a:lnTo>
                    <a:lnTo>
                      <a:pt x="195" y="201"/>
                    </a:lnTo>
                    <a:lnTo>
                      <a:pt x="204" y="201"/>
                    </a:lnTo>
                    <a:lnTo>
                      <a:pt x="205" y="199"/>
                    </a:lnTo>
                    <a:lnTo>
                      <a:pt x="209" y="199"/>
                    </a:lnTo>
                    <a:lnTo>
                      <a:pt x="211" y="199"/>
                    </a:lnTo>
                    <a:lnTo>
                      <a:pt x="214" y="205"/>
                    </a:lnTo>
                    <a:lnTo>
                      <a:pt x="217" y="208"/>
                    </a:lnTo>
                    <a:lnTo>
                      <a:pt x="217" y="211"/>
                    </a:lnTo>
                    <a:lnTo>
                      <a:pt x="217" y="213"/>
                    </a:lnTo>
                    <a:lnTo>
                      <a:pt x="219" y="220"/>
                    </a:lnTo>
                    <a:lnTo>
                      <a:pt x="219" y="225"/>
                    </a:lnTo>
                    <a:lnTo>
                      <a:pt x="222" y="230"/>
                    </a:lnTo>
                    <a:lnTo>
                      <a:pt x="219" y="233"/>
                    </a:lnTo>
                    <a:lnTo>
                      <a:pt x="221" y="233"/>
                    </a:lnTo>
                    <a:lnTo>
                      <a:pt x="219" y="237"/>
                    </a:lnTo>
                    <a:lnTo>
                      <a:pt x="221" y="244"/>
                    </a:lnTo>
                    <a:lnTo>
                      <a:pt x="219" y="245"/>
                    </a:lnTo>
                    <a:lnTo>
                      <a:pt x="217" y="247"/>
                    </a:lnTo>
                    <a:lnTo>
                      <a:pt x="217" y="250"/>
                    </a:lnTo>
                    <a:lnTo>
                      <a:pt x="214" y="252"/>
                    </a:lnTo>
                    <a:lnTo>
                      <a:pt x="214" y="254"/>
                    </a:lnTo>
                    <a:lnTo>
                      <a:pt x="212" y="254"/>
                    </a:lnTo>
                    <a:lnTo>
                      <a:pt x="214" y="259"/>
                    </a:lnTo>
                    <a:lnTo>
                      <a:pt x="212" y="261"/>
                    </a:lnTo>
                    <a:lnTo>
                      <a:pt x="212" y="262"/>
                    </a:lnTo>
                    <a:lnTo>
                      <a:pt x="211" y="264"/>
                    </a:lnTo>
                    <a:lnTo>
                      <a:pt x="209" y="268"/>
                    </a:lnTo>
                    <a:lnTo>
                      <a:pt x="207" y="268"/>
                    </a:lnTo>
                    <a:lnTo>
                      <a:pt x="204" y="269"/>
                    </a:lnTo>
                    <a:lnTo>
                      <a:pt x="204" y="273"/>
                    </a:lnTo>
                    <a:lnTo>
                      <a:pt x="204" y="274"/>
                    </a:lnTo>
                    <a:lnTo>
                      <a:pt x="204" y="276"/>
                    </a:lnTo>
                    <a:lnTo>
                      <a:pt x="205" y="276"/>
                    </a:lnTo>
                    <a:lnTo>
                      <a:pt x="209" y="279"/>
                    </a:lnTo>
                    <a:lnTo>
                      <a:pt x="211" y="281"/>
                    </a:lnTo>
                    <a:lnTo>
                      <a:pt x="212" y="283"/>
                    </a:lnTo>
                    <a:lnTo>
                      <a:pt x="211" y="286"/>
                    </a:lnTo>
                    <a:lnTo>
                      <a:pt x="212" y="293"/>
                    </a:lnTo>
                    <a:lnTo>
                      <a:pt x="216" y="295"/>
                    </a:lnTo>
                    <a:lnTo>
                      <a:pt x="217" y="295"/>
                    </a:lnTo>
                    <a:lnTo>
                      <a:pt x="219" y="296"/>
                    </a:lnTo>
                    <a:lnTo>
                      <a:pt x="221" y="302"/>
                    </a:lnTo>
                    <a:lnTo>
                      <a:pt x="224" y="303"/>
                    </a:lnTo>
                    <a:lnTo>
                      <a:pt x="226" y="305"/>
                    </a:lnTo>
                    <a:lnTo>
                      <a:pt x="229" y="307"/>
                    </a:lnTo>
                    <a:lnTo>
                      <a:pt x="231" y="308"/>
                    </a:lnTo>
                    <a:lnTo>
                      <a:pt x="231" y="310"/>
                    </a:lnTo>
                    <a:lnTo>
                      <a:pt x="233" y="312"/>
                    </a:lnTo>
                    <a:lnTo>
                      <a:pt x="234" y="315"/>
                    </a:lnTo>
                    <a:lnTo>
                      <a:pt x="236" y="315"/>
                    </a:lnTo>
                    <a:lnTo>
                      <a:pt x="238" y="319"/>
                    </a:lnTo>
                    <a:lnTo>
                      <a:pt x="241" y="319"/>
                    </a:lnTo>
                    <a:lnTo>
                      <a:pt x="241" y="320"/>
                    </a:lnTo>
                    <a:lnTo>
                      <a:pt x="243" y="322"/>
                    </a:lnTo>
                    <a:lnTo>
                      <a:pt x="246" y="322"/>
                    </a:lnTo>
                    <a:lnTo>
                      <a:pt x="250" y="322"/>
                    </a:lnTo>
                    <a:lnTo>
                      <a:pt x="248" y="325"/>
                    </a:lnTo>
                    <a:lnTo>
                      <a:pt x="250" y="327"/>
                    </a:lnTo>
                    <a:lnTo>
                      <a:pt x="245" y="330"/>
                    </a:lnTo>
                    <a:lnTo>
                      <a:pt x="245" y="334"/>
                    </a:lnTo>
                    <a:lnTo>
                      <a:pt x="246" y="336"/>
                    </a:lnTo>
                    <a:lnTo>
                      <a:pt x="245" y="336"/>
                    </a:lnTo>
                    <a:lnTo>
                      <a:pt x="246" y="337"/>
                    </a:lnTo>
                    <a:lnTo>
                      <a:pt x="256" y="337"/>
                    </a:lnTo>
                    <a:lnTo>
                      <a:pt x="256" y="336"/>
                    </a:lnTo>
                    <a:lnTo>
                      <a:pt x="256" y="334"/>
                    </a:lnTo>
                    <a:lnTo>
                      <a:pt x="256" y="332"/>
                    </a:lnTo>
                    <a:lnTo>
                      <a:pt x="256" y="330"/>
                    </a:lnTo>
                    <a:lnTo>
                      <a:pt x="256" y="329"/>
                    </a:lnTo>
                    <a:lnTo>
                      <a:pt x="255" y="329"/>
                    </a:lnTo>
                    <a:lnTo>
                      <a:pt x="256" y="325"/>
                    </a:lnTo>
                    <a:lnTo>
                      <a:pt x="255" y="325"/>
                    </a:lnTo>
                    <a:lnTo>
                      <a:pt x="256" y="322"/>
                    </a:lnTo>
                    <a:lnTo>
                      <a:pt x="256" y="320"/>
                    </a:lnTo>
                    <a:lnTo>
                      <a:pt x="256" y="317"/>
                    </a:lnTo>
                    <a:lnTo>
                      <a:pt x="253" y="313"/>
                    </a:lnTo>
                    <a:lnTo>
                      <a:pt x="251" y="313"/>
                    </a:lnTo>
                    <a:lnTo>
                      <a:pt x="250" y="312"/>
                    </a:lnTo>
                    <a:lnTo>
                      <a:pt x="248" y="308"/>
                    </a:lnTo>
                    <a:lnTo>
                      <a:pt x="255" y="305"/>
                    </a:lnTo>
                    <a:lnTo>
                      <a:pt x="255" y="300"/>
                    </a:lnTo>
                    <a:lnTo>
                      <a:pt x="256" y="298"/>
                    </a:lnTo>
                    <a:lnTo>
                      <a:pt x="255" y="296"/>
                    </a:lnTo>
                    <a:lnTo>
                      <a:pt x="256" y="295"/>
                    </a:lnTo>
                    <a:lnTo>
                      <a:pt x="256" y="291"/>
                    </a:lnTo>
                    <a:lnTo>
                      <a:pt x="262" y="286"/>
                    </a:lnTo>
                    <a:lnTo>
                      <a:pt x="263" y="286"/>
                    </a:lnTo>
                    <a:lnTo>
                      <a:pt x="267" y="286"/>
                    </a:lnTo>
                    <a:lnTo>
                      <a:pt x="267" y="288"/>
                    </a:lnTo>
                    <a:lnTo>
                      <a:pt x="268" y="290"/>
                    </a:lnTo>
                    <a:lnTo>
                      <a:pt x="270" y="286"/>
                    </a:lnTo>
                    <a:lnTo>
                      <a:pt x="272" y="286"/>
                    </a:lnTo>
                    <a:lnTo>
                      <a:pt x="275" y="285"/>
                    </a:lnTo>
                    <a:lnTo>
                      <a:pt x="277" y="286"/>
                    </a:lnTo>
                    <a:lnTo>
                      <a:pt x="282" y="281"/>
                    </a:lnTo>
                    <a:lnTo>
                      <a:pt x="282" y="278"/>
                    </a:lnTo>
                    <a:lnTo>
                      <a:pt x="284" y="256"/>
                    </a:lnTo>
                    <a:lnTo>
                      <a:pt x="284" y="252"/>
                    </a:lnTo>
                    <a:lnTo>
                      <a:pt x="284" y="250"/>
                    </a:lnTo>
                    <a:lnTo>
                      <a:pt x="282" y="239"/>
                    </a:lnTo>
                    <a:lnTo>
                      <a:pt x="287" y="225"/>
                    </a:lnTo>
                    <a:lnTo>
                      <a:pt x="285" y="223"/>
                    </a:lnTo>
                    <a:lnTo>
                      <a:pt x="285" y="213"/>
                    </a:lnTo>
                    <a:lnTo>
                      <a:pt x="280" y="206"/>
                    </a:lnTo>
                    <a:lnTo>
                      <a:pt x="268" y="193"/>
                    </a:lnTo>
                    <a:lnTo>
                      <a:pt x="265" y="188"/>
                    </a:lnTo>
                    <a:lnTo>
                      <a:pt x="253" y="174"/>
                    </a:lnTo>
                    <a:lnTo>
                      <a:pt x="246" y="164"/>
                    </a:lnTo>
                    <a:lnTo>
                      <a:pt x="234" y="154"/>
                    </a:lnTo>
                    <a:lnTo>
                      <a:pt x="221" y="154"/>
                    </a:lnTo>
                    <a:lnTo>
                      <a:pt x="217" y="147"/>
                    </a:lnTo>
                    <a:lnTo>
                      <a:pt x="217" y="142"/>
                    </a:lnTo>
                    <a:lnTo>
                      <a:pt x="217" y="135"/>
                    </a:lnTo>
                    <a:lnTo>
                      <a:pt x="219" y="131"/>
                    </a:lnTo>
                    <a:lnTo>
                      <a:pt x="216" y="121"/>
                    </a:lnTo>
                    <a:lnTo>
                      <a:pt x="217" y="114"/>
                    </a:lnTo>
                    <a:lnTo>
                      <a:pt x="212" y="96"/>
                    </a:lnTo>
                    <a:lnTo>
                      <a:pt x="212" y="85"/>
                    </a:lnTo>
                    <a:lnTo>
                      <a:pt x="217" y="74"/>
                    </a:lnTo>
                    <a:lnTo>
                      <a:pt x="222" y="63"/>
                    </a:lnTo>
                    <a:lnTo>
                      <a:pt x="222" y="57"/>
                    </a:lnTo>
                    <a:lnTo>
                      <a:pt x="239" y="57"/>
                    </a:lnTo>
                    <a:lnTo>
                      <a:pt x="258" y="55"/>
                    </a:lnTo>
                    <a:lnTo>
                      <a:pt x="262" y="57"/>
                    </a:lnTo>
                    <a:lnTo>
                      <a:pt x="262" y="55"/>
                    </a:lnTo>
                    <a:lnTo>
                      <a:pt x="263" y="57"/>
                    </a:lnTo>
                    <a:lnTo>
                      <a:pt x="265" y="57"/>
                    </a:lnTo>
                    <a:lnTo>
                      <a:pt x="265" y="55"/>
                    </a:lnTo>
                    <a:lnTo>
                      <a:pt x="267" y="55"/>
                    </a:lnTo>
                    <a:lnTo>
                      <a:pt x="267" y="57"/>
                    </a:lnTo>
                    <a:lnTo>
                      <a:pt x="268" y="55"/>
                    </a:lnTo>
                    <a:lnTo>
                      <a:pt x="268" y="57"/>
                    </a:lnTo>
                    <a:lnTo>
                      <a:pt x="270" y="55"/>
                    </a:lnTo>
                    <a:lnTo>
                      <a:pt x="273" y="55"/>
                    </a:lnTo>
                    <a:lnTo>
                      <a:pt x="277" y="53"/>
                    </a:lnTo>
                    <a:lnTo>
                      <a:pt x="277" y="51"/>
                    </a:lnTo>
                    <a:lnTo>
                      <a:pt x="280" y="51"/>
                    </a:lnTo>
                    <a:lnTo>
                      <a:pt x="280" y="50"/>
                    </a:lnTo>
                    <a:lnTo>
                      <a:pt x="280" y="51"/>
                    </a:lnTo>
                    <a:lnTo>
                      <a:pt x="282" y="48"/>
                    </a:lnTo>
                    <a:lnTo>
                      <a:pt x="284" y="48"/>
                    </a:lnTo>
                    <a:lnTo>
                      <a:pt x="287" y="50"/>
                    </a:lnTo>
                    <a:lnTo>
                      <a:pt x="289" y="48"/>
                    </a:lnTo>
                    <a:lnTo>
                      <a:pt x="290" y="50"/>
                    </a:lnTo>
                    <a:lnTo>
                      <a:pt x="292" y="51"/>
                    </a:lnTo>
                    <a:lnTo>
                      <a:pt x="294" y="51"/>
                    </a:lnTo>
                    <a:lnTo>
                      <a:pt x="296" y="55"/>
                    </a:lnTo>
                    <a:lnTo>
                      <a:pt x="297" y="53"/>
                    </a:lnTo>
                    <a:lnTo>
                      <a:pt x="299" y="55"/>
                    </a:lnTo>
                    <a:lnTo>
                      <a:pt x="299" y="57"/>
                    </a:lnTo>
                    <a:lnTo>
                      <a:pt x="301" y="55"/>
                    </a:lnTo>
                    <a:lnTo>
                      <a:pt x="302" y="57"/>
                    </a:lnTo>
                    <a:lnTo>
                      <a:pt x="301" y="60"/>
                    </a:lnTo>
                    <a:lnTo>
                      <a:pt x="302" y="63"/>
                    </a:lnTo>
                    <a:lnTo>
                      <a:pt x="306" y="62"/>
                    </a:lnTo>
                    <a:lnTo>
                      <a:pt x="306" y="63"/>
                    </a:lnTo>
                    <a:lnTo>
                      <a:pt x="307" y="63"/>
                    </a:lnTo>
                    <a:lnTo>
                      <a:pt x="309" y="63"/>
                    </a:lnTo>
                    <a:lnTo>
                      <a:pt x="311" y="62"/>
                    </a:lnTo>
                    <a:lnTo>
                      <a:pt x="316" y="62"/>
                    </a:lnTo>
                    <a:lnTo>
                      <a:pt x="318" y="62"/>
                    </a:lnTo>
                    <a:lnTo>
                      <a:pt x="318" y="63"/>
                    </a:lnTo>
                    <a:lnTo>
                      <a:pt x="318" y="65"/>
                    </a:lnTo>
                    <a:lnTo>
                      <a:pt x="321" y="62"/>
                    </a:lnTo>
                    <a:lnTo>
                      <a:pt x="324" y="63"/>
                    </a:lnTo>
                    <a:lnTo>
                      <a:pt x="331" y="60"/>
                    </a:lnTo>
                    <a:lnTo>
                      <a:pt x="333" y="55"/>
                    </a:lnTo>
                    <a:lnTo>
                      <a:pt x="336" y="57"/>
                    </a:lnTo>
                    <a:lnTo>
                      <a:pt x="338" y="57"/>
                    </a:lnTo>
                    <a:lnTo>
                      <a:pt x="338" y="58"/>
                    </a:lnTo>
                    <a:lnTo>
                      <a:pt x="341" y="57"/>
                    </a:lnTo>
                    <a:lnTo>
                      <a:pt x="343" y="57"/>
                    </a:lnTo>
                    <a:lnTo>
                      <a:pt x="347" y="58"/>
                    </a:lnTo>
                    <a:lnTo>
                      <a:pt x="353" y="60"/>
                    </a:lnTo>
                    <a:lnTo>
                      <a:pt x="357" y="60"/>
                    </a:lnTo>
                    <a:lnTo>
                      <a:pt x="358" y="62"/>
                    </a:lnTo>
                    <a:lnTo>
                      <a:pt x="362" y="62"/>
                    </a:lnTo>
                    <a:lnTo>
                      <a:pt x="364" y="62"/>
                    </a:lnTo>
                    <a:lnTo>
                      <a:pt x="365" y="60"/>
                    </a:lnTo>
                    <a:lnTo>
                      <a:pt x="367" y="58"/>
                    </a:lnTo>
                    <a:lnTo>
                      <a:pt x="369" y="58"/>
                    </a:lnTo>
                    <a:lnTo>
                      <a:pt x="372" y="58"/>
                    </a:lnTo>
                    <a:lnTo>
                      <a:pt x="375" y="57"/>
                    </a:lnTo>
                    <a:lnTo>
                      <a:pt x="381" y="55"/>
                    </a:lnTo>
                    <a:lnTo>
                      <a:pt x="382" y="53"/>
                    </a:lnTo>
                    <a:lnTo>
                      <a:pt x="382" y="51"/>
                    </a:lnTo>
                    <a:lnTo>
                      <a:pt x="382" y="50"/>
                    </a:lnTo>
                    <a:lnTo>
                      <a:pt x="384" y="46"/>
                    </a:lnTo>
                    <a:lnTo>
                      <a:pt x="384" y="43"/>
                    </a:lnTo>
                    <a:lnTo>
                      <a:pt x="386" y="43"/>
                    </a:lnTo>
                    <a:lnTo>
                      <a:pt x="389" y="40"/>
                    </a:lnTo>
                    <a:lnTo>
                      <a:pt x="396" y="41"/>
                    </a:lnTo>
                    <a:lnTo>
                      <a:pt x="399" y="40"/>
                    </a:lnTo>
                    <a:lnTo>
                      <a:pt x="401" y="41"/>
                    </a:lnTo>
                    <a:lnTo>
                      <a:pt x="406" y="41"/>
                    </a:lnTo>
                    <a:lnTo>
                      <a:pt x="408" y="43"/>
                    </a:lnTo>
                    <a:lnTo>
                      <a:pt x="409" y="43"/>
                    </a:lnTo>
                    <a:lnTo>
                      <a:pt x="411" y="46"/>
                    </a:lnTo>
                    <a:lnTo>
                      <a:pt x="415" y="46"/>
                    </a:lnTo>
                    <a:lnTo>
                      <a:pt x="416" y="48"/>
                    </a:lnTo>
                    <a:lnTo>
                      <a:pt x="418" y="48"/>
                    </a:lnTo>
                    <a:lnTo>
                      <a:pt x="425" y="41"/>
                    </a:lnTo>
                    <a:lnTo>
                      <a:pt x="430" y="41"/>
                    </a:lnTo>
                    <a:lnTo>
                      <a:pt x="432" y="41"/>
                    </a:lnTo>
                    <a:lnTo>
                      <a:pt x="432" y="40"/>
                    </a:lnTo>
                    <a:lnTo>
                      <a:pt x="435" y="38"/>
                    </a:lnTo>
                    <a:lnTo>
                      <a:pt x="437" y="36"/>
                    </a:lnTo>
                    <a:lnTo>
                      <a:pt x="447" y="36"/>
                    </a:lnTo>
                    <a:lnTo>
                      <a:pt x="452" y="34"/>
                    </a:lnTo>
                    <a:lnTo>
                      <a:pt x="454" y="36"/>
                    </a:lnTo>
                    <a:lnTo>
                      <a:pt x="457" y="36"/>
                    </a:lnTo>
                    <a:lnTo>
                      <a:pt x="459" y="34"/>
                    </a:lnTo>
                    <a:lnTo>
                      <a:pt x="460" y="34"/>
                    </a:lnTo>
                    <a:lnTo>
                      <a:pt x="460" y="31"/>
                    </a:lnTo>
                    <a:lnTo>
                      <a:pt x="462" y="31"/>
                    </a:lnTo>
                    <a:lnTo>
                      <a:pt x="466" y="29"/>
                    </a:lnTo>
                    <a:lnTo>
                      <a:pt x="467" y="29"/>
                    </a:lnTo>
                    <a:lnTo>
                      <a:pt x="467" y="28"/>
                    </a:lnTo>
                    <a:lnTo>
                      <a:pt x="471" y="28"/>
                    </a:lnTo>
                    <a:lnTo>
                      <a:pt x="471" y="26"/>
                    </a:lnTo>
                    <a:lnTo>
                      <a:pt x="472" y="26"/>
                    </a:lnTo>
                    <a:lnTo>
                      <a:pt x="474" y="24"/>
                    </a:lnTo>
                    <a:lnTo>
                      <a:pt x="481" y="24"/>
                    </a:lnTo>
                    <a:lnTo>
                      <a:pt x="483" y="23"/>
                    </a:lnTo>
                    <a:lnTo>
                      <a:pt x="484" y="23"/>
                    </a:lnTo>
                    <a:lnTo>
                      <a:pt x="489" y="19"/>
                    </a:lnTo>
                    <a:lnTo>
                      <a:pt x="494" y="17"/>
                    </a:lnTo>
                    <a:lnTo>
                      <a:pt x="498" y="14"/>
                    </a:lnTo>
                    <a:lnTo>
                      <a:pt x="501" y="12"/>
                    </a:lnTo>
                    <a:lnTo>
                      <a:pt x="506" y="7"/>
                    </a:lnTo>
                    <a:lnTo>
                      <a:pt x="510" y="6"/>
                    </a:lnTo>
                    <a:lnTo>
                      <a:pt x="513" y="6"/>
                    </a:lnTo>
                    <a:lnTo>
                      <a:pt x="513" y="2"/>
                    </a:lnTo>
                    <a:lnTo>
                      <a:pt x="517" y="0"/>
                    </a:lnTo>
                    <a:lnTo>
                      <a:pt x="522" y="0"/>
                    </a:lnTo>
                    <a:lnTo>
                      <a:pt x="522" y="4"/>
                    </a:lnTo>
                    <a:lnTo>
                      <a:pt x="520" y="4"/>
                    </a:lnTo>
                    <a:lnTo>
                      <a:pt x="523" y="7"/>
                    </a:lnTo>
                    <a:lnTo>
                      <a:pt x="523" y="9"/>
                    </a:lnTo>
                    <a:lnTo>
                      <a:pt x="527" y="11"/>
                    </a:lnTo>
                    <a:lnTo>
                      <a:pt x="527" y="12"/>
                    </a:lnTo>
                    <a:lnTo>
                      <a:pt x="523" y="11"/>
                    </a:lnTo>
                    <a:lnTo>
                      <a:pt x="518" y="14"/>
                    </a:lnTo>
                    <a:lnTo>
                      <a:pt x="523" y="17"/>
                    </a:lnTo>
                    <a:lnTo>
                      <a:pt x="525" y="19"/>
                    </a:lnTo>
                    <a:lnTo>
                      <a:pt x="525" y="21"/>
                    </a:lnTo>
                    <a:lnTo>
                      <a:pt x="520" y="23"/>
                    </a:lnTo>
                    <a:lnTo>
                      <a:pt x="520" y="24"/>
                    </a:lnTo>
                    <a:lnTo>
                      <a:pt x="520" y="26"/>
                    </a:lnTo>
                    <a:lnTo>
                      <a:pt x="520" y="28"/>
                    </a:lnTo>
                    <a:lnTo>
                      <a:pt x="523" y="29"/>
                    </a:lnTo>
                    <a:lnTo>
                      <a:pt x="522" y="31"/>
                    </a:lnTo>
                    <a:lnTo>
                      <a:pt x="520" y="34"/>
                    </a:lnTo>
                    <a:lnTo>
                      <a:pt x="520" y="36"/>
                    </a:lnTo>
                    <a:lnTo>
                      <a:pt x="517" y="38"/>
                    </a:lnTo>
                    <a:lnTo>
                      <a:pt x="515" y="41"/>
                    </a:lnTo>
                    <a:lnTo>
                      <a:pt x="513" y="43"/>
                    </a:lnTo>
                    <a:lnTo>
                      <a:pt x="513" y="45"/>
                    </a:lnTo>
                    <a:lnTo>
                      <a:pt x="515" y="45"/>
                    </a:lnTo>
                    <a:lnTo>
                      <a:pt x="515" y="46"/>
                    </a:lnTo>
                    <a:lnTo>
                      <a:pt x="517" y="48"/>
                    </a:lnTo>
                    <a:lnTo>
                      <a:pt x="517" y="46"/>
                    </a:lnTo>
                    <a:lnTo>
                      <a:pt x="517" y="48"/>
                    </a:lnTo>
                    <a:lnTo>
                      <a:pt x="518" y="48"/>
                    </a:lnTo>
                    <a:lnTo>
                      <a:pt x="518" y="50"/>
                    </a:lnTo>
                    <a:lnTo>
                      <a:pt x="518" y="51"/>
                    </a:lnTo>
                    <a:lnTo>
                      <a:pt x="517" y="53"/>
                    </a:lnTo>
                    <a:lnTo>
                      <a:pt x="515" y="55"/>
                    </a:lnTo>
                    <a:lnTo>
                      <a:pt x="517" y="57"/>
                    </a:lnTo>
                    <a:lnTo>
                      <a:pt x="518" y="58"/>
                    </a:lnTo>
                    <a:lnTo>
                      <a:pt x="517" y="60"/>
                    </a:lnTo>
                    <a:lnTo>
                      <a:pt x="517" y="62"/>
                    </a:lnTo>
                    <a:lnTo>
                      <a:pt x="517" y="63"/>
                    </a:lnTo>
                    <a:lnTo>
                      <a:pt x="518" y="65"/>
                    </a:lnTo>
                    <a:lnTo>
                      <a:pt x="518" y="68"/>
                    </a:lnTo>
                    <a:lnTo>
                      <a:pt x="520" y="70"/>
                    </a:lnTo>
                    <a:lnTo>
                      <a:pt x="518" y="72"/>
                    </a:lnTo>
                    <a:lnTo>
                      <a:pt x="520" y="75"/>
                    </a:lnTo>
                    <a:lnTo>
                      <a:pt x="522" y="77"/>
                    </a:lnTo>
                    <a:lnTo>
                      <a:pt x="520" y="79"/>
                    </a:lnTo>
                    <a:lnTo>
                      <a:pt x="520" y="80"/>
                    </a:lnTo>
                    <a:lnTo>
                      <a:pt x="520" y="82"/>
                    </a:lnTo>
                    <a:lnTo>
                      <a:pt x="520" y="85"/>
                    </a:lnTo>
                    <a:lnTo>
                      <a:pt x="520" y="87"/>
                    </a:lnTo>
                    <a:lnTo>
                      <a:pt x="520" y="89"/>
                    </a:lnTo>
                    <a:lnTo>
                      <a:pt x="520" y="91"/>
                    </a:lnTo>
                    <a:lnTo>
                      <a:pt x="520" y="94"/>
                    </a:lnTo>
                    <a:lnTo>
                      <a:pt x="518" y="97"/>
                    </a:lnTo>
                    <a:lnTo>
                      <a:pt x="520" y="97"/>
                    </a:lnTo>
                    <a:lnTo>
                      <a:pt x="522" y="97"/>
                    </a:lnTo>
                    <a:lnTo>
                      <a:pt x="523" y="97"/>
                    </a:lnTo>
                    <a:lnTo>
                      <a:pt x="520" y="99"/>
                    </a:lnTo>
                    <a:lnTo>
                      <a:pt x="518" y="103"/>
                    </a:lnTo>
                    <a:lnTo>
                      <a:pt x="520" y="104"/>
                    </a:lnTo>
                    <a:lnTo>
                      <a:pt x="518" y="106"/>
                    </a:lnTo>
                    <a:lnTo>
                      <a:pt x="520" y="104"/>
                    </a:lnTo>
                    <a:lnTo>
                      <a:pt x="523" y="104"/>
                    </a:lnTo>
                    <a:lnTo>
                      <a:pt x="522" y="106"/>
                    </a:lnTo>
                    <a:lnTo>
                      <a:pt x="523" y="109"/>
                    </a:lnTo>
                    <a:lnTo>
                      <a:pt x="525" y="111"/>
                    </a:lnTo>
                    <a:lnTo>
                      <a:pt x="525" y="109"/>
                    </a:lnTo>
                    <a:lnTo>
                      <a:pt x="525" y="111"/>
                    </a:lnTo>
                    <a:lnTo>
                      <a:pt x="523" y="111"/>
                    </a:lnTo>
                    <a:lnTo>
                      <a:pt x="523" y="114"/>
                    </a:lnTo>
                    <a:lnTo>
                      <a:pt x="525" y="113"/>
                    </a:lnTo>
                    <a:lnTo>
                      <a:pt x="525" y="114"/>
                    </a:lnTo>
                    <a:lnTo>
                      <a:pt x="525" y="116"/>
                    </a:lnTo>
                    <a:lnTo>
                      <a:pt x="527" y="116"/>
                    </a:lnTo>
                    <a:lnTo>
                      <a:pt x="525" y="118"/>
                    </a:lnTo>
                    <a:lnTo>
                      <a:pt x="523" y="120"/>
                    </a:lnTo>
                    <a:lnTo>
                      <a:pt x="523" y="118"/>
                    </a:lnTo>
                    <a:lnTo>
                      <a:pt x="523" y="120"/>
                    </a:lnTo>
                    <a:lnTo>
                      <a:pt x="522" y="120"/>
                    </a:lnTo>
                    <a:lnTo>
                      <a:pt x="520" y="125"/>
                    </a:lnTo>
                    <a:lnTo>
                      <a:pt x="520" y="123"/>
                    </a:lnTo>
                    <a:lnTo>
                      <a:pt x="518" y="123"/>
                    </a:lnTo>
                    <a:lnTo>
                      <a:pt x="515" y="125"/>
                    </a:lnTo>
                    <a:lnTo>
                      <a:pt x="515" y="126"/>
                    </a:lnTo>
                    <a:lnTo>
                      <a:pt x="517" y="130"/>
                    </a:lnTo>
                    <a:lnTo>
                      <a:pt x="518" y="130"/>
                    </a:lnTo>
                    <a:lnTo>
                      <a:pt x="520" y="131"/>
                    </a:lnTo>
                    <a:lnTo>
                      <a:pt x="520" y="128"/>
                    </a:lnTo>
                    <a:lnTo>
                      <a:pt x="518" y="126"/>
                    </a:lnTo>
                    <a:lnTo>
                      <a:pt x="520" y="126"/>
                    </a:lnTo>
                    <a:lnTo>
                      <a:pt x="522" y="126"/>
                    </a:lnTo>
                    <a:lnTo>
                      <a:pt x="523" y="126"/>
                    </a:lnTo>
                    <a:lnTo>
                      <a:pt x="522" y="133"/>
                    </a:lnTo>
                    <a:lnTo>
                      <a:pt x="523" y="137"/>
                    </a:lnTo>
                    <a:lnTo>
                      <a:pt x="523" y="142"/>
                    </a:lnTo>
                    <a:lnTo>
                      <a:pt x="522" y="143"/>
                    </a:lnTo>
                    <a:lnTo>
                      <a:pt x="523" y="147"/>
                    </a:lnTo>
                    <a:lnTo>
                      <a:pt x="523" y="148"/>
                    </a:lnTo>
                    <a:lnTo>
                      <a:pt x="522" y="150"/>
                    </a:lnTo>
                    <a:lnTo>
                      <a:pt x="522" y="155"/>
                    </a:lnTo>
                    <a:lnTo>
                      <a:pt x="523" y="157"/>
                    </a:lnTo>
                    <a:lnTo>
                      <a:pt x="525" y="157"/>
                    </a:lnTo>
                    <a:lnTo>
                      <a:pt x="525" y="159"/>
                    </a:lnTo>
                    <a:lnTo>
                      <a:pt x="522" y="160"/>
                    </a:lnTo>
                    <a:lnTo>
                      <a:pt x="522" y="162"/>
                    </a:lnTo>
                    <a:lnTo>
                      <a:pt x="523" y="164"/>
                    </a:lnTo>
                    <a:lnTo>
                      <a:pt x="525" y="174"/>
                    </a:lnTo>
                    <a:lnTo>
                      <a:pt x="525" y="176"/>
                    </a:lnTo>
                    <a:lnTo>
                      <a:pt x="527" y="177"/>
                    </a:lnTo>
                    <a:lnTo>
                      <a:pt x="523" y="177"/>
                    </a:lnTo>
                    <a:lnTo>
                      <a:pt x="523" y="179"/>
                    </a:lnTo>
                    <a:lnTo>
                      <a:pt x="525" y="179"/>
                    </a:lnTo>
                    <a:lnTo>
                      <a:pt x="527" y="179"/>
                    </a:lnTo>
                    <a:lnTo>
                      <a:pt x="527" y="181"/>
                    </a:lnTo>
                    <a:lnTo>
                      <a:pt x="527" y="182"/>
                    </a:lnTo>
                    <a:lnTo>
                      <a:pt x="523" y="184"/>
                    </a:lnTo>
                    <a:lnTo>
                      <a:pt x="525" y="184"/>
                    </a:lnTo>
                    <a:lnTo>
                      <a:pt x="525" y="186"/>
                    </a:lnTo>
                    <a:lnTo>
                      <a:pt x="522" y="188"/>
                    </a:lnTo>
                    <a:lnTo>
                      <a:pt x="523" y="189"/>
                    </a:lnTo>
                    <a:lnTo>
                      <a:pt x="522" y="191"/>
                    </a:lnTo>
                    <a:lnTo>
                      <a:pt x="523" y="191"/>
                    </a:lnTo>
                    <a:lnTo>
                      <a:pt x="523" y="189"/>
                    </a:lnTo>
                    <a:lnTo>
                      <a:pt x="525" y="191"/>
                    </a:lnTo>
                    <a:lnTo>
                      <a:pt x="523" y="191"/>
                    </a:lnTo>
                    <a:lnTo>
                      <a:pt x="525" y="193"/>
                    </a:lnTo>
                    <a:lnTo>
                      <a:pt x="525" y="191"/>
                    </a:lnTo>
                    <a:lnTo>
                      <a:pt x="527" y="189"/>
                    </a:lnTo>
                    <a:lnTo>
                      <a:pt x="530" y="189"/>
                    </a:lnTo>
                    <a:lnTo>
                      <a:pt x="530" y="193"/>
                    </a:lnTo>
                    <a:lnTo>
                      <a:pt x="532" y="193"/>
                    </a:lnTo>
                    <a:lnTo>
                      <a:pt x="532" y="196"/>
                    </a:lnTo>
                    <a:lnTo>
                      <a:pt x="528" y="198"/>
                    </a:lnTo>
                    <a:lnTo>
                      <a:pt x="527" y="196"/>
                    </a:lnTo>
                    <a:lnTo>
                      <a:pt x="525" y="196"/>
                    </a:lnTo>
                    <a:lnTo>
                      <a:pt x="527" y="198"/>
                    </a:lnTo>
                    <a:lnTo>
                      <a:pt x="527" y="201"/>
                    </a:lnTo>
                    <a:lnTo>
                      <a:pt x="528" y="203"/>
                    </a:lnTo>
                    <a:lnTo>
                      <a:pt x="527" y="203"/>
                    </a:lnTo>
                    <a:lnTo>
                      <a:pt x="527" y="205"/>
                    </a:lnTo>
                    <a:lnTo>
                      <a:pt x="528" y="203"/>
                    </a:lnTo>
                    <a:lnTo>
                      <a:pt x="525" y="205"/>
                    </a:lnTo>
                    <a:lnTo>
                      <a:pt x="527" y="206"/>
                    </a:lnTo>
                    <a:lnTo>
                      <a:pt x="525" y="210"/>
                    </a:lnTo>
                    <a:lnTo>
                      <a:pt x="528" y="208"/>
                    </a:lnTo>
                    <a:lnTo>
                      <a:pt x="528" y="203"/>
                    </a:lnTo>
                    <a:lnTo>
                      <a:pt x="530" y="201"/>
                    </a:lnTo>
                    <a:lnTo>
                      <a:pt x="535" y="199"/>
                    </a:lnTo>
                    <a:lnTo>
                      <a:pt x="537" y="205"/>
                    </a:lnTo>
                    <a:lnTo>
                      <a:pt x="534" y="206"/>
                    </a:lnTo>
                    <a:lnTo>
                      <a:pt x="534" y="208"/>
                    </a:lnTo>
                    <a:lnTo>
                      <a:pt x="535" y="206"/>
                    </a:lnTo>
                    <a:lnTo>
                      <a:pt x="537" y="206"/>
                    </a:lnTo>
                    <a:lnTo>
                      <a:pt x="535" y="211"/>
                    </a:lnTo>
                    <a:lnTo>
                      <a:pt x="537" y="213"/>
                    </a:lnTo>
                    <a:lnTo>
                      <a:pt x="537" y="218"/>
                    </a:lnTo>
                    <a:lnTo>
                      <a:pt x="535" y="220"/>
                    </a:lnTo>
                    <a:lnTo>
                      <a:pt x="537" y="220"/>
                    </a:lnTo>
                    <a:lnTo>
                      <a:pt x="537" y="222"/>
                    </a:lnTo>
                    <a:lnTo>
                      <a:pt x="535" y="222"/>
                    </a:lnTo>
                    <a:lnTo>
                      <a:pt x="532" y="223"/>
                    </a:lnTo>
                    <a:lnTo>
                      <a:pt x="528" y="225"/>
                    </a:lnTo>
                    <a:lnTo>
                      <a:pt x="527" y="222"/>
                    </a:lnTo>
                    <a:lnTo>
                      <a:pt x="527" y="223"/>
                    </a:lnTo>
                    <a:lnTo>
                      <a:pt x="527" y="225"/>
                    </a:lnTo>
                    <a:lnTo>
                      <a:pt x="530" y="227"/>
                    </a:lnTo>
                    <a:lnTo>
                      <a:pt x="532" y="227"/>
                    </a:lnTo>
                    <a:lnTo>
                      <a:pt x="534" y="230"/>
                    </a:lnTo>
                    <a:lnTo>
                      <a:pt x="532" y="230"/>
                    </a:lnTo>
                    <a:lnTo>
                      <a:pt x="532" y="228"/>
                    </a:lnTo>
                    <a:lnTo>
                      <a:pt x="528" y="228"/>
                    </a:lnTo>
                    <a:lnTo>
                      <a:pt x="527" y="227"/>
                    </a:lnTo>
                    <a:lnTo>
                      <a:pt x="527" y="228"/>
                    </a:lnTo>
                    <a:lnTo>
                      <a:pt x="527" y="230"/>
                    </a:lnTo>
                    <a:lnTo>
                      <a:pt x="528" y="230"/>
                    </a:lnTo>
                    <a:lnTo>
                      <a:pt x="528" y="228"/>
                    </a:lnTo>
                    <a:lnTo>
                      <a:pt x="528" y="230"/>
                    </a:lnTo>
                    <a:lnTo>
                      <a:pt x="530" y="232"/>
                    </a:lnTo>
                    <a:lnTo>
                      <a:pt x="530" y="233"/>
                    </a:lnTo>
                    <a:lnTo>
                      <a:pt x="527" y="233"/>
                    </a:lnTo>
                    <a:lnTo>
                      <a:pt x="523" y="237"/>
                    </a:lnTo>
                    <a:lnTo>
                      <a:pt x="523" y="235"/>
                    </a:lnTo>
                    <a:lnTo>
                      <a:pt x="522" y="237"/>
                    </a:lnTo>
                    <a:lnTo>
                      <a:pt x="520" y="239"/>
                    </a:lnTo>
                    <a:lnTo>
                      <a:pt x="520" y="240"/>
                    </a:lnTo>
                    <a:lnTo>
                      <a:pt x="520" y="239"/>
                    </a:lnTo>
                    <a:lnTo>
                      <a:pt x="523" y="240"/>
                    </a:lnTo>
                    <a:lnTo>
                      <a:pt x="525" y="239"/>
                    </a:lnTo>
                    <a:lnTo>
                      <a:pt x="523" y="239"/>
                    </a:lnTo>
                    <a:lnTo>
                      <a:pt x="525" y="237"/>
                    </a:lnTo>
                    <a:lnTo>
                      <a:pt x="527" y="239"/>
                    </a:lnTo>
                    <a:lnTo>
                      <a:pt x="527" y="237"/>
                    </a:lnTo>
                    <a:lnTo>
                      <a:pt x="528" y="239"/>
                    </a:lnTo>
                    <a:lnTo>
                      <a:pt x="528" y="244"/>
                    </a:lnTo>
                    <a:lnTo>
                      <a:pt x="525" y="249"/>
                    </a:lnTo>
                    <a:lnTo>
                      <a:pt x="527" y="247"/>
                    </a:lnTo>
                    <a:lnTo>
                      <a:pt x="523" y="250"/>
                    </a:lnTo>
                    <a:lnTo>
                      <a:pt x="523" y="252"/>
                    </a:lnTo>
                    <a:lnTo>
                      <a:pt x="522" y="252"/>
                    </a:lnTo>
                    <a:lnTo>
                      <a:pt x="523" y="252"/>
                    </a:lnTo>
                    <a:lnTo>
                      <a:pt x="523" y="254"/>
                    </a:lnTo>
                    <a:lnTo>
                      <a:pt x="520" y="257"/>
                    </a:lnTo>
                    <a:lnTo>
                      <a:pt x="517" y="261"/>
                    </a:lnTo>
                    <a:lnTo>
                      <a:pt x="511" y="268"/>
                    </a:lnTo>
                    <a:lnTo>
                      <a:pt x="503" y="278"/>
                    </a:lnTo>
                    <a:lnTo>
                      <a:pt x="500" y="278"/>
                    </a:lnTo>
                    <a:lnTo>
                      <a:pt x="501" y="279"/>
                    </a:lnTo>
                    <a:lnTo>
                      <a:pt x="501" y="281"/>
                    </a:lnTo>
                    <a:lnTo>
                      <a:pt x="500" y="283"/>
                    </a:lnTo>
                    <a:lnTo>
                      <a:pt x="500" y="285"/>
                    </a:lnTo>
                    <a:lnTo>
                      <a:pt x="496" y="286"/>
                    </a:lnTo>
                    <a:lnTo>
                      <a:pt x="496" y="290"/>
                    </a:lnTo>
                    <a:lnTo>
                      <a:pt x="493" y="293"/>
                    </a:lnTo>
                    <a:lnTo>
                      <a:pt x="491" y="293"/>
                    </a:lnTo>
                    <a:lnTo>
                      <a:pt x="484" y="295"/>
                    </a:lnTo>
                    <a:lnTo>
                      <a:pt x="486" y="295"/>
                    </a:lnTo>
                    <a:lnTo>
                      <a:pt x="489" y="295"/>
                    </a:lnTo>
                    <a:lnTo>
                      <a:pt x="491" y="296"/>
                    </a:lnTo>
                    <a:lnTo>
                      <a:pt x="493" y="296"/>
                    </a:lnTo>
                    <a:lnTo>
                      <a:pt x="489" y="300"/>
                    </a:lnTo>
                    <a:lnTo>
                      <a:pt x="488" y="300"/>
                    </a:lnTo>
                    <a:lnTo>
                      <a:pt x="489" y="300"/>
                    </a:lnTo>
                    <a:lnTo>
                      <a:pt x="489" y="302"/>
                    </a:lnTo>
                    <a:lnTo>
                      <a:pt x="489" y="300"/>
                    </a:lnTo>
                    <a:lnTo>
                      <a:pt x="489" y="302"/>
                    </a:lnTo>
                    <a:lnTo>
                      <a:pt x="486" y="302"/>
                    </a:lnTo>
                    <a:lnTo>
                      <a:pt x="488" y="303"/>
                    </a:lnTo>
                    <a:lnTo>
                      <a:pt x="472" y="312"/>
                    </a:lnTo>
                    <a:lnTo>
                      <a:pt x="469" y="315"/>
                    </a:lnTo>
                    <a:lnTo>
                      <a:pt x="457" y="320"/>
                    </a:lnTo>
                    <a:lnTo>
                      <a:pt x="452" y="324"/>
                    </a:lnTo>
                    <a:lnTo>
                      <a:pt x="450" y="327"/>
                    </a:lnTo>
                    <a:lnTo>
                      <a:pt x="450" y="325"/>
                    </a:lnTo>
                    <a:lnTo>
                      <a:pt x="449" y="327"/>
                    </a:lnTo>
                    <a:lnTo>
                      <a:pt x="450" y="329"/>
                    </a:lnTo>
                    <a:lnTo>
                      <a:pt x="447" y="332"/>
                    </a:lnTo>
                    <a:lnTo>
                      <a:pt x="443" y="332"/>
                    </a:lnTo>
                    <a:lnTo>
                      <a:pt x="435" y="334"/>
                    </a:lnTo>
                    <a:lnTo>
                      <a:pt x="428" y="336"/>
                    </a:lnTo>
                    <a:lnTo>
                      <a:pt x="416" y="339"/>
                    </a:lnTo>
                    <a:lnTo>
                      <a:pt x="404" y="344"/>
                    </a:lnTo>
                    <a:lnTo>
                      <a:pt x="403" y="346"/>
                    </a:lnTo>
                    <a:lnTo>
                      <a:pt x="391" y="349"/>
                    </a:lnTo>
                    <a:lnTo>
                      <a:pt x="379" y="356"/>
                    </a:lnTo>
                    <a:lnTo>
                      <a:pt x="377" y="354"/>
                    </a:lnTo>
                    <a:lnTo>
                      <a:pt x="377" y="356"/>
                    </a:lnTo>
                    <a:lnTo>
                      <a:pt x="374" y="358"/>
                    </a:lnTo>
                    <a:lnTo>
                      <a:pt x="358" y="364"/>
                    </a:lnTo>
                    <a:lnTo>
                      <a:pt x="353" y="370"/>
                    </a:lnTo>
                    <a:lnTo>
                      <a:pt x="348" y="373"/>
                    </a:lnTo>
                    <a:lnTo>
                      <a:pt x="341" y="383"/>
                    </a:lnTo>
                    <a:lnTo>
                      <a:pt x="341" y="385"/>
                    </a:lnTo>
                    <a:lnTo>
                      <a:pt x="336" y="390"/>
                    </a:lnTo>
                    <a:lnTo>
                      <a:pt x="335" y="390"/>
                    </a:lnTo>
                    <a:lnTo>
                      <a:pt x="331" y="392"/>
                    </a:lnTo>
                    <a:lnTo>
                      <a:pt x="331" y="393"/>
                    </a:lnTo>
                    <a:lnTo>
                      <a:pt x="333" y="393"/>
                    </a:lnTo>
                    <a:lnTo>
                      <a:pt x="333" y="392"/>
                    </a:lnTo>
                    <a:lnTo>
                      <a:pt x="335" y="392"/>
                    </a:lnTo>
                    <a:lnTo>
                      <a:pt x="335" y="393"/>
                    </a:lnTo>
                    <a:lnTo>
                      <a:pt x="326" y="400"/>
                    </a:lnTo>
                    <a:lnTo>
                      <a:pt x="326" y="402"/>
                    </a:lnTo>
                    <a:lnTo>
                      <a:pt x="324" y="400"/>
                    </a:lnTo>
                    <a:lnTo>
                      <a:pt x="324" y="402"/>
                    </a:lnTo>
                    <a:lnTo>
                      <a:pt x="323" y="402"/>
                    </a:lnTo>
                    <a:lnTo>
                      <a:pt x="323" y="404"/>
                    </a:lnTo>
                    <a:lnTo>
                      <a:pt x="318" y="409"/>
                    </a:lnTo>
                    <a:lnTo>
                      <a:pt x="318" y="410"/>
                    </a:lnTo>
                    <a:lnTo>
                      <a:pt x="314" y="410"/>
                    </a:lnTo>
                    <a:lnTo>
                      <a:pt x="316" y="412"/>
                    </a:lnTo>
                    <a:lnTo>
                      <a:pt x="314" y="414"/>
                    </a:lnTo>
                    <a:lnTo>
                      <a:pt x="313" y="414"/>
                    </a:lnTo>
                    <a:lnTo>
                      <a:pt x="314" y="414"/>
                    </a:lnTo>
                    <a:lnTo>
                      <a:pt x="313" y="416"/>
                    </a:lnTo>
                    <a:lnTo>
                      <a:pt x="311" y="417"/>
                    </a:lnTo>
                    <a:lnTo>
                      <a:pt x="309" y="421"/>
                    </a:lnTo>
                    <a:lnTo>
                      <a:pt x="313" y="419"/>
                    </a:lnTo>
                    <a:lnTo>
                      <a:pt x="311" y="421"/>
                    </a:lnTo>
                    <a:lnTo>
                      <a:pt x="311" y="422"/>
                    </a:lnTo>
                    <a:lnTo>
                      <a:pt x="307" y="426"/>
                    </a:lnTo>
                    <a:lnTo>
                      <a:pt x="306" y="426"/>
                    </a:lnTo>
                    <a:lnTo>
                      <a:pt x="301" y="427"/>
                    </a:lnTo>
                    <a:lnTo>
                      <a:pt x="299" y="427"/>
                    </a:lnTo>
                    <a:lnTo>
                      <a:pt x="299" y="426"/>
                    </a:lnTo>
                    <a:lnTo>
                      <a:pt x="297" y="427"/>
                    </a:lnTo>
                    <a:lnTo>
                      <a:pt x="296" y="429"/>
                    </a:lnTo>
                    <a:lnTo>
                      <a:pt x="297" y="427"/>
                    </a:lnTo>
                    <a:lnTo>
                      <a:pt x="296" y="427"/>
                    </a:lnTo>
                    <a:lnTo>
                      <a:pt x="294" y="427"/>
                    </a:lnTo>
                    <a:lnTo>
                      <a:pt x="294" y="429"/>
                    </a:lnTo>
                    <a:lnTo>
                      <a:pt x="292" y="429"/>
                    </a:lnTo>
                    <a:lnTo>
                      <a:pt x="290" y="429"/>
                    </a:lnTo>
                    <a:lnTo>
                      <a:pt x="292" y="427"/>
                    </a:lnTo>
                    <a:lnTo>
                      <a:pt x="294" y="426"/>
                    </a:lnTo>
                    <a:lnTo>
                      <a:pt x="294" y="424"/>
                    </a:lnTo>
                    <a:lnTo>
                      <a:pt x="292" y="424"/>
                    </a:lnTo>
                    <a:lnTo>
                      <a:pt x="294" y="426"/>
                    </a:lnTo>
                    <a:lnTo>
                      <a:pt x="292" y="427"/>
                    </a:lnTo>
                    <a:lnTo>
                      <a:pt x="289" y="427"/>
                    </a:lnTo>
                    <a:lnTo>
                      <a:pt x="289" y="431"/>
                    </a:lnTo>
                    <a:lnTo>
                      <a:pt x="287" y="431"/>
                    </a:lnTo>
                    <a:lnTo>
                      <a:pt x="285" y="429"/>
                    </a:lnTo>
                    <a:lnTo>
                      <a:pt x="285" y="431"/>
                    </a:lnTo>
                    <a:lnTo>
                      <a:pt x="287" y="431"/>
                    </a:lnTo>
                    <a:lnTo>
                      <a:pt x="277" y="436"/>
                    </a:lnTo>
                    <a:lnTo>
                      <a:pt x="277" y="438"/>
                    </a:lnTo>
                    <a:lnTo>
                      <a:pt x="279" y="438"/>
                    </a:lnTo>
                    <a:lnTo>
                      <a:pt x="277" y="438"/>
                    </a:lnTo>
                    <a:lnTo>
                      <a:pt x="275" y="438"/>
                    </a:lnTo>
                    <a:lnTo>
                      <a:pt x="275" y="439"/>
                    </a:lnTo>
                    <a:lnTo>
                      <a:pt x="267" y="448"/>
                    </a:lnTo>
                    <a:lnTo>
                      <a:pt x="262" y="455"/>
                    </a:lnTo>
                    <a:lnTo>
                      <a:pt x="248" y="467"/>
                    </a:lnTo>
                    <a:lnTo>
                      <a:pt x="248" y="465"/>
                    </a:lnTo>
                    <a:lnTo>
                      <a:pt x="246" y="468"/>
                    </a:lnTo>
                    <a:lnTo>
                      <a:pt x="236" y="475"/>
                    </a:lnTo>
                    <a:lnTo>
                      <a:pt x="233" y="475"/>
                    </a:lnTo>
                    <a:lnTo>
                      <a:pt x="231" y="472"/>
                    </a:lnTo>
                    <a:lnTo>
                      <a:pt x="229" y="470"/>
                    </a:lnTo>
                    <a:lnTo>
                      <a:pt x="229" y="472"/>
                    </a:lnTo>
                    <a:lnTo>
                      <a:pt x="229" y="475"/>
                    </a:lnTo>
                    <a:lnTo>
                      <a:pt x="228" y="477"/>
                    </a:lnTo>
                    <a:lnTo>
                      <a:pt x="229" y="480"/>
                    </a:lnTo>
                    <a:lnTo>
                      <a:pt x="228" y="484"/>
                    </a:lnTo>
                    <a:lnTo>
                      <a:pt x="229" y="490"/>
                    </a:lnTo>
                    <a:lnTo>
                      <a:pt x="229" y="492"/>
                    </a:lnTo>
                    <a:lnTo>
                      <a:pt x="228" y="490"/>
                    </a:lnTo>
                    <a:lnTo>
                      <a:pt x="226" y="490"/>
                    </a:lnTo>
                    <a:lnTo>
                      <a:pt x="226" y="492"/>
                    </a:lnTo>
                    <a:lnTo>
                      <a:pt x="228" y="494"/>
                    </a:lnTo>
                    <a:lnTo>
                      <a:pt x="228" y="495"/>
                    </a:lnTo>
                    <a:lnTo>
                      <a:pt x="226" y="499"/>
                    </a:lnTo>
                    <a:lnTo>
                      <a:pt x="224" y="501"/>
                    </a:lnTo>
                    <a:lnTo>
                      <a:pt x="224" y="499"/>
                    </a:lnTo>
                    <a:lnTo>
                      <a:pt x="224" y="501"/>
                    </a:lnTo>
                    <a:lnTo>
                      <a:pt x="226" y="501"/>
                    </a:lnTo>
                    <a:lnTo>
                      <a:pt x="226" y="502"/>
                    </a:lnTo>
                    <a:lnTo>
                      <a:pt x="224" y="504"/>
                    </a:lnTo>
                    <a:lnTo>
                      <a:pt x="226" y="506"/>
                    </a:lnTo>
                    <a:lnTo>
                      <a:pt x="228" y="507"/>
                    </a:lnTo>
                    <a:lnTo>
                      <a:pt x="226" y="509"/>
                    </a:lnTo>
                    <a:lnTo>
                      <a:pt x="228" y="509"/>
                    </a:lnTo>
                    <a:lnTo>
                      <a:pt x="229" y="511"/>
                    </a:lnTo>
                    <a:lnTo>
                      <a:pt x="228" y="511"/>
                    </a:lnTo>
                    <a:lnTo>
                      <a:pt x="229" y="511"/>
                    </a:lnTo>
                    <a:lnTo>
                      <a:pt x="231" y="512"/>
                    </a:lnTo>
                    <a:lnTo>
                      <a:pt x="229" y="512"/>
                    </a:lnTo>
                    <a:lnTo>
                      <a:pt x="231" y="512"/>
                    </a:lnTo>
                    <a:lnTo>
                      <a:pt x="234" y="514"/>
                    </a:lnTo>
                    <a:lnTo>
                      <a:pt x="233" y="516"/>
                    </a:lnTo>
                    <a:lnTo>
                      <a:pt x="234" y="516"/>
                    </a:lnTo>
                    <a:lnTo>
                      <a:pt x="233" y="516"/>
                    </a:lnTo>
                    <a:lnTo>
                      <a:pt x="233" y="518"/>
                    </a:lnTo>
                    <a:lnTo>
                      <a:pt x="231" y="518"/>
                    </a:lnTo>
                    <a:lnTo>
                      <a:pt x="233" y="518"/>
                    </a:lnTo>
                    <a:lnTo>
                      <a:pt x="231" y="518"/>
                    </a:lnTo>
                    <a:lnTo>
                      <a:pt x="231" y="519"/>
                    </a:lnTo>
                    <a:lnTo>
                      <a:pt x="231" y="518"/>
                    </a:lnTo>
                    <a:lnTo>
                      <a:pt x="234" y="518"/>
                    </a:lnTo>
                    <a:lnTo>
                      <a:pt x="234" y="519"/>
                    </a:lnTo>
                    <a:lnTo>
                      <a:pt x="234" y="518"/>
                    </a:lnTo>
                    <a:lnTo>
                      <a:pt x="236" y="516"/>
                    </a:lnTo>
                    <a:lnTo>
                      <a:pt x="234" y="518"/>
                    </a:lnTo>
                    <a:lnTo>
                      <a:pt x="236" y="521"/>
                    </a:lnTo>
                    <a:lnTo>
                      <a:pt x="234" y="521"/>
                    </a:lnTo>
                    <a:lnTo>
                      <a:pt x="236" y="521"/>
                    </a:lnTo>
                    <a:lnTo>
                      <a:pt x="236" y="519"/>
                    </a:lnTo>
                    <a:lnTo>
                      <a:pt x="236" y="518"/>
                    </a:lnTo>
                    <a:lnTo>
                      <a:pt x="238" y="518"/>
                    </a:lnTo>
                    <a:lnTo>
                      <a:pt x="239" y="519"/>
                    </a:lnTo>
                    <a:lnTo>
                      <a:pt x="241" y="519"/>
                    </a:lnTo>
                    <a:lnTo>
                      <a:pt x="239" y="521"/>
                    </a:lnTo>
                    <a:lnTo>
                      <a:pt x="241" y="519"/>
                    </a:lnTo>
                    <a:lnTo>
                      <a:pt x="241" y="521"/>
                    </a:lnTo>
                    <a:lnTo>
                      <a:pt x="241" y="523"/>
                    </a:lnTo>
                    <a:lnTo>
                      <a:pt x="241" y="521"/>
                    </a:lnTo>
                    <a:lnTo>
                      <a:pt x="243" y="523"/>
                    </a:lnTo>
                    <a:lnTo>
                      <a:pt x="241" y="523"/>
                    </a:lnTo>
                    <a:lnTo>
                      <a:pt x="239" y="524"/>
                    </a:lnTo>
                    <a:lnTo>
                      <a:pt x="241" y="524"/>
                    </a:lnTo>
                    <a:lnTo>
                      <a:pt x="241" y="526"/>
                    </a:lnTo>
                    <a:lnTo>
                      <a:pt x="243" y="526"/>
                    </a:lnTo>
                    <a:lnTo>
                      <a:pt x="243" y="524"/>
                    </a:lnTo>
                    <a:lnTo>
                      <a:pt x="245" y="528"/>
                    </a:lnTo>
                    <a:lnTo>
                      <a:pt x="243" y="529"/>
                    </a:lnTo>
                    <a:lnTo>
                      <a:pt x="246" y="529"/>
                    </a:lnTo>
                    <a:lnTo>
                      <a:pt x="248" y="531"/>
                    </a:lnTo>
                    <a:lnTo>
                      <a:pt x="246" y="535"/>
                    </a:lnTo>
                    <a:lnTo>
                      <a:pt x="245" y="535"/>
                    </a:lnTo>
                    <a:lnTo>
                      <a:pt x="246" y="536"/>
                    </a:lnTo>
                    <a:lnTo>
                      <a:pt x="246" y="538"/>
                    </a:lnTo>
                    <a:lnTo>
                      <a:pt x="245" y="538"/>
                    </a:lnTo>
                    <a:lnTo>
                      <a:pt x="243" y="538"/>
                    </a:lnTo>
                    <a:lnTo>
                      <a:pt x="241" y="540"/>
                    </a:lnTo>
                    <a:lnTo>
                      <a:pt x="245" y="540"/>
                    </a:lnTo>
                    <a:lnTo>
                      <a:pt x="245" y="541"/>
                    </a:lnTo>
                    <a:lnTo>
                      <a:pt x="245" y="543"/>
                    </a:lnTo>
                    <a:lnTo>
                      <a:pt x="246" y="545"/>
                    </a:lnTo>
                    <a:lnTo>
                      <a:pt x="246" y="543"/>
                    </a:lnTo>
                    <a:lnTo>
                      <a:pt x="246" y="545"/>
                    </a:lnTo>
                    <a:lnTo>
                      <a:pt x="246" y="546"/>
                    </a:lnTo>
                    <a:lnTo>
                      <a:pt x="245" y="546"/>
                    </a:lnTo>
                    <a:lnTo>
                      <a:pt x="243" y="545"/>
                    </a:lnTo>
                    <a:lnTo>
                      <a:pt x="245" y="546"/>
                    </a:lnTo>
                    <a:lnTo>
                      <a:pt x="245" y="548"/>
                    </a:lnTo>
                    <a:lnTo>
                      <a:pt x="245" y="550"/>
                    </a:lnTo>
                    <a:lnTo>
                      <a:pt x="246" y="546"/>
                    </a:lnTo>
                    <a:lnTo>
                      <a:pt x="246" y="550"/>
                    </a:lnTo>
                    <a:lnTo>
                      <a:pt x="248" y="555"/>
                    </a:lnTo>
                    <a:lnTo>
                      <a:pt x="255" y="565"/>
                    </a:lnTo>
                    <a:lnTo>
                      <a:pt x="255" y="575"/>
                    </a:lnTo>
                    <a:lnTo>
                      <a:pt x="258" y="581"/>
                    </a:lnTo>
                    <a:lnTo>
                      <a:pt x="256" y="582"/>
                    </a:lnTo>
                    <a:lnTo>
                      <a:pt x="258" y="584"/>
                    </a:lnTo>
                    <a:lnTo>
                      <a:pt x="258" y="594"/>
                    </a:lnTo>
                    <a:lnTo>
                      <a:pt x="260" y="594"/>
                    </a:lnTo>
                    <a:lnTo>
                      <a:pt x="260" y="596"/>
                    </a:lnTo>
                    <a:lnTo>
                      <a:pt x="262" y="594"/>
                    </a:lnTo>
                    <a:lnTo>
                      <a:pt x="262" y="596"/>
                    </a:lnTo>
                    <a:lnTo>
                      <a:pt x="262" y="594"/>
                    </a:lnTo>
                    <a:lnTo>
                      <a:pt x="262" y="592"/>
                    </a:lnTo>
                    <a:lnTo>
                      <a:pt x="263" y="592"/>
                    </a:lnTo>
                    <a:lnTo>
                      <a:pt x="263" y="591"/>
                    </a:lnTo>
                    <a:lnTo>
                      <a:pt x="265" y="589"/>
                    </a:lnTo>
                    <a:lnTo>
                      <a:pt x="267" y="594"/>
                    </a:lnTo>
                    <a:lnTo>
                      <a:pt x="268" y="601"/>
                    </a:lnTo>
                    <a:lnTo>
                      <a:pt x="268" y="594"/>
                    </a:lnTo>
                    <a:lnTo>
                      <a:pt x="268" y="592"/>
                    </a:lnTo>
                    <a:lnTo>
                      <a:pt x="268" y="598"/>
                    </a:lnTo>
                    <a:lnTo>
                      <a:pt x="268" y="601"/>
                    </a:lnTo>
                    <a:lnTo>
                      <a:pt x="268" y="606"/>
                    </a:lnTo>
                    <a:lnTo>
                      <a:pt x="267" y="615"/>
                    </a:lnTo>
                    <a:lnTo>
                      <a:pt x="267" y="625"/>
                    </a:lnTo>
                    <a:lnTo>
                      <a:pt x="268" y="632"/>
                    </a:lnTo>
                    <a:lnTo>
                      <a:pt x="270" y="632"/>
                    </a:lnTo>
                    <a:lnTo>
                      <a:pt x="268" y="630"/>
                    </a:lnTo>
                    <a:lnTo>
                      <a:pt x="272" y="632"/>
                    </a:lnTo>
                    <a:lnTo>
                      <a:pt x="272" y="633"/>
                    </a:lnTo>
                    <a:lnTo>
                      <a:pt x="267" y="640"/>
                    </a:lnTo>
                    <a:lnTo>
                      <a:pt x="265" y="643"/>
                    </a:lnTo>
                    <a:lnTo>
                      <a:pt x="267" y="650"/>
                    </a:lnTo>
                    <a:lnTo>
                      <a:pt x="263" y="660"/>
                    </a:lnTo>
                    <a:lnTo>
                      <a:pt x="263" y="667"/>
                    </a:lnTo>
                    <a:lnTo>
                      <a:pt x="262" y="672"/>
                    </a:lnTo>
                    <a:lnTo>
                      <a:pt x="262" y="669"/>
                    </a:lnTo>
                    <a:lnTo>
                      <a:pt x="258" y="669"/>
                    </a:lnTo>
                    <a:lnTo>
                      <a:pt x="258" y="671"/>
                    </a:lnTo>
                    <a:lnTo>
                      <a:pt x="260" y="671"/>
                    </a:lnTo>
                    <a:lnTo>
                      <a:pt x="258" y="679"/>
                    </a:lnTo>
                    <a:lnTo>
                      <a:pt x="258" y="681"/>
                    </a:lnTo>
                    <a:lnTo>
                      <a:pt x="258" y="683"/>
                    </a:lnTo>
                    <a:lnTo>
                      <a:pt x="258" y="686"/>
                    </a:lnTo>
                    <a:lnTo>
                      <a:pt x="260" y="683"/>
                    </a:lnTo>
                    <a:lnTo>
                      <a:pt x="262" y="681"/>
                    </a:lnTo>
                    <a:lnTo>
                      <a:pt x="260" y="679"/>
                    </a:lnTo>
                    <a:lnTo>
                      <a:pt x="262" y="679"/>
                    </a:lnTo>
                    <a:lnTo>
                      <a:pt x="262" y="677"/>
                    </a:lnTo>
                    <a:lnTo>
                      <a:pt x="263" y="679"/>
                    </a:lnTo>
                    <a:lnTo>
                      <a:pt x="263" y="677"/>
                    </a:lnTo>
                    <a:lnTo>
                      <a:pt x="265" y="679"/>
                    </a:lnTo>
                    <a:lnTo>
                      <a:pt x="267" y="677"/>
                    </a:lnTo>
                    <a:lnTo>
                      <a:pt x="267" y="674"/>
                    </a:lnTo>
                    <a:lnTo>
                      <a:pt x="268" y="676"/>
                    </a:lnTo>
                    <a:lnTo>
                      <a:pt x="268" y="677"/>
                    </a:lnTo>
                    <a:lnTo>
                      <a:pt x="270" y="679"/>
                    </a:lnTo>
                    <a:lnTo>
                      <a:pt x="267" y="686"/>
                    </a:lnTo>
                    <a:lnTo>
                      <a:pt x="267" y="691"/>
                    </a:lnTo>
                    <a:lnTo>
                      <a:pt x="262" y="698"/>
                    </a:lnTo>
                    <a:lnTo>
                      <a:pt x="251" y="710"/>
                    </a:lnTo>
                    <a:lnTo>
                      <a:pt x="251" y="713"/>
                    </a:lnTo>
                    <a:lnTo>
                      <a:pt x="248" y="715"/>
                    </a:lnTo>
                    <a:lnTo>
                      <a:pt x="245" y="718"/>
                    </a:lnTo>
                    <a:lnTo>
                      <a:pt x="231" y="723"/>
                    </a:lnTo>
                    <a:lnTo>
                      <a:pt x="212" y="730"/>
                    </a:lnTo>
                    <a:lnTo>
                      <a:pt x="207" y="732"/>
                    </a:lnTo>
                    <a:lnTo>
                      <a:pt x="202" y="734"/>
                    </a:lnTo>
                    <a:lnTo>
                      <a:pt x="190" y="739"/>
                    </a:lnTo>
                    <a:lnTo>
                      <a:pt x="183" y="740"/>
                    </a:lnTo>
                    <a:lnTo>
                      <a:pt x="166" y="747"/>
                    </a:lnTo>
                    <a:lnTo>
                      <a:pt x="151" y="754"/>
                    </a:lnTo>
                    <a:lnTo>
                      <a:pt x="143" y="757"/>
                    </a:lnTo>
                    <a:lnTo>
                      <a:pt x="132" y="766"/>
                    </a:lnTo>
                    <a:lnTo>
                      <a:pt x="127" y="774"/>
                    </a:lnTo>
                    <a:lnTo>
                      <a:pt x="127" y="778"/>
                    </a:lnTo>
                    <a:lnTo>
                      <a:pt x="127" y="781"/>
                    </a:lnTo>
                    <a:lnTo>
                      <a:pt x="126" y="778"/>
                    </a:lnTo>
                    <a:lnTo>
                      <a:pt x="124" y="781"/>
                    </a:lnTo>
                    <a:lnTo>
                      <a:pt x="119" y="786"/>
                    </a:lnTo>
                    <a:lnTo>
                      <a:pt x="115" y="783"/>
                    </a:lnTo>
                    <a:lnTo>
                      <a:pt x="114" y="786"/>
                    </a:lnTo>
                    <a:lnTo>
                      <a:pt x="114" y="788"/>
                    </a:lnTo>
                    <a:lnTo>
                      <a:pt x="115" y="788"/>
                    </a:lnTo>
                    <a:lnTo>
                      <a:pt x="114" y="786"/>
                    </a:lnTo>
                    <a:lnTo>
                      <a:pt x="117" y="786"/>
                    </a:lnTo>
                    <a:lnTo>
                      <a:pt x="119" y="788"/>
                    </a:lnTo>
                    <a:lnTo>
                      <a:pt x="120" y="788"/>
                    </a:lnTo>
                    <a:lnTo>
                      <a:pt x="122" y="793"/>
                    </a:lnTo>
                    <a:lnTo>
                      <a:pt x="124" y="797"/>
                    </a:lnTo>
                    <a:lnTo>
                      <a:pt x="126" y="797"/>
                    </a:lnTo>
                    <a:lnTo>
                      <a:pt x="131" y="802"/>
                    </a:lnTo>
                    <a:lnTo>
                      <a:pt x="134" y="802"/>
                    </a:lnTo>
                    <a:lnTo>
                      <a:pt x="132" y="800"/>
                    </a:lnTo>
                    <a:lnTo>
                      <a:pt x="134" y="797"/>
                    </a:lnTo>
                    <a:lnTo>
                      <a:pt x="136" y="793"/>
                    </a:lnTo>
                    <a:lnTo>
                      <a:pt x="137" y="791"/>
                    </a:lnTo>
                    <a:lnTo>
                      <a:pt x="136" y="807"/>
                    </a:lnTo>
                    <a:lnTo>
                      <a:pt x="136" y="810"/>
                    </a:lnTo>
                    <a:lnTo>
                      <a:pt x="134" y="820"/>
                    </a:lnTo>
                    <a:lnTo>
                      <a:pt x="136" y="824"/>
                    </a:lnTo>
                    <a:lnTo>
                      <a:pt x="134" y="831"/>
                    </a:lnTo>
                    <a:close/>
                    <a:moveTo>
                      <a:pt x="228" y="79"/>
                    </a:moveTo>
                    <a:lnTo>
                      <a:pt x="226" y="82"/>
                    </a:lnTo>
                    <a:lnTo>
                      <a:pt x="228" y="82"/>
                    </a:lnTo>
                    <a:lnTo>
                      <a:pt x="229" y="80"/>
                    </a:lnTo>
                    <a:lnTo>
                      <a:pt x="228" y="79"/>
                    </a:lnTo>
                    <a:close/>
                    <a:moveTo>
                      <a:pt x="221" y="79"/>
                    </a:moveTo>
                    <a:lnTo>
                      <a:pt x="222" y="79"/>
                    </a:lnTo>
                    <a:lnTo>
                      <a:pt x="222" y="80"/>
                    </a:lnTo>
                    <a:lnTo>
                      <a:pt x="221" y="80"/>
                    </a:lnTo>
                    <a:lnTo>
                      <a:pt x="221" y="79"/>
                    </a:lnTo>
                    <a:close/>
                    <a:moveTo>
                      <a:pt x="267" y="567"/>
                    </a:moveTo>
                    <a:lnTo>
                      <a:pt x="265" y="574"/>
                    </a:lnTo>
                    <a:lnTo>
                      <a:pt x="263" y="570"/>
                    </a:lnTo>
                    <a:lnTo>
                      <a:pt x="263" y="569"/>
                    </a:lnTo>
                    <a:lnTo>
                      <a:pt x="263" y="567"/>
                    </a:lnTo>
                    <a:lnTo>
                      <a:pt x="265" y="565"/>
                    </a:lnTo>
                    <a:lnTo>
                      <a:pt x="265" y="562"/>
                    </a:lnTo>
                    <a:lnTo>
                      <a:pt x="265" y="560"/>
                    </a:lnTo>
                    <a:lnTo>
                      <a:pt x="267" y="562"/>
                    </a:lnTo>
                    <a:lnTo>
                      <a:pt x="267" y="565"/>
                    </a:lnTo>
                    <a:lnTo>
                      <a:pt x="267" y="567"/>
                    </a:lnTo>
                    <a:close/>
                    <a:moveTo>
                      <a:pt x="137" y="791"/>
                    </a:moveTo>
                    <a:lnTo>
                      <a:pt x="137" y="788"/>
                    </a:lnTo>
                    <a:lnTo>
                      <a:pt x="136" y="788"/>
                    </a:lnTo>
                    <a:lnTo>
                      <a:pt x="136" y="790"/>
                    </a:lnTo>
                    <a:lnTo>
                      <a:pt x="136" y="791"/>
                    </a:lnTo>
                    <a:lnTo>
                      <a:pt x="134" y="790"/>
                    </a:lnTo>
                    <a:lnTo>
                      <a:pt x="136" y="788"/>
                    </a:lnTo>
                    <a:lnTo>
                      <a:pt x="137" y="786"/>
                    </a:lnTo>
                    <a:lnTo>
                      <a:pt x="139" y="786"/>
                    </a:lnTo>
                    <a:lnTo>
                      <a:pt x="137" y="791"/>
                    </a:lnTo>
                    <a:close/>
                    <a:moveTo>
                      <a:pt x="527" y="94"/>
                    </a:moveTo>
                    <a:lnTo>
                      <a:pt x="525" y="96"/>
                    </a:lnTo>
                    <a:lnTo>
                      <a:pt x="525" y="97"/>
                    </a:lnTo>
                    <a:lnTo>
                      <a:pt x="523" y="99"/>
                    </a:lnTo>
                    <a:lnTo>
                      <a:pt x="523" y="97"/>
                    </a:lnTo>
                    <a:lnTo>
                      <a:pt x="522" y="96"/>
                    </a:lnTo>
                    <a:lnTo>
                      <a:pt x="523" y="96"/>
                    </a:lnTo>
                    <a:lnTo>
                      <a:pt x="525" y="96"/>
                    </a:lnTo>
                    <a:lnTo>
                      <a:pt x="523" y="94"/>
                    </a:lnTo>
                    <a:lnTo>
                      <a:pt x="527" y="94"/>
                    </a:lnTo>
                    <a:close/>
                    <a:moveTo>
                      <a:pt x="525" y="87"/>
                    </a:moveTo>
                    <a:lnTo>
                      <a:pt x="525" y="89"/>
                    </a:lnTo>
                    <a:lnTo>
                      <a:pt x="525" y="91"/>
                    </a:lnTo>
                    <a:lnTo>
                      <a:pt x="523" y="87"/>
                    </a:lnTo>
                    <a:lnTo>
                      <a:pt x="525" y="87"/>
                    </a:lnTo>
                    <a:close/>
                    <a:moveTo>
                      <a:pt x="262" y="577"/>
                    </a:moveTo>
                    <a:lnTo>
                      <a:pt x="265" y="577"/>
                    </a:lnTo>
                    <a:lnTo>
                      <a:pt x="265" y="581"/>
                    </a:lnTo>
                    <a:lnTo>
                      <a:pt x="262" y="581"/>
                    </a:lnTo>
                    <a:lnTo>
                      <a:pt x="262" y="577"/>
                    </a:lnTo>
                    <a:close/>
                    <a:moveTo>
                      <a:pt x="238" y="514"/>
                    </a:moveTo>
                    <a:lnTo>
                      <a:pt x="239" y="516"/>
                    </a:lnTo>
                    <a:lnTo>
                      <a:pt x="238" y="516"/>
                    </a:lnTo>
                    <a:lnTo>
                      <a:pt x="239" y="516"/>
                    </a:lnTo>
                    <a:lnTo>
                      <a:pt x="239" y="518"/>
                    </a:lnTo>
                    <a:lnTo>
                      <a:pt x="236" y="518"/>
                    </a:lnTo>
                    <a:lnTo>
                      <a:pt x="236" y="516"/>
                    </a:lnTo>
                    <a:lnTo>
                      <a:pt x="236" y="514"/>
                    </a:lnTo>
                    <a:lnTo>
                      <a:pt x="238" y="514"/>
                    </a:lnTo>
                    <a:close/>
                    <a:moveTo>
                      <a:pt x="530" y="28"/>
                    </a:moveTo>
                    <a:lnTo>
                      <a:pt x="527" y="29"/>
                    </a:lnTo>
                    <a:lnTo>
                      <a:pt x="525" y="28"/>
                    </a:lnTo>
                    <a:lnTo>
                      <a:pt x="527" y="29"/>
                    </a:lnTo>
                    <a:lnTo>
                      <a:pt x="530" y="28"/>
                    </a:lnTo>
                    <a:close/>
                    <a:moveTo>
                      <a:pt x="525" y="97"/>
                    </a:moveTo>
                    <a:lnTo>
                      <a:pt x="525" y="101"/>
                    </a:lnTo>
                    <a:lnTo>
                      <a:pt x="525" y="97"/>
                    </a:lnTo>
                    <a:close/>
                    <a:moveTo>
                      <a:pt x="527" y="17"/>
                    </a:moveTo>
                    <a:lnTo>
                      <a:pt x="528" y="17"/>
                    </a:lnTo>
                    <a:lnTo>
                      <a:pt x="528" y="21"/>
                    </a:lnTo>
                    <a:lnTo>
                      <a:pt x="527" y="21"/>
                    </a:lnTo>
                    <a:lnTo>
                      <a:pt x="527" y="17"/>
                    </a:lnTo>
                    <a:close/>
                    <a:moveTo>
                      <a:pt x="523" y="104"/>
                    </a:moveTo>
                    <a:lnTo>
                      <a:pt x="525" y="104"/>
                    </a:lnTo>
                    <a:lnTo>
                      <a:pt x="525" y="106"/>
                    </a:lnTo>
                    <a:lnTo>
                      <a:pt x="523" y="106"/>
                    </a:lnTo>
                    <a:lnTo>
                      <a:pt x="523" y="104"/>
                    </a:lnTo>
                    <a:close/>
                    <a:moveTo>
                      <a:pt x="527" y="34"/>
                    </a:moveTo>
                    <a:lnTo>
                      <a:pt x="530" y="34"/>
                    </a:lnTo>
                    <a:lnTo>
                      <a:pt x="530" y="36"/>
                    </a:lnTo>
                    <a:lnTo>
                      <a:pt x="527" y="36"/>
                    </a:lnTo>
                    <a:lnTo>
                      <a:pt x="527" y="34"/>
                    </a:lnTo>
                    <a:close/>
                    <a:moveTo>
                      <a:pt x="527" y="16"/>
                    </a:moveTo>
                    <a:lnTo>
                      <a:pt x="528" y="16"/>
                    </a:lnTo>
                    <a:lnTo>
                      <a:pt x="528" y="17"/>
                    </a:lnTo>
                    <a:lnTo>
                      <a:pt x="527" y="17"/>
                    </a:lnTo>
                    <a:lnTo>
                      <a:pt x="527" y="16"/>
                    </a:lnTo>
                    <a:close/>
                    <a:moveTo>
                      <a:pt x="335" y="390"/>
                    </a:moveTo>
                    <a:lnTo>
                      <a:pt x="336" y="390"/>
                    </a:lnTo>
                    <a:lnTo>
                      <a:pt x="336" y="392"/>
                    </a:lnTo>
                    <a:lnTo>
                      <a:pt x="335" y="392"/>
                    </a:lnTo>
                    <a:lnTo>
                      <a:pt x="335" y="390"/>
                    </a:lnTo>
                    <a:close/>
                    <a:moveTo>
                      <a:pt x="126" y="778"/>
                    </a:moveTo>
                    <a:lnTo>
                      <a:pt x="126" y="780"/>
                    </a:lnTo>
                    <a:lnTo>
                      <a:pt x="126" y="778"/>
                    </a:lnTo>
                    <a:close/>
                    <a:moveTo>
                      <a:pt x="523" y="77"/>
                    </a:moveTo>
                    <a:lnTo>
                      <a:pt x="525" y="77"/>
                    </a:lnTo>
                    <a:lnTo>
                      <a:pt x="523" y="77"/>
                    </a:lnTo>
                    <a:close/>
                    <a:moveTo>
                      <a:pt x="523" y="36"/>
                    </a:moveTo>
                    <a:lnTo>
                      <a:pt x="527" y="36"/>
                    </a:lnTo>
                    <a:lnTo>
                      <a:pt x="523" y="36"/>
                    </a:lnTo>
                    <a:close/>
                    <a:moveTo>
                      <a:pt x="268" y="591"/>
                    </a:moveTo>
                    <a:lnTo>
                      <a:pt x="268" y="592"/>
                    </a:lnTo>
                    <a:lnTo>
                      <a:pt x="268" y="591"/>
                    </a:lnTo>
                    <a:close/>
                    <a:moveTo>
                      <a:pt x="525" y="108"/>
                    </a:moveTo>
                    <a:lnTo>
                      <a:pt x="527" y="108"/>
                    </a:lnTo>
                    <a:lnTo>
                      <a:pt x="527" y="109"/>
                    </a:lnTo>
                    <a:lnTo>
                      <a:pt x="525" y="109"/>
                    </a:lnTo>
                    <a:lnTo>
                      <a:pt x="525" y="108"/>
                    </a:lnTo>
                    <a:close/>
                    <a:moveTo>
                      <a:pt x="535" y="222"/>
                    </a:moveTo>
                    <a:lnTo>
                      <a:pt x="537" y="222"/>
                    </a:lnTo>
                    <a:lnTo>
                      <a:pt x="537" y="223"/>
                    </a:lnTo>
                    <a:lnTo>
                      <a:pt x="535" y="223"/>
                    </a:lnTo>
                    <a:lnTo>
                      <a:pt x="535" y="222"/>
                    </a:lnTo>
                    <a:close/>
                    <a:moveTo>
                      <a:pt x="124" y="783"/>
                    </a:moveTo>
                    <a:lnTo>
                      <a:pt x="124" y="785"/>
                    </a:lnTo>
                    <a:lnTo>
                      <a:pt x="124" y="783"/>
                    </a:lnTo>
                    <a:close/>
                    <a:moveTo>
                      <a:pt x="263" y="582"/>
                    </a:moveTo>
                    <a:lnTo>
                      <a:pt x="263" y="584"/>
                    </a:lnTo>
                    <a:lnTo>
                      <a:pt x="263" y="582"/>
                    </a:lnTo>
                    <a:close/>
                    <a:moveTo>
                      <a:pt x="246" y="540"/>
                    </a:moveTo>
                    <a:lnTo>
                      <a:pt x="248" y="540"/>
                    </a:lnTo>
                    <a:lnTo>
                      <a:pt x="248" y="541"/>
                    </a:lnTo>
                    <a:lnTo>
                      <a:pt x="246" y="541"/>
                    </a:lnTo>
                    <a:lnTo>
                      <a:pt x="246" y="540"/>
                    </a:lnTo>
                    <a:close/>
                    <a:moveTo>
                      <a:pt x="331" y="393"/>
                    </a:moveTo>
                    <a:lnTo>
                      <a:pt x="333" y="393"/>
                    </a:lnTo>
                    <a:lnTo>
                      <a:pt x="331" y="393"/>
                    </a:lnTo>
                    <a:close/>
                    <a:moveTo>
                      <a:pt x="525" y="23"/>
                    </a:moveTo>
                    <a:lnTo>
                      <a:pt x="527" y="23"/>
                    </a:lnTo>
                    <a:lnTo>
                      <a:pt x="525" y="23"/>
                    </a:lnTo>
                    <a:close/>
                    <a:moveTo>
                      <a:pt x="246" y="543"/>
                    </a:moveTo>
                    <a:lnTo>
                      <a:pt x="246" y="545"/>
                    </a:lnTo>
                    <a:lnTo>
                      <a:pt x="246" y="543"/>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Freeform 44">
                <a:extLst>
                  <a:ext uri="{FF2B5EF4-FFF2-40B4-BE49-F238E27FC236}">
                    <a16:creationId xmlns:a16="http://schemas.microsoft.com/office/drawing/2014/main" id="{9EA4D182-4683-4C37-8AFA-32D32BF7810C}"/>
                  </a:ext>
                </a:extLst>
              </p:cNvPr>
              <p:cNvSpPr>
                <a:spLocks noEditPoints="1"/>
              </p:cNvSpPr>
              <p:nvPr/>
            </p:nvSpPr>
            <p:spPr bwMode="gray">
              <a:xfrm>
                <a:off x="6014842" y="5037961"/>
                <a:ext cx="848758" cy="754590"/>
              </a:xfrm>
              <a:custGeom>
                <a:avLst/>
                <a:gdLst>
                  <a:gd name="T0" fmla="*/ 649 w 685"/>
                  <a:gd name="T1" fmla="*/ 27 h 609"/>
                  <a:gd name="T2" fmla="*/ 668 w 685"/>
                  <a:gd name="T3" fmla="*/ 30 h 609"/>
                  <a:gd name="T4" fmla="*/ 678 w 685"/>
                  <a:gd name="T5" fmla="*/ 39 h 609"/>
                  <a:gd name="T6" fmla="*/ 675 w 685"/>
                  <a:gd name="T7" fmla="*/ 42 h 609"/>
                  <a:gd name="T8" fmla="*/ 663 w 685"/>
                  <a:gd name="T9" fmla="*/ 46 h 609"/>
                  <a:gd name="T10" fmla="*/ 651 w 685"/>
                  <a:gd name="T11" fmla="*/ 54 h 609"/>
                  <a:gd name="T12" fmla="*/ 639 w 685"/>
                  <a:gd name="T13" fmla="*/ 51 h 609"/>
                  <a:gd name="T14" fmla="*/ 622 w 685"/>
                  <a:gd name="T15" fmla="*/ 59 h 609"/>
                  <a:gd name="T16" fmla="*/ 610 w 685"/>
                  <a:gd name="T17" fmla="*/ 73 h 609"/>
                  <a:gd name="T18" fmla="*/ 597 w 685"/>
                  <a:gd name="T19" fmla="*/ 66 h 609"/>
                  <a:gd name="T20" fmla="*/ 587 w 685"/>
                  <a:gd name="T21" fmla="*/ 56 h 609"/>
                  <a:gd name="T22" fmla="*/ 493 w 685"/>
                  <a:gd name="T23" fmla="*/ 69 h 609"/>
                  <a:gd name="T24" fmla="*/ 469 w 685"/>
                  <a:gd name="T25" fmla="*/ 173 h 609"/>
                  <a:gd name="T26" fmla="*/ 418 w 685"/>
                  <a:gd name="T27" fmla="*/ 263 h 609"/>
                  <a:gd name="T28" fmla="*/ 418 w 685"/>
                  <a:gd name="T29" fmla="*/ 362 h 609"/>
                  <a:gd name="T30" fmla="*/ 418 w 685"/>
                  <a:gd name="T31" fmla="*/ 490 h 609"/>
                  <a:gd name="T32" fmla="*/ 405 w 685"/>
                  <a:gd name="T33" fmla="*/ 583 h 609"/>
                  <a:gd name="T34" fmla="*/ 383 w 685"/>
                  <a:gd name="T35" fmla="*/ 597 h 609"/>
                  <a:gd name="T36" fmla="*/ 371 w 685"/>
                  <a:gd name="T37" fmla="*/ 607 h 609"/>
                  <a:gd name="T38" fmla="*/ 338 w 685"/>
                  <a:gd name="T39" fmla="*/ 605 h 609"/>
                  <a:gd name="T40" fmla="*/ 316 w 685"/>
                  <a:gd name="T41" fmla="*/ 599 h 609"/>
                  <a:gd name="T42" fmla="*/ 298 w 685"/>
                  <a:gd name="T43" fmla="*/ 595 h 609"/>
                  <a:gd name="T44" fmla="*/ 284 w 685"/>
                  <a:gd name="T45" fmla="*/ 583 h 609"/>
                  <a:gd name="T46" fmla="*/ 281 w 685"/>
                  <a:gd name="T47" fmla="*/ 571 h 609"/>
                  <a:gd name="T48" fmla="*/ 262 w 685"/>
                  <a:gd name="T49" fmla="*/ 563 h 609"/>
                  <a:gd name="T50" fmla="*/ 255 w 685"/>
                  <a:gd name="T51" fmla="*/ 573 h 609"/>
                  <a:gd name="T52" fmla="*/ 240 w 685"/>
                  <a:gd name="T53" fmla="*/ 588 h 609"/>
                  <a:gd name="T54" fmla="*/ 192 w 685"/>
                  <a:gd name="T55" fmla="*/ 544 h 609"/>
                  <a:gd name="T56" fmla="*/ 179 w 685"/>
                  <a:gd name="T57" fmla="*/ 515 h 609"/>
                  <a:gd name="T58" fmla="*/ 170 w 685"/>
                  <a:gd name="T59" fmla="*/ 495 h 609"/>
                  <a:gd name="T60" fmla="*/ 172 w 685"/>
                  <a:gd name="T61" fmla="*/ 483 h 609"/>
                  <a:gd name="T62" fmla="*/ 165 w 685"/>
                  <a:gd name="T63" fmla="*/ 462 h 609"/>
                  <a:gd name="T64" fmla="*/ 158 w 685"/>
                  <a:gd name="T65" fmla="*/ 428 h 609"/>
                  <a:gd name="T66" fmla="*/ 146 w 685"/>
                  <a:gd name="T67" fmla="*/ 379 h 609"/>
                  <a:gd name="T68" fmla="*/ 139 w 685"/>
                  <a:gd name="T69" fmla="*/ 325 h 609"/>
                  <a:gd name="T70" fmla="*/ 136 w 685"/>
                  <a:gd name="T71" fmla="*/ 301 h 609"/>
                  <a:gd name="T72" fmla="*/ 141 w 685"/>
                  <a:gd name="T73" fmla="*/ 289 h 609"/>
                  <a:gd name="T74" fmla="*/ 112 w 685"/>
                  <a:gd name="T75" fmla="*/ 245 h 609"/>
                  <a:gd name="T76" fmla="*/ 85 w 685"/>
                  <a:gd name="T77" fmla="*/ 199 h 609"/>
                  <a:gd name="T78" fmla="*/ 66 w 685"/>
                  <a:gd name="T79" fmla="*/ 158 h 609"/>
                  <a:gd name="T80" fmla="*/ 31 w 685"/>
                  <a:gd name="T81" fmla="*/ 90 h 609"/>
                  <a:gd name="T82" fmla="*/ 2 w 685"/>
                  <a:gd name="T83" fmla="*/ 42 h 609"/>
                  <a:gd name="T84" fmla="*/ 22 w 685"/>
                  <a:gd name="T85" fmla="*/ 10 h 609"/>
                  <a:gd name="T86" fmla="*/ 43 w 685"/>
                  <a:gd name="T87" fmla="*/ 15 h 609"/>
                  <a:gd name="T88" fmla="*/ 63 w 685"/>
                  <a:gd name="T89" fmla="*/ 3 h 609"/>
                  <a:gd name="T90" fmla="*/ 109 w 685"/>
                  <a:gd name="T91" fmla="*/ 20 h 609"/>
                  <a:gd name="T92" fmla="*/ 126 w 685"/>
                  <a:gd name="T93" fmla="*/ 22 h 609"/>
                  <a:gd name="T94" fmla="*/ 252 w 685"/>
                  <a:gd name="T95" fmla="*/ 22 h 609"/>
                  <a:gd name="T96" fmla="*/ 342 w 685"/>
                  <a:gd name="T97" fmla="*/ 27 h 609"/>
                  <a:gd name="T98" fmla="*/ 360 w 685"/>
                  <a:gd name="T99" fmla="*/ 41 h 609"/>
                  <a:gd name="T100" fmla="*/ 383 w 685"/>
                  <a:gd name="T101" fmla="*/ 44 h 609"/>
                  <a:gd name="T102" fmla="*/ 398 w 685"/>
                  <a:gd name="T103" fmla="*/ 46 h 609"/>
                  <a:gd name="T104" fmla="*/ 420 w 685"/>
                  <a:gd name="T105" fmla="*/ 47 h 609"/>
                  <a:gd name="T106" fmla="*/ 442 w 685"/>
                  <a:gd name="T107" fmla="*/ 47 h 609"/>
                  <a:gd name="T108" fmla="*/ 462 w 685"/>
                  <a:gd name="T109" fmla="*/ 54 h 609"/>
                  <a:gd name="T110" fmla="*/ 491 w 685"/>
                  <a:gd name="T111" fmla="*/ 54 h 609"/>
                  <a:gd name="T112" fmla="*/ 593 w 685"/>
                  <a:gd name="T113" fmla="*/ 3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5" h="609">
                    <a:moveTo>
                      <a:pt x="593" y="34"/>
                    </a:moveTo>
                    <a:lnTo>
                      <a:pt x="614" y="30"/>
                    </a:lnTo>
                    <a:lnTo>
                      <a:pt x="634" y="25"/>
                    </a:lnTo>
                    <a:lnTo>
                      <a:pt x="634" y="27"/>
                    </a:lnTo>
                    <a:lnTo>
                      <a:pt x="638" y="27"/>
                    </a:lnTo>
                    <a:lnTo>
                      <a:pt x="641" y="25"/>
                    </a:lnTo>
                    <a:lnTo>
                      <a:pt x="644" y="27"/>
                    </a:lnTo>
                    <a:lnTo>
                      <a:pt x="648" y="29"/>
                    </a:lnTo>
                    <a:lnTo>
                      <a:pt x="649" y="27"/>
                    </a:lnTo>
                    <a:lnTo>
                      <a:pt x="649" y="29"/>
                    </a:lnTo>
                    <a:lnTo>
                      <a:pt x="656" y="27"/>
                    </a:lnTo>
                    <a:lnTo>
                      <a:pt x="660" y="29"/>
                    </a:lnTo>
                    <a:lnTo>
                      <a:pt x="661" y="27"/>
                    </a:lnTo>
                    <a:lnTo>
                      <a:pt x="661" y="29"/>
                    </a:lnTo>
                    <a:lnTo>
                      <a:pt x="663" y="29"/>
                    </a:lnTo>
                    <a:lnTo>
                      <a:pt x="666" y="29"/>
                    </a:lnTo>
                    <a:lnTo>
                      <a:pt x="666" y="30"/>
                    </a:lnTo>
                    <a:lnTo>
                      <a:pt x="668" y="30"/>
                    </a:lnTo>
                    <a:lnTo>
                      <a:pt x="672" y="30"/>
                    </a:lnTo>
                    <a:lnTo>
                      <a:pt x="672" y="32"/>
                    </a:lnTo>
                    <a:lnTo>
                      <a:pt x="675" y="32"/>
                    </a:lnTo>
                    <a:lnTo>
                      <a:pt x="673" y="34"/>
                    </a:lnTo>
                    <a:lnTo>
                      <a:pt x="675" y="34"/>
                    </a:lnTo>
                    <a:lnTo>
                      <a:pt x="677" y="35"/>
                    </a:lnTo>
                    <a:lnTo>
                      <a:pt x="677" y="37"/>
                    </a:lnTo>
                    <a:lnTo>
                      <a:pt x="678" y="37"/>
                    </a:lnTo>
                    <a:lnTo>
                      <a:pt x="678" y="39"/>
                    </a:lnTo>
                    <a:lnTo>
                      <a:pt x="680" y="37"/>
                    </a:lnTo>
                    <a:lnTo>
                      <a:pt x="680" y="39"/>
                    </a:lnTo>
                    <a:lnTo>
                      <a:pt x="682" y="41"/>
                    </a:lnTo>
                    <a:lnTo>
                      <a:pt x="683" y="41"/>
                    </a:lnTo>
                    <a:lnTo>
                      <a:pt x="685" y="42"/>
                    </a:lnTo>
                    <a:lnTo>
                      <a:pt x="680" y="42"/>
                    </a:lnTo>
                    <a:lnTo>
                      <a:pt x="678" y="44"/>
                    </a:lnTo>
                    <a:lnTo>
                      <a:pt x="675" y="44"/>
                    </a:lnTo>
                    <a:lnTo>
                      <a:pt x="675" y="42"/>
                    </a:lnTo>
                    <a:lnTo>
                      <a:pt x="673" y="44"/>
                    </a:lnTo>
                    <a:lnTo>
                      <a:pt x="672" y="44"/>
                    </a:lnTo>
                    <a:lnTo>
                      <a:pt x="670" y="42"/>
                    </a:lnTo>
                    <a:lnTo>
                      <a:pt x="672" y="42"/>
                    </a:lnTo>
                    <a:lnTo>
                      <a:pt x="670" y="42"/>
                    </a:lnTo>
                    <a:lnTo>
                      <a:pt x="668" y="44"/>
                    </a:lnTo>
                    <a:lnTo>
                      <a:pt x="666" y="42"/>
                    </a:lnTo>
                    <a:lnTo>
                      <a:pt x="665" y="46"/>
                    </a:lnTo>
                    <a:lnTo>
                      <a:pt x="663" y="46"/>
                    </a:lnTo>
                    <a:lnTo>
                      <a:pt x="661" y="46"/>
                    </a:lnTo>
                    <a:lnTo>
                      <a:pt x="660" y="46"/>
                    </a:lnTo>
                    <a:lnTo>
                      <a:pt x="660" y="47"/>
                    </a:lnTo>
                    <a:lnTo>
                      <a:pt x="658" y="47"/>
                    </a:lnTo>
                    <a:lnTo>
                      <a:pt x="656" y="49"/>
                    </a:lnTo>
                    <a:lnTo>
                      <a:pt x="655" y="49"/>
                    </a:lnTo>
                    <a:lnTo>
                      <a:pt x="655" y="51"/>
                    </a:lnTo>
                    <a:lnTo>
                      <a:pt x="653" y="52"/>
                    </a:lnTo>
                    <a:lnTo>
                      <a:pt x="651" y="54"/>
                    </a:lnTo>
                    <a:lnTo>
                      <a:pt x="649" y="56"/>
                    </a:lnTo>
                    <a:lnTo>
                      <a:pt x="648" y="56"/>
                    </a:lnTo>
                    <a:lnTo>
                      <a:pt x="646" y="56"/>
                    </a:lnTo>
                    <a:lnTo>
                      <a:pt x="646" y="54"/>
                    </a:lnTo>
                    <a:lnTo>
                      <a:pt x="646" y="52"/>
                    </a:lnTo>
                    <a:lnTo>
                      <a:pt x="644" y="52"/>
                    </a:lnTo>
                    <a:lnTo>
                      <a:pt x="644" y="51"/>
                    </a:lnTo>
                    <a:lnTo>
                      <a:pt x="643" y="51"/>
                    </a:lnTo>
                    <a:lnTo>
                      <a:pt x="639" y="51"/>
                    </a:lnTo>
                    <a:lnTo>
                      <a:pt x="636" y="54"/>
                    </a:lnTo>
                    <a:lnTo>
                      <a:pt x="634" y="54"/>
                    </a:lnTo>
                    <a:lnTo>
                      <a:pt x="631" y="54"/>
                    </a:lnTo>
                    <a:lnTo>
                      <a:pt x="629" y="54"/>
                    </a:lnTo>
                    <a:lnTo>
                      <a:pt x="629" y="56"/>
                    </a:lnTo>
                    <a:lnTo>
                      <a:pt x="627" y="58"/>
                    </a:lnTo>
                    <a:lnTo>
                      <a:pt x="624" y="58"/>
                    </a:lnTo>
                    <a:lnTo>
                      <a:pt x="624" y="59"/>
                    </a:lnTo>
                    <a:lnTo>
                      <a:pt x="622" y="59"/>
                    </a:lnTo>
                    <a:lnTo>
                      <a:pt x="621" y="63"/>
                    </a:lnTo>
                    <a:lnTo>
                      <a:pt x="619" y="63"/>
                    </a:lnTo>
                    <a:lnTo>
                      <a:pt x="617" y="63"/>
                    </a:lnTo>
                    <a:lnTo>
                      <a:pt x="617" y="64"/>
                    </a:lnTo>
                    <a:lnTo>
                      <a:pt x="617" y="66"/>
                    </a:lnTo>
                    <a:lnTo>
                      <a:pt x="615" y="66"/>
                    </a:lnTo>
                    <a:lnTo>
                      <a:pt x="614" y="69"/>
                    </a:lnTo>
                    <a:lnTo>
                      <a:pt x="612" y="69"/>
                    </a:lnTo>
                    <a:lnTo>
                      <a:pt x="610" y="73"/>
                    </a:lnTo>
                    <a:lnTo>
                      <a:pt x="607" y="75"/>
                    </a:lnTo>
                    <a:lnTo>
                      <a:pt x="605" y="75"/>
                    </a:lnTo>
                    <a:lnTo>
                      <a:pt x="604" y="76"/>
                    </a:lnTo>
                    <a:lnTo>
                      <a:pt x="602" y="78"/>
                    </a:lnTo>
                    <a:lnTo>
                      <a:pt x="598" y="76"/>
                    </a:lnTo>
                    <a:lnTo>
                      <a:pt x="600" y="76"/>
                    </a:lnTo>
                    <a:lnTo>
                      <a:pt x="598" y="75"/>
                    </a:lnTo>
                    <a:lnTo>
                      <a:pt x="598" y="71"/>
                    </a:lnTo>
                    <a:lnTo>
                      <a:pt x="597" y="66"/>
                    </a:lnTo>
                    <a:lnTo>
                      <a:pt x="595" y="64"/>
                    </a:lnTo>
                    <a:lnTo>
                      <a:pt x="593" y="64"/>
                    </a:lnTo>
                    <a:lnTo>
                      <a:pt x="593" y="63"/>
                    </a:lnTo>
                    <a:lnTo>
                      <a:pt x="590" y="63"/>
                    </a:lnTo>
                    <a:lnTo>
                      <a:pt x="592" y="61"/>
                    </a:lnTo>
                    <a:lnTo>
                      <a:pt x="590" y="61"/>
                    </a:lnTo>
                    <a:lnTo>
                      <a:pt x="590" y="59"/>
                    </a:lnTo>
                    <a:lnTo>
                      <a:pt x="587" y="58"/>
                    </a:lnTo>
                    <a:lnTo>
                      <a:pt x="587" y="56"/>
                    </a:lnTo>
                    <a:lnTo>
                      <a:pt x="588" y="56"/>
                    </a:lnTo>
                    <a:lnTo>
                      <a:pt x="587" y="54"/>
                    </a:lnTo>
                    <a:lnTo>
                      <a:pt x="585" y="52"/>
                    </a:lnTo>
                    <a:lnTo>
                      <a:pt x="575" y="52"/>
                    </a:lnTo>
                    <a:lnTo>
                      <a:pt x="558" y="56"/>
                    </a:lnTo>
                    <a:lnTo>
                      <a:pt x="546" y="59"/>
                    </a:lnTo>
                    <a:lnTo>
                      <a:pt x="532" y="61"/>
                    </a:lnTo>
                    <a:lnTo>
                      <a:pt x="510" y="66"/>
                    </a:lnTo>
                    <a:lnTo>
                      <a:pt x="493" y="69"/>
                    </a:lnTo>
                    <a:lnTo>
                      <a:pt x="469" y="69"/>
                    </a:lnTo>
                    <a:lnTo>
                      <a:pt x="469" y="78"/>
                    </a:lnTo>
                    <a:lnTo>
                      <a:pt x="469" y="95"/>
                    </a:lnTo>
                    <a:lnTo>
                      <a:pt x="469" y="112"/>
                    </a:lnTo>
                    <a:lnTo>
                      <a:pt x="469" y="115"/>
                    </a:lnTo>
                    <a:lnTo>
                      <a:pt x="469" y="138"/>
                    </a:lnTo>
                    <a:lnTo>
                      <a:pt x="469" y="155"/>
                    </a:lnTo>
                    <a:lnTo>
                      <a:pt x="469" y="163"/>
                    </a:lnTo>
                    <a:lnTo>
                      <a:pt x="469" y="173"/>
                    </a:lnTo>
                    <a:lnTo>
                      <a:pt x="469" y="175"/>
                    </a:lnTo>
                    <a:lnTo>
                      <a:pt x="469" y="200"/>
                    </a:lnTo>
                    <a:lnTo>
                      <a:pt x="469" y="204"/>
                    </a:lnTo>
                    <a:lnTo>
                      <a:pt x="469" y="234"/>
                    </a:lnTo>
                    <a:lnTo>
                      <a:pt x="469" y="255"/>
                    </a:lnTo>
                    <a:lnTo>
                      <a:pt x="454" y="255"/>
                    </a:lnTo>
                    <a:lnTo>
                      <a:pt x="432" y="255"/>
                    </a:lnTo>
                    <a:lnTo>
                      <a:pt x="418" y="255"/>
                    </a:lnTo>
                    <a:lnTo>
                      <a:pt x="418" y="263"/>
                    </a:lnTo>
                    <a:lnTo>
                      <a:pt x="418" y="275"/>
                    </a:lnTo>
                    <a:lnTo>
                      <a:pt x="418" y="297"/>
                    </a:lnTo>
                    <a:lnTo>
                      <a:pt x="418" y="304"/>
                    </a:lnTo>
                    <a:lnTo>
                      <a:pt x="418" y="318"/>
                    </a:lnTo>
                    <a:lnTo>
                      <a:pt x="418" y="321"/>
                    </a:lnTo>
                    <a:lnTo>
                      <a:pt x="418" y="335"/>
                    </a:lnTo>
                    <a:lnTo>
                      <a:pt x="418" y="348"/>
                    </a:lnTo>
                    <a:lnTo>
                      <a:pt x="418" y="350"/>
                    </a:lnTo>
                    <a:lnTo>
                      <a:pt x="418" y="362"/>
                    </a:lnTo>
                    <a:lnTo>
                      <a:pt x="418" y="389"/>
                    </a:lnTo>
                    <a:lnTo>
                      <a:pt x="418" y="394"/>
                    </a:lnTo>
                    <a:lnTo>
                      <a:pt x="418" y="396"/>
                    </a:lnTo>
                    <a:lnTo>
                      <a:pt x="418" y="413"/>
                    </a:lnTo>
                    <a:lnTo>
                      <a:pt x="418" y="434"/>
                    </a:lnTo>
                    <a:lnTo>
                      <a:pt x="418" y="439"/>
                    </a:lnTo>
                    <a:lnTo>
                      <a:pt x="418" y="457"/>
                    </a:lnTo>
                    <a:lnTo>
                      <a:pt x="418" y="473"/>
                    </a:lnTo>
                    <a:lnTo>
                      <a:pt x="418" y="490"/>
                    </a:lnTo>
                    <a:lnTo>
                      <a:pt x="418" y="507"/>
                    </a:lnTo>
                    <a:lnTo>
                      <a:pt x="418" y="527"/>
                    </a:lnTo>
                    <a:lnTo>
                      <a:pt x="418" y="534"/>
                    </a:lnTo>
                    <a:lnTo>
                      <a:pt x="418" y="547"/>
                    </a:lnTo>
                    <a:lnTo>
                      <a:pt x="418" y="559"/>
                    </a:lnTo>
                    <a:lnTo>
                      <a:pt x="418" y="582"/>
                    </a:lnTo>
                    <a:lnTo>
                      <a:pt x="413" y="582"/>
                    </a:lnTo>
                    <a:lnTo>
                      <a:pt x="410" y="585"/>
                    </a:lnTo>
                    <a:lnTo>
                      <a:pt x="405" y="583"/>
                    </a:lnTo>
                    <a:lnTo>
                      <a:pt x="401" y="587"/>
                    </a:lnTo>
                    <a:lnTo>
                      <a:pt x="400" y="585"/>
                    </a:lnTo>
                    <a:lnTo>
                      <a:pt x="396" y="587"/>
                    </a:lnTo>
                    <a:lnTo>
                      <a:pt x="394" y="588"/>
                    </a:lnTo>
                    <a:lnTo>
                      <a:pt x="393" y="590"/>
                    </a:lnTo>
                    <a:lnTo>
                      <a:pt x="393" y="593"/>
                    </a:lnTo>
                    <a:lnTo>
                      <a:pt x="391" y="595"/>
                    </a:lnTo>
                    <a:lnTo>
                      <a:pt x="388" y="597"/>
                    </a:lnTo>
                    <a:lnTo>
                      <a:pt x="383" y="597"/>
                    </a:lnTo>
                    <a:lnTo>
                      <a:pt x="381" y="597"/>
                    </a:lnTo>
                    <a:lnTo>
                      <a:pt x="381" y="600"/>
                    </a:lnTo>
                    <a:lnTo>
                      <a:pt x="381" y="604"/>
                    </a:lnTo>
                    <a:lnTo>
                      <a:pt x="383" y="605"/>
                    </a:lnTo>
                    <a:lnTo>
                      <a:pt x="381" y="605"/>
                    </a:lnTo>
                    <a:lnTo>
                      <a:pt x="377" y="607"/>
                    </a:lnTo>
                    <a:lnTo>
                      <a:pt x="376" y="609"/>
                    </a:lnTo>
                    <a:lnTo>
                      <a:pt x="372" y="609"/>
                    </a:lnTo>
                    <a:lnTo>
                      <a:pt x="371" y="607"/>
                    </a:lnTo>
                    <a:lnTo>
                      <a:pt x="369" y="607"/>
                    </a:lnTo>
                    <a:lnTo>
                      <a:pt x="367" y="604"/>
                    </a:lnTo>
                    <a:lnTo>
                      <a:pt x="364" y="604"/>
                    </a:lnTo>
                    <a:lnTo>
                      <a:pt x="354" y="602"/>
                    </a:lnTo>
                    <a:lnTo>
                      <a:pt x="349" y="602"/>
                    </a:lnTo>
                    <a:lnTo>
                      <a:pt x="345" y="604"/>
                    </a:lnTo>
                    <a:lnTo>
                      <a:pt x="343" y="605"/>
                    </a:lnTo>
                    <a:lnTo>
                      <a:pt x="342" y="604"/>
                    </a:lnTo>
                    <a:lnTo>
                      <a:pt x="338" y="605"/>
                    </a:lnTo>
                    <a:lnTo>
                      <a:pt x="335" y="604"/>
                    </a:lnTo>
                    <a:lnTo>
                      <a:pt x="330" y="604"/>
                    </a:lnTo>
                    <a:lnTo>
                      <a:pt x="330" y="605"/>
                    </a:lnTo>
                    <a:lnTo>
                      <a:pt x="328" y="605"/>
                    </a:lnTo>
                    <a:lnTo>
                      <a:pt x="326" y="605"/>
                    </a:lnTo>
                    <a:lnTo>
                      <a:pt x="321" y="604"/>
                    </a:lnTo>
                    <a:lnTo>
                      <a:pt x="320" y="604"/>
                    </a:lnTo>
                    <a:lnTo>
                      <a:pt x="316" y="600"/>
                    </a:lnTo>
                    <a:lnTo>
                      <a:pt x="316" y="599"/>
                    </a:lnTo>
                    <a:lnTo>
                      <a:pt x="315" y="599"/>
                    </a:lnTo>
                    <a:lnTo>
                      <a:pt x="313" y="599"/>
                    </a:lnTo>
                    <a:lnTo>
                      <a:pt x="306" y="599"/>
                    </a:lnTo>
                    <a:lnTo>
                      <a:pt x="304" y="597"/>
                    </a:lnTo>
                    <a:lnTo>
                      <a:pt x="304" y="599"/>
                    </a:lnTo>
                    <a:lnTo>
                      <a:pt x="303" y="597"/>
                    </a:lnTo>
                    <a:lnTo>
                      <a:pt x="299" y="599"/>
                    </a:lnTo>
                    <a:lnTo>
                      <a:pt x="298" y="599"/>
                    </a:lnTo>
                    <a:lnTo>
                      <a:pt x="298" y="595"/>
                    </a:lnTo>
                    <a:lnTo>
                      <a:pt x="296" y="593"/>
                    </a:lnTo>
                    <a:lnTo>
                      <a:pt x="294" y="595"/>
                    </a:lnTo>
                    <a:lnTo>
                      <a:pt x="291" y="595"/>
                    </a:lnTo>
                    <a:lnTo>
                      <a:pt x="287" y="597"/>
                    </a:lnTo>
                    <a:lnTo>
                      <a:pt x="289" y="588"/>
                    </a:lnTo>
                    <a:lnTo>
                      <a:pt x="287" y="588"/>
                    </a:lnTo>
                    <a:lnTo>
                      <a:pt x="286" y="588"/>
                    </a:lnTo>
                    <a:lnTo>
                      <a:pt x="286" y="585"/>
                    </a:lnTo>
                    <a:lnTo>
                      <a:pt x="284" y="583"/>
                    </a:lnTo>
                    <a:lnTo>
                      <a:pt x="284" y="582"/>
                    </a:lnTo>
                    <a:lnTo>
                      <a:pt x="286" y="582"/>
                    </a:lnTo>
                    <a:lnTo>
                      <a:pt x="287" y="580"/>
                    </a:lnTo>
                    <a:lnTo>
                      <a:pt x="287" y="578"/>
                    </a:lnTo>
                    <a:lnTo>
                      <a:pt x="286" y="576"/>
                    </a:lnTo>
                    <a:lnTo>
                      <a:pt x="286" y="575"/>
                    </a:lnTo>
                    <a:lnTo>
                      <a:pt x="284" y="571"/>
                    </a:lnTo>
                    <a:lnTo>
                      <a:pt x="282" y="571"/>
                    </a:lnTo>
                    <a:lnTo>
                      <a:pt x="281" y="571"/>
                    </a:lnTo>
                    <a:lnTo>
                      <a:pt x="277" y="571"/>
                    </a:lnTo>
                    <a:lnTo>
                      <a:pt x="275" y="570"/>
                    </a:lnTo>
                    <a:lnTo>
                      <a:pt x="277" y="565"/>
                    </a:lnTo>
                    <a:lnTo>
                      <a:pt x="274" y="565"/>
                    </a:lnTo>
                    <a:lnTo>
                      <a:pt x="270" y="561"/>
                    </a:lnTo>
                    <a:lnTo>
                      <a:pt x="267" y="563"/>
                    </a:lnTo>
                    <a:lnTo>
                      <a:pt x="265" y="563"/>
                    </a:lnTo>
                    <a:lnTo>
                      <a:pt x="264" y="563"/>
                    </a:lnTo>
                    <a:lnTo>
                      <a:pt x="262" y="563"/>
                    </a:lnTo>
                    <a:lnTo>
                      <a:pt x="260" y="565"/>
                    </a:lnTo>
                    <a:lnTo>
                      <a:pt x="260" y="568"/>
                    </a:lnTo>
                    <a:lnTo>
                      <a:pt x="258" y="568"/>
                    </a:lnTo>
                    <a:lnTo>
                      <a:pt x="260" y="570"/>
                    </a:lnTo>
                    <a:lnTo>
                      <a:pt x="257" y="571"/>
                    </a:lnTo>
                    <a:lnTo>
                      <a:pt x="258" y="571"/>
                    </a:lnTo>
                    <a:lnTo>
                      <a:pt x="258" y="573"/>
                    </a:lnTo>
                    <a:lnTo>
                      <a:pt x="257" y="573"/>
                    </a:lnTo>
                    <a:lnTo>
                      <a:pt x="255" y="573"/>
                    </a:lnTo>
                    <a:lnTo>
                      <a:pt x="255" y="575"/>
                    </a:lnTo>
                    <a:lnTo>
                      <a:pt x="257" y="578"/>
                    </a:lnTo>
                    <a:lnTo>
                      <a:pt x="255" y="580"/>
                    </a:lnTo>
                    <a:lnTo>
                      <a:pt x="255" y="583"/>
                    </a:lnTo>
                    <a:lnTo>
                      <a:pt x="253" y="585"/>
                    </a:lnTo>
                    <a:lnTo>
                      <a:pt x="250" y="583"/>
                    </a:lnTo>
                    <a:lnTo>
                      <a:pt x="248" y="585"/>
                    </a:lnTo>
                    <a:lnTo>
                      <a:pt x="247" y="587"/>
                    </a:lnTo>
                    <a:lnTo>
                      <a:pt x="240" y="588"/>
                    </a:lnTo>
                    <a:lnTo>
                      <a:pt x="240" y="590"/>
                    </a:lnTo>
                    <a:lnTo>
                      <a:pt x="240" y="592"/>
                    </a:lnTo>
                    <a:lnTo>
                      <a:pt x="233" y="588"/>
                    </a:lnTo>
                    <a:lnTo>
                      <a:pt x="218" y="573"/>
                    </a:lnTo>
                    <a:lnTo>
                      <a:pt x="206" y="565"/>
                    </a:lnTo>
                    <a:lnTo>
                      <a:pt x="201" y="558"/>
                    </a:lnTo>
                    <a:lnTo>
                      <a:pt x="201" y="554"/>
                    </a:lnTo>
                    <a:lnTo>
                      <a:pt x="194" y="547"/>
                    </a:lnTo>
                    <a:lnTo>
                      <a:pt x="192" y="544"/>
                    </a:lnTo>
                    <a:lnTo>
                      <a:pt x="192" y="542"/>
                    </a:lnTo>
                    <a:lnTo>
                      <a:pt x="189" y="537"/>
                    </a:lnTo>
                    <a:lnTo>
                      <a:pt x="187" y="534"/>
                    </a:lnTo>
                    <a:lnTo>
                      <a:pt x="184" y="530"/>
                    </a:lnTo>
                    <a:lnTo>
                      <a:pt x="184" y="529"/>
                    </a:lnTo>
                    <a:lnTo>
                      <a:pt x="180" y="525"/>
                    </a:lnTo>
                    <a:lnTo>
                      <a:pt x="179" y="519"/>
                    </a:lnTo>
                    <a:lnTo>
                      <a:pt x="179" y="517"/>
                    </a:lnTo>
                    <a:lnTo>
                      <a:pt x="179" y="515"/>
                    </a:lnTo>
                    <a:lnTo>
                      <a:pt x="179" y="513"/>
                    </a:lnTo>
                    <a:lnTo>
                      <a:pt x="177" y="512"/>
                    </a:lnTo>
                    <a:lnTo>
                      <a:pt x="177" y="505"/>
                    </a:lnTo>
                    <a:lnTo>
                      <a:pt x="173" y="503"/>
                    </a:lnTo>
                    <a:lnTo>
                      <a:pt x="173" y="502"/>
                    </a:lnTo>
                    <a:lnTo>
                      <a:pt x="172" y="498"/>
                    </a:lnTo>
                    <a:lnTo>
                      <a:pt x="172" y="495"/>
                    </a:lnTo>
                    <a:lnTo>
                      <a:pt x="170" y="496"/>
                    </a:lnTo>
                    <a:lnTo>
                      <a:pt x="170" y="495"/>
                    </a:lnTo>
                    <a:lnTo>
                      <a:pt x="170" y="490"/>
                    </a:lnTo>
                    <a:lnTo>
                      <a:pt x="170" y="491"/>
                    </a:lnTo>
                    <a:lnTo>
                      <a:pt x="172" y="490"/>
                    </a:lnTo>
                    <a:lnTo>
                      <a:pt x="173" y="493"/>
                    </a:lnTo>
                    <a:lnTo>
                      <a:pt x="173" y="490"/>
                    </a:lnTo>
                    <a:lnTo>
                      <a:pt x="173" y="491"/>
                    </a:lnTo>
                    <a:lnTo>
                      <a:pt x="175" y="488"/>
                    </a:lnTo>
                    <a:lnTo>
                      <a:pt x="173" y="488"/>
                    </a:lnTo>
                    <a:lnTo>
                      <a:pt x="172" y="483"/>
                    </a:lnTo>
                    <a:lnTo>
                      <a:pt x="172" y="481"/>
                    </a:lnTo>
                    <a:lnTo>
                      <a:pt x="170" y="478"/>
                    </a:lnTo>
                    <a:lnTo>
                      <a:pt x="165" y="476"/>
                    </a:lnTo>
                    <a:lnTo>
                      <a:pt x="163" y="474"/>
                    </a:lnTo>
                    <a:lnTo>
                      <a:pt x="163" y="469"/>
                    </a:lnTo>
                    <a:lnTo>
                      <a:pt x="163" y="468"/>
                    </a:lnTo>
                    <a:lnTo>
                      <a:pt x="162" y="466"/>
                    </a:lnTo>
                    <a:lnTo>
                      <a:pt x="163" y="464"/>
                    </a:lnTo>
                    <a:lnTo>
                      <a:pt x="165" y="462"/>
                    </a:lnTo>
                    <a:lnTo>
                      <a:pt x="163" y="457"/>
                    </a:lnTo>
                    <a:lnTo>
                      <a:pt x="162" y="454"/>
                    </a:lnTo>
                    <a:lnTo>
                      <a:pt x="162" y="451"/>
                    </a:lnTo>
                    <a:lnTo>
                      <a:pt x="156" y="445"/>
                    </a:lnTo>
                    <a:lnTo>
                      <a:pt x="158" y="444"/>
                    </a:lnTo>
                    <a:lnTo>
                      <a:pt x="158" y="439"/>
                    </a:lnTo>
                    <a:lnTo>
                      <a:pt x="160" y="435"/>
                    </a:lnTo>
                    <a:lnTo>
                      <a:pt x="156" y="432"/>
                    </a:lnTo>
                    <a:lnTo>
                      <a:pt x="158" y="428"/>
                    </a:lnTo>
                    <a:lnTo>
                      <a:pt x="156" y="427"/>
                    </a:lnTo>
                    <a:lnTo>
                      <a:pt x="155" y="423"/>
                    </a:lnTo>
                    <a:lnTo>
                      <a:pt x="160" y="411"/>
                    </a:lnTo>
                    <a:lnTo>
                      <a:pt x="155" y="403"/>
                    </a:lnTo>
                    <a:lnTo>
                      <a:pt x="155" y="400"/>
                    </a:lnTo>
                    <a:lnTo>
                      <a:pt x="153" y="396"/>
                    </a:lnTo>
                    <a:lnTo>
                      <a:pt x="145" y="384"/>
                    </a:lnTo>
                    <a:lnTo>
                      <a:pt x="146" y="381"/>
                    </a:lnTo>
                    <a:lnTo>
                      <a:pt x="146" y="379"/>
                    </a:lnTo>
                    <a:lnTo>
                      <a:pt x="141" y="369"/>
                    </a:lnTo>
                    <a:lnTo>
                      <a:pt x="138" y="359"/>
                    </a:lnTo>
                    <a:lnTo>
                      <a:pt x="138" y="355"/>
                    </a:lnTo>
                    <a:lnTo>
                      <a:pt x="141" y="352"/>
                    </a:lnTo>
                    <a:lnTo>
                      <a:pt x="139" y="345"/>
                    </a:lnTo>
                    <a:lnTo>
                      <a:pt x="141" y="338"/>
                    </a:lnTo>
                    <a:lnTo>
                      <a:pt x="136" y="326"/>
                    </a:lnTo>
                    <a:lnTo>
                      <a:pt x="138" y="325"/>
                    </a:lnTo>
                    <a:lnTo>
                      <a:pt x="139" y="325"/>
                    </a:lnTo>
                    <a:lnTo>
                      <a:pt x="138" y="325"/>
                    </a:lnTo>
                    <a:lnTo>
                      <a:pt x="139" y="325"/>
                    </a:lnTo>
                    <a:lnTo>
                      <a:pt x="138" y="326"/>
                    </a:lnTo>
                    <a:lnTo>
                      <a:pt x="139" y="326"/>
                    </a:lnTo>
                    <a:lnTo>
                      <a:pt x="139" y="323"/>
                    </a:lnTo>
                    <a:lnTo>
                      <a:pt x="136" y="311"/>
                    </a:lnTo>
                    <a:lnTo>
                      <a:pt x="136" y="304"/>
                    </a:lnTo>
                    <a:lnTo>
                      <a:pt x="136" y="303"/>
                    </a:lnTo>
                    <a:lnTo>
                      <a:pt x="136" y="301"/>
                    </a:lnTo>
                    <a:lnTo>
                      <a:pt x="138" y="299"/>
                    </a:lnTo>
                    <a:lnTo>
                      <a:pt x="136" y="304"/>
                    </a:lnTo>
                    <a:lnTo>
                      <a:pt x="139" y="304"/>
                    </a:lnTo>
                    <a:lnTo>
                      <a:pt x="138" y="308"/>
                    </a:lnTo>
                    <a:lnTo>
                      <a:pt x="139" y="304"/>
                    </a:lnTo>
                    <a:lnTo>
                      <a:pt x="141" y="301"/>
                    </a:lnTo>
                    <a:lnTo>
                      <a:pt x="143" y="296"/>
                    </a:lnTo>
                    <a:lnTo>
                      <a:pt x="141" y="294"/>
                    </a:lnTo>
                    <a:lnTo>
                      <a:pt x="141" y="289"/>
                    </a:lnTo>
                    <a:lnTo>
                      <a:pt x="141" y="286"/>
                    </a:lnTo>
                    <a:lnTo>
                      <a:pt x="141" y="284"/>
                    </a:lnTo>
                    <a:lnTo>
                      <a:pt x="138" y="279"/>
                    </a:lnTo>
                    <a:lnTo>
                      <a:pt x="136" y="274"/>
                    </a:lnTo>
                    <a:lnTo>
                      <a:pt x="134" y="270"/>
                    </a:lnTo>
                    <a:lnTo>
                      <a:pt x="129" y="263"/>
                    </a:lnTo>
                    <a:lnTo>
                      <a:pt x="129" y="262"/>
                    </a:lnTo>
                    <a:lnTo>
                      <a:pt x="117" y="248"/>
                    </a:lnTo>
                    <a:lnTo>
                      <a:pt x="112" y="245"/>
                    </a:lnTo>
                    <a:lnTo>
                      <a:pt x="114" y="243"/>
                    </a:lnTo>
                    <a:lnTo>
                      <a:pt x="114" y="241"/>
                    </a:lnTo>
                    <a:lnTo>
                      <a:pt x="109" y="234"/>
                    </a:lnTo>
                    <a:lnTo>
                      <a:pt x="107" y="231"/>
                    </a:lnTo>
                    <a:lnTo>
                      <a:pt x="100" y="221"/>
                    </a:lnTo>
                    <a:lnTo>
                      <a:pt x="99" y="217"/>
                    </a:lnTo>
                    <a:lnTo>
                      <a:pt x="94" y="211"/>
                    </a:lnTo>
                    <a:lnTo>
                      <a:pt x="92" y="207"/>
                    </a:lnTo>
                    <a:lnTo>
                      <a:pt x="85" y="199"/>
                    </a:lnTo>
                    <a:lnTo>
                      <a:pt x="83" y="194"/>
                    </a:lnTo>
                    <a:lnTo>
                      <a:pt x="83" y="189"/>
                    </a:lnTo>
                    <a:lnTo>
                      <a:pt x="82" y="185"/>
                    </a:lnTo>
                    <a:lnTo>
                      <a:pt x="77" y="177"/>
                    </a:lnTo>
                    <a:lnTo>
                      <a:pt x="77" y="170"/>
                    </a:lnTo>
                    <a:lnTo>
                      <a:pt x="75" y="166"/>
                    </a:lnTo>
                    <a:lnTo>
                      <a:pt x="75" y="165"/>
                    </a:lnTo>
                    <a:lnTo>
                      <a:pt x="71" y="161"/>
                    </a:lnTo>
                    <a:lnTo>
                      <a:pt x="66" y="158"/>
                    </a:lnTo>
                    <a:lnTo>
                      <a:pt x="66" y="153"/>
                    </a:lnTo>
                    <a:lnTo>
                      <a:pt x="58" y="139"/>
                    </a:lnTo>
                    <a:lnTo>
                      <a:pt x="56" y="136"/>
                    </a:lnTo>
                    <a:lnTo>
                      <a:pt x="49" y="126"/>
                    </a:lnTo>
                    <a:lnTo>
                      <a:pt x="49" y="119"/>
                    </a:lnTo>
                    <a:lnTo>
                      <a:pt x="43" y="107"/>
                    </a:lnTo>
                    <a:lnTo>
                      <a:pt x="39" y="104"/>
                    </a:lnTo>
                    <a:lnTo>
                      <a:pt x="37" y="98"/>
                    </a:lnTo>
                    <a:lnTo>
                      <a:pt x="31" y="90"/>
                    </a:lnTo>
                    <a:lnTo>
                      <a:pt x="15" y="78"/>
                    </a:lnTo>
                    <a:lnTo>
                      <a:pt x="15" y="76"/>
                    </a:lnTo>
                    <a:lnTo>
                      <a:pt x="14" y="71"/>
                    </a:lnTo>
                    <a:lnTo>
                      <a:pt x="12" y="68"/>
                    </a:lnTo>
                    <a:lnTo>
                      <a:pt x="12" y="66"/>
                    </a:lnTo>
                    <a:lnTo>
                      <a:pt x="7" y="59"/>
                    </a:lnTo>
                    <a:lnTo>
                      <a:pt x="3" y="52"/>
                    </a:lnTo>
                    <a:lnTo>
                      <a:pt x="3" y="47"/>
                    </a:lnTo>
                    <a:lnTo>
                      <a:pt x="2" y="42"/>
                    </a:lnTo>
                    <a:lnTo>
                      <a:pt x="0" y="32"/>
                    </a:lnTo>
                    <a:lnTo>
                      <a:pt x="0" y="25"/>
                    </a:lnTo>
                    <a:lnTo>
                      <a:pt x="2" y="20"/>
                    </a:lnTo>
                    <a:lnTo>
                      <a:pt x="2" y="15"/>
                    </a:lnTo>
                    <a:lnTo>
                      <a:pt x="3" y="15"/>
                    </a:lnTo>
                    <a:lnTo>
                      <a:pt x="10" y="12"/>
                    </a:lnTo>
                    <a:lnTo>
                      <a:pt x="17" y="10"/>
                    </a:lnTo>
                    <a:lnTo>
                      <a:pt x="19" y="10"/>
                    </a:lnTo>
                    <a:lnTo>
                      <a:pt x="22" y="10"/>
                    </a:lnTo>
                    <a:lnTo>
                      <a:pt x="22" y="12"/>
                    </a:lnTo>
                    <a:lnTo>
                      <a:pt x="26" y="13"/>
                    </a:lnTo>
                    <a:lnTo>
                      <a:pt x="31" y="13"/>
                    </a:lnTo>
                    <a:lnTo>
                      <a:pt x="32" y="13"/>
                    </a:lnTo>
                    <a:lnTo>
                      <a:pt x="34" y="12"/>
                    </a:lnTo>
                    <a:lnTo>
                      <a:pt x="36" y="13"/>
                    </a:lnTo>
                    <a:lnTo>
                      <a:pt x="36" y="15"/>
                    </a:lnTo>
                    <a:lnTo>
                      <a:pt x="37" y="15"/>
                    </a:lnTo>
                    <a:lnTo>
                      <a:pt x="43" y="15"/>
                    </a:lnTo>
                    <a:lnTo>
                      <a:pt x="43" y="13"/>
                    </a:lnTo>
                    <a:lnTo>
                      <a:pt x="44" y="13"/>
                    </a:lnTo>
                    <a:lnTo>
                      <a:pt x="48" y="10"/>
                    </a:lnTo>
                    <a:lnTo>
                      <a:pt x="49" y="10"/>
                    </a:lnTo>
                    <a:lnTo>
                      <a:pt x="51" y="10"/>
                    </a:lnTo>
                    <a:lnTo>
                      <a:pt x="54" y="8"/>
                    </a:lnTo>
                    <a:lnTo>
                      <a:pt x="54" y="7"/>
                    </a:lnTo>
                    <a:lnTo>
                      <a:pt x="58" y="5"/>
                    </a:lnTo>
                    <a:lnTo>
                      <a:pt x="63" y="3"/>
                    </a:lnTo>
                    <a:lnTo>
                      <a:pt x="63" y="1"/>
                    </a:lnTo>
                    <a:lnTo>
                      <a:pt x="73" y="0"/>
                    </a:lnTo>
                    <a:lnTo>
                      <a:pt x="77" y="1"/>
                    </a:lnTo>
                    <a:lnTo>
                      <a:pt x="82" y="1"/>
                    </a:lnTo>
                    <a:lnTo>
                      <a:pt x="87" y="3"/>
                    </a:lnTo>
                    <a:lnTo>
                      <a:pt x="90" y="7"/>
                    </a:lnTo>
                    <a:lnTo>
                      <a:pt x="90" y="8"/>
                    </a:lnTo>
                    <a:lnTo>
                      <a:pt x="99" y="15"/>
                    </a:lnTo>
                    <a:lnTo>
                      <a:pt x="109" y="20"/>
                    </a:lnTo>
                    <a:lnTo>
                      <a:pt x="111" y="24"/>
                    </a:lnTo>
                    <a:lnTo>
                      <a:pt x="112" y="24"/>
                    </a:lnTo>
                    <a:lnTo>
                      <a:pt x="114" y="24"/>
                    </a:lnTo>
                    <a:lnTo>
                      <a:pt x="116" y="24"/>
                    </a:lnTo>
                    <a:lnTo>
                      <a:pt x="119" y="24"/>
                    </a:lnTo>
                    <a:lnTo>
                      <a:pt x="121" y="24"/>
                    </a:lnTo>
                    <a:lnTo>
                      <a:pt x="122" y="24"/>
                    </a:lnTo>
                    <a:lnTo>
                      <a:pt x="126" y="24"/>
                    </a:lnTo>
                    <a:lnTo>
                      <a:pt x="126" y="22"/>
                    </a:lnTo>
                    <a:lnTo>
                      <a:pt x="148" y="22"/>
                    </a:lnTo>
                    <a:lnTo>
                      <a:pt x="156" y="22"/>
                    </a:lnTo>
                    <a:lnTo>
                      <a:pt x="173" y="22"/>
                    </a:lnTo>
                    <a:lnTo>
                      <a:pt x="184" y="22"/>
                    </a:lnTo>
                    <a:lnTo>
                      <a:pt x="199" y="22"/>
                    </a:lnTo>
                    <a:lnTo>
                      <a:pt x="211" y="22"/>
                    </a:lnTo>
                    <a:lnTo>
                      <a:pt x="224" y="22"/>
                    </a:lnTo>
                    <a:lnTo>
                      <a:pt x="233" y="22"/>
                    </a:lnTo>
                    <a:lnTo>
                      <a:pt x="252" y="22"/>
                    </a:lnTo>
                    <a:lnTo>
                      <a:pt x="265" y="22"/>
                    </a:lnTo>
                    <a:lnTo>
                      <a:pt x="281" y="22"/>
                    </a:lnTo>
                    <a:lnTo>
                      <a:pt x="286" y="22"/>
                    </a:lnTo>
                    <a:lnTo>
                      <a:pt x="287" y="22"/>
                    </a:lnTo>
                    <a:lnTo>
                      <a:pt x="299" y="22"/>
                    </a:lnTo>
                    <a:lnTo>
                      <a:pt x="318" y="22"/>
                    </a:lnTo>
                    <a:lnTo>
                      <a:pt x="338" y="22"/>
                    </a:lnTo>
                    <a:lnTo>
                      <a:pt x="342" y="25"/>
                    </a:lnTo>
                    <a:lnTo>
                      <a:pt x="342" y="27"/>
                    </a:lnTo>
                    <a:lnTo>
                      <a:pt x="345" y="29"/>
                    </a:lnTo>
                    <a:lnTo>
                      <a:pt x="345" y="32"/>
                    </a:lnTo>
                    <a:lnTo>
                      <a:pt x="347" y="32"/>
                    </a:lnTo>
                    <a:lnTo>
                      <a:pt x="349" y="32"/>
                    </a:lnTo>
                    <a:lnTo>
                      <a:pt x="349" y="34"/>
                    </a:lnTo>
                    <a:lnTo>
                      <a:pt x="355" y="39"/>
                    </a:lnTo>
                    <a:lnTo>
                      <a:pt x="357" y="39"/>
                    </a:lnTo>
                    <a:lnTo>
                      <a:pt x="357" y="41"/>
                    </a:lnTo>
                    <a:lnTo>
                      <a:pt x="360" y="41"/>
                    </a:lnTo>
                    <a:lnTo>
                      <a:pt x="360" y="42"/>
                    </a:lnTo>
                    <a:lnTo>
                      <a:pt x="364" y="44"/>
                    </a:lnTo>
                    <a:lnTo>
                      <a:pt x="374" y="44"/>
                    </a:lnTo>
                    <a:lnTo>
                      <a:pt x="374" y="42"/>
                    </a:lnTo>
                    <a:lnTo>
                      <a:pt x="376" y="44"/>
                    </a:lnTo>
                    <a:lnTo>
                      <a:pt x="377" y="42"/>
                    </a:lnTo>
                    <a:lnTo>
                      <a:pt x="379" y="44"/>
                    </a:lnTo>
                    <a:lnTo>
                      <a:pt x="381" y="44"/>
                    </a:lnTo>
                    <a:lnTo>
                      <a:pt x="383" y="44"/>
                    </a:lnTo>
                    <a:lnTo>
                      <a:pt x="384" y="44"/>
                    </a:lnTo>
                    <a:lnTo>
                      <a:pt x="384" y="46"/>
                    </a:lnTo>
                    <a:lnTo>
                      <a:pt x="386" y="46"/>
                    </a:lnTo>
                    <a:lnTo>
                      <a:pt x="389" y="46"/>
                    </a:lnTo>
                    <a:lnTo>
                      <a:pt x="391" y="46"/>
                    </a:lnTo>
                    <a:lnTo>
                      <a:pt x="393" y="46"/>
                    </a:lnTo>
                    <a:lnTo>
                      <a:pt x="394" y="46"/>
                    </a:lnTo>
                    <a:lnTo>
                      <a:pt x="396" y="46"/>
                    </a:lnTo>
                    <a:lnTo>
                      <a:pt x="398" y="46"/>
                    </a:lnTo>
                    <a:lnTo>
                      <a:pt x="400" y="46"/>
                    </a:lnTo>
                    <a:lnTo>
                      <a:pt x="401" y="46"/>
                    </a:lnTo>
                    <a:lnTo>
                      <a:pt x="403" y="47"/>
                    </a:lnTo>
                    <a:lnTo>
                      <a:pt x="405" y="46"/>
                    </a:lnTo>
                    <a:lnTo>
                      <a:pt x="406" y="47"/>
                    </a:lnTo>
                    <a:lnTo>
                      <a:pt x="410" y="46"/>
                    </a:lnTo>
                    <a:lnTo>
                      <a:pt x="411" y="47"/>
                    </a:lnTo>
                    <a:lnTo>
                      <a:pt x="415" y="46"/>
                    </a:lnTo>
                    <a:lnTo>
                      <a:pt x="420" y="47"/>
                    </a:lnTo>
                    <a:lnTo>
                      <a:pt x="422" y="47"/>
                    </a:lnTo>
                    <a:lnTo>
                      <a:pt x="423" y="47"/>
                    </a:lnTo>
                    <a:lnTo>
                      <a:pt x="427" y="46"/>
                    </a:lnTo>
                    <a:lnTo>
                      <a:pt x="432" y="47"/>
                    </a:lnTo>
                    <a:lnTo>
                      <a:pt x="432" y="46"/>
                    </a:lnTo>
                    <a:lnTo>
                      <a:pt x="434" y="46"/>
                    </a:lnTo>
                    <a:lnTo>
                      <a:pt x="435" y="46"/>
                    </a:lnTo>
                    <a:lnTo>
                      <a:pt x="437" y="47"/>
                    </a:lnTo>
                    <a:lnTo>
                      <a:pt x="442" y="47"/>
                    </a:lnTo>
                    <a:lnTo>
                      <a:pt x="442" y="51"/>
                    </a:lnTo>
                    <a:lnTo>
                      <a:pt x="444" y="51"/>
                    </a:lnTo>
                    <a:lnTo>
                      <a:pt x="445" y="52"/>
                    </a:lnTo>
                    <a:lnTo>
                      <a:pt x="451" y="51"/>
                    </a:lnTo>
                    <a:lnTo>
                      <a:pt x="454" y="52"/>
                    </a:lnTo>
                    <a:lnTo>
                      <a:pt x="456" y="52"/>
                    </a:lnTo>
                    <a:lnTo>
                      <a:pt x="456" y="54"/>
                    </a:lnTo>
                    <a:lnTo>
                      <a:pt x="461" y="54"/>
                    </a:lnTo>
                    <a:lnTo>
                      <a:pt x="462" y="54"/>
                    </a:lnTo>
                    <a:lnTo>
                      <a:pt x="462" y="52"/>
                    </a:lnTo>
                    <a:lnTo>
                      <a:pt x="468" y="51"/>
                    </a:lnTo>
                    <a:lnTo>
                      <a:pt x="474" y="51"/>
                    </a:lnTo>
                    <a:lnTo>
                      <a:pt x="478" y="49"/>
                    </a:lnTo>
                    <a:lnTo>
                      <a:pt x="481" y="49"/>
                    </a:lnTo>
                    <a:lnTo>
                      <a:pt x="481" y="51"/>
                    </a:lnTo>
                    <a:lnTo>
                      <a:pt x="486" y="52"/>
                    </a:lnTo>
                    <a:lnTo>
                      <a:pt x="488" y="52"/>
                    </a:lnTo>
                    <a:lnTo>
                      <a:pt x="491" y="54"/>
                    </a:lnTo>
                    <a:lnTo>
                      <a:pt x="493" y="54"/>
                    </a:lnTo>
                    <a:lnTo>
                      <a:pt x="512" y="51"/>
                    </a:lnTo>
                    <a:lnTo>
                      <a:pt x="520" y="49"/>
                    </a:lnTo>
                    <a:lnTo>
                      <a:pt x="534" y="46"/>
                    </a:lnTo>
                    <a:lnTo>
                      <a:pt x="539" y="44"/>
                    </a:lnTo>
                    <a:lnTo>
                      <a:pt x="551" y="42"/>
                    </a:lnTo>
                    <a:lnTo>
                      <a:pt x="570" y="39"/>
                    </a:lnTo>
                    <a:lnTo>
                      <a:pt x="590" y="35"/>
                    </a:lnTo>
                    <a:lnTo>
                      <a:pt x="593" y="34"/>
                    </a:lnTo>
                    <a:close/>
                    <a:moveTo>
                      <a:pt x="175" y="508"/>
                    </a:moveTo>
                    <a:lnTo>
                      <a:pt x="175" y="510"/>
                    </a:lnTo>
                    <a:lnTo>
                      <a:pt x="175" y="508"/>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53">
                <a:extLst>
                  <a:ext uri="{FF2B5EF4-FFF2-40B4-BE49-F238E27FC236}">
                    <a16:creationId xmlns:a16="http://schemas.microsoft.com/office/drawing/2014/main" id="{169C8BC8-C27C-44C4-B0AE-E48DA3DD0B20}"/>
                  </a:ext>
                </a:extLst>
              </p:cNvPr>
              <p:cNvSpPr>
                <a:spLocks noEditPoints="1"/>
              </p:cNvSpPr>
              <p:nvPr/>
            </p:nvSpPr>
            <p:spPr bwMode="gray">
              <a:xfrm>
                <a:off x="6312217" y="5362596"/>
                <a:ext cx="1029661" cy="797956"/>
              </a:xfrm>
              <a:custGeom>
                <a:avLst/>
                <a:gdLst>
                  <a:gd name="T0" fmla="*/ 789 w 831"/>
                  <a:gd name="T1" fmla="*/ 153 h 644"/>
                  <a:gd name="T2" fmla="*/ 726 w 831"/>
                  <a:gd name="T3" fmla="*/ 219 h 644"/>
                  <a:gd name="T4" fmla="*/ 789 w 831"/>
                  <a:gd name="T5" fmla="*/ 238 h 644"/>
                  <a:gd name="T6" fmla="*/ 802 w 831"/>
                  <a:gd name="T7" fmla="*/ 330 h 644"/>
                  <a:gd name="T8" fmla="*/ 678 w 831"/>
                  <a:gd name="T9" fmla="*/ 471 h 644"/>
                  <a:gd name="T10" fmla="*/ 636 w 831"/>
                  <a:gd name="T11" fmla="*/ 507 h 644"/>
                  <a:gd name="T12" fmla="*/ 569 w 831"/>
                  <a:gd name="T13" fmla="*/ 558 h 644"/>
                  <a:gd name="T14" fmla="*/ 484 w 831"/>
                  <a:gd name="T15" fmla="*/ 587 h 644"/>
                  <a:gd name="T16" fmla="*/ 428 w 831"/>
                  <a:gd name="T17" fmla="*/ 605 h 644"/>
                  <a:gd name="T18" fmla="*/ 352 w 831"/>
                  <a:gd name="T19" fmla="*/ 602 h 644"/>
                  <a:gd name="T20" fmla="*/ 289 w 831"/>
                  <a:gd name="T21" fmla="*/ 610 h 644"/>
                  <a:gd name="T22" fmla="*/ 212 w 831"/>
                  <a:gd name="T23" fmla="*/ 624 h 644"/>
                  <a:gd name="T24" fmla="*/ 160 w 831"/>
                  <a:gd name="T25" fmla="*/ 639 h 644"/>
                  <a:gd name="T26" fmla="*/ 131 w 831"/>
                  <a:gd name="T27" fmla="*/ 619 h 644"/>
                  <a:gd name="T28" fmla="*/ 98 w 831"/>
                  <a:gd name="T29" fmla="*/ 610 h 644"/>
                  <a:gd name="T30" fmla="*/ 100 w 831"/>
                  <a:gd name="T31" fmla="*/ 597 h 644"/>
                  <a:gd name="T32" fmla="*/ 78 w 831"/>
                  <a:gd name="T33" fmla="*/ 559 h 644"/>
                  <a:gd name="T34" fmla="*/ 80 w 831"/>
                  <a:gd name="T35" fmla="*/ 553 h 644"/>
                  <a:gd name="T36" fmla="*/ 69 w 831"/>
                  <a:gd name="T37" fmla="*/ 542 h 644"/>
                  <a:gd name="T38" fmla="*/ 93 w 831"/>
                  <a:gd name="T39" fmla="*/ 507 h 644"/>
                  <a:gd name="T40" fmla="*/ 41 w 831"/>
                  <a:gd name="T41" fmla="*/ 416 h 644"/>
                  <a:gd name="T42" fmla="*/ 5 w 831"/>
                  <a:gd name="T43" fmla="*/ 337 h 644"/>
                  <a:gd name="T44" fmla="*/ 18 w 831"/>
                  <a:gd name="T45" fmla="*/ 309 h 644"/>
                  <a:gd name="T46" fmla="*/ 42 w 831"/>
                  <a:gd name="T47" fmla="*/ 309 h 644"/>
                  <a:gd name="T48" fmla="*/ 56 w 831"/>
                  <a:gd name="T49" fmla="*/ 331 h 644"/>
                  <a:gd name="T50" fmla="*/ 90 w 831"/>
                  <a:gd name="T51" fmla="*/ 343 h 644"/>
                  <a:gd name="T52" fmla="*/ 141 w 831"/>
                  <a:gd name="T53" fmla="*/ 343 h 644"/>
                  <a:gd name="T54" fmla="*/ 173 w 831"/>
                  <a:gd name="T55" fmla="*/ 320 h 644"/>
                  <a:gd name="T56" fmla="*/ 185 w 831"/>
                  <a:gd name="T57" fmla="*/ 139 h 644"/>
                  <a:gd name="T58" fmla="*/ 205 w 831"/>
                  <a:gd name="T59" fmla="*/ 160 h 644"/>
                  <a:gd name="T60" fmla="*/ 214 w 831"/>
                  <a:gd name="T61" fmla="*/ 178 h 644"/>
                  <a:gd name="T62" fmla="*/ 221 w 831"/>
                  <a:gd name="T63" fmla="*/ 206 h 644"/>
                  <a:gd name="T64" fmla="*/ 216 w 831"/>
                  <a:gd name="T65" fmla="*/ 240 h 644"/>
                  <a:gd name="T66" fmla="*/ 256 w 831"/>
                  <a:gd name="T67" fmla="*/ 240 h 644"/>
                  <a:gd name="T68" fmla="*/ 292 w 831"/>
                  <a:gd name="T69" fmla="*/ 214 h 644"/>
                  <a:gd name="T70" fmla="*/ 313 w 831"/>
                  <a:gd name="T71" fmla="*/ 200 h 644"/>
                  <a:gd name="T72" fmla="*/ 323 w 831"/>
                  <a:gd name="T73" fmla="*/ 177 h 644"/>
                  <a:gd name="T74" fmla="*/ 335 w 831"/>
                  <a:gd name="T75" fmla="*/ 163 h 644"/>
                  <a:gd name="T76" fmla="*/ 360 w 831"/>
                  <a:gd name="T77" fmla="*/ 165 h 644"/>
                  <a:gd name="T78" fmla="*/ 382 w 831"/>
                  <a:gd name="T79" fmla="*/ 177 h 644"/>
                  <a:gd name="T80" fmla="*/ 404 w 831"/>
                  <a:gd name="T81" fmla="*/ 183 h 644"/>
                  <a:gd name="T82" fmla="*/ 466 w 831"/>
                  <a:gd name="T83" fmla="*/ 166 h 644"/>
                  <a:gd name="T84" fmla="*/ 517 w 831"/>
                  <a:gd name="T85" fmla="*/ 112 h 644"/>
                  <a:gd name="T86" fmla="*/ 534 w 831"/>
                  <a:gd name="T87" fmla="*/ 78 h 644"/>
                  <a:gd name="T88" fmla="*/ 549 w 831"/>
                  <a:gd name="T89" fmla="*/ 68 h 644"/>
                  <a:gd name="T90" fmla="*/ 573 w 831"/>
                  <a:gd name="T91" fmla="*/ 52 h 644"/>
                  <a:gd name="T92" fmla="*/ 602 w 831"/>
                  <a:gd name="T93" fmla="*/ 22 h 644"/>
                  <a:gd name="T94" fmla="*/ 651 w 831"/>
                  <a:gd name="T95" fmla="*/ 3 h 644"/>
                  <a:gd name="T96" fmla="*/ 697 w 831"/>
                  <a:gd name="T97" fmla="*/ 8 h 644"/>
                  <a:gd name="T98" fmla="*/ 749 w 831"/>
                  <a:gd name="T99" fmla="*/ 12 h 644"/>
                  <a:gd name="T100" fmla="*/ 590 w 831"/>
                  <a:gd name="T101" fmla="*/ 335 h 644"/>
                  <a:gd name="T102" fmla="*/ 569 w 831"/>
                  <a:gd name="T103" fmla="*/ 348 h 644"/>
                  <a:gd name="T104" fmla="*/ 556 w 831"/>
                  <a:gd name="T105" fmla="*/ 364 h 644"/>
                  <a:gd name="T106" fmla="*/ 535 w 831"/>
                  <a:gd name="T107" fmla="*/ 381 h 644"/>
                  <a:gd name="T108" fmla="*/ 557 w 831"/>
                  <a:gd name="T109" fmla="*/ 415 h 644"/>
                  <a:gd name="T110" fmla="*/ 591 w 831"/>
                  <a:gd name="T111" fmla="*/ 427 h 644"/>
                  <a:gd name="T112" fmla="*/ 608 w 831"/>
                  <a:gd name="T113" fmla="*/ 406 h 644"/>
                  <a:gd name="T114" fmla="*/ 642 w 831"/>
                  <a:gd name="T115" fmla="*/ 386 h 644"/>
                  <a:gd name="T116" fmla="*/ 656 w 831"/>
                  <a:gd name="T117" fmla="*/ 362 h 644"/>
                  <a:gd name="T118" fmla="*/ 632 w 831"/>
                  <a:gd name="T119" fmla="*/ 342 h 644"/>
                  <a:gd name="T120" fmla="*/ 97 w 831"/>
                  <a:gd name="T121" fmla="*/ 59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1" h="644">
                    <a:moveTo>
                      <a:pt x="751" y="15"/>
                    </a:moveTo>
                    <a:lnTo>
                      <a:pt x="753" y="20"/>
                    </a:lnTo>
                    <a:lnTo>
                      <a:pt x="760" y="41"/>
                    </a:lnTo>
                    <a:lnTo>
                      <a:pt x="763" y="51"/>
                    </a:lnTo>
                    <a:lnTo>
                      <a:pt x="765" y="54"/>
                    </a:lnTo>
                    <a:lnTo>
                      <a:pt x="763" y="64"/>
                    </a:lnTo>
                    <a:lnTo>
                      <a:pt x="765" y="68"/>
                    </a:lnTo>
                    <a:lnTo>
                      <a:pt x="770" y="76"/>
                    </a:lnTo>
                    <a:lnTo>
                      <a:pt x="772" y="81"/>
                    </a:lnTo>
                    <a:lnTo>
                      <a:pt x="775" y="90"/>
                    </a:lnTo>
                    <a:lnTo>
                      <a:pt x="780" y="93"/>
                    </a:lnTo>
                    <a:lnTo>
                      <a:pt x="782" y="103"/>
                    </a:lnTo>
                    <a:lnTo>
                      <a:pt x="785" y="110"/>
                    </a:lnTo>
                    <a:lnTo>
                      <a:pt x="787" y="117"/>
                    </a:lnTo>
                    <a:lnTo>
                      <a:pt x="787" y="129"/>
                    </a:lnTo>
                    <a:lnTo>
                      <a:pt x="789" y="153"/>
                    </a:lnTo>
                    <a:lnTo>
                      <a:pt x="787" y="165"/>
                    </a:lnTo>
                    <a:lnTo>
                      <a:pt x="785" y="170"/>
                    </a:lnTo>
                    <a:lnTo>
                      <a:pt x="787" y="178"/>
                    </a:lnTo>
                    <a:lnTo>
                      <a:pt x="783" y="189"/>
                    </a:lnTo>
                    <a:lnTo>
                      <a:pt x="785" y="194"/>
                    </a:lnTo>
                    <a:lnTo>
                      <a:pt x="780" y="195"/>
                    </a:lnTo>
                    <a:lnTo>
                      <a:pt x="763" y="185"/>
                    </a:lnTo>
                    <a:lnTo>
                      <a:pt x="756" y="182"/>
                    </a:lnTo>
                    <a:lnTo>
                      <a:pt x="751" y="183"/>
                    </a:lnTo>
                    <a:lnTo>
                      <a:pt x="749" y="187"/>
                    </a:lnTo>
                    <a:lnTo>
                      <a:pt x="743" y="192"/>
                    </a:lnTo>
                    <a:lnTo>
                      <a:pt x="741" y="195"/>
                    </a:lnTo>
                    <a:lnTo>
                      <a:pt x="734" y="209"/>
                    </a:lnTo>
                    <a:lnTo>
                      <a:pt x="731" y="212"/>
                    </a:lnTo>
                    <a:lnTo>
                      <a:pt x="727" y="217"/>
                    </a:lnTo>
                    <a:lnTo>
                      <a:pt x="726" y="219"/>
                    </a:lnTo>
                    <a:lnTo>
                      <a:pt x="726" y="224"/>
                    </a:lnTo>
                    <a:lnTo>
                      <a:pt x="726" y="238"/>
                    </a:lnTo>
                    <a:lnTo>
                      <a:pt x="727" y="240"/>
                    </a:lnTo>
                    <a:lnTo>
                      <a:pt x="731" y="236"/>
                    </a:lnTo>
                    <a:lnTo>
                      <a:pt x="731" y="240"/>
                    </a:lnTo>
                    <a:lnTo>
                      <a:pt x="734" y="241"/>
                    </a:lnTo>
                    <a:lnTo>
                      <a:pt x="734" y="245"/>
                    </a:lnTo>
                    <a:lnTo>
                      <a:pt x="734" y="246"/>
                    </a:lnTo>
                    <a:lnTo>
                      <a:pt x="734" y="248"/>
                    </a:lnTo>
                    <a:lnTo>
                      <a:pt x="739" y="251"/>
                    </a:lnTo>
                    <a:lnTo>
                      <a:pt x="743" y="257"/>
                    </a:lnTo>
                    <a:lnTo>
                      <a:pt x="761" y="263"/>
                    </a:lnTo>
                    <a:lnTo>
                      <a:pt x="785" y="263"/>
                    </a:lnTo>
                    <a:lnTo>
                      <a:pt x="785" y="253"/>
                    </a:lnTo>
                    <a:lnTo>
                      <a:pt x="787" y="238"/>
                    </a:lnTo>
                    <a:lnTo>
                      <a:pt x="789" y="238"/>
                    </a:lnTo>
                    <a:lnTo>
                      <a:pt x="792" y="236"/>
                    </a:lnTo>
                    <a:lnTo>
                      <a:pt x="792" y="238"/>
                    </a:lnTo>
                    <a:lnTo>
                      <a:pt x="795" y="240"/>
                    </a:lnTo>
                    <a:lnTo>
                      <a:pt x="797" y="238"/>
                    </a:lnTo>
                    <a:lnTo>
                      <a:pt x="804" y="240"/>
                    </a:lnTo>
                    <a:lnTo>
                      <a:pt x="821" y="240"/>
                    </a:lnTo>
                    <a:lnTo>
                      <a:pt x="831" y="240"/>
                    </a:lnTo>
                    <a:lnTo>
                      <a:pt x="829" y="253"/>
                    </a:lnTo>
                    <a:lnTo>
                      <a:pt x="821" y="272"/>
                    </a:lnTo>
                    <a:lnTo>
                      <a:pt x="821" y="274"/>
                    </a:lnTo>
                    <a:lnTo>
                      <a:pt x="817" y="289"/>
                    </a:lnTo>
                    <a:lnTo>
                      <a:pt x="814" y="304"/>
                    </a:lnTo>
                    <a:lnTo>
                      <a:pt x="809" y="316"/>
                    </a:lnTo>
                    <a:lnTo>
                      <a:pt x="807" y="323"/>
                    </a:lnTo>
                    <a:lnTo>
                      <a:pt x="806" y="325"/>
                    </a:lnTo>
                    <a:lnTo>
                      <a:pt x="802" y="330"/>
                    </a:lnTo>
                    <a:lnTo>
                      <a:pt x="787" y="342"/>
                    </a:lnTo>
                    <a:lnTo>
                      <a:pt x="773" y="347"/>
                    </a:lnTo>
                    <a:lnTo>
                      <a:pt x="765" y="357"/>
                    </a:lnTo>
                    <a:lnTo>
                      <a:pt x="753" y="367"/>
                    </a:lnTo>
                    <a:lnTo>
                      <a:pt x="744" y="377"/>
                    </a:lnTo>
                    <a:lnTo>
                      <a:pt x="739" y="388"/>
                    </a:lnTo>
                    <a:lnTo>
                      <a:pt x="738" y="391"/>
                    </a:lnTo>
                    <a:lnTo>
                      <a:pt x="739" y="393"/>
                    </a:lnTo>
                    <a:lnTo>
                      <a:pt x="729" y="401"/>
                    </a:lnTo>
                    <a:lnTo>
                      <a:pt x="722" y="416"/>
                    </a:lnTo>
                    <a:lnTo>
                      <a:pt x="712" y="430"/>
                    </a:lnTo>
                    <a:lnTo>
                      <a:pt x="705" y="442"/>
                    </a:lnTo>
                    <a:lnTo>
                      <a:pt x="697" y="452"/>
                    </a:lnTo>
                    <a:lnTo>
                      <a:pt x="690" y="459"/>
                    </a:lnTo>
                    <a:lnTo>
                      <a:pt x="688" y="461"/>
                    </a:lnTo>
                    <a:lnTo>
                      <a:pt x="678" y="471"/>
                    </a:lnTo>
                    <a:lnTo>
                      <a:pt x="676" y="473"/>
                    </a:lnTo>
                    <a:lnTo>
                      <a:pt x="673" y="473"/>
                    </a:lnTo>
                    <a:lnTo>
                      <a:pt x="671" y="473"/>
                    </a:lnTo>
                    <a:lnTo>
                      <a:pt x="668" y="478"/>
                    </a:lnTo>
                    <a:lnTo>
                      <a:pt x="663" y="483"/>
                    </a:lnTo>
                    <a:lnTo>
                      <a:pt x="656" y="485"/>
                    </a:lnTo>
                    <a:lnTo>
                      <a:pt x="654" y="486"/>
                    </a:lnTo>
                    <a:lnTo>
                      <a:pt x="653" y="488"/>
                    </a:lnTo>
                    <a:lnTo>
                      <a:pt x="653" y="490"/>
                    </a:lnTo>
                    <a:lnTo>
                      <a:pt x="651" y="491"/>
                    </a:lnTo>
                    <a:lnTo>
                      <a:pt x="647" y="493"/>
                    </a:lnTo>
                    <a:lnTo>
                      <a:pt x="646" y="498"/>
                    </a:lnTo>
                    <a:lnTo>
                      <a:pt x="644" y="498"/>
                    </a:lnTo>
                    <a:lnTo>
                      <a:pt x="641" y="500"/>
                    </a:lnTo>
                    <a:lnTo>
                      <a:pt x="639" y="505"/>
                    </a:lnTo>
                    <a:lnTo>
                      <a:pt x="636" y="507"/>
                    </a:lnTo>
                    <a:lnTo>
                      <a:pt x="632" y="512"/>
                    </a:lnTo>
                    <a:lnTo>
                      <a:pt x="629" y="512"/>
                    </a:lnTo>
                    <a:lnTo>
                      <a:pt x="629" y="515"/>
                    </a:lnTo>
                    <a:lnTo>
                      <a:pt x="624" y="517"/>
                    </a:lnTo>
                    <a:lnTo>
                      <a:pt x="622" y="520"/>
                    </a:lnTo>
                    <a:lnTo>
                      <a:pt x="617" y="524"/>
                    </a:lnTo>
                    <a:lnTo>
                      <a:pt x="617" y="525"/>
                    </a:lnTo>
                    <a:lnTo>
                      <a:pt x="615" y="525"/>
                    </a:lnTo>
                    <a:lnTo>
                      <a:pt x="610" y="530"/>
                    </a:lnTo>
                    <a:lnTo>
                      <a:pt x="605" y="532"/>
                    </a:lnTo>
                    <a:lnTo>
                      <a:pt x="603" y="536"/>
                    </a:lnTo>
                    <a:lnTo>
                      <a:pt x="591" y="541"/>
                    </a:lnTo>
                    <a:lnTo>
                      <a:pt x="588" y="546"/>
                    </a:lnTo>
                    <a:lnTo>
                      <a:pt x="581" y="549"/>
                    </a:lnTo>
                    <a:lnTo>
                      <a:pt x="579" y="553"/>
                    </a:lnTo>
                    <a:lnTo>
                      <a:pt x="569" y="558"/>
                    </a:lnTo>
                    <a:lnTo>
                      <a:pt x="564" y="561"/>
                    </a:lnTo>
                    <a:lnTo>
                      <a:pt x="559" y="564"/>
                    </a:lnTo>
                    <a:lnTo>
                      <a:pt x="544" y="575"/>
                    </a:lnTo>
                    <a:lnTo>
                      <a:pt x="540" y="575"/>
                    </a:lnTo>
                    <a:lnTo>
                      <a:pt x="539" y="578"/>
                    </a:lnTo>
                    <a:lnTo>
                      <a:pt x="535" y="578"/>
                    </a:lnTo>
                    <a:lnTo>
                      <a:pt x="534" y="580"/>
                    </a:lnTo>
                    <a:lnTo>
                      <a:pt x="530" y="580"/>
                    </a:lnTo>
                    <a:lnTo>
                      <a:pt x="527" y="583"/>
                    </a:lnTo>
                    <a:lnTo>
                      <a:pt x="520" y="583"/>
                    </a:lnTo>
                    <a:lnTo>
                      <a:pt x="511" y="588"/>
                    </a:lnTo>
                    <a:lnTo>
                      <a:pt x="506" y="590"/>
                    </a:lnTo>
                    <a:lnTo>
                      <a:pt x="501" y="590"/>
                    </a:lnTo>
                    <a:lnTo>
                      <a:pt x="500" y="590"/>
                    </a:lnTo>
                    <a:lnTo>
                      <a:pt x="489" y="587"/>
                    </a:lnTo>
                    <a:lnTo>
                      <a:pt x="484" y="587"/>
                    </a:lnTo>
                    <a:lnTo>
                      <a:pt x="477" y="587"/>
                    </a:lnTo>
                    <a:lnTo>
                      <a:pt x="472" y="588"/>
                    </a:lnTo>
                    <a:lnTo>
                      <a:pt x="466" y="592"/>
                    </a:lnTo>
                    <a:lnTo>
                      <a:pt x="462" y="597"/>
                    </a:lnTo>
                    <a:lnTo>
                      <a:pt x="462" y="598"/>
                    </a:lnTo>
                    <a:lnTo>
                      <a:pt x="466" y="600"/>
                    </a:lnTo>
                    <a:lnTo>
                      <a:pt x="467" y="604"/>
                    </a:lnTo>
                    <a:lnTo>
                      <a:pt x="466" y="604"/>
                    </a:lnTo>
                    <a:lnTo>
                      <a:pt x="464" y="604"/>
                    </a:lnTo>
                    <a:lnTo>
                      <a:pt x="460" y="604"/>
                    </a:lnTo>
                    <a:lnTo>
                      <a:pt x="455" y="604"/>
                    </a:lnTo>
                    <a:lnTo>
                      <a:pt x="452" y="604"/>
                    </a:lnTo>
                    <a:lnTo>
                      <a:pt x="442" y="600"/>
                    </a:lnTo>
                    <a:lnTo>
                      <a:pt x="433" y="600"/>
                    </a:lnTo>
                    <a:lnTo>
                      <a:pt x="428" y="602"/>
                    </a:lnTo>
                    <a:lnTo>
                      <a:pt x="428" y="605"/>
                    </a:lnTo>
                    <a:lnTo>
                      <a:pt x="423" y="609"/>
                    </a:lnTo>
                    <a:lnTo>
                      <a:pt x="423" y="610"/>
                    </a:lnTo>
                    <a:lnTo>
                      <a:pt x="425" y="612"/>
                    </a:lnTo>
                    <a:lnTo>
                      <a:pt x="423" y="612"/>
                    </a:lnTo>
                    <a:lnTo>
                      <a:pt x="415" y="610"/>
                    </a:lnTo>
                    <a:lnTo>
                      <a:pt x="413" y="610"/>
                    </a:lnTo>
                    <a:lnTo>
                      <a:pt x="411" y="610"/>
                    </a:lnTo>
                    <a:lnTo>
                      <a:pt x="406" y="610"/>
                    </a:lnTo>
                    <a:lnTo>
                      <a:pt x="401" y="607"/>
                    </a:lnTo>
                    <a:lnTo>
                      <a:pt x="398" y="607"/>
                    </a:lnTo>
                    <a:lnTo>
                      <a:pt x="391" y="604"/>
                    </a:lnTo>
                    <a:lnTo>
                      <a:pt x="375" y="604"/>
                    </a:lnTo>
                    <a:lnTo>
                      <a:pt x="364" y="600"/>
                    </a:lnTo>
                    <a:lnTo>
                      <a:pt x="358" y="600"/>
                    </a:lnTo>
                    <a:lnTo>
                      <a:pt x="357" y="602"/>
                    </a:lnTo>
                    <a:lnTo>
                      <a:pt x="352" y="602"/>
                    </a:lnTo>
                    <a:lnTo>
                      <a:pt x="350" y="604"/>
                    </a:lnTo>
                    <a:lnTo>
                      <a:pt x="350" y="605"/>
                    </a:lnTo>
                    <a:lnTo>
                      <a:pt x="350" y="607"/>
                    </a:lnTo>
                    <a:lnTo>
                      <a:pt x="352" y="607"/>
                    </a:lnTo>
                    <a:lnTo>
                      <a:pt x="331" y="605"/>
                    </a:lnTo>
                    <a:lnTo>
                      <a:pt x="330" y="605"/>
                    </a:lnTo>
                    <a:lnTo>
                      <a:pt x="330" y="607"/>
                    </a:lnTo>
                    <a:lnTo>
                      <a:pt x="319" y="604"/>
                    </a:lnTo>
                    <a:lnTo>
                      <a:pt x="309" y="602"/>
                    </a:lnTo>
                    <a:lnTo>
                      <a:pt x="304" y="604"/>
                    </a:lnTo>
                    <a:lnTo>
                      <a:pt x="299" y="605"/>
                    </a:lnTo>
                    <a:lnTo>
                      <a:pt x="294" y="604"/>
                    </a:lnTo>
                    <a:lnTo>
                      <a:pt x="289" y="605"/>
                    </a:lnTo>
                    <a:lnTo>
                      <a:pt x="287" y="607"/>
                    </a:lnTo>
                    <a:lnTo>
                      <a:pt x="285" y="609"/>
                    </a:lnTo>
                    <a:lnTo>
                      <a:pt x="289" y="610"/>
                    </a:lnTo>
                    <a:lnTo>
                      <a:pt x="277" y="614"/>
                    </a:lnTo>
                    <a:lnTo>
                      <a:pt x="275" y="616"/>
                    </a:lnTo>
                    <a:lnTo>
                      <a:pt x="277" y="617"/>
                    </a:lnTo>
                    <a:lnTo>
                      <a:pt x="275" y="617"/>
                    </a:lnTo>
                    <a:lnTo>
                      <a:pt x="275" y="619"/>
                    </a:lnTo>
                    <a:lnTo>
                      <a:pt x="272" y="621"/>
                    </a:lnTo>
                    <a:lnTo>
                      <a:pt x="265" y="622"/>
                    </a:lnTo>
                    <a:lnTo>
                      <a:pt x="256" y="619"/>
                    </a:lnTo>
                    <a:lnTo>
                      <a:pt x="251" y="621"/>
                    </a:lnTo>
                    <a:lnTo>
                      <a:pt x="245" y="624"/>
                    </a:lnTo>
                    <a:lnTo>
                      <a:pt x="234" y="621"/>
                    </a:lnTo>
                    <a:lnTo>
                      <a:pt x="226" y="621"/>
                    </a:lnTo>
                    <a:lnTo>
                      <a:pt x="222" y="622"/>
                    </a:lnTo>
                    <a:lnTo>
                      <a:pt x="222" y="624"/>
                    </a:lnTo>
                    <a:lnTo>
                      <a:pt x="221" y="626"/>
                    </a:lnTo>
                    <a:lnTo>
                      <a:pt x="212" y="624"/>
                    </a:lnTo>
                    <a:lnTo>
                      <a:pt x="205" y="626"/>
                    </a:lnTo>
                    <a:lnTo>
                      <a:pt x="200" y="627"/>
                    </a:lnTo>
                    <a:lnTo>
                      <a:pt x="199" y="631"/>
                    </a:lnTo>
                    <a:lnTo>
                      <a:pt x="192" y="634"/>
                    </a:lnTo>
                    <a:lnTo>
                      <a:pt x="190" y="636"/>
                    </a:lnTo>
                    <a:lnTo>
                      <a:pt x="187" y="636"/>
                    </a:lnTo>
                    <a:lnTo>
                      <a:pt x="183" y="639"/>
                    </a:lnTo>
                    <a:lnTo>
                      <a:pt x="182" y="641"/>
                    </a:lnTo>
                    <a:lnTo>
                      <a:pt x="182" y="643"/>
                    </a:lnTo>
                    <a:lnTo>
                      <a:pt x="178" y="644"/>
                    </a:lnTo>
                    <a:lnTo>
                      <a:pt x="177" y="643"/>
                    </a:lnTo>
                    <a:lnTo>
                      <a:pt x="171" y="641"/>
                    </a:lnTo>
                    <a:lnTo>
                      <a:pt x="163" y="639"/>
                    </a:lnTo>
                    <a:lnTo>
                      <a:pt x="161" y="641"/>
                    </a:lnTo>
                    <a:lnTo>
                      <a:pt x="160" y="641"/>
                    </a:lnTo>
                    <a:lnTo>
                      <a:pt x="160" y="639"/>
                    </a:lnTo>
                    <a:lnTo>
                      <a:pt x="158" y="639"/>
                    </a:lnTo>
                    <a:lnTo>
                      <a:pt x="158" y="638"/>
                    </a:lnTo>
                    <a:lnTo>
                      <a:pt x="156" y="638"/>
                    </a:lnTo>
                    <a:lnTo>
                      <a:pt x="154" y="636"/>
                    </a:lnTo>
                    <a:lnTo>
                      <a:pt x="151" y="634"/>
                    </a:lnTo>
                    <a:lnTo>
                      <a:pt x="149" y="633"/>
                    </a:lnTo>
                    <a:lnTo>
                      <a:pt x="143" y="634"/>
                    </a:lnTo>
                    <a:lnTo>
                      <a:pt x="148" y="629"/>
                    </a:lnTo>
                    <a:lnTo>
                      <a:pt x="146" y="624"/>
                    </a:lnTo>
                    <a:lnTo>
                      <a:pt x="143" y="622"/>
                    </a:lnTo>
                    <a:lnTo>
                      <a:pt x="139" y="624"/>
                    </a:lnTo>
                    <a:lnTo>
                      <a:pt x="137" y="622"/>
                    </a:lnTo>
                    <a:lnTo>
                      <a:pt x="136" y="622"/>
                    </a:lnTo>
                    <a:lnTo>
                      <a:pt x="134" y="622"/>
                    </a:lnTo>
                    <a:lnTo>
                      <a:pt x="132" y="621"/>
                    </a:lnTo>
                    <a:lnTo>
                      <a:pt x="131" y="619"/>
                    </a:lnTo>
                    <a:lnTo>
                      <a:pt x="127" y="619"/>
                    </a:lnTo>
                    <a:lnTo>
                      <a:pt x="126" y="621"/>
                    </a:lnTo>
                    <a:lnTo>
                      <a:pt x="124" y="619"/>
                    </a:lnTo>
                    <a:lnTo>
                      <a:pt x="122" y="621"/>
                    </a:lnTo>
                    <a:lnTo>
                      <a:pt x="120" y="621"/>
                    </a:lnTo>
                    <a:lnTo>
                      <a:pt x="119" y="621"/>
                    </a:lnTo>
                    <a:lnTo>
                      <a:pt x="119" y="619"/>
                    </a:lnTo>
                    <a:lnTo>
                      <a:pt x="119" y="617"/>
                    </a:lnTo>
                    <a:lnTo>
                      <a:pt x="120" y="614"/>
                    </a:lnTo>
                    <a:lnTo>
                      <a:pt x="119" y="610"/>
                    </a:lnTo>
                    <a:lnTo>
                      <a:pt x="120" y="609"/>
                    </a:lnTo>
                    <a:lnTo>
                      <a:pt x="117" y="605"/>
                    </a:lnTo>
                    <a:lnTo>
                      <a:pt x="109" y="605"/>
                    </a:lnTo>
                    <a:lnTo>
                      <a:pt x="102" y="607"/>
                    </a:lnTo>
                    <a:lnTo>
                      <a:pt x="100" y="609"/>
                    </a:lnTo>
                    <a:lnTo>
                      <a:pt x="98" y="610"/>
                    </a:lnTo>
                    <a:lnTo>
                      <a:pt x="100" y="612"/>
                    </a:lnTo>
                    <a:lnTo>
                      <a:pt x="102" y="614"/>
                    </a:lnTo>
                    <a:lnTo>
                      <a:pt x="100" y="617"/>
                    </a:lnTo>
                    <a:lnTo>
                      <a:pt x="102" y="619"/>
                    </a:lnTo>
                    <a:lnTo>
                      <a:pt x="98" y="617"/>
                    </a:lnTo>
                    <a:lnTo>
                      <a:pt x="97" y="616"/>
                    </a:lnTo>
                    <a:lnTo>
                      <a:pt x="97" y="612"/>
                    </a:lnTo>
                    <a:lnTo>
                      <a:pt x="93" y="609"/>
                    </a:lnTo>
                    <a:lnTo>
                      <a:pt x="95" y="609"/>
                    </a:lnTo>
                    <a:lnTo>
                      <a:pt x="97" y="605"/>
                    </a:lnTo>
                    <a:lnTo>
                      <a:pt x="95" y="604"/>
                    </a:lnTo>
                    <a:lnTo>
                      <a:pt x="95" y="605"/>
                    </a:lnTo>
                    <a:lnTo>
                      <a:pt x="93" y="604"/>
                    </a:lnTo>
                    <a:lnTo>
                      <a:pt x="97" y="600"/>
                    </a:lnTo>
                    <a:lnTo>
                      <a:pt x="97" y="597"/>
                    </a:lnTo>
                    <a:lnTo>
                      <a:pt x="100" y="597"/>
                    </a:lnTo>
                    <a:lnTo>
                      <a:pt x="98" y="597"/>
                    </a:lnTo>
                    <a:lnTo>
                      <a:pt x="100" y="597"/>
                    </a:lnTo>
                    <a:lnTo>
                      <a:pt x="102" y="597"/>
                    </a:lnTo>
                    <a:lnTo>
                      <a:pt x="102" y="595"/>
                    </a:lnTo>
                    <a:lnTo>
                      <a:pt x="102" y="593"/>
                    </a:lnTo>
                    <a:lnTo>
                      <a:pt x="100" y="588"/>
                    </a:lnTo>
                    <a:lnTo>
                      <a:pt x="100" y="587"/>
                    </a:lnTo>
                    <a:lnTo>
                      <a:pt x="95" y="580"/>
                    </a:lnTo>
                    <a:lnTo>
                      <a:pt x="93" y="580"/>
                    </a:lnTo>
                    <a:lnTo>
                      <a:pt x="93" y="576"/>
                    </a:lnTo>
                    <a:lnTo>
                      <a:pt x="93" y="575"/>
                    </a:lnTo>
                    <a:lnTo>
                      <a:pt x="90" y="571"/>
                    </a:lnTo>
                    <a:lnTo>
                      <a:pt x="85" y="570"/>
                    </a:lnTo>
                    <a:lnTo>
                      <a:pt x="85" y="568"/>
                    </a:lnTo>
                    <a:lnTo>
                      <a:pt x="83" y="563"/>
                    </a:lnTo>
                    <a:lnTo>
                      <a:pt x="78" y="559"/>
                    </a:lnTo>
                    <a:lnTo>
                      <a:pt x="76" y="558"/>
                    </a:lnTo>
                    <a:lnTo>
                      <a:pt x="76" y="556"/>
                    </a:lnTo>
                    <a:lnTo>
                      <a:pt x="75" y="556"/>
                    </a:lnTo>
                    <a:lnTo>
                      <a:pt x="76" y="556"/>
                    </a:lnTo>
                    <a:lnTo>
                      <a:pt x="76" y="554"/>
                    </a:lnTo>
                    <a:lnTo>
                      <a:pt x="78" y="556"/>
                    </a:lnTo>
                    <a:lnTo>
                      <a:pt x="76" y="556"/>
                    </a:lnTo>
                    <a:lnTo>
                      <a:pt x="78" y="556"/>
                    </a:lnTo>
                    <a:lnTo>
                      <a:pt x="78" y="558"/>
                    </a:lnTo>
                    <a:lnTo>
                      <a:pt x="81" y="561"/>
                    </a:lnTo>
                    <a:lnTo>
                      <a:pt x="83" y="561"/>
                    </a:lnTo>
                    <a:lnTo>
                      <a:pt x="83" y="559"/>
                    </a:lnTo>
                    <a:lnTo>
                      <a:pt x="81" y="559"/>
                    </a:lnTo>
                    <a:lnTo>
                      <a:pt x="81" y="558"/>
                    </a:lnTo>
                    <a:lnTo>
                      <a:pt x="80" y="556"/>
                    </a:lnTo>
                    <a:lnTo>
                      <a:pt x="80" y="553"/>
                    </a:lnTo>
                    <a:lnTo>
                      <a:pt x="78" y="551"/>
                    </a:lnTo>
                    <a:lnTo>
                      <a:pt x="76" y="553"/>
                    </a:lnTo>
                    <a:lnTo>
                      <a:pt x="78" y="551"/>
                    </a:lnTo>
                    <a:lnTo>
                      <a:pt x="76" y="551"/>
                    </a:lnTo>
                    <a:lnTo>
                      <a:pt x="75" y="553"/>
                    </a:lnTo>
                    <a:lnTo>
                      <a:pt x="76" y="553"/>
                    </a:lnTo>
                    <a:lnTo>
                      <a:pt x="75" y="553"/>
                    </a:lnTo>
                    <a:lnTo>
                      <a:pt x="73" y="553"/>
                    </a:lnTo>
                    <a:lnTo>
                      <a:pt x="71" y="553"/>
                    </a:lnTo>
                    <a:lnTo>
                      <a:pt x="73" y="551"/>
                    </a:lnTo>
                    <a:lnTo>
                      <a:pt x="71" y="551"/>
                    </a:lnTo>
                    <a:lnTo>
                      <a:pt x="71" y="549"/>
                    </a:lnTo>
                    <a:lnTo>
                      <a:pt x="71" y="547"/>
                    </a:lnTo>
                    <a:lnTo>
                      <a:pt x="69" y="546"/>
                    </a:lnTo>
                    <a:lnTo>
                      <a:pt x="71" y="544"/>
                    </a:lnTo>
                    <a:lnTo>
                      <a:pt x="69" y="542"/>
                    </a:lnTo>
                    <a:lnTo>
                      <a:pt x="73" y="541"/>
                    </a:lnTo>
                    <a:lnTo>
                      <a:pt x="73" y="537"/>
                    </a:lnTo>
                    <a:lnTo>
                      <a:pt x="73" y="536"/>
                    </a:lnTo>
                    <a:lnTo>
                      <a:pt x="75" y="537"/>
                    </a:lnTo>
                    <a:lnTo>
                      <a:pt x="76" y="536"/>
                    </a:lnTo>
                    <a:lnTo>
                      <a:pt x="76" y="537"/>
                    </a:lnTo>
                    <a:lnTo>
                      <a:pt x="78" y="537"/>
                    </a:lnTo>
                    <a:lnTo>
                      <a:pt x="80" y="541"/>
                    </a:lnTo>
                    <a:lnTo>
                      <a:pt x="85" y="539"/>
                    </a:lnTo>
                    <a:lnTo>
                      <a:pt x="90" y="534"/>
                    </a:lnTo>
                    <a:lnTo>
                      <a:pt x="93" y="530"/>
                    </a:lnTo>
                    <a:lnTo>
                      <a:pt x="95" y="524"/>
                    </a:lnTo>
                    <a:lnTo>
                      <a:pt x="93" y="517"/>
                    </a:lnTo>
                    <a:lnTo>
                      <a:pt x="95" y="517"/>
                    </a:lnTo>
                    <a:lnTo>
                      <a:pt x="95" y="515"/>
                    </a:lnTo>
                    <a:lnTo>
                      <a:pt x="93" y="507"/>
                    </a:lnTo>
                    <a:lnTo>
                      <a:pt x="93" y="503"/>
                    </a:lnTo>
                    <a:lnTo>
                      <a:pt x="92" y="496"/>
                    </a:lnTo>
                    <a:lnTo>
                      <a:pt x="92" y="495"/>
                    </a:lnTo>
                    <a:lnTo>
                      <a:pt x="88" y="491"/>
                    </a:lnTo>
                    <a:lnTo>
                      <a:pt x="88" y="488"/>
                    </a:lnTo>
                    <a:lnTo>
                      <a:pt x="85" y="483"/>
                    </a:lnTo>
                    <a:lnTo>
                      <a:pt x="83" y="478"/>
                    </a:lnTo>
                    <a:lnTo>
                      <a:pt x="73" y="468"/>
                    </a:lnTo>
                    <a:lnTo>
                      <a:pt x="71" y="462"/>
                    </a:lnTo>
                    <a:lnTo>
                      <a:pt x="64" y="456"/>
                    </a:lnTo>
                    <a:lnTo>
                      <a:pt x="61" y="449"/>
                    </a:lnTo>
                    <a:lnTo>
                      <a:pt x="58" y="445"/>
                    </a:lnTo>
                    <a:lnTo>
                      <a:pt x="52" y="435"/>
                    </a:lnTo>
                    <a:lnTo>
                      <a:pt x="49" y="430"/>
                    </a:lnTo>
                    <a:lnTo>
                      <a:pt x="49" y="428"/>
                    </a:lnTo>
                    <a:lnTo>
                      <a:pt x="41" y="416"/>
                    </a:lnTo>
                    <a:lnTo>
                      <a:pt x="37" y="408"/>
                    </a:lnTo>
                    <a:lnTo>
                      <a:pt x="37" y="406"/>
                    </a:lnTo>
                    <a:lnTo>
                      <a:pt x="35" y="398"/>
                    </a:lnTo>
                    <a:lnTo>
                      <a:pt x="32" y="396"/>
                    </a:lnTo>
                    <a:lnTo>
                      <a:pt x="30" y="389"/>
                    </a:lnTo>
                    <a:lnTo>
                      <a:pt x="29" y="382"/>
                    </a:lnTo>
                    <a:lnTo>
                      <a:pt x="29" y="379"/>
                    </a:lnTo>
                    <a:lnTo>
                      <a:pt x="27" y="377"/>
                    </a:lnTo>
                    <a:lnTo>
                      <a:pt x="27" y="376"/>
                    </a:lnTo>
                    <a:lnTo>
                      <a:pt x="25" y="371"/>
                    </a:lnTo>
                    <a:lnTo>
                      <a:pt x="18" y="359"/>
                    </a:lnTo>
                    <a:lnTo>
                      <a:pt x="17" y="354"/>
                    </a:lnTo>
                    <a:lnTo>
                      <a:pt x="13" y="350"/>
                    </a:lnTo>
                    <a:lnTo>
                      <a:pt x="12" y="345"/>
                    </a:lnTo>
                    <a:lnTo>
                      <a:pt x="7" y="342"/>
                    </a:lnTo>
                    <a:lnTo>
                      <a:pt x="5" y="337"/>
                    </a:lnTo>
                    <a:lnTo>
                      <a:pt x="5" y="335"/>
                    </a:lnTo>
                    <a:lnTo>
                      <a:pt x="0" y="330"/>
                    </a:lnTo>
                    <a:lnTo>
                      <a:pt x="0" y="328"/>
                    </a:lnTo>
                    <a:lnTo>
                      <a:pt x="0" y="326"/>
                    </a:lnTo>
                    <a:lnTo>
                      <a:pt x="7" y="325"/>
                    </a:lnTo>
                    <a:lnTo>
                      <a:pt x="8" y="323"/>
                    </a:lnTo>
                    <a:lnTo>
                      <a:pt x="10" y="321"/>
                    </a:lnTo>
                    <a:lnTo>
                      <a:pt x="13" y="323"/>
                    </a:lnTo>
                    <a:lnTo>
                      <a:pt x="15" y="321"/>
                    </a:lnTo>
                    <a:lnTo>
                      <a:pt x="15" y="318"/>
                    </a:lnTo>
                    <a:lnTo>
                      <a:pt x="17" y="316"/>
                    </a:lnTo>
                    <a:lnTo>
                      <a:pt x="15" y="313"/>
                    </a:lnTo>
                    <a:lnTo>
                      <a:pt x="15" y="311"/>
                    </a:lnTo>
                    <a:lnTo>
                      <a:pt x="17" y="311"/>
                    </a:lnTo>
                    <a:lnTo>
                      <a:pt x="18" y="311"/>
                    </a:lnTo>
                    <a:lnTo>
                      <a:pt x="18" y="309"/>
                    </a:lnTo>
                    <a:lnTo>
                      <a:pt x="17" y="309"/>
                    </a:lnTo>
                    <a:lnTo>
                      <a:pt x="20" y="308"/>
                    </a:lnTo>
                    <a:lnTo>
                      <a:pt x="18" y="306"/>
                    </a:lnTo>
                    <a:lnTo>
                      <a:pt x="20" y="306"/>
                    </a:lnTo>
                    <a:lnTo>
                      <a:pt x="20" y="303"/>
                    </a:lnTo>
                    <a:lnTo>
                      <a:pt x="22" y="301"/>
                    </a:lnTo>
                    <a:lnTo>
                      <a:pt x="24" y="301"/>
                    </a:lnTo>
                    <a:lnTo>
                      <a:pt x="25" y="301"/>
                    </a:lnTo>
                    <a:lnTo>
                      <a:pt x="27" y="301"/>
                    </a:lnTo>
                    <a:lnTo>
                      <a:pt x="30" y="299"/>
                    </a:lnTo>
                    <a:lnTo>
                      <a:pt x="34" y="303"/>
                    </a:lnTo>
                    <a:lnTo>
                      <a:pt x="37" y="303"/>
                    </a:lnTo>
                    <a:lnTo>
                      <a:pt x="35" y="308"/>
                    </a:lnTo>
                    <a:lnTo>
                      <a:pt x="37" y="309"/>
                    </a:lnTo>
                    <a:lnTo>
                      <a:pt x="41" y="309"/>
                    </a:lnTo>
                    <a:lnTo>
                      <a:pt x="42" y="309"/>
                    </a:lnTo>
                    <a:lnTo>
                      <a:pt x="44" y="309"/>
                    </a:lnTo>
                    <a:lnTo>
                      <a:pt x="46" y="313"/>
                    </a:lnTo>
                    <a:lnTo>
                      <a:pt x="46" y="314"/>
                    </a:lnTo>
                    <a:lnTo>
                      <a:pt x="47" y="316"/>
                    </a:lnTo>
                    <a:lnTo>
                      <a:pt x="47" y="318"/>
                    </a:lnTo>
                    <a:lnTo>
                      <a:pt x="46" y="320"/>
                    </a:lnTo>
                    <a:lnTo>
                      <a:pt x="44" y="320"/>
                    </a:lnTo>
                    <a:lnTo>
                      <a:pt x="44" y="321"/>
                    </a:lnTo>
                    <a:lnTo>
                      <a:pt x="46" y="323"/>
                    </a:lnTo>
                    <a:lnTo>
                      <a:pt x="46" y="326"/>
                    </a:lnTo>
                    <a:lnTo>
                      <a:pt x="47" y="326"/>
                    </a:lnTo>
                    <a:lnTo>
                      <a:pt x="49" y="326"/>
                    </a:lnTo>
                    <a:lnTo>
                      <a:pt x="47" y="335"/>
                    </a:lnTo>
                    <a:lnTo>
                      <a:pt x="51" y="333"/>
                    </a:lnTo>
                    <a:lnTo>
                      <a:pt x="54" y="333"/>
                    </a:lnTo>
                    <a:lnTo>
                      <a:pt x="56" y="331"/>
                    </a:lnTo>
                    <a:lnTo>
                      <a:pt x="58" y="333"/>
                    </a:lnTo>
                    <a:lnTo>
                      <a:pt x="58" y="337"/>
                    </a:lnTo>
                    <a:lnTo>
                      <a:pt x="59" y="337"/>
                    </a:lnTo>
                    <a:lnTo>
                      <a:pt x="63" y="335"/>
                    </a:lnTo>
                    <a:lnTo>
                      <a:pt x="64" y="337"/>
                    </a:lnTo>
                    <a:lnTo>
                      <a:pt x="64" y="335"/>
                    </a:lnTo>
                    <a:lnTo>
                      <a:pt x="66" y="337"/>
                    </a:lnTo>
                    <a:lnTo>
                      <a:pt x="73" y="337"/>
                    </a:lnTo>
                    <a:lnTo>
                      <a:pt x="75" y="337"/>
                    </a:lnTo>
                    <a:lnTo>
                      <a:pt x="76" y="337"/>
                    </a:lnTo>
                    <a:lnTo>
                      <a:pt x="76" y="338"/>
                    </a:lnTo>
                    <a:lnTo>
                      <a:pt x="80" y="342"/>
                    </a:lnTo>
                    <a:lnTo>
                      <a:pt x="81" y="342"/>
                    </a:lnTo>
                    <a:lnTo>
                      <a:pt x="86" y="343"/>
                    </a:lnTo>
                    <a:lnTo>
                      <a:pt x="88" y="343"/>
                    </a:lnTo>
                    <a:lnTo>
                      <a:pt x="90" y="343"/>
                    </a:lnTo>
                    <a:lnTo>
                      <a:pt x="90" y="342"/>
                    </a:lnTo>
                    <a:lnTo>
                      <a:pt x="95" y="342"/>
                    </a:lnTo>
                    <a:lnTo>
                      <a:pt x="98" y="343"/>
                    </a:lnTo>
                    <a:lnTo>
                      <a:pt x="102" y="342"/>
                    </a:lnTo>
                    <a:lnTo>
                      <a:pt x="103" y="343"/>
                    </a:lnTo>
                    <a:lnTo>
                      <a:pt x="105" y="342"/>
                    </a:lnTo>
                    <a:lnTo>
                      <a:pt x="109" y="340"/>
                    </a:lnTo>
                    <a:lnTo>
                      <a:pt x="114" y="340"/>
                    </a:lnTo>
                    <a:lnTo>
                      <a:pt x="124" y="342"/>
                    </a:lnTo>
                    <a:lnTo>
                      <a:pt x="127" y="342"/>
                    </a:lnTo>
                    <a:lnTo>
                      <a:pt x="129" y="345"/>
                    </a:lnTo>
                    <a:lnTo>
                      <a:pt x="131" y="345"/>
                    </a:lnTo>
                    <a:lnTo>
                      <a:pt x="132" y="347"/>
                    </a:lnTo>
                    <a:lnTo>
                      <a:pt x="136" y="347"/>
                    </a:lnTo>
                    <a:lnTo>
                      <a:pt x="137" y="345"/>
                    </a:lnTo>
                    <a:lnTo>
                      <a:pt x="141" y="343"/>
                    </a:lnTo>
                    <a:lnTo>
                      <a:pt x="143" y="343"/>
                    </a:lnTo>
                    <a:lnTo>
                      <a:pt x="141" y="342"/>
                    </a:lnTo>
                    <a:lnTo>
                      <a:pt x="141" y="338"/>
                    </a:lnTo>
                    <a:lnTo>
                      <a:pt x="141" y="335"/>
                    </a:lnTo>
                    <a:lnTo>
                      <a:pt x="143" y="335"/>
                    </a:lnTo>
                    <a:lnTo>
                      <a:pt x="148" y="335"/>
                    </a:lnTo>
                    <a:lnTo>
                      <a:pt x="151" y="333"/>
                    </a:lnTo>
                    <a:lnTo>
                      <a:pt x="153" y="331"/>
                    </a:lnTo>
                    <a:lnTo>
                      <a:pt x="153" y="328"/>
                    </a:lnTo>
                    <a:lnTo>
                      <a:pt x="154" y="326"/>
                    </a:lnTo>
                    <a:lnTo>
                      <a:pt x="156" y="325"/>
                    </a:lnTo>
                    <a:lnTo>
                      <a:pt x="160" y="323"/>
                    </a:lnTo>
                    <a:lnTo>
                      <a:pt x="161" y="325"/>
                    </a:lnTo>
                    <a:lnTo>
                      <a:pt x="165" y="321"/>
                    </a:lnTo>
                    <a:lnTo>
                      <a:pt x="170" y="323"/>
                    </a:lnTo>
                    <a:lnTo>
                      <a:pt x="173" y="320"/>
                    </a:lnTo>
                    <a:lnTo>
                      <a:pt x="178" y="320"/>
                    </a:lnTo>
                    <a:lnTo>
                      <a:pt x="178" y="297"/>
                    </a:lnTo>
                    <a:lnTo>
                      <a:pt x="178" y="285"/>
                    </a:lnTo>
                    <a:lnTo>
                      <a:pt x="178" y="272"/>
                    </a:lnTo>
                    <a:lnTo>
                      <a:pt x="178" y="265"/>
                    </a:lnTo>
                    <a:lnTo>
                      <a:pt x="178" y="245"/>
                    </a:lnTo>
                    <a:lnTo>
                      <a:pt x="178" y="228"/>
                    </a:lnTo>
                    <a:lnTo>
                      <a:pt x="178" y="211"/>
                    </a:lnTo>
                    <a:lnTo>
                      <a:pt x="178" y="195"/>
                    </a:lnTo>
                    <a:lnTo>
                      <a:pt x="178" y="177"/>
                    </a:lnTo>
                    <a:lnTo>
                      <a:pt x="178" y="172"/>
                    </a:lnTo>
                    <a:lnTo>
                      <a:pt x="178" y="151"/>
                    </a:lnTo>
                    <a:lnTo>
                      <a:pt x="178" y="134"/>
                    </a:lnTo>
                    <a:lnTo>
                      <a:pt x="180" y="136"/>
                    </a:lnTo>
                    <a:lnTo>
                      <a:pt x="183" y="138"/>
                    </a:lnTo>
                    <a:lnTo>
                      <a:pt x="185" y="139"/>
                    </a:lnTo>
                    <a:lnTo>
                      <a:pt x="187" y="139"/>
                    </a:lnTo>
                    <a:lnTo>
                      <a:pt x="188" y="141"/>
                    </a:lnTo>
                    <a:lnTo>
                      <a:pt x="190" y="141"/>
                    </a:lnTo>
                    <a:lnTo>
                      <a:pt x="192" y="141"/>
                    </a:lnTo>
                    <a:lnTo>
                      <a:pt x="194" y="144"/>
                    </a:lnTo>
                    <a:lnTo>
                      <a:pt x="199" y="148"/>
                    </a:lnTo>
                    <a:lnTo>
                      <a:pt x="197" y="148"/>
                    </a:lnTo>
                    <a:lnTo>
                      <a:pt x="199" y="149"/>
                    </a:lnTo>
                    <a:lnTo>
                      <a:pt x="200" y="153"/>
                    </a:lnTo>
                    <a:lnTo>
                      <a:pt x="202" y="153"/>
                    </a:lnTo>
                    <a:lnTo>
                      <a:pt x="200" y="156"/>
                    </a:lnTo>
                    <a:lnTo>
                      <a:pt x="202" y="156"/>
                    </a:lnTo>
                    <a:lnTo>
                      <a:pt x="204" y="156"/>
                    </a:lnTo>
                    <a:lnTo>
                      <a:pt x="204" y="158"/>
                    </a:lnTo>
                    <a:lnTo>
                      <a:pt x="204" y="160"/>
                    </a:lnTo>
                    <a:lnTo>
                      <a:pt x="205" y="160"/>
                    </a:lnTo>
                    <a:lnTo>
                      <a:pt x="205" y="161"/>
                    </a:lnTo>
                    <a:lnTo>
                      <a:pt x="205" y="163"/>
                    </a:lnTo>
                    <a:lnTo>
                      <a:pt x="207" y="165"/>
                    </a:lnTo>
                    <a:lnTo>
                      <a:pt x="209" y="165"/>
                    </a:lnTo>
                    <a:lnTo>
                      <a:pt x="209" y="166"/>
                    </a:lnTo>
                    <a:lnTo>
                      <a:pt x="211" y="166"/>
                    </a:lnTo>
                    <a:lnTo>
                      <a:pt x="211" y="168"/>
                    </a:lnTo>
                    <a:lnTo>
                      <a:pt x="212" y="168"/>
                    </a:lnTo>
                    <a:lnTo>
                      <a:pt x="212" y="170"/>
                    </a:lnTo>
                    <a:lnTo>
                      <a:pt x="211" y="170"/>
                    </a:lnTo>
                    <a:lnTo>
                      <a:pt x="211" y="172"/>
                    </a:lnTo>
                    <a:lnTo>
                      <a:pt x="212" y="173"/>
                    </a:lnTo>
                    <a:lnTo>
                      <a:pt x="214" y="175"/>
                    </a:lnTo>
                    <a:lnTo>
                      <a:pt x="212" y="177"/>
                    </a:lnTo>
                    <a:lnTo>
                      <a:pt x="212" y="178"/>
                    </a:lnTo>
                    <a:lnTo>
                      <a:pt x="214" y="178"/>
                    </a:lnTo>
                    <a:lnTo>
                      <a:pt x="212" y="180"/>
                    </a:lnTo>
                    <a:lnTo>
                      <a:pt x="216" y="182"/>
                    </a:lnTo>
                    <a:lnTo>
                      <a:pt x="216" y="185"/>
                    </a:lnTo>
                    <a:lnTo>
                      <a:pt x="217" y="185"/>
                    </a:lnTo>
                    <a:lnTo>
                      <a:pt x="216" y="187"/>
                    </a:lnTo>
                    <a:lnTo>
                      <a:pt x="219" y="187"/>
                    </a:lnTo>
                    <a:lnTo>
                      <a:pt x="219" y="189"/>
                    </a:lnTo>
                    <a:lnTo>
                      <a:pt x="219" y="190"/>
                    </a:lnTo>
                    <a:lnTo>
                      <a:pt x="219" y="192"/>
                    </a:lnTo>
                    <a:lnTo>
                      <a:pt x="221" y="194"/>
                    </a:lnTo>
                    <a:lnTo>
                      <a:pt x="219" y="197"/>
                    </a:lnTo>
                    <a:lnTo>
                      <a:pt x="221" y="199"/>
                    </a:lnTo>
                    <a:lnTo>
                      <a:pt x="221" y="200"/>
                    </a:lnTo>
                    <a:lnTo>
                      <a:pt x="221" y="202"/>
                    </a:lnTo>
                    <a:lnTo>
                      <a:pt x="222" y="202"/>
                    </a:lnTo>
                    <a:lnTo>
                      <a:pt x="221" y="206"/>
                    </a:lnTo>
                    <a:lnTo>
                      <a:pt x="219" y="211"/>
                    </a:lnTo>
                    <a:lnTo>
                      <a:pt x="216" y="212"/>
                    </a:lnTo>
                    <a:lnTo>
                      <a:pt x="214" y="216"/>
                    </a:lnTo>
                    <a:lnTo>
                      <a:pt x="211" y="219"/>
                    </a:lnTo>
                    <a:lnTo>
                      <a:pt x="209" y="223"/>
                    </a:lnTo>
                    <a:lnTo>
                      <a:pt x="209" y="224"/>
                    </a:lnTo>
                    <a:lnTo>
                      <a:pt x="211" y="226"/>
                    </a:lnTo>
                    <a:lnTo>
                      <a:pt x="211" y="229"/>
                    </a:lnTo>
                    <a:lnTo>
                      <a:pt x="211" y="231"/>
                    </a:lnTo>
                    <a:lnTo>
                      <a:pt x="211" y="234"/>
                    </a:lnTo>
                    <a:lnTo>
                      <a:pt x="211" y="236"/>
                    </a:lnTo>
                    <a:lnTo>
                      <a:pt x="212" y="238"/>
                    </a:lnTo>
                    <a:lnTo>
                      <a:pt x="211" y="238"/>
                    </a:lnTo>
                    <a:lnTo>
                      <a:pt x="214" y="238"/>
                    </a:lnTo>
                    <a:lnTo>
                      <a:pt x="214" y="241"/>
                    </a:lnTo>
                    <a:lnTo>
                      <a:pt x="216" y="240"/>
                    </a:lnTo>
                    <a:lnTo>
                      <a:pt x="217" y="240"/>
                    </a:lnTo>
                    <a:lnTo>
                      <a:pt x="219" y="240"/>
                    </a:lnTo>
                    <a:lnTo>
                      <a:pt x="221" y="240"/>
                    </a:lnTo>
                    <a:lnTo>
                      <a:pt x="221" y="238"/>
                    </a:lnTo>
                    <a:lnTo>
                      <a:pt x="224" y="236"/>
                    </a:lnTo>
                    <a:lnTo>
                      <a:pt x="226" y="238"/>
                    </a:lnTo>
                    <a:lnTo>
                      <a:pt x="228" y="236"/>
                    </a:lnTo>
                    <a:lnTo>
                      <a:pt x="229" y="240"/>
                    </a:lnTo>
                    <a:lnTo>
                      <a:pt x="233" y="240"/>
                    </a:lnTo>
                    <a:lnTo>
                      <a:pt x="236" y="240"/>
                    </a:lnTo>
                    <a:lnTo>
                      <a:pt x="241" y="240"/>
                    </a:lnTo>
                    <a:lnTo>
                      <a:pt x="243" y="238"/>
                    </a:lnTo>
                    <a:lnTo>
                      <a:pt x="245" y="240"/>
                    </a:lnTo>
                    <a:lnTo>
                      <a:pt x="246" y="238"/>
                    </a:lnTo>
                    <a:lnTo>
                      <a:pt x="250" y="238"/>
                    </a:lnTo>
                    <a:lnTo>
                      <a:pt x="256" y="240"/>
                    </a:lnTo>
                    <a:lnTo>
                      <a:pt x="258" y="238"/>
                    </a:lnTo>
                    <a:lnTo>
                      <a:pt x="262" y="240"/>
                    </a:lnTo>
                    <a:lnTo>
                      <a:pt x="265" y="240"/>
                    </a:lnTo>
                    <a:lnTo>
                      <a:pt x="268" y="236"/>
                    </a:lnTo>
                    <a:lnTo>
                      <a:pt x="270" y="234"/>
                    </a:lnTo>
                    <a:lnTo>
                      <a:pt x="268" y="231"/>
                    </a:lnTo>
                    <a:lnTo>
                      <a:pt x="272" y="229"/>
                    </a:lnTo>
                    <a:lnTo>
                      <a:pt x="277" y="229"/>
                    </a:lnTo>
                    <a:lnTo>
                      <a:pt x="282" y="228"/>
                    </a:lnTo>
                    <a:lnTo>
                      <a:pt x="284" y="226"/>
                    </a:lnTo>
                    <a:lnTo>
                      <a:pt x="289" y="223"/>
                    </a:lnTo>
                    <a:lnTo>
                      <a:pt x="289" y="221"/>
                    </a:lnTo>
                    <a:lnTo>
                      <a:pt x="289" y="219"/>
                    </a:lnTo>
                    <a:lnTo>
                      <a:pt x="290" y="217"/>
                    </a:lnTo>
                    <a:lnTo>
                      <a:pt x="289" y="216"/>
                    </a:lnTo>
                    <a:lnTo>
                      <a:pt x="292" y="214"/>
                    </a:lnTo>
                    <a:lnTo>
                      <a:pt x="296" y="214"/>
                    </a:lnTo>
                    <a:lnTo>
                      <a:pt x="296" y="212"/>
                    </a:lnTo>
                    <a:lnTo>
                      <a:pt x="299" y="212"/>
                    </a:lnTo>
                    <a:lnTo>
                      <a:pt x="299" y="211"/>
                    </a:lnTo>
                    <a:lnTo>
                      <a:pt x="301" y="211"/>
                    </a:lnTo>
                    <a:lnTo>
                      <a:pt x="301" y="209"/>
                    </a:lnTo>
                    <a:lnTo>
                      <a:pt x="301" y="207"/>
                    </a:lnTo>
                    <a:lnTo>
                      <a:pt x="302" y="207"/>
                    </a:lnTo>
                    <a:lnTo>
                      <a:pt x="304" y="206"/>
                    </a:lnTo>
                    <a:lnTo>
                      <a:pt x="307" y="207"/>
                    </a:lnTo>
                    <a:lnTo>
                      <a:pt x="309" y="206"/>
                    </a:lnTo>
                    <a:lnTo>
                      <a:pt x="309" y="204"/>
                    </a:lnTo>
                    <a:lnTo>
                      <a:pt x="311" y="204"/>
                    </a:lnTo>
                    <a:lnTo>
                      <a:pt x="311" y="202"/>
                    </a:lnTo>
                    <a:lnTo>
                      <a:pt x="313" y="202"/>
                    </a:lnTo>
                    <a:lnTo>
                      <a:pt x="313" y="200"/>
                    </a:lnTo>
                    <a:lnTo>
                      <a:pt x="314" y="200"/>
                    </a:lnTo>
                    <a:lnTo>
                      <a:pt x="314" y="197"/>
                    </a:lnTo>
                    <a:lnTo>
                      <a:pt x="316" y="197"/>
                    </a:lnTo>
                    <a:lnTo>
                      <a:pt x="316" y="194"/>
                    </a:lnTo>
                    <a:lnTo>
                      <a:pt x="318" y="192"/>
                    </a:lnTo>
                    <a:lnTo>
                      <a:pt x="316" y="190"/>
                    </a:lnTo>
                    <a:lnTo>
                      <a:pt x="318" y="190"/>
                    </a:lnTo>
                    <a:lnTo>
                      <a:pt x="318" y="189"/>
                    </a:lnTo>
                    <a:lnTo>
                      <a:pt x="319" y="187"/>
                    </a:lnTo>
                    <a:lnTo>
                      <a:pt x="318" y="185"/>
                    </a:lnTo>
                    <a:lnTo>
                      <a:pt x="319" y="182"/>
                    </a:lnTo>
                    <a:lnTo>
                      <a:pt x="321" y="182"/>
                    </a:lnTo>
                    <a:lnTo>
                      <a:pt x="321" y="180"/>
                    </a:lnTo>
                    <a:lnTo>
                      <a:pt x="323" y="178"/>
                    </a:lnTo>
                    <a:lnTo>
                      <a:pt x="321" y="177"/>
                    </a:lnTo>
                    <a:lnTo>
                      <a:pt x="323" y="177"/>
                    </a:lnTo>
                    <a:lnTo>
                      <a:pt x="321" y="175"/>
                    </a:lnTo>
                    <a:lnTo>
                      <a:pt x="323" y="173"/>
                    </a:lnTo>
                    <a:lnTo>
                      <a:pt x="323" y="172"/>
                    </a:lnTo>
                    <a:lnTo>
                      <a:pt x="323" y="170"/>
                    </a:lnTo>
                    <a:lnTo>
                      <a:pt x="324" y="170"/>
                    </a:lnTo>
                    <a:lnTo>
                      <a:pt x="326" y="170"/>
                    </a:lnTo>
                    <a:lnTo>
                      <a:pt x="324" y="170"/>
                    </a:lnTo>
                    <a:lnTo>
                      <a:pt x="326" y="166"/>
                    </a:lnTo>
                    <a:lnTo>
                      <a:pt x="330" y="165"/>
                    </a:lnTo>
                    <a:lnTo>
                      <a:pt x="330" y="163"/>
                    </a:lnTo>
                    <a:lnTo>
                      <a:pt x="331" y="163"/>
                    </a:lnTo>
                    <a:lnTo>
                      <a:pt x="331" y="160"/>
                    </a:lnTo>
                    <a:lnTo>
                      <a:pt x="331" y="161"/>
                    </a:lnTo>
                    <a:lnTo>
                      <a:pt x="333" y="160"/>
                    </a:lnTo>
                    <a:lnTo>
                      <a:pt x="333" y="161"/>
                    </a:lnTo>
                    <a:lnTo>
                      <a:pt x="335" y="163"/>
                    </a:lnTo>
                    <a:lnTo>
                      <a:pt x="336" y="161"/>
                    </a:lnTo>
                    <a:lnTo>
                      <a:pt x="338" y="161"/>
                    </a:lnTo>
                    <a:lnTo>
                      <a:pt x="341" y="160"/>
                    </a:lnTo>
                    <a:lnTo>
                      <a:pt x="345" y="160"/>
                    </a:lnTo>
                    <a:lnTo>
                      <a:pt x="347" y="160"/>
                    </a:lnTo>
                    <a:lnTo>
                      <a:pt x="348" y="160"/>
                    </a:lnTo>
                    <a:lnTo>
                      <a:pt x="350" y="161"/>
                    </a:lnTo>
                    <a:lnTo>
                      <a:pt x="352" y="161"/>
                    </a:lnTo>
                    <a:lnTo>
                      <a:pt x="353" y="160"/>
                    </a:lnTo>
                    <a:lnTo>
                      <a:pt x="353" y="161"/>
                    </a:lnTo>
                    <a:lnTo>
                      <a:pt x="355" y="161"/>
                    </a:lnTo>
                    <a:lnTo>
                      <a:pt x="355" y="163"/>
                    </a:lnTo>
                    <a:lnTo>
                      <a:pt x="357" y="163"/>
                    </a:lnTo>
                    <a:lnTo>
                      <a:pt x="358" y="163"/>
                    </a:lnTo>
                    <a:lnTo>
                      <a:pt x="358" y="165"/>
                    </a:lnTo>
                    <a:lnTo>
                      <a:pt x="360" y="165"/>
                    </a:lnTo>
                    <a:lnTo>
                      <a:pt x="362" y="165"/>
                    </a:lnTo>
                    <a:lnTo>
                      <a:pt x="362" y="166"/>
                    </a:lnTo>
                    <a:lnTo>
                      <a:pt x="364" y="166"/>
                    </a:lnTo>
                    <a:lnTo>
                      <a:pt x="364" y="168"/>
                    </a:lnTo>
                    <a:lnTo>
                      <a:pt x="365" y="168"/>
                    </a:lnTo>
                    <a:lnTo>
                      <a:pt x="367" y="168"/>
                    </a:lnTo>
                    <a:lnTo>
                      <a:pt x="369" y="170"/>
                    </a:lnTo>
                    <a:lnTo>
                      <a:pt x="369" y="172"/>
                    </a:lnTo>
                    <a:lnTo>
                      <a:pt x="372" y="172"/>
                    </a:lnTo>
                    <a:lnTo>
                      <a:pt x="372" y="173"/>
                    </a:lnTo>
                    <a:lnTo>
                      <a:pt x="374" y="175"/>
                    </a:lnTo>
                    <a:lnTo>
                      <a:pt x="375" y="175"/>
                    </a:lnTo>
                    <a:lnTo>
                      <a:pt x="377" y="177"/>
                    </a:lnTo>
                    <a:lnTo>
                      <a:pt x="379" y="178"/>
                    </a:lnTo>
                    <a:lnTo>
                      <a:pt x="381" y="177"/>
                    </a:lnTo>
                    <a:lnTo>
                      <a:pt x="382" y="177"/>
                    </a:lnTo>
                    <a:lnTo>
                      <a:pt x="382" y="178"/>
                    </a:lnTo>
                    <a:lnTo>
                      <a:pt x="384" y="178"/>
                    </a:lnTo>
                    <a:lnTo>
                      <a:pt x="384" y="177"/>
                    </a:lnTo>
                    <a:lnTo>
                      <a:pt x="386" y="178"/>
                    </a:lnTo>
                    <a:lnTo>
                      <a:pt x="387" y="177"/>
                    </a:lnTo>
                    <a:lnTo>
                      <a:pt x="389" y="177"/>
                    </a:lnTo>
                    <a:lnTo>
                      <a:pt x="391" y="177"/>
                    </a:lnTo>
                    <a:lnTo>
                      <a:pt x="392" y="178"/>
                    </a:lnTo>
                    <a:lnTo>
                      <a:pt x="394" y="182"/>
                    </a:lnTo>
                    <a:lnTo>
                      <a:pt x="396" y="180"/>
                    </a:lnTo>
                    <a:lnTo>
                      <a:pt x="396" y="182"/>
                    </a:lnTo>
                    <a:lnTo>
                      <a:pt x="398" y="182"/>
                    </a:lnTo>
                    <a:lnTo>
                      <a:pt x="399" y="183"/>
                    </a:lnTo>
                    <a:lnTo>
                      <a:pt x="401" y="183"/>
                    </a:lnTo>
                    <a:lnTo>
                      <a:pt x="403" y="183"/>
                    </a:lnTo>
                    <a:lnTo>
                      <a:pt x="404" y="183"/>
                    </a:lnTo>
                    <a:lnTo>
                      <a:pt x="416" y="187"/>
                    </a:lnTo>
                    <a:lnTo>
                      <a:pt x="418" y="187"/>
                    </a:lnTo>
                    <a:lnTo>
                      <a:pt x="421" y="187"/>
                    </a:lnTo>
                    <a:lnTo>
                      <a:pt x="423" y="187"/>
                    </a:lnTo>
                    <a:lnTo>
                      <a:pt x="426" y="187"/>
                    </a:lnTo>
                    <a:lnTo>
                      <a:pt x="428" y="185"/>
                    </a:lnTo>
                    <a:lnTo>
                      <a:pt x="430" y="183"/>
                    </a:lnTo>
                    <a:lnTo>
                      <a:pt x="432" y="182"/>
                    </a:lnTo>
                    <a:lnTo>
                      <a:pt x="433" y="182"/>
                    </a:lnTo>
                    <a:lnTo>
                      <a:pt x="437" y="183"/>
                    </a:lnTo>
                    <a:lnTo>
                      <a:pt x="438" y="183"/>
                    </a:lnTo>
                    <a:lnTo>
                      <a:pt x="449" y="185"/>
                    </a:lnTo>
                    <a:lnTo>
                      <a:pt x="457" y="180"/>
                    </a:lnTo>
                    <a:lnTo>
                      <a:pt x="460" y="178"/>
                    </a:lnTo>
                    <a:lnTo>
                      <a:pt x="464" y="173"/>
                    </a:lnTo>
                    <a:lnTo>
                      <a:pt x="466" y="166"/>
                    </a:lnTo>
                    <a:lnTo>
                      <a:pt x="467" y="160"/>
                    </a:lnTo>
                    <a:lnTo>
                      <a:pt x="469" y="158"/>
                    </a:lnTo>
                    <a:lnTo>
                      <a:pt x="476" y="141"/>
                    </a:lnTo>
                    <a:lnTo>
                      <a:pt x="477" y="139"/>
                    </a:lnTo>
                    <a:lnTo>
                      <a:pt x="476" y="136"/>
                    </a:lnTo>
                    <a:lnTo>
                      <a:pt x="474" y="134"/>
                    </a:lnTo>
                    <a:lnTo>
                      <a:pt x="474" y="132"/>
                    </a:lnTo>
                    <a:lnTo>
                      <a:pt x="481" y="132"/>
                    </a:lnTo>
                    <a:lnTo>
                      <a:pt x="483" y="131"/>
                    </a:lnTo>
                    <a:lnTo>
                      <a:pt x="503" y="127"/>
                    </a:lnTo>
                    <a:lnTo>
                      <a:pt x="506" y="124"/>
                    </a:lnTo>
                    <a:lnTo>
                      <a:pt x="508" y="119"/>
                    </a:lnTo>
                    <a:lnTo>
                      <a:pt x="511" y="117"/>
                    </a:lnTo>
                    <a:lnTo>
                      <a:pt x="511" y="115"/>
                    </a:lnTo>
                    <a:lnTo>
                      <a:pt x="517" y="114"/>
                    </a:lnTo>
                    <a:lnTo>
                      <a:pt x="517" y="112"/>
                    </a:lnTo>
                    <a:lnTo>
                      <a:pt x="520" y="110"/>
                    </a:lnTo>
                    <a:lnTo>
                      <a:pt x="522" y="110"/>
                    </a:lnTo>
                    <a:lnTo>
                      <a:pt x="525" y="109"/>
                    </a:lnTo>
                    <a:lnTo>
                      <a:pt x="527" y="107"/>
                    </a:lnTo>
                    <a:lnTo>
                      <a:pt x="527" y="105"/>
                    </a:lnTo>
                    <a:lnTo>
                      <a:pt x="527" y="103"/>
                    </a:lnTo>
                    <a:lnTo>
                      <a:pt x="527" y="100"/>
                    </a:lnTo>
                    <a:lnTo>
                      <a:pt x="528" y="93"/>
                    </a:lnTo>
                    <a:lnTo>
                      <a:pt x="530" y="93"/>
                    </a:lnTo>
                    <a:lnTo>
                      <a:pt x="530" y="92"/>
                    </a:lnTo>
                    <a:lnTo>
                      <a:pt x="530" y="88"/>
                    </a:lnTo>
                    <a:lnTo>
                      <a:pt x="530" y="86"/>
                    </a:lnTo>
                    <a:lnTo>
                      <a:pt x="530" y="85"/>
                    </a:lnTo>
                    <a:lnTo>
                      <a:pt x="532" y="80"/>
                    </a:lnTo>
                    <a:lnTo>
                      <a:pt x="534" y="80"/>
                    </a:lnTo>
                    <a:lnTo>
                      <a:pt x="534" y="78"/>
                    </a:lnTo>
                    <a:lnTo>
                      <a:pt x="534" y="76"/>
                    </a:lnTo>
                    <a:lnTo>
                      <a:pt x="535" y="78"/>
                    </a:lnTo>
                    <a:lnTo>
                      <a:pt x="537" y="78"/>
                    </a:lnTo>
                    <a:lnTo>
                      <a:pt x="537" y="76"/>
                    </a:lnTo>
                    <a:lnTo>
                      <a:pt x="535" y="75"/>
                    </a:lnTo>
                    <a:lnTo>
                      <a:pt x="539" y="75"/>
                    </a:lnTo>
                    <a:lnTo>
                      <a:pt x="539" y="73"/>
                    </a:lnTo>
                    <a:lnTo>
                      <a:pt x="540" y="73"/>
                    </a:lnTo>
                    <a:lnTo>
                      <a:pt x="540" y="71"/>
                    </a:lnTo>
                    <a:lnTo>
                      <a:pt x="542" y="71"/>
                    </a:lnTo>
                    <a:lnTo>
                      <a:pt x="544" y="71"/>
                    </a:lnTo>
                    <a:lnTo>
                      <a:pt x="542" y="69"/>
                    </a:lnTo>
                    <a:lnTo>
                      <a:pt x="544" y="69"/>
                    </a:lnTo>
                    <a:lnTo>
                      <a:pt x="545" y="69"/>
                    </a:lnTo>
                    <a:lnTo>
                      <a:pt x="545" y="68"/>
                    </a:lnTo>
                    <a:lnTo>
                      <a:pt x="549" y="68"/>
                    </a:lnTo>
                    <a:lnTo>
                      <a:pt x="551" y="64"/>
                    </a:lnTo>
                    <a:lnTo>
                      <a:pt x="551" y="66"/>
                    </a:lnTo>
                    <a:lnTo>
                      <a:pt x="552" y="66"/>
                    </a:lnTo>
                    <a:lnTo>
                      <a:pt x="552" y="64"/>
                    </a:lnTo>
                    <a:lnTo>
                      <a:pt x="554" y="64"/>
                    </a:lnTo>
                    <a:lnTo>
                      <a:pt x="554" y="66"/>
                    </a:lnTo>
                    <a:lnTo>
                      <a:pt x="556" y="64"/>
                    </a:lnTo>
                    <a:lnTo>
                      <a:pt x="559" y="64"/>
                    </a:lnTo>
                    <a:lnTo>
                      <a:pt x="562" y="61"/>
                    </a:lnTo>
                    <a:lnTo>
                      <a:pt x="562" y="58"/>
                    </a:lnTo>
                    <a:lnTo>
                      <a:pt x="564" y="56"/>
                    </a:lnTo>
                    <a:lnTo>
                      <a:pt x="566" y="56"/>
                    </a:lnTo>
                    <a:lnTo>
                      <a:pt x="568" y="54"/>
                    </a:lnTo>
                    <a:lnTo>
                      <a:pt x="569" y="56"/>
                    </a:lnTo>
                    <a:lnTo>
                      <a:pt x="571" y="56"/>
                    </a:lnTo>
                    <a:lnTo>
                      <a:pt x="573" y="52"/>
                    </a:lnTo>
                    <a:lnTo>
                      <a:pt x="573" y="51"/>
                    </a:lnTo>
                    <a:lnTo>
                      <a:pt x="574" y="51"/>
                    </a:lnTo>
                    <a:lnTo>
                      <a:pt x="574" y="49"/>
                    </a:lnTo>
                    <a:lnTo>
                      <a:pt x="578" y="49"/>
                    </a:lnTo>
                    <a:lnTo>
                      <a:pt x="581" y="47"/>
                    </a:lnTo>
                    <a:lnTo>
                      <a:pt x="581" y="42"/>
                    </a:lnTo>
                    <a:lnTo>
                      <a:pt x="586" y="39"/>
                    </a:lnTo>
                    <a:lnTo>
                      <a:pt x="586" y="35"/>
                    </a:lnTo>
                    <a:lnTo>
                      <a:pt x="588" y="35"/>
                    </a:lnTo>
                    <a:lnTo>
                      <a:pt x="591" y="32"/>
                    </a:lnTo>
                    <a:lnTo>
                      <a:pt x="593" y="29"/>
                    </a:lnTo>
                    <a:lnTo>
                      <a:pt x="595" y="27"/>
                    </a:lnTo>
                    <a:lnTo>
                      <a:pt x="596" y="27"/>
                    </a:lnTo>
                    <a:lnTo>
                      <a:pt x="598" y="25"/>
                    </a:lnTo>
                    <a:lnTo>
                      <a:pt x="600" y="24"/>
                    </a:lnTo>
                    <a:lnTo>
                      <a:pt x="602" y="22"/>
                    </a:lnTo>
                    <a:lnTo>
                      <a:pt x="608" y="22"/>
                    </a:lnTo>
                    <a:lnTo>
                      <a:pt x="610" y="24"/>
                    </a:lnTo>
                    <a:lnTo>
                      <a:pt x="612" y="22"/>
                    </a:lnTo>
                    <a:lnTo>
                      <a:pt x="617" y="22"/>
                    </a:lnTo>
                    <a:lnTo>
                      <a:pt x="622" y="18"/>
                    </a:lnTo>
                    <a:lnTo>
                      <a:pt x="625" y="18"/>
                    </a:lnTo>
                    <a:lnTo>
                      <a:pt x="625" y="17"/>
                    </a:lnTo>
                    <a:lnTo>
                      <a:pt x="627" y="17"/>
                    </a:lnTo>
                    <a:lnTo>
                      <a:pt x="630" y="17"/>
                    </a:lnTo>
                    <a:lnTo>
                      <a:pt x="632" y="13"/>
                    </a:lnTo>
                    <a:lnTo>
                      <a:pt x="632" y="8"/>
                    </a:lnTo>
                    <a:lnTo>
                      <a:pt x="636" y="5"/>
                    </a:lnTo>
                    <a:lnTo>
                      <a:pt x="642" y="5"/>
                    </a:lnTo>
                    <a:lnTo>
                      <a:pt x="646" y="3"/>
                    </a:lnTo>
                    <a:lnTo>
                      <a:pt x="647" y="3"/>
                    </a:lnTo>
                    <a:lnTo>
                      <a:pt x="651" y="3"/>
                    </a:lnTo>
                    <a:lnTo>
                      <a:pt x="653" y="3"/>
                    </a:lnTo>
                    <a:lnTo>
                      <a:pt x="658" y="1"/>
                    </a:lnTo>
                    <a:lnTo>
                      <a:pt x="661" y="3"/>
                    </a:lnTo>
                    <a:lnTo>
                      <a:pt x="661" y="1"/>
                    </a:lnTo>
                    <a:lnTo>
                      <a:pt x="664" y="0"/>
                    </a:lnTo>
                    <a:lnTo>
                      <a:pt x="664" y="1"/>
                    </a:lnTo>
                    <a:lnTo>
                      <a:pt x="668" y="0"/>
                    </a:lnTo>
                    <a:lnTo>
                      <a:pt x="673" y="0"/>
                    </a:lnTo>
                    <a:lnTo>
                      <a:pt x="680" y="3"/>
                    </a:lnTo>
                    <a:lnTo>
                      <a:pt x="681" y="3"/>
                    </a:lnTo>
                    <a:lnTo>
                      <a:pt x="683" y="5"/>
                    </a:lnTo>
                    <a:lnTo>
                      <a:pt x="687" y="5"/>
                    </a:lnTo>
                    <a:lnTo>
                      <a:pt x="687" y="7"/>
                    </a:lnTo>
                    <a:lnTo>
                      <a:pt x="688" y="7"/>
                    </a:lnTo>
                    <a:lnTo>
                      <a:pt x="692" y="10"/>
                    </a:lnTo>
                    <a:lnTo>
                      <a:pt x="697" y="8"/>
                    </a:lnTo>
                    <a:lnTo>
                      <a:pt x="700" y="12"/>
                    </a:lnTo>
                    <a:lnTo>
                      <a:pt x="704" y="12"/>
                    </a:lnTo>
                    <a:lnTo>
                      <a:pt x="710" y="10"/>
                    </a:lnTo>
                    <a:lnTo>
                      <a:pt x="714" y="10"/>
                    </a:lnTo>
                    <a:lnTo>
                      <a:pt x="715" y="10"/>
                    </a:lnTo>
                    <a:lnTo>
                      <a:pt x="717" y="10"/>
                    </a:lnTo>
                    <a:lnTo>
                      <a:pt x="719" y="10"/>
                    </a:lnTo>
                    <a:lnTo>
                      <a:pt x="721" y="10"/>
                    </a:lnTo>
                    <a:lnTo>
                      <a:pt x="727" y="8"/>
                    </a:lnTo>
                    <a:lnTo>
                      <a:pt x="732" y="8"/>
                    </a:lnTo>
                    <a:lnTo>
                      <a:pt x="734" y="10"/>
                    </a:lnTo>
                    <a:lnTo>
                      <a:pt x="736" y="10"/>
                    </a:lnTo>
                    <a:lnTo>
                      <a:pt x="741" y="12"/>
                    </a:lnTo>
                    <a:lnTo>
                      <a:pt x="744" y="10"/>
                    </a:lnTo>
                    <a:lnTo>
                      <a:pt x="746" y="12"/>
                    </a:lnTo>
                    <a:lnTo>
                      <a:pt x="749" y="12"/>
                    </a:lnTo>
                    <a:lnTo>
                      <a:pt x="751" y="15"/>
                    </a:lnTo>
                    <a:close/>
                    <a:moveTo>
                      <a:pt x="617" y="326"/>
                    </a:moveTo>
                    <a:lnTo>
                      <a:pt x="613" y="328"/>
                    </a:lnTo>
                    <a:lnTo>
                      <a:pt x="610" y="328"/>
                    </a:lnTo>
                    <a:lnTo>
                      <a:pt x="608" y="328"/>
                    </a:lnTo>
                    <a:lnTo>
                      <a:pt x="603" y="330"/>
                    </a:lnTo>
                    <a:lnTo>
                      <a:pt x="605" y="330"/>
                    </a:lnTo>
                    <a:lnTo>
                      <a:pt x="602" y="331"/>
                    </a:lnTo>
                    <a:lnTo>
                      <a:pt x="603" y="331"/>
                    </a:lnTo>
                    <a:lnTo>
                      <a:pt x="602" y="333"/>
                    </a:lnTo>
                    <a:lnTo>
                      <a:pt x="600" y="333"/>
                    </a:lnTo>
                    <a:lnTo>
                      <a:pt x="598" y="333"/>
                    </a:lnTo>
                    <a:lnTo>
                      <a:pt x="595" y="333"/>
                    </a:lnTo>
                    <a:lnTo>
                      <a:pt x="593" y="333"/>
                    </a:lnTo>
                    <a:lnTo>
                      <a:pt x="591" y="335"/>
                    </a:lnTo>
                    <a:lnTo>
                      <a:pt x="590" y="335"/>
                    </a:lnTo>
                    <a:lnTo>
                      <a:pt x="588" y="338"/>
                    </a:lnTo>
                    <a:lnTo>
                      <a:pt x="586" y="338"/>
                    </a:lnTo>
                    <a:lnTo>
                      <a:pt x="586" y="340"/>
                    </a:lnTo>
                    <a:lnTo>
                      <a:pt x="585" y="342"/>
                    </a:lnTo>
                    <a:lnTo>
                      <a:pt x="583" y="342"/>
                    </a:lnTo>
                    <a:lnTo>
                      <a:pt x="581" y="340"/>
                    </a:lnTo>
                    <a:lnTo>
                      <a:pt x="579" y="342"/>
                    </a:lnTo>
                    <a:lnTo>
                      <a:pt x="578" y="342"/>
                    </a:lnTo>
                    <a:lnTo>
                      <a:pt x="578" y="343"/>
                    </a:lnTo>
                    <a:lnTo>
                      <a:pt x="576" y="343"/>
                    </a:lnTo>
                    <a:lnTo>
                      <a:pt x="574" y="343"/>
                    </a:lnTo>
                    <a:lnTo>
                      <a:pt x="571" y="343"/>
                    </a:lnTo>
                    <a:lnTo>
                      <a:pt x="571" y="345"/>
                    </a:lnTo>
                    <a:lnTo>
                      <a:pt x="569" y="345"/>
                    </a:lnTo>
                    <a:lnTo>
                      <a:pt x="569" y="347"/>
                    </a:lnTo>
                    <a:lnTo>
                      <a:pt x="569" y="348"/>
                    </a:lnTo>
                    <a:lnTo>
                      <a:pt x="568" y="348"/>
                    </a:lnTo>
                    <a:lnTo>
                      <a:pt x="568" y="350"/>
                    </a:lnTo>
                    <a:lnTo>
                      <a:pt x="566" y="350"/>
                    </a:lnTo>
                    <a:lnTo>
                      <a:pt x="568" y="352"/>
                    </a:lnTo>
                    <a:lnTo>
                      <a:pt x="566" y="352"/>
                    </a:lnTo>
                    <a:lnTo>
                      <a:pt x="566" y="354"/>
                    </a:lnTo>
                    <a:lnTo>
                      <a:pt x="564" y="355"/>
                    </a:lnTo>
                    <a:lnTo>
                      <a:pt x="564" y="357"/>
                    </a:lnTo>
                    <a:lnTo>
                      <a:pt x="562" y="357"/>
                    </a:lnTo>
                    <a:lnTo>
                      <a:pt x="559" y="359"/>
                    </a:lnTo>
                    <a:lnTo>
                      <a:pt x="559" y="360"/>
                    </a:lnTo>
                    <a:lnTo>
                      <a:pt x="561" y="360"/>
                    </a:lnTo>
                    <a:lnTo>
                      <a:pt x="561" y="362"/>
                    </a:lnTo>
                    <a:lnTo>
                      <a:pt x="557" y="362"/>
                    </a:lnTo>
                    <a:lnTo>
                      <a:pt x="557" y="364"/>
                    </a:lnTo>
                    <a:lnTo>
                      <a:pt x="556" y="364"/>
                    </a:lnTo>
                    <a:lnTo>
                      <a:pt x="557" y="364"/>
                    </a:lnTo>
                    <a:lnTo>
                      <a:pt x="556" y="365"/>
                    </a:lnTo>
                    <a:lnTo>
                      <a:pt x="556" y="367"/>
                    </a:lnTo>
                    <a:lnTo>
                      <a:pt x="554" y="367"/>
                    </a:lnTo>
                    <a:lnTo>
                      <a:pt x="554" y="369"/>
                    </a:lnTo>
                    <a:lnTo>
                      <a:pt x="551" y="371"/>
                    </a:lnTo>
                    <a:lnTo>
                      <a:pt x="551" y="372"/>
                    </a:lnTo>
                    <a:lnTo>
                      <a:pt x="549" y="374"/>
                    </a:lnTo>
                    <a:lnTo>
                      <a:pt x="549" y="376"/>
                    </a:lnTo>
                    <a:lnTo>
                      <a:pt x="547" y="374"/>
                    </a:lnTo>
                    <a:lnTo>
                      <a:pt x="545" y="376"/>
                    </a:lnTo>
                    <a:lnTo>
                      <a:pt x="544" y="376"/>
                    </a:lnTo>
                    <a:lnTo>
                      <a:pt x="544" y="377"/>
                    </a:lnTo>
                    <a:lnTo>
                      <a:pt x="540" y="377"/>
                    </a:lnTo>
                    <a:lnTo>
                      <a:pt x="537" y="379"/>
                    </a:lnTo>
                    <a:lnTo>
                      <a:pt x="535" y="381"/>
                    </a:lnTo>
                    <a:lnTo>
                      <a:pt x="535" y="379"/>
                    </a:lnTo>
                    <a:lnTo>
                      <a:pt x="534" y="379"/>
                    </a:lnTo>
                    <a:lnTo>
                      <a:pt x="535" y="381"/>
                    </a:lnTo>
                    <a:lnTo>
                      <a:pt x="534" y="381"/>
                    </a:lnTo>
                    <a:lnTo>
                      <a:pt x="539" y="386"/>
                    </a:lnTo>
                    <a:lnTo>
                      <a:pt x="544" y="399"/>
                    </a:lnTo>
                    <a:lnTo>
                      <a:pt x="547" y="399"/>
                    </a:lnTo>
                    <a:lnTo>
                      <a:pt x="547" y="401"/>
                    </a:lnTo>
                    <a:lnTo>
                      <a:pt x="549" y="401"/>
                    </a:lnTo>
                    <a:lnTo>
                      <a:pt x="549" y="406"/>
                    </a:lnTo>
                    <a:lnTo>
                      <a:pt x="554" y="406"/>
                    </a:lnTo>
                    <a:lnTo>
                      <a:pt x="552" y="408"/>
                    </a:lnTo>
                    <a:lnTo>
                      <a:pt x="552" y="413"/>
                    </a:lnTo>
                    <a:lnTo>
                      <a:pt x="552" y="415"/>
                    </a:lnTo>
                    <a:lnTo>
                      <a:pt x="552" y="416"/>
                    </a:lnTo>
                    <a:lnTo>
                      <a:pt x="557" y="415"/>
                    </a:lnTo>
                    <a:lnTo>
                      <a:pt x="557" y="418"/>
                    </a:lnTo>
                    <a:lnTo>
                      <a:pt x="561" y="420"/>
                    </a:lnTo>
                    <a:lnTo>
                      <a:pt x="562" y="422"/>
                    </a:lnTo>
                    <a:lnTo>
                      <a:pt x="564" y="422"/>
                    </a:lnTo>
                    <a:lnTo>
                      <a:pt x="564" y="423"/>
                    </a:lnTo>
                    <a:lnTo>
                      <a:pt x="568" y="427"/>
                    </a:lnTo>
                    <a:lnTo>
                      <a:pt x="571" y="430"/>
                    </a:lnTo>
                    <a:lnTo>
                      <a:pt x="573" y="430"/>
                    </a:lnTo>
                    <a:lnTo>
                      <a:pt x="579" y="428"/>
                    </a:lnTo>
                    <a:lnTo>
                      <a:pt x="581" y="432"/>
                    </a:lnTo>
                    <a:lnTo>
                      <a:pt x="585" y="432"/>
                    </a:lnTo>
                    <a:lnTo>
                      <a:pt x="588" y="432"/>
                    </a:lnTo>
                    <a:lnTo>
                      <a:pt x="590" y="433"/>
                    </a:lnTo>
                    <a:lnTo>
                      <a:pt x="590" y="428"/>
                    </a:lnTo>
                    <a:lnTo>
                      <a:pt x="591" y="428"/>
                    </a:lnTo>
                    <a:lnTo>
                      <a:pt x="591" y="427"/>
                    </a:lnTo>
                    <a:lnTo>
                      <a:pt x="593" y="425"/>
                    </a:lnTo>
                    <a:lnTo>
                      <a:pt x="593" y="423"/>
                    </a:lnTo>
                    <a:lnTo>
                      <a:pt x="591" y="422"/>
                    </a:lnTo>
                    <a:lnTo>
                      <a:pt x="593" y="422"/>
                    </a:lnTo>
                    <a:lnTo>
                      <a:pt x="595" y="420"/>
                    </a:lnTo>
                    <a:lnTo>
                      <a:pt x="596" y="420"/>
                    </a:lnTo>
                    <a:lnTo>
                      <a:pt x="598" y="418"/>
                    </a:lnTo>
                    <a:lnTo>
                      <a:pt x="596" y="415"/>
                    </a:lnTo>
                    <a:lnTo>
                      <a:pt x="595" y="413"/>
                    </a:lnTo>
                    <a:lnTo>
                      <a:pt x="596" y="411"/>
                    </a:lnTo>
                    <a:lnTo>
                      <a:pt x="600" y="411"/>
                    </a:lnTo>
                    <a:lnTo>
                      <a:pt x="600" y="410"/>
                    </a:lnTo>
                    <a:lnTo>
                      <a:pt x="602" y="410"/>
                    </a:lnTo>
                    <a:lnTo>
                      <a:pt x="602" y="408"/>
                    </a:lnTo>
                    <a:lnTo>
                      <a:pt x="603" y="406"/>
                    </a:lnTo>
                    <a:lnTo>
                      <a:pt x="608" y="406"/>
                    </a:lnTo>
                    <a:lnTo>
                      <a:pt x="612" y="405"/>
                    </a:lnTo>
                    <a:lnTo>
                      <a:pt x="617" y="406"/>
                    </a:lnTo>
                    <a:lnTo>
                      <a:pt x="622" y="405"/>
                    </a:lnTo>
                    <a:lnTo>
                      <a:pt x="624" y="405"/>
                    </a:lnTo>
                    <a:lnTo>
                      <a:pt x="627" y="403"/>
                    </a:lnTo>
                    <a:lnTo>
                      <a:pt x="632" y="401"/>
                    </a:lnTo>
                    <a:lnTo>
                      <a:pt x="634" y="399"/>
                    </a:lnTo>
                    <a:lnTo>
                      <a:pt x="639" y="396"/>
                    </a:lnTo>
                    <a:lnTo>
                      <a:pt x="639" y="398"/>
                    </a:lnTo>
                    <a:lnTo>
                      <a:pt x="641" y="396"/>
                    </a:lnTo>
                    <a:lnTo>
                      <a:pt x="642" y="394"/>
                    </a:lnTo>
                    <a:lnTo>
                      <a:pt x="642" y="393"/>
                    </a:lnTo>
                    <a:lnTo>
                      <a:pt x="639" y="391"/>
                    </a:lnTo>
                    <a:lnTo>
                      <a:pt x="641" y="389"/>
                    </a:lnTo>
                    <a:lnTo>
                      <a:pt x="641" y="388"/>
                    </a:lnTo>
                    <a:lnTo>
                      <a:pt x="642" y="386"/>
                    </a:lnTo>
                    <a:lnTo>
                      <a:pt x="642" y="382"/>
                    </a:lnTo>
                    <a:lnTo>
                      <a:pt x="646" y="381"/>
                    </a:lnTo>
                    <a:lnTo>
                      <a:pt x="649" y="381"/>
                    </a:lnTo>
                    <a:lnTo>
                      <a:pt x="649" y="377"/>
                    </a:lnTo>
                    <a:lnTo>
                      <a:pt x="651" y="377"/>
                    </a:lnTo>
                    <a:lnTo>
                      <a:pt x="649" y="376"/>
                    </a:lnTo>
                    <a:lnTo>
                      <a:pt x="651" y="376"/>
                    </a:lnTo>
                    <a:lnTo>
                      <a:pt x="649" y="374"/>
                    </a:lnTo>
                    <a:lnTo>
                      <a:pt x="649" y="372"/>
                    </a:lnTo>
                    <a:lnTo>
                      <a:pt x="654" y="371"/>
                    </a:lnTo>
                    <a:lnTo>
                      <a:pt x="656" y="369"/>
                    </a:lnTo>
                    <a:lnTo>
                      <a:pt x="658" y="367"/>
                    </a:lnTo>
                    <a:lnTo>
                      <a:pt x="656" y="365"/>
                    </a:lnTo>
                    <a:lnTo>
                      <a:pt x="658" y="365"/>
                    </a:lnTo>
                    <a:lnTo>
                      <a:pt x="656" y="364"/>
                    </a:lnTo>
                    <a:lnTo>
                      <a:pt x="656" y="362"/>
                    </a:lnTo>
                    <a:lnTo>
                      <a:pt x="656" y="360"/>
                    </a:lnTo>
                    <a:lnTo>
                      <a:pt x="654" y="359"/>
                    </a:lnTo>
                    <a:lnTo>
                      <a:pt x="653" y="359"/>
                    </a:lnTo>
                    <a:lnTo>
                      <a:pt x="653" y="357"/>
                    </a:lnTo>
                    <a:lnTo>
                      <a:pt x="653" y="355"/>
                    </a:lnTo>
                    <a:lnTo>
                      <a:pt x="651" y="352"/>
                    </a:lnTo>
                    <a:lnTo>
                      <a:pt x="649" y="352"/>
                    </a:lnTo>
                    <a:lnTo>
                      <a:pt x="647" y="352"/>
                    </a:lnTo>
                    <a:lnTo>
                      <a:pt x="646" y="350"/>
                    </a:lnTo>
                    <a:lnTo>
                      <a:pt x="641" y="347"/>
                    </a:lnTo>
                    <a:lnTo>
                      <a:pt x="639" y="345"/>
                    </a:lnTo>
                    <a:lnTo>
                      <a:pt x="639" y="343"/>
                    </a:lnTo>
                    <a:lnTo>
                      <a:pt x="637" y="343"/>
                    </a:lnTo>
                    <a:lnTo>
                      <a:pt x="636" y="342"/>
                    </a:lnTo>
                    <a:lnTo>
                      <a:pt x="634" y="343"/>
                    </a:lnTo>
                    <a:lnTo>
                      <a:pt x="632" y="342"/>
                    </a:lnTo>
                    <a:lnTo>
                      <a:pt x="630" y="342"/>
                    </a:lnTo>
                    <a:lnTo>
                      <a:pt x="632" y="340"/>
                    </a:lnTo>
                    <a:lnTo>
                      <a:pt x="630" y="338"/>
                    </a:lnTo>
                    <a:lnTo>
                      <a:pt x="632" y="338"/>
                    </a:lnTo>
                    <a:lnTo>
                      <a:pt x="630" y="338"/>
                    </a:lnTo>
                    <a:lnTo>
                      <a:pt x="632" y="337"/>
                    </a:lnTo>
                    <a:lnTo>
                      <a:pt x="630" y="337"/>
                    </a:lnTo>
                    <a:lnTo>
                      <a:pt x="629" y="337"/>
                    </a:lnTo>
                    <a:lnTo>
                      <a:pt x="627" y="337"/>
                    </a:lnTo>
                    <a:lnTo>
                      <a:pt x="625" y="337"/>
                    </a:lnTo>
                    <a:lnTo>
                      <a:pt x="625" y="333"/>
                    </a:lnTo>
                    <a:lnTo>
                      <a:pt x="620" y="331"/>
                    </a:lnTo>
                    <a:lnTo>
                      <a:pt x="619" y="328"/>
                    </a:lnTo>
                    <a:lnTo>
                      <a:pt x="617" y="326"/>
                    </a:lnTo>
                    <a:close/>
                    <a:moveTo>
                      <a:pt x="95" y="590"/>
                    </a:moveTo>
                    <a:lnTo>
                      <a:pt x="97" y="590"/>
                    </a:lnTo>
                    <a:lnTo>
                      <a:pt x="97" y="592"/>
                    </a:lnTo>
                    <a:lnTo>
                      <a:pt x="95" y="592"/>
                    </a:lnTo>
                    <a:lnTo>
                      <a:pt x="95" y="590"/>
                    </a:lnTo>
                    <a:close/>
                    <a:moveTo>
                      <a:pt x="81" y="571"/>
                    </a:moveTo>
                    <a:lnTo>
                      <a:pt x="83" y="571"/>
                    </a:lnTo>
                    <a:lnTo>
                      <a:pt x="83" y="573"/>
                    </a:lnTo>
                    <a:lnTo>
                      <a:pt x="81" y="573"/>
                    </a:lnTo>
                    <a:lnTo>
                      <a:pt x="81" y="571"/>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Freeform 56">
                <a:extLst>
                  <a:ext uri="{FF2B5EF4-FFF2-40B4-BE49-F238E27FC236}">
                    <a16:creationId xmlns:a16="http://schemas.microsoft.com/office/drawing/2014/main" id="{04DF2CAD-547F-4BDC-8376-B5C9EF656BCC}"/>
                  </a:ext>
                </a:extLst>
              </p:cNvPr>
              <p:cNvSpPr>
                <a:spLocks/>
              </p:cNvSpPr>
              <p:nvPr/>
            </p:nvSpPr>
            <p:spPr bwMode="gray">
              <a:xfrm>
                <a:off x="7211777" y="5588105"/>
                <a:ext cx="84256" cy="100364"/>
              </a:xfrm>
              <a:custGeom>
                <a:avLst/>
                <a:gdLst>
                  <a:gd name="T0" fmla="*/ 59 w 68"/>
                  <a:gd name="T1" fmla="*/ 12 h 81"/>
                  <a:gd name="T2" fmla="*/ 61 w 68"/>
                  <a:gd name="T3" fmla="*/ 13 h 81"/>
                  <a:gd name="T4" fmla="*/ 64 w 68"/>
                  <a:gd name="T5" fmla="*/ 15 h 81"/>
                  <a:gd name="T6" fmla="*/ 66 w 68"/>
                  <a:gd name="T7" fmla="*/ 22 h 81"/>
                  <a:gd name="T8" fmla="*/ 64 w 68"/>
                  <a:gd name="T9" fmla="*/ 34 h 81"/>
                  <a:gd name="T10" fmla="*/ 68 w 68"/>
                  <a:gd name="T11" fmla="*/ 41 h 81"/>
                  <a:gd name="T12" fmla="*/ 66 w 68"/>
                  <a:gd name="T13" fmla="*/ 56 h 81"/>
                  <a:gd name="T14" fmla="*/ 66 w 68"/>
                  <a:gd name="T15" fmla="*/ 54 h 81"/>
                  <a:gd name="T16" fmla="*/ 63 w 68"/>
                  <a:gd name="T17" fmla="*/ 56 h 81"/>
                  <a:gd name="T18" fmla="*/ 61 w 68"/>
                  <a:gd name="T19" fmla="*/ 56 h 81"/>
                  <a:gd name="T20" fmla="*/ 59 w 68"/>
                  <a:gd name="T21" fmla="*/ 71 h 81"/>
                  <a:gd name="T22" fmla="*/ 59 w 68"/>
                  <a:gd name="T23" fmla="*/ 81 h 81"/>
                  <a:gd name="T24" fmla="*/ 35 w 68"/>
                  <a:gd name="T25" fmla="*/ 81 h 81"/>
                  <a:gd name="T26" fmla="*/ 17 w 68"/>
                  <a:gd name="T27" fmla="*/ 75 h 81"/>
                  <a:gd name="T28" fmla="*/ 13 w 68"/>
                  <a:gd name="T29" fmla="*/ 69 h 81"/>
                  <a:gd name="T30" fmla="*/ 8 w 68"/>
                  <a:gd name="T31" fmla="*/ 66 h 81"/>
                  <a:gd name="T32" fmla="*/ 8 w 68"/>
                  <a:gd name="T33" fmla="*/ 64 h 81"/>
                  <a:gd name="T34" fmla="*/ 8 w 68"/>
                  <a:gd name="T35" fmla="*/ 63 h 81"/>
                  <a:gd name="T36" fmla="*/ 8 w 68"/>
                  <a:gd name="T37" fmla="*/ 59 h 81"/>
                  <a:gd name="T38" fmla="*/ 5 w 68"/>
                  <a:gd name="T39" fmla="*/ 58 h 81"/>
                  <a:gd name="T40" fmla="*/ 5 w 68"/>
                  <a:gd name="T41" fmla="*/ 54 h 81"/>
                  <a:gd name="T42" fmla="*/ 1 w 68"/>
                  <a:gd name="T43" fmla="*/ 58 h 81"/>
                  <a:gd name="T44" fmla="*/ 0 w 68"/>
                  <a:gd name="T45" fmla="*/ 56 h 81"/>
                  <a:gd name="T46" fmla="*/ 0 w 68"/>
                  <a:gd name="T47" fmla="*/ 42 h 81"/>
                  <a:gd name="T48" fmla="*/ 0 w 68"/>
                  <a:gd name="T49" fmla="*/ 37 h 81"/>
                  <a:gd name="T50" fmla="*/ 1 w 68"/>
                  <a:gd name="T51" fmla="*/ 35 h 81"/>
                  <a:gd name="T52" fmla="*/ 5 w 68"/>
                  <a:gd name="T53" fmla="*/ 30 h 81"/>
                  <a:gd name="T54" fmla="*/ 8 w 68"/>
                  <a:gd name="T55" fmla="*/ 27 h 81"/>
                  <a:gd name="T56" fmla="*/ 15 w 68"/>
                  <a:gd name="T57" fmla="*/ 13 h 81"/>
                  <a:gd name="T58" fmla="*/ 17 w 68"/>
                  <a:gd name="T59" fmla="*/ 10 h 81"/>
                  <a:gd name="T60" fmla="*/ 23 w 68"/>
                  <a:gd name="T61" fmla="*/ 5 h 81"/>
                  <a:gd name="T62" fmla="*/ 25 w 68"/>
                  <a:gd name="T63" fmla="*/ 1 h 81"/>
                  <a:gd name="T64" fmla="*/ 30 w 68"/>
                  <a:gd name="T65" fmla="*/ 0 h 81"/>
                  <a:gd name="T66" fmla="*/ 37 w 68"/>
                  <a:gd name="T67" fmla="*/ 3 h 81"/>
                  <a:gd name="T68" fmla="*/ 54 w 68"/>
                  <a:gd name="T69" fmla="*/ 13 h 81"/>
                  <a:gd name="T70" fmla="*/ 59 w 68"/>
                  <a:gd name="T71" fmla="*/ 1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1">
                    <a:moveTo>
                      <a:pt x="59" y="12"/>
                    </a:moveTo>
                    <a:lnTo>
                      <a:pt x="61" y="13"/>
                    </a:lnTo>
                    <a:lnTo>
                      <a:pt x="64" y="15"/>
                    </a:lnTo>
                    <a:lnTo>
                      <a:pt x="66" y="22"/>
                    </a:lnTo>
                    <a:lnTo>
                      <a:pt x="64" y="34"/>
                    </a:lnTo>
                    <a:lnTo>
                      <a:pt x="68" y="41"/>
                    </a:lnTo>
                    <a:lnTo>
                      <a:pt x="66" y="56"/>
                    </a:lnTo>
                    <a:lnTo>
                      <a:pt x="66" y="54"/>
                    </a:lnTo>
                    <a:lnTo>
                      <a:pt x="63" y="56"/>
                    </a:lnTo>
                    <a:lnTo>
                      <a:pt x="61" y="56"/>
                    </a:lnTo>
                    <a:lnTo>
                      <a:pt x="59" y="71"/>
                    </a:lnTo>
                    <a:lnTo>
                      <a:pt x="59" y="81"/>
                    </a:lnTo>
                    <a:lnTo>
                      <a:pt x="35" y="81"/>
                    </a:lnTo>
                    <a:lnTo>
                      <a:pt x="17" y="75"/>
                    </a:lnTo>
                    <a:lnTo>
                      <a:pt x="13" y="69"/>
                    </a:lnTo>
                    <a:lnTo>
                      <a:pt x="8" y="66"/>
                    </a:lnTo>
                    <a:lnTo>
                      <a:pt x="8" y="64"/>
                    </a:lnTo>
                    <a:lnTo>
                      <a:pt x="8" y="63"/>
                    </a:lnTo>
                    <a:lnTo>
                      <a:pt x="8" y="59"/>
                    </a:lnTo>
                    <a:lnTo>
                      <a:pt x="5" y="58"/>
                    </a:lnTo>
                    <a:lnTo>
                      <a:pt x="5" y="54"/>
                    </a:lnTo>
                    <a:lnTo>
                      <a:pt x="1" y="58"/>
                    </a:lnTo>
                    <a:lnTo>
                      <a:pt x="0" y="56"/>
                    </a:lnTo>
                    <a:lnTo>
                      <a:pt x="0" y="42"/>
                    </a:lnTo>
                    <a:lnTo>
                      <a:pt x="0" y="37"/>
                    </a:lnTo>
                    <a:lnTo>
                      <a:pt x="1" y="35"/>
                    </a:lnTo>
                    <a:lnTo>
                      <a:pt x="5" y="30"/>
                    </a:lnTo>
                    <a:lnTo>
                      <a:pt x="8" y="27"/>
                    </a:lnTo>
                    <a:lnTo>
                      <a:pt x="15" y="13"/>
                    </a:lnTo>
                    <a:lnTo>
                      <a:pt x="17" y="10"/>
                    </a:lnTo>
                    <a:lnTo>
                      <a:pt x="23" y="5"/>
                    </a:lnTo>
                    <a:lnTo>
                      <a:pt x="25" y="1"/>
                    </a:lnTo>
                    <a:lnTo>
                      <a:pt x="30" y="0"/>
                    </a:lnTo>
                    <a:lnTo>
                      <a:pt x="37" y="3"/>
                    </a:lnTo>
                    <a:lnTo>
                      <a:pt x="54" y="13"/>
                    </a:lnTo>
                    <a:lnTo>
                      <a:pt x="59" y="12"/>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62">
                <a:extLst>
                  <a:ext uri="{FF2B5EF4-FFF2-40B4-BE49-F238E27FC236}">
                    <a16:creationId xmlns:a16="http://schemas.microsoft.com/office/drawing/2014/main" id="{2E2EC2D4-6365-4544-8343-241A2852DEA0}"/>
                  </a:ext>
                </a:extLst>
              </p:cNvPr>
              <p:cNvSpPr>
                <a:spLocks/>
              </p:cNvSpPr>
              <p:nvPr/>
            </p:nvSpPr>
            <p:spPr bwMode="gray">
              <a:xfrm>
                <a:off x="6659154" y="4489056"/>
                <a:ext cx="733525" cy="618293"/>
              </a:xfrm>
              <a:custGeom>
                <a:avLst/>
                <a:gdLst>
                  <a:gd name="T0" fmla="*/ 563 w 592"/>
                  <a:gd name="T1" fmla="*/ 70 h 499"/>
                  <a:gd name="T2" fmla="*/ 578 w 592"/>
                  <a:gd name="T3" fmla="*/ 97 h 499"/>
                  <a:gd name="T4" fmla="*/ 588 w 592"/>
                  <a:gd name="T5" fmla="*/ 123 h 499"/>
                  <a:gd name="T6" fmla="*/ 571 w 592"/>
                  <a:gd name="T7" fmla="*/ 135 h 499"/>
                  <a:gd name="T8" fmla="*/ 571 w 592"/>
                  <a:gd name="T9" fmla="*/ 160 h 499"/>
                  <a:gd name="T10" fmla="*/ 573 w 592"/>
                  <a:gd name="T11" fmla="*/ 177 h 499"/>
                  <a:gd name="T12" fmla="*/ 575 w 592"/>
                  <a:gd name="T13" fmla="*/ 206 h 499"/>
                  <a:gd name="T14" fmla="*/ 577 w 592"/>
                  <a:gd name="T15" fmla="*/ 220 h 499"/>
                  <a:gd name="T16" fmla="*/ 554 w 592"/>
                  <a:gd name="T17" fmla="*/ 230 h 499"/>
                  <a:gd name="T18" fmla="*/ 549 w 592"/>
                  <a:gd name="T19" fmla="*/ 266 h 499"/>
                  <a:gd name="T20" fmla="*/ 549 w 592"/>
                  <a:gd name="T21" fmla="*/ 278 h 499"/>
                  <a:gd name="T22" fmla="*/ 558 w 592"/>
                  <a:gd name="T23" fmla="*/ 296 h 499"/>
                  <a:gd name="T24" fmla="*/ 529 w 592"/>
                  <a:gd name="T25" fmla="*/ 307 h 499"/>
                  <a:gd name="T26" fmla="*/ 417 w 592"/>
                  <a:gd name="T27" fmla="*/ 344 h 499"/>
                  <a:gd name="T28" fmla="*/ 418 w 592"/>
                  <a:gd name="T29" fmla="*/ 376 h 499"/>
                  <a:gd name="T30" fmla="*/ 373 w 592"/>
                  <a:gd name="T31" fmla="*/ 380 h 499"/>
                  <a:gd name="T32" fmla="*/ 347 w 592"/>
                  <a:gd name="T33" fmla="*/ 407 h 499"/>
                  <a:gd name="T34" fmla="*/ 294 w 592"/>
                  <a:gd name="T35" fmla="*/ 444 h 499"/>
                  <a:gd name="T36" fmla="*/ 254 w 592"/>
                  <a:gd name="T37" fmla="*/ 494 h 499"/>
                  <a:gd name="T38" fmla="*/ 223 w 592"/>
                  <a:gd name="T39" fmla="*/ 492 h 499"/>
                  <a:gd name="T40" fmla="*/ 196 w 592"/>
                  <a:gd name="T41" fmla="*/ 494 h 499"/>
                  <a:gd name="T42" fmla="*/ 170 w 592"/>
                  <a:gd name="T43" fmla="*/ 487 h 499"/>
                  <a:gd name="T44" fmla="*/ 157 w 592"/>
                  <a:gd name="T45" fmla="*/ 478 h 499"/>
                  <a:gd name="T46" fmla="*/ 141 w 592"/>
                  <a:gd name="T47" fmla="*/ 472 h 499"/>
                  <a:gd name="T48" fmla="*/ 114 w 592"/>
                  <a:gd name="T49" fmla="*/ 470 h 499"/>
                  <a:gd name="T50" fmla="*/ 56 w 592"/>
                  <a:gd name="T51" fmla="*/ 467 h 499"/>
                  <a:gd name="T52" fmla="*/ 27 w 592"/>
                  <a:gd name="T53" fmla="*/ 439 h 499"/>
                  <a:gd name="T54" fmla="*/ 5 w 592"/>
                  <a:gd name="T55" fmla="*/ 419 h 499"/>
                  <a:gd name="T56" fmla="*/ 0 w 592"/>
                  <a:gd name="T57" fmla="*/ 278 h 499"/>
                  <a:gd name="T58" fmla="*/ 97 w 592"/>
                  <a:gd name="T59" fmla="*/ 227 h 499"/>
                  <a:gd name="T60" fmla="*/ 101 w 592"/>
                  <a:gd name="T61" fmla="*/ 199 h 499"/>
                  <a:gd name="T62" fmla="*/ 102 w 592"/>
                  <a:gd name="T63" fmla="*/ 148 h 499"/>
                  <a:gd name="T64" fmla="*/ 114 w 592"/>
                  <a:gd name="T65" fmla="*/ 143 h 499"/>
                  <a:gd name="T66" fmla="*/ 135 w 592"/>
                  <a:gd name="T67" fmla="*/ 160 h 499"/>
                  <a:gd name="T68" fmla="*/ 169 w 592"/>
                  <a:gd name="T69" fmla="*/ 154 h 499"/>
                  <a:gd name="T70" fmla="*/ 172 w 592"/>
                  <a:gd name="T71" fmla="*/ 174 h 499"/>
                  <a:gd name="T72" fmla="*/ 197 w 592"/>
                  <a:gd name="T73" fmla="*/ 186 h 499"/>
                  <a:gd name="T74" fmla="*/ 233 w 592"/>
                  <a:gd name="T75" fmla="*/ 191 h 499"/>
                  <a:gd name="T76" fmla="*/ 259 w 592"/>
                  <a:gd name="T77" fmla="*/ 171 h 499"/>
                  <a:gd name="T78" fmla="*/ 279 w 592"/>
                  <a:gd name="T79" fmla="*/ 198 h 499"/>
                  <a:gd name="T80" fmla="*/ 301 w 592"/>
                  <a:gd name="T81" fmla="*/ 208 h 499"/>
                  <a:gd name="T82" fmla="*/ 320 w 592"/>
                  <a:gd name="T83" fmla="*/ 213 h 499"/>
                  <a:gd name="T84" fmla="*/ 333 w 592"/>
                  <a:gd name="T85" fmla="*/ 237 h 499"/>
                  <a:gd name="T86" fmla="*/ 347 w 592"/>
                  <a:gd name="T87" fmla="*/ 247 h 499"/>
                  <a:gd name="T88" fmla="*/ 366 w 592"/>
                  <a:gd name="T89" fmla="*/ 264 h 499"/>
                  <a:gd name="T90" fmla="*/ 388 w 592"/>
                  <a:gd name="T91" fmla="*/ 257 h 499"/>
                  <a:gd name="T92" fmla="*/ 396 w 592"/>
                  <a:gd name="T93" fmla="*/ 199 h 499"/>
                  <a:gd name="T94" fmla="*/ 381 w 592"/>
                  <a:gd name="T95" fmla="*/ 211 h 499"/>
                  <a:gd name="T96" fmla="*/ 361 w 592"/>
                  <a:gd name="T97" fmla="*/ 211 h 499"/>
                  <a:gd name="T98" fmla="*/ 339 w 592"/>
                  <a:gd name="T99" fmla="*/ 191 h 499"/>
                  <a:gd name="T100" fmla="*/ 327 w 592"/>
                  <a:gd name="T101" fmla="*/ 177 h 499"/>
                  <a:gd name="T102" fmla="*/ 328 w 592"/>
                  <a:gd name="T103" fmla="*/ 155 h 499"/>
                  <a:gd name="T104" fmla="*/ 335 w 592"/>
                  <a:gd name="T105" fmla="*/ 128 h 499"/>
                  <a:gd name="T106" fmla="*/ 337 w 592"/>
                  <a:gd name="T107" fmla="*/ 116 h 499"/>
                  <a:gd name="T108" fmla="*/ 339 w 592"/>
                  <a:gd name="T109" fmla="*/ 84 h 499"/>
                  <a:gd name="T110" fmla="*/ 352 w 592"/>
                  <a:gd name="T111" fmla="*/ 12 h 499"/>
                  <a:gd name="T112" fmla="*/ 459 w 592"/>
                  <a:gd name="T113" fmla="*/ 19 h 499"/>
                  <a:gd name="T114" fmla="*/ 481 w 592"/>
                  <a:gd name="T115" fmla="*/ 24 h 499"/>
                  <a:gd name="T116" fmla="*/ 497 w 592"/>
                  <a:gd name="T117" fmla="*/ 34 h 499"/>
                  <a:gd name="T118" fmla="*/ 520 w 592"/>
                  <a:gd name="T119" fmla="*/ 46 h 499"/>
                  <a:gd name="T120" fmla="*/ 551 w 592"/>
                  <a:gd name="T121" fmla="*/ 5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2" h="499">
                    <a:moveTo>
                      <a:pt x="554" y="60"/>
                    </a:moveTo>
                    <a:lnTo>
                      <a:pt x="554" y="62"/>
                    </a:lnTo>
                    <a:lnTo>
                      <a:pt x="554" y="63"/>
                    </a:lnTo>
                    <a:lnTo>
                      <a:pt x="556" y="63"/>
                    </a:lnTo>
                    <a:lnTo>
                      <a:pt x="558" y="65"/>
                    </a:lnTo>
                    <a:lnTo>
                      <a:pt x="558" y="72"/>
                    </a:lnTo>
                    <a:lnTo>
                      <a:pt x="560" y="72"/>
                    </a:lnTo>
                    <a:lnTo>
                      <a:pt x="563" y="74"/>
                    </a:lnTo>
                    <a:lnTo>
                      <a:pt x="563" y="72"/>
                    </a:lnTo>
                    <a:lnTo>
                      <a:pt x="563" y="70"/>
                    </a:lnTo>
                    <a:lnTo>
                      <a:pt x="566" y="70"/>
                    </a:lnTo>
                    <a:lnTo>
                      <a:pt x="568" y="74"/>
                    </a:lnTo>
                    <a:lnTo>
                      <a:pt x="568" y="77"/>
                    </a:lnTo>
                    <a:lnTo>
                      <a:pt x="571" y="79"/>
                    </a:lnTo>
                    <a:lnTo>
                      <a:pt x="571" y="80"/>
                    </a:lnTo>
                    <a:lnTo>
                      <a:pt x="575" y="82"/>
                    </a:lnTo>
                    <a:lnTo>
                      <a:pt x="577" y="86"/>
                    </a:lnTo>
                    <a:lnTo>
                      <a:pt x="575" y="87"/>
                    </a:lnTo>
                    <a:lnTo>
                      <a:pt x="573" y="94"/>
                    </a:lnTo>
                    <a:lnTo>
                      <a:pt x="578" y="97"/>
                    </a:lnTo>
                    <a:lnTo>
                      <a:pt x="580" y="99"/>
                    </a:lnTo>
                    <a:lnTo>
                      <a:pt x="585" y="103"/>
                    </a:lnTo>
                    <a:lnTo>
                      <a:pt x="583" y="106"/>
                    </a:lnTo>
                    <a:lnTo>
                      <a:pt x="585" y="109"/>
                    </a:lnTo>
                    <a:lnTo>
                      <a:pt x="587" y="113"/>
                    </a:lnTo>
                    <a:lnTo>
                      <a:pt x="588" y="114"/>
                    </a:lnTo>
                    <a:lnTo>
                      <a:pt x="588" y="116"/>
                    </a:lnTo>
                    <a:lnTo>
                      <a:pt x="590" y="118"/>
                    </a:lnTo>
                    <a:lnTo>
                      <a:pt x="592" y="120"/>
                    </a:lnTo>
                    <a:lnTo>
                      <a:pt x="588" y="123"/>
                    </a:lnTo>
                    <a:lnTo>
                      <a:pt x="587" y="123"/>
                    </a:lnTo>
                    <a:lnTo>
                      <a:pt x="585" y="128"/>
                    </a:lnTo>
                    <a:lnTo>
                      <a:pt x="583" y="128"/>
                    </a:lnTo>
                    <a:lnTo>
                      <a:pt x="583" y="130"/>
                    </a:lnTo>
                    <a:lnTo>
                      <a:pt x="580" y="131"/>
                    </a:lnTo>
                    <a:lnTo>
                      <a:pt x="578" y="131"/>
                    </a:lnTo>
                    <a:lnTo>
                      <a:pt x="575" y="133"/>
                    </a:lnTo>
                    <a:lnTo>
                      <a:pt x="573" y="133"/>
                    </a:lnTo>
                    <a:lnTo>
                      <a:pt x="573" y="135"/>
                    </a:lnTo>
                    <a:lnTo>
                      <a:pt x="571" y="135"/>
                    </a:lnTo>
                    <a:lnTo>
                      <a:pt x="570" y="135"/>
                    </a:lnTo>
                    <a:lnTo>
                      <a:pt x="570" y="137"/>
                    </a:lnTo>
                    <a:lnTo>
                      <a:pt x="571" y="137"/>
                    </a:lnTo>
                    <a:lnTo>
                      <a:pt x="573" y="145"/>
                    </a:lnTo>
                    <a:lnTo>
                      <a:pt x="578" y="148"/>
                    </a:lnTo>
                    <a:lnTo>
                      <a:pt x="577" y="154"/>
                    </a:lnTo>
                    <a:lnTo>
                      <a:pt x="575" y="154"/>
                    </a:lnTo>
                    <a:lnTo>
                      <a:pt x="573" y="159"/>
                    </a:lnTo>
                    <a:lnTo>
                      <a:pt x="573" y="160"/>
                    </a:lnTo>
                    <a:lnTo>
                      <a:pt x="571" y="160"/>
                    </a:lnTo>
                    <a:lnTo>
                      <a:pt x="571" y="164"/>
                    </a:lnTo>
                    <a:lnTo>
                      <a:pt x="570" y="162"/>
                    </a:lnTo>
                    <a:lnTo>
                      <a:pt x="568" y="162"/>
                    </a:lnTo>
                    <a:lnTo>
                      <a:pt x="570" y="164"/>
                    </a:lnTo>
                    <a:lnTo>
                      <a:pt x="570" y="167"/>
                    </a:lnTo>
                    <a:lnTo>
                      <a:pt x="568" y="169"/>
                    </a:lnTo>
                    <a:lnTo>
                      <a:pt x="568" y="171"/>
                    </a:lnTo>
                    <a:lnTo>
                      <a:pt x="571" y="171"/>
                    </a:lnTo>
                    <a:lnTo>
                      <a:pt x="573" y="171"/>
                    </a:lnTo>
                    <a:lnTo>
                      <a:pt x="573" y="177"/>
                    </a:lnTo>
                    <a:lnTo>
                      <a:pt x="573" y="181"/>
                    </a:lnTo>
                    <a:lnTo>
                      <a:pt x="573" y="184"/>
                    </a:lnTo>
                    <a:lnTo>
                      <a:pt x="573" y="188"/>
                    </a:lnTo>
                    <a:lnTo>
                      <a:pt x="573" y="191"/>
                    </a:lnTo>
                    <a:lnTo>
                      <a:pt x="571" y="194"/>
                    </a:lnTo>
                    <a:lnTo>
                      <a:pt x="570" y="198"/>
                    </a:lnTo>
                    <a:lnTo>
                      <a:pt x="571" y="199"/>
                    </a:lnTo>
                    <a:lnTo>
                      <a:pt x="573" y="199"/>
                    </a:lnTo>
                    <a:lnTo>
                      <a:pt x="573" y="205"/>
                    </a:lnTo>
                    <a:lnTo>
                      <a:pt x="575" y="206"/>
                    </a:lnTo>
                    <a:lnTo>
                      <a:pt x="575" y="208"/>
                    </a:lnTo>
                    <a:lnTo>
                      <a:pt x="577" y="210"/>
                    </a:lnTo>
                    <a:lnTo>
                      <a:pt x="582" y="208"/>
                    </a:lnTo>
                    <a:lnTo>
                      <a:pt x="583" y="210"/>
                    </a:lnTo>
                    <a:lnTo>
                      <a:pt x="583" y="208"/>
                    </a:lnTo>
                    <a:lnTo>
                      <a:pt x="585" y="210"/>
                    </a:lnTo>
                    <a:lnTo>
                      <a:pt x="582" y="213"/>
                    </a:lnTo>
                    <a:lnTo>
                      <a:pt x="582" y="215"/>
                    </a:lnTo>
                    <a:lnTo>
                      <a:pt x="578" y="217"/>
                    </a:lnTo>
                    <a:lnTo>
                      <a:pt x="577" y="220"/>
                    </a:lnTo>
                    <a:lnTo>
                      <a:pt x="575" y="220"/>
                    </a:lnTo>
                    <a:lnTo>
                      <a:pt x="573" y="218"/>
                    </a:lnTo>
                    <a:lnTo>
                      <a:pt x="571" y="218"/>
                    </a:lnTo>
                    <a:lnTo>
                      <a:pt x="566" y="223"/>
                    </a:lnTo>
                    <a:lnTo>
                      <a:pt x="565" y="222"/>
                    </a:lnTo>
                    <a:lnTo>
                      <a:pt x="563" y="223"/>
                    </a:lnTo>
                    <a:lnTo>
                      <a:pt x="561" y="222"/>
                    </a:lnTo>
                    <a:lnTo>
                      <a:pt x="560" y="223"/>
                    </a:lnTo>
                    <a:lnTo>
                      <a:pt x="556" y="228"/>
                    </a:lnTo>
                    <a:lnTo>
                      <a:pt x="554" y="230"/>
                    </a:lnTo>
                    <a:lnTo>
                      <a:pt x="554" y="235"/>
                    </a:lnTo>
                    <a:lnTo>
                      <a:pt x="558" y="237"/>
                    </a:lnTo>
                    <a:lnTo>
                      <a:pt x="556" y="249"/>
                    </a:lnTo>
                    <a:lnTo>
                      <a:pt x="556" y="251"/>
                    </a:lnTo>
                    <a:lnTo>
                      <a:pt x="558" y="254"/>
                    </a:lnTo>
                    <a:lnTo>
                      <a:pt x="554" y="256"/>
                    </a:lnTo>
                    <a:lnTo>
                      <a:pt x="553" y="261"/>
                    </a:lnTo>
                    <a:lnTo>
                      <a:pt x="553" y="262"/>
                    </a:lnTo>
                    <a:lnTo>
                      <a:pt x="551" y="266"/>
                    </a:lnTo>
                    <a:lnTo>
                      <a:pt x="549" y="266"/>
                    </a:lnTo>
                    <a:lnTo>
                      <a:pt x="549" y="268"/>
                    </a:lnTo>
                    <a:lnTo>
                      <a:pt x="546" y="271"/>
                    </a:lnTo>
                    <a:lnTo>
                      <a:pt x="544" y="273"/>
                    </a:lnTo>
                    <a:lnTo>
                      <a:pt x="541" y="271"/>
                    </a:lnTo>
                    <a:lnTo>
                      <a:pt x="541" y="273"/>
                    </a:lnTo>
                    <a:lnTo>
                      <a:pt x="543" y="274"/>
                    </a:lnTo>
                    <a:lnTo>
                      <a:pt x="546" y="274"/>
                    </a:lnTo>
                    <a:lnTo>
                      <a:pt x="548" y="276"/>
                    </a:lnTo>
                    <a:lnTo>
                      <a:pt x="546" y="276"/>
                    </a:lnTo>
                    <a:lnTo>
                      <a:pt x="549" y="278"/>
                    </a:lnTo>
                    <a:lnTo>
                      <a:pt x="546" y="279"/>
                    </a:lnTo>
                    <a:lnTo>
                      <a:pt x="546" y="281"/>
                    </a:lnTo>
                    <a:lnTo>
                      <a:pt x="548" y="283"/>
                    </a:lnTo>
                    <a:lnTo>
                      <a:pt x="549" y="283"/>
                    </a:lnTo>
                    <a:lnTo>
                      <a:pt x="551" y="285"/>
                    </a:lnTo>
                    <a:lnTo>
                      <a:pt x="554" y="288"/>
                    </a:lnTo>
                    <a:lnTo>
                      <a:pt x="554" y="290"/>
                    </a:lnTo>
                    <a:lnTo>
                      <a:pt x="556" y="291"/>
                    </a:lnTo>
                    <a:lnTo>
                      <a:pt x="556" y="293"/>
                    </a:lnTo>
                    <a:lnTo>
                      <a:pt x="558" y="296"/>
                    </a:lnTo>
                    <a:lnTo>
                      <a:pt x="560" y="295"/>
                    </a:lnTo>
                    <a:lnTo>
                      <a:pt x="560" y="293"/>
                    </a:lnTo>
                    <a:lnTo>
                      <a:pt x="563" y="291"/>
                    </a:lnTo>
                    <a:lnTo>
                      <a:pt x="565" y="290"/>
                    </a:lnTo>
                    <a:lnTo>
                      <a:pt x="566" y="290"/>
                    </a:lnTo>
                    <a:lnTo>
                      <a:pt x="566" y="291"/>
                    </a:lnTo>
                    <a:lnTo>
                      <a:pt x="568" y="293"/>
                    </a:lnTo>
                    <a:lnTo>
                      <a:pt x="558" y="296"/>
                    </a:lnTo>
                    <a:lnTo>
                      <a:pt x="539" y="303"/>
                    </a:lnTo>
                    <a:lnTo>
                      <a:pt x="529" y="307"/>
                    </a:lnTo>
                    <a:lnTo>
                      <a:pt x="520" y="308"/>
                    </a:lnTo>
                    <a:lnTo>
                      <a:pt x="503" y="313"/>
                    </a:lnTo>
                    <a:lnTo>
                      <a:pt x="497" y="317"/>
                    </a:lnTo>
                    <a:lnTo>
                      <a:pt x="490" y="319"/>
                    </a:lnTo>
                    <a:lnTo>
                      <a:pt x="481" y="324"/>
                    </a:lnTo>
                    <a:lnTo>
                      <a:pt x="469" y="327"/>
                    </a:lnTo>
                    <a:lnTo>
                      <a:pt x="459" y="330"/>
                    </a:lnTo>
                    <a:lnTo>
                      <a:pt x="444" y="332"/>
                    </a:lnTo>
                    <a:lnTo>
                      <a:pt x="425" y="341"/>
                    </a:lnTo>
                    <a:lnTo>
                      <a:pt x="417" y="344"/>
                    </a:lnTo>
                    <a:lnTo>
                      <a:pt x="417" y="346"/>
                    </a:lnTo>
                    <a:lnTo>
                      <a:pt x="417" y="347"/>
                    </a:lnTo>
                    <a:lnTo>
                      <a:pt x="418" y="354"/>
                    </a:lnTo>
                    <a:lnTo>
                      <a:pt x="424" y="361"/>
                    </a:lnTo>
                    <a:lnTo>
                      <a:pt x="424" y="366"/>
                    </a:lnTo>
                    <a:lnTo>
                      <a:pt x="425" y="368"/>
                    </a:lnTo>
                    <a:lnTo>
                      <a:pt x="424" y="371"/>
                    </a:lnTo>
                    <a:lnTo>
                      <a:pt x="427" y="375"/>
                    </a:lnTo>
                    <a:lnTo>
                      <a:pt x="424" y="376"/>
                    </a:lnTo>
                    <a:lnTo>
                      <a:pt x="418" y="376"/>
                    </a:lnTo>
                    <a:lnTo>
                      <a:pt x="418" y="375"/>
                    </a:lnTo>
                    <a:lnTo>
                      <a:pt x="415" y="378"/>
                    </a:lnTo>
                    <a:lnTo>
                      <a:pt x="413" y="375"/>
                    </a:lnTo>
                    <a:lnTo>
                      <a:pt x="403" y="376"/>
                    </a:lnTo>
                    <a:lnTo>
                      <a:pt x="396" y="375"/>
                    </a:lnTo>
                    <a:lnTo>
                      <a:pt x="386" y="378"/>
                    </a:lnTo>
                    <a:lnTo>
                      <a:pt x="384" y="376"/>
                    </a:lnTo>
                    <a:lnTo>
                      <a:pt x="381" y="378"/>
                    </a:lnTo>
                    <a:lnTo>
                      <a:pt x="376" y="378"/>
                    </a:lnTo>
                    <a:lnTo>
                      <a:pt x="373" y="380"/>
                    </a:lnTo>
                    <a:lnTo>
                      <a:pt x="369" y="382"/>
                    </a:lnTo>
                    <a:lnTo>
                      <a:pt x="366" y="383"/>
                    </a:lnTo>
                    <a:lnTo>
                      <a:pt x="357" y="390"/>
                    </a:lnTo>
                    <a:lnTo>
                      <a:pt x="356" y="392"/>
                    </a:lnTo>
                    <a:lnTo>
                      <a:pt x="350" y="392"/>
                    </a:lnTo>
                    <a:lnTo>
                      <a:pt x="347" y="397"/>
                    </a:lnTo>
                    <a:lnTo>
                      <a:pt x="347" y="400"/>
                    </a:lnTo>
                    <a:lnTo>
                      <a:pt x="345" y="404"/>
                    </a:lnTo>
                    <a:lnTo>
                      <a:pt x="347" y="405"/>
                    </a:lnTo>
                    <a:lnTo>
                      <a:pt x="347" y="407"/>
                    </a:lnTo>
                    <a:lnTo>
                      <a:pt x="345" y="410"/>
                    </a:lnTo>
                    <a:lnTo>
                      <a:pt x="347" y="410"/>
                    </a:lnTo>
                    <a:lnTo>
                      <a:pt x="347" y="414"/>
                    </a:lnTo>
                    <a:lnTo>
                      <a:pt x="345" y="417"/>
                    </a:lnTo>
                    <a:lnTo>
                      <a:pt x="345" y="419"/>
                    </a:lnTo>
                    <a:lnTo>
                      <a:pt x="342" y="422"/>
                    </a:lnTo>
                    <a:lnTo>
                      <a:pt x="337" y="422"/>
                    </a:lnTo>
                    <a:lnTo>
                      <a:pt x="316" y="431"/>
                    </a:lnTo>
                    <a:lnTo>
                      <a:pt x="311" y="436"/>
                    </a:lnTo>
                    <a:lnTo>
                      <a:pt x="294" y="444"/>
                    </a:lnTo>
                    <a:lnTo>
                      <a:pt x="286" y="455"/>
                    </a:lnTo>
                    <a:lnTo>
                      <a:pt x="284" y="463"/>
                    </a:lnTo>
                    <a:lnTo>
                      <a:pt x="281" y="467"/>
                    </a:lnTo>
                    <a:lnTo>
                      <a:pt x="274" y="470"/>
                    </a:lnTo>
                    <a:lnTo>
                      <a:pt x="265" y="478"/>
                    </a:lnTo>
                    <a:lnTo>
                      <a:pt x="260" y="485"/>
                    </a:lnTo>
                    <a:lnTo>
                      <a:pt x="260" y="489"/>
                    </a:lnTo>
                    <a:lnTo>
                      <a:pt x="257" y="490"/>
                    </a:lnTo>
                    <a:lnTo>
                      <a:pt x="255" y="494"/>
                    </a:lnTo>
                    <a:lnTo>
                      <a:pt x="254" y="494"/>
                    </a:lnTo>
                    <a:lnTo>
                      <a:pt x="248" y="495"/>
                    </a:lnTo>
                    <a:lnTo>
                      <a:pt x="245" y="495"/>
                    </a:lnTo>
                    <a:lnTo>
                      <a:pt x="243" y="497"/>
                    </a:lnTo>
                    <a:lnTo>
                      <a:pt x="240" y="497"/>
                    </a:lnTo>
                    <a:lnTo>
                      <a:pt x="238" y="499"/>
                    </a:lnTo>
                    <a:lnTo>
                      <a:pt x="235" y="499"/>
                    </a:lnTo>
                    <a:lnTo>
                      <a:pt x="233" y="499"/>
                    </a:lnTo>
                    <a:lnTo>
                      <a:pt x="231" y="495"/>
                    </a:lnTo>
                    <a:lnTo>
                      <a:pt x="228" y="495"/>
                    </a:lnTo>
                    <a:lnTo>
                      <a:pt x="223" y="492"/>
                    </a:lnTo>
                    <a:lnTo>
                      <a:pt x="218" y="492"/>
                    </a:lnTo>
                    <a:lnTo>
                      <a:pt x="216" y="492"/>
                    </a:lnTo>
                    <a:lnTo>
                      <a:pt x="214" y="492"/>
                    </a:lnTo>
                    <a:lnTo>
                      <a:pt x="213" y="490"/>
                    </a:lnTo>
                    <a:lnTo>
                      <a:pt x="208" y="492"/>
                    </a:lnTo>
                    <a:lnTo>
                      <a:pt x="208" y="494"/>
                    </a:lnTo>
                    <a:lnTo>
                      <a:pt x="208" y="495"/>
                    </a:lnTo>
                    <a:lnTo>
                      <a:pt x="203" y="494"/>
                    </a:lnTo>
                    <a:lnTo>
                      <a:pt x="201" y="495"/>
                    </a:lnTo>
                    <a:lnTo>
                      <a:pt x="196" y="494"/>
                    </a:lnTo>
                    <a:lnTo>
                      <a:pt x="194" y="490"/>
                    </a:lnTo>
                    <a:lnTo>
                      <a:pt x="192" y="490"/>
                    </a:lnTo>
                    <a:lnTo>
                      <a:pt x="191" y="489"/>
                    </a:lnTo>
                    <a:lnTo>
                      <a:pt x="187" y="487"/>
                    </a:lnTo>
                    <a:lnTo>
                      <a:pt x="184" y="487"/>
                    </a:lnTo>
                    <a:lnTo>
                      <a:pt x="180" y="487"/>
                    </a:lnTo>
                    <a:lnTo>
                      <a:pt x="179" y="489"/>
                    </a:lnTo>
                    <a:lnTo>
                      <a:pt x="175" y="487"/>
                    </a:lnTo>
                    <a:lnTo>
                      <a:pt x="172" y="489"/>
                    </a:lnTo>
                    <a:lnTo>
                      <a:pt x="170" y="487"/>
                    </a:lnTo>
                    <a:lnTo>
                      <a:pt x="169" y="487"/>
                    </a:lnTo>
                    <a:lnTo>
                      <a:pt x="165" y="485"/>
                    </a:lnTo>
                    <a:lnTo>
                      <a:pt x="163" y="484"/>
                    </a:lnTo>
                    <a:lnTo>
                      <a:pt x="162" y="484"/>
                    </a:lnTo>
                    <a:lnTo>
                      <a:pt x="160" y="482"/>
                    </a:lnTo>
                    <a:lnTo>
                      <a:pt x="160" y="480"/>
                    </a:lnTo>
                    <a:lnTo>
                      <a:pt x="158" y="482"/>
                    </a:lnTo>
                    <a:lnTo>
                      <a:pt x="158" y="480"/>
                    </a:lnTo>
                    <a:lnTo>
                      <a:pt x="157" y="480"/>
                    </a:lnTo>
                    <a:lnTo>
                      <a:pt x="157" y="478"/>
                    </a:lnTo>
                    <a:lnTo>
                      <a:pt x="155" y="477"/>
                    </a:lnTo>
                    <a:lnTo>
                      <a:pt x="153" y="477"/>
                    </a:lnTo>
                    <a:lnTo>
                      <a:pt x="155" y="475"/>
                    </a:lnTo>
                    <a:lnTo>
                      <a:pt x="152" y="475"/>
                    </a:lnTo>
                    <a:lnTo>
                      <a:pt x="152" y="473"/>
                    </a:lnTo>
                    <a:lnTo>
                      <a:pt x="148" y="473"/>
                    </a:lnTo>
                    <a:lnTo>
                      <a:pt x="146" y="473"/>
                    </a:lnTo>
                    <a:lnTo>
                      <a:pt x="146" y="472"/>
                    </a:lnTo>
                    <a:lnTo>
                      <a:pt x="143" y="472"/>
                    </a:lnTo>
                    <a:lnTo>
                      <a:pt x="141" y="472"/>
                    </a:lnTo>
                    <a:lnTo>
                      <a:pt x="141" y="470"/>
                    </a:lnTo>
                    <a:lnTo>
                      <a:pt x="140" y="472"/>
                    </a:lnTo>
                    <a:lnTo>
                      <a:pt x="136" y="470"/>
                    </a:lnTo>
                    <a:lnTo>
                      <a:pt x="129" y="472"/>
                    </a:lnTo>
                    <a:lnTo>
                      <a:pt x="129" y="470"/>
                    </a:lnTo>
                    <a:lnTo>
                      <a:pt x="128" y="472"/>
                    </a:lnTo>
                    <a:lnTo>
                      <a:pt x="124" y="470"/>
                    </a:lnTo>
                    <a:lnTo>
                      <a:pt x="121" y="468"/>
                    </a:lnTo>
                    <a:lnTo>
                      <a:pt x="118" y="470"/>
                    </a:lnTo>
                    <a:lnTo>
                      <a:pt x="114" y="470"/>
                    </a:lnTo>
                    <a:lnTo>
                      <a:pt x="114" y="468"/>
                    </a:lnTo>
                    <a:lnTo>
                      <a:pt x="94" y="473"/>
                    </a:lnTo>
                    <a:lnTo>
                      <a:pt x="73" y="477"/>
                    </a:lnTo>
                    <a:lnTo>
                      <a:pt x="72" y="475"/>
                    </a:lnTo>
                    <a:lnTo>
                      <a:pt x="70" y="475"/>
                    </a:lnTo>
                    <a:lnTo>
                      <a:pt x="65" y="472"/>
                    </a:lnTo>
                    <a:lnTo>
                      <a:pt x="63" y="473"/>
                    </a:lnTo>
                    <a:lnTo>
                      <a:pt x="60" y="470"/>
                    </a:lnTo>
                    <a:lnTo>
                      <a:pt x="58" y="468"/>
                    </a:lnTo>
                    <a:lnTo>
                      <a:pt x="56" y="467"/>
                    </a:lnTo>
                    <a:lnTo>
                      <a:pt x="55" y="465"/>
                    </a:lnTo>
                    <a:lnTo>
                      <a:pt x="53" y="461"/>
                    </a:lnTo>
                    <a:lnTo>
                      <a:pt x="53" y="463"/>
                    </a:lnTo>
                    <a:lnTo>
                      <a:pt x="50" y="458"/>
                    </a:lnTo>
                    <a:lnTo>
                      <a:pt x="44" y="455"/>
                    </a:lnTo>
                    <a:lnTo>
                      <a:pt x="41" y="453"/>
                    </a:lnTo>
                    <a:lnTo>
                      <a:pt x="39" y="451"/>
                    </a:lnTo>
                    <a:lnTo>
                      <a:pt x="38" y="450"/>
                    </a:lnTo>
                    <a:lnTo>
                      <a:pt x="36" y="448"/>
                    </a:lnTo>
                    <a:lnTo>
                      <a:pt x="27" y="439"/>
                    </a:lnTo>
                    <a:lnTo>
                      <a:pt x="24" y="436"/>
                    </a:lnTo>
                    <a:lnTo>
                      <a:pt x="19" y="429"/>
                    </a:lnTo>
                    <a:lnTo>
                      <a:pt x="17" y="429"/>
                    </a:lnTo>
                    <a:lnTo>
                      <a:pt x="16" y="427"/>
                    </a:lnTo>
                    <a:lnTo>
                      <a:pt x="14" y="426"/>
                    </a:lnTo>
                    <a:lnTo>
                      <a:pt x="12" y="424"/>
                    </a:lnTo>
                    <a:lnTo>
                      <a:pt x="10" y="424"/>
                    </a:lnTo>
                    <a:lnTo>
                      <a:pt x="9" y="421"/>
                    </a:lnTo>
                    <a:lnTo>
                      <a:pt x="7" y="419"/>
                    </a:lnTo>
                    <a:lnTo>
                      <a:pt x="5" y="419"/>
                    </a:lnTo>
                    <a:lnTo>
                      <a:pt x="7" y="419"/>
                    </a:lnTo>
                    <a:lnTo>
                      <a:pt x="7" y="417"/>
                    </a:lnTo>
                    <a:lnTo>
                      <a:pt x="7" y="416"/>
                    </a:lnTo>
                    <a:lnTo>
                      <a:pt x="5" y="412"/>
                    </a:lnTo>
                    <a:lnTo>
                      <a:pt x="4" y="409"/>
                    </a:lnTo>
                    <a:lnTo>
                      <a:pt x="4" y="407"/>
                    </a:lnTo>
                    <a:lnTo>
                      <a:pt x="0" y="405"/>
                    </a:lnTo>
                    <a:lnTo>
                      <a:pt x="0" y="404"/>
                    </a:lnTo>
                    <a:lnTo>
                      <a:pt x="0" y="363"/>
                    </a:lnTo>
                    <a:lnTo>
                      <a:pt x="0" y="278"/>
                    </a:lnTo>
                    <a:lnTo>
                      <a:pt x="0" y="264"/>
                    </a:lnTo>
                    <a:lnTo>
                      <a:pt x="0" y="242"/>
                    </a:lnTo>
                    <a:lnTo>
                      <a:pt x="36" y="242"/>
                    </a:lnTo>
                    <a:lnTo>
                      <a:pt x="104" y="242"/>
                    </a:lnTo>
                    <a:lnTo>
                      <a:pt x="102" y="239"/>
                    </a:lnTo>
                    <a:lnTo>
                      <a:pt x="101" y="237"/>
                    </a:lnTo>
                    <a:lnTo>
                      <a:pt x="97" y="237"/>
                    </a:lnTo>
                    <a:lnTo>
                      <a:pt x="95" y="234"/>
                    </a:lnTo>
                    <a:lnTo>
                      <a:pt x="95" y="230"/>
                    </a:lnTo>
                    <a:lnTo>
                      <a:pt x="97" y="227"/>
                    </a:lnTo>
                    <a:lnTo>
                      <a:pt x="97" y="225"/>
                    </a:lnTo>
                    <a:lnTo>
                      <a:pt x="99" y="222"/>
                    </a:lnTo>
                    <a:lnTo>
                      <a:pt x="99" y="218"/>
                    </a:lnTo>
                    <a:lnTo>
                      <a:pt x="102" y="215"/>
                    </a:lnTo>
                    <a:lnTo>
                      <a:pt x="104" y="213"/>
                    </a:lnTo>
                    <a:lnTo>
                      <a:pt x="106" y="210"/>
                    </a:lnTo>
                    <a:lnTo>
                      <a:pt x="104" y="208"/>
                    </a:lnTo>
                    <a:lnTo>
                      <a:pt x="104" y="205"/>
                    </a:lnTo>
                    <a:lnTo>
                      <a:pt x="101" y="203"/>
                    </a:lnTo>
                    <a:lnTo>
                      <a:pt x="101" y="199"/>
                    </a:lnTo>
                    <a:lnTo>
                      <a:pt x="101" y="184"/>
                    </a:lnTo>
                    <a:lnTo>
                      <a:pt x="102" y="182"/>
                    </a:lnTo>
                    <a:lnTo>
                      <a:pt x="101" y="176"/>
                    </a:lnTo>
                    <a:lnTo>
                      <a:pt x="99" y="174"/>
                    </a:lnTo>
                    <a:lnTo>
                      <a:pt x="101" y="174"/>
                    </a:lnTo>
                    <a:lnTo>
                      <a:pt x="102" y="167"/>
                    </a:lnTo>
                    <a:lnTo>
                      <a:pt x="102" y="164"/>
                    </a:lnTo>
                    <a:lnTo>
                      <a:pt x="106" y="162"/>
                    </a:lnTo>
                    <a:lnTo>
                      <a:pt x="102" y="155"/>
                    </a:lnTo>
                    <a:lnTo>
                      <a:pt x="102" y="148"/>
                    </a:lnTo>
                    <a:lnTo>
                      <a:pt x="102" y="147"/>
                    </a:lnTo>
                    <a:lnTo>
                      <a:pt x="102" y="142"/>
                    </a:lnTo>
                    <a:lnTo>
                      <a:pt x="102" y="140"/>
                    </a:lnTo>
                    <a:lnTo>
                      <a:pt x="101" y="137"/>
                    </a:lnTo>
                    <a:lnTo>
                      <a:pt x="101" y="135"/>
                    </a:lnTo>
                    <a:lnTo>
                      <a:pt x="104" y="135"/>
                    </a:lnTo>
                    <a:lnTo>
                      <a:pt x="107" y="137"/>
                    </a:lnTo>
                    <a:lnTo>
                      <a:pt x="109" y="143"/>
                    </a:lnTo>
                    <a:lnTo>
                      <a:pt x="111" y="142"/>
                    </a:lnTo>
                    <a:lnTo>
                      <a:pt x="114" y="143"/>
                    </a:lnTo>
                    <a:lnTo>
                      <a:pt x="118" y="143"/>
                    </a:lnTo>
                    <a:lnTo>
                      <a:pt x="121" y="145"/>
                    </a:lnTo>
                    <a:lnTo>
                      <a:pt x="121" y="154"/>
                    </a:lnTo>
                    <a:lnTo>
                      <a:pt x="119" y="159"/>
                    </a:lnTo>
                    <a:lnTo>
                      <a:pt x="116" y="160"/>
                    </a:lnTo>
                    <a:lnTo>
                      <a:pt x="121" y="162"/>
                    </a:lnTo>
                    <a:lnTo>
                      <a:pt x="123" y="164"/>
                    </a:lnTo>
                    <a:lnTo>
                      <a:pt x="131" y="164"/>
                    </a:lnTo>
                    <a:lnTo>
                      <a:pt x="131" y="162"/>
                    </a:lnTo>
                    <a:lnTo>
                      <a:pt x="135" y="160"/>
                    </a:lnTo>
                    <a:lnTo>
                      <a:pt x="136" y="159"/>
                    </a:lnTo>
                    <a:lnTo>
                      <a:pt x="138" y="157"/>
                    </a:lnTo>
                    <a:lnTo>
                      <a:pt x="140" y="157"/>
                    </a:lnTo>
                    <a:lnTo>
                      <a:pt x="145" y="155"/>
                    </a:lnTo>
                    <a:lnTo>
                      <a:pt x="145" y="154"/>
                    </a:lnTo>
                    <a:lnTo>
                      <a:pt x="157" y="154"/>
                    </a:lnTo>
                    <a:lnTo>
                      <a:pt x="163" y="152"/>
                    </a:lnTo>
                    <a:lnTo>
                      <a:pt x="167" y="150"/>
                    </a:lnTo>
                    <a:lnTo>
                      <a:pt x="170" y="150"/>
                    </a:lnTo>
                    <a:lnTo>
                      <a:pt x="169" y="154"/>
                    </a:lnTo>
                    <a:lnTo>
                      <a:pt x="169" y="155"/>
                    </a:lnTo>
                    <a:lnTo>
                      <a:pt x="167" y="157"/>
                    </a:lnTo>
                    <a:lnTo>
                      <a:pt x="167" y="159"/>
                    </a:lnTo>
                    <a:lnTo>
                      <a:pt x="165" y="160"/>
                    </a:lnTo>
                    <a:lnTo>
                      <a:pt x="169" y="165"/>
                    </a:lnTo>
                    <a:lnTo>
                      <a:pt x="167" y="167"/>
                    </a:lnTo>
                    <a:lnTo>
                      <a:pt x="167" y="169"/>
                    </a:lnTo>
                    <a:lnTo>
                      <a:pt x="169" y="172"/>
                    </a:lnTo>
                    <a:lnTo>
                      <a:pt x="170" y="174"/>
                    </a:lnTo>
                    <a:lnTo>
                      <a:pt x="172" y="174"/>
                    </a:lnTo>
                    <a:lnTo>
                      <a:pt x="174" y="176"/>
                    </a:lnTo>
                    <a:lnTo>
                      <a:pt x="177" y="176"/>
                    </a:lnTo>
                    <a:lnTo>
                      <a:pt x="177" y="177"/>
                    </a:lnTo>
                    <a:lnTo>
                      <a:pt x="177" y="181"/>
                    </a:lnTo>
                    <a:lnTo>
                      <a:pt x="186" y="177"/>
                    </a:lnTo>
                    <a:lnTo>
                      <a:pt x="186" y="181"/>
                    </a:lnTo>
                    <a:lnTo>
                      <a:pt x="189" y="182"/>
                    </a:lnTo>
                    <a:lnTo>
                      <a:pt x="192" y="182"/>
                    </a:lnTo>
                    <a:lnTo>
                      <a:pt x="196" y="182"/>
                    </a:lnTo>
                    <a:lnTo>
                      <a:pt x="197" y="186"/>
                    </a:lnTo>
                    <a:lnTo>
                      <a:pt x="201" y="186"/>
                    </a:lnTo>
                    <a:lnTo>
                      <a:pt x="203" y="189"/>
                    </a:lnTo>
                    <a:lnTo>
                      <a:pt x="213" y="188"/>
                    </a:lnTo>
                    <a:lnTo>
                      <a:pt x="218" y="189"/>
                    </a:lnTo>
                    <a:lnTo>
                      <a:pt x="220" y="189"/>
                    </a:lnTo>
                    <a:lnTo>
                      <a:pt x="223" y="188"/>
                    </a:lnTo>
                    <a:lnTo>
                      <a:pt x="226" y="188"/>
                    </a:lnTo>
                    <a:lnTo>
                      <a:pt x="228" y="189"/>
                    </a:lnTo>
                    <a:lnTo>
                      <a:pt x="230" y="191"/>
                    </a:lnTo>
                    <a:lnTo>
                      <a:pt x="233" y="191"/>
                    </a:lnTo>
                    <a:lnTo>
                      <a:pt x="238" y="191"/>
                    </a:lnTo>
                    <a:lnTo>
                      <a:pt x="242" y="189"/>
                    </a:lnTo>
                    <a:lnTo>
                      <a:pt x="243" y="191"/>
                    </a:lnTo>
                    <a:lnTo>
                      <a:pt x="247" y="191"/>
                    </a:lnTo>
                    <a:lnTo>
                      <a:pt x="250" y="188"/>
                    </a:lnTo>
                    <a:lnTo>
                      <a:pt x="254" y="184"/>
                    </a:lnTo>
                    <a:lnTo>
                      <a:pt x="254" y="181"/>
                    </a:lnTo>
                    <a:lnTo>
                      <a:pt x="255" y="177"/>
                    </a:lnTo>
                    <a:lnTo>
                      <a:pt x="254" y="172"/>
                    </a:lnTo>
                    <a:lnTo>
                      <a:pt x="259" y="171"/>
                    </a:lnTo>
                    <a:lnTo>
                      <a:pt x="260" y="172"/>
                    </a:lnTo>
                    <a:lnTo>
                      <a:pt x="264" y="171"/>
                    </a:lnTo>
                    <a:lnTo>
                      <a:pt x="265" y="174"/>
                    </a:lnTo>
                    <a:lnTo>
                      <a:pt x="264" y="181"/>
                    </a:lnTo>
                    <a:lnTo>
                      <a:pt x="267" y="182"/>
                    </a:lnTo>
                    <a:lnTo>
                      <a:pt x="271" y="184"/>
                    </a:lnTo>
                    <a:lnTo>
                      <a:pt x="277" y="189"/>
                    </a:lnTo>
                    <a:lnTo>
                      <a:pt x="277" y="193"/>
                    </a:lnTo>
                    <a:lnTo>
                      <a:pt x="279" y="196"/>
                    </a:lnTo>
                    <a:lnTo>
                      <a:pt x="279" y="198"/>
                    </a:lnTo>
                    <a:lnTo>
                      <a:pt x="281" y="201"/>
                    </a:lnTo>
                    <a:lnTo>
                      <a:pt x="284" y="203"/>
                    </a:lnTo>
                    <a:lnTo>
                      <a:pt x="286" y="205"/>
                    </a:lnTo>
                    <a:lnTo>
                      <a:pt x="291" y="206"/>
                    </a:lnTo>
                    <a:lnTo>
                      <a:pt x="293" y="205"/>
                    </a:lnTo>
                    <a:lnTo>
                      <a:pt x="294" y="205"/>
                    </a:lnTo>
                    <a:lnTo>
                      <a:pt x="294" y="203"/>
                    </a:lnTo>
                    <a:lnTo>
                      <a:pt x="299" y="205"/>
                    </a:lnTo>
                    <a:lnTo>
                      <a:pt x="299" y="206"/>
                    </a:lnTo>
                    <a:lnTo>
                      <a:pt x="301" y="208"/>
                    </a:lnTo>
                    <a:lnTo>
                      <a:pt x="301" y="210"/>
                    </a:lnTo>
                    <a:lnTo>
                      <a:pt x="303" y="208"/>
                    </a:lnTo>
                    <a:lnTo>
                      <a:pt x="305" y="210"/>
                    </a:lnTo>
                    <a:lnTo>
                      <a:pt x="308" y="210"/>
                    </a:lnTo>
                    <a:lnTo>
                      <a:pt x="310" y="213"/>
                    </a:lnTo>
                    <a:lnTo>
                      <a:pt x="313" y="211"/>
                    </a:lnTo>
                    <a:lnTo>
                      <a:pt x="315" y="213"/>
                    </a:lnTo>
                    <a:lnTo>
                      <a:pt x="316" y="213"/>
                    </a:lnTo>
                    <a:lnTo>
                      <a:pt x="318" y="213"/>
                    </a:lnTo>
                    <a:lnTo>
                      <a:pt x="320" y="213"/>
                    </a:lnTo>
                    <a:lnTo>
                      <a:pt x="325" y="217"/>
                    </a:lnTo>
                    <a:lnTo>
                      <a:pt x="327" y="218"/>
                    </a:lnTo>
                    <a:lnTo>
                      <a:pt x="327" y="220"/>
                    </a:lnTo>
                    <a:lnTo>
                      <a:pt x="330" y="223"/>
                    </a:lnTo>
                    <a:lnTo>
                      <a:pt x="330" y="227"/>
                    </a:lnTo>
                    <a:lnTo>
                      <a:pt x="328" y="227"/>
                    </a:lnTo>
                    <a:lnTo>
                      <a:pt x="327" y="228"/>
                    </a:lnTo>
                    <a:lnTo>
                      <a:pt x="332" y="234"/>
                    </a:lnTo>
                    <a:lnTo>
                      <a:pt x="332" y="237"/>
                    </a:lnTo>
                    <a:lnTo>
                      <a:pt x="333" y="237"/>
                    </a:lnTo>
                    <a:lnTo>
                      <a:pt x="335" y="234"/>
                    </a:lnTo>
                    <a:lnTo>
                      <a:pt x="337" y="234"/>
                    </a:lnTo>
                    <a:lnTo>
                      <a:pt x="340" y="237"/>
                    </a:lnTo>
                    <a:lnTo>
                      <a:pt x="342" y="239"/>
                    </a:lnTo>
                    <a:lnTo>
                      <a:pt x="344" y="239"/>
                    </a:lnTo>
                    <a:lnTo>
                      <a:pt x="344" y="240"/>
                    </a:lnTo>
                    <a:lnTo>
                      <a:pt x="345" y="242"/>
                    </a:lnTo>
                    <a:lnTo>
                      <a:pt x="347" y="245"/>
                    </a:lnTo>
                    <a:lnTo>
                      <a:pt x="345" y="247"/>
                    </a:lnTo>
                    <a:lnTo>
                      <a:pt x="347" y="247"/>
                    </a:lnTo>
                    <a:lnTo>
                      <a:pt x="347" y="251"/>
                    </a:lnTo>
                    <a:lnTo>
                      <a:pt x="350" y="251"/>
                    </a:lnTo>
                    <a:lnTo>
                      <a:pt x="352" y="261"/>
                    </a:lnTo>
                    <a:lnTo>
                      <a:pt x="354" y="261"/>
                    </a:lnTo>
                    <a:lnTo>
                      <a:pt x="354" y="264"/>
                    </a:lnTo>
                    <a:lnTo>
                      <a:pt x="356" y="264"/>
                    </a:lnTo>
                    <a:lnTo>
                      <a:pt x="361" y="261"/>
                    </a:lnTo>
                    <a:lnTo>
                      <a:pt x="362" y="262"/>
                    </a:lnTo>
                    <a:lnTo>
                      <a:pt x="364" y="264"/>
                    </a:lnTo>
                    <a:lnTo>
                      <a:pt x="366" y="264"/>
                    </a:lnTo>
                    <a:lnTo>
                      <a:pt x="369" y="261"/>
                    </a:lnTo>
                    <a:lnTo>
                      <a:pt x="371" y="259"/>
                    </a:lnTo>
                    <a:lnTo>
                      <a:pt x="373" y="261"/>
                    </a:lnTo>
                    <a:lnTo>
                      <a:pt x="373" y="259"/>
                    </a:lnTo>
                    <a:lnTo>
                      <a:pt x="376" y="259"/>
                    </a:lnTo>
                    <a:lnTo>
                      <a:pt x="381" y="254"/>
                    </a:lnTo>
                    <a:lnTo>
                      <a:pt x="384" y="254"/>
                    </a:lnTo>
                    <a:lnTo>
                      <a:pt x="388" y="254"/>
                    </a:lnTo>
                    <a:lnTo>
                      <a:pt x="390" y="256"/>
                    </a:lnTo>
                    <a:lnTo>
                      <a:pt x="388" y="257"/>
                    </a:lnTo>
                    <a:lnTo>
                      <a:pt x="388" y="259"/>
                    </a:lnTo>
                    <a:lnTo>
                      <a:pt x="384" y="261"/>
                    </a:lnTo>
                    <a:lnTo>
                      <a:pt x="386" y="262"/>
                    </a:lnTo>
                    <a:lnTo>
                      <a:pt x="388" y="264"/>
                    </a:lnTo>
                    <a:lnTo>
                      <a:pt x="391" y="266"/>
                    </a:lnTo>
                    <a:lnTo>
                      <a:pt x="395" y="264"/>
                    </a:lnTo>
                    <a:lnTo>
                      <a:pt x="396" y="266"/>
                    </a:lnTo>
                    <a:lnTo>
                      <a:pt x="396" y="249"/>
                    </a:lnTo>
                    <a:lnTo>
                      <a:pt x="396" y="208"/>
                    </a:lnTo>
                    <a:lnTo>
                      <a:pt x="396" y="199"/>
                    </a:lnTo>
                    <a:lnTo>
                      <a:pt x="393" y="199"/>
                    </a:lnTo>
                    <a:lnTo>
                      <a:pt x="391" y="201"/>
                    </a:lnTo>
                    <a:lnTo>
                      <a:pt x="390" y="203"/>
                    </a:lnTo>
                    <a:lnTo>
                      <a:pt x="388" y="203"/>
                    </a:lnTo>
                    <a:lnTo>
                      <a:pt x="383" y="201"/>
                    </a:lnTo>
                    <a:lnTo>
                      <a:pt x="381" y="203"/>
                    </a:lnTo>
                    <a:lnTo>
                      <a:pt x="379" y="205"/>
                    </a:lnTo>
                    <a:lnTo>
                      <a:pt x="378" y="208"/>
                    </a:lnTo>
                    <a:lnTo>
                      <a:pt x="379" y="211"/>
                    </a:lnTo>
                    <a:lnTo>
                      <a:pt x="381" y="211"/>
                    </a:lnTo>
                    <a:lnTo>
                      <a:pt x="381" y="213"/>
                    </a:lnTo>
                    <a:lnTo>
                      <a:pt x="379" y="215"/>
                    </a:lnTo>
                    <a:lnTo>
                      <a:pt x="374" y="213"/>
                    </a:lnTo>
                    <a:lnTo>
                      <a:pt x="371" y="213"/>
                    </a:lnTo>
                    <a:lnTo>
                      <a:pt x="369" y="213"/>
                    </a:lnTo>
                    <a:lnTo>
                      <a:pt x="369" y="211"/>
                    </a:lnTo>
                    <a:lnTo>
                      <a:pt x="367" y="210"/>
                    </a:lnTo>
                    <a:lnTo>
                      <a:pt x="367" y="211"/>
                    </a:lnTo>
                    <a:lnTo>
                      <a:pt x="364" y="210"/>
                    </a:lnTo>
                    <a:lnTo>
                      <a:pt x="361" y="211"/>
                    </a:lnTo>
                    <a:lnTo>
                      <a:pt x="359" y="211"/>
                    </a:lnTo>
                    <a:lnTo>
                      <a:pt x="357" y="211"/>
                    </a:lnTo>
                    <a:lnTo>
                      <a:pt x="356" y="206"/>
                    </a:lnTo>
                    <a:lnTo>
                      <a:pt x="350" y="201"/>
                    </a:lnTo>
                    <a:lnTo>
                      <a:pt x="347" y="199"/>
                    </a:lnTo>
                    <a:lnTo>
                      <a:pt x="345" y="196"/>
                    </a:lnTo>
                    <a:lnTo>
                      <a:pt x="344" y="194"/>
                    </a:lnTo>
                    <a:lnTo>
                      <a:pt x="342" y="191"/>
                    </a:lnTo>
                    <a:lnTo>
                      <a:pt x="340" y="191"/>
                    </a:lnTo>
                    <a:lnTo>
                      <a:pt x="339" y="191"/>
                    </a:lnTo>
                    <a:lnTo>
                      <a:pt x="335" y="189"/>
                    </a:lnTo>
                    <a:lnTo>
                      <a:pt x="335" y="188"/>
                    </a:lnTo>
                    <a:lnTo>
                      <a:pt x="333" y="188"/>
                    </a:lnTo>
                    <a:lnTo>
                      <a:pt x="328" y="186"/>
                    </a:lnTo>
                    <a:lnTo>
                      <a:pt x="328" y="182"/>
                    </a:lnTo>
                    <a:lnTo>
                      <a:pt x="327" y="184"/>
                    </a:lnTo>
                    <a:lnTo>
                      <a:pt x="327" y="182"/>
                    </a:lnTo>
                    <a:lnTo>
                      <a:pt x="327" y="181"/>
                    </a:lnTo>
                    <a:lnTo>
                      <a:pt x="325" y="177"/>
                    </a:lnTo>
                    <a:lnTo>
                      <a:pt x="327" y="177"/>
                    </a:lnTo>
                    <a:lnTo>
                      <a:pt x="325" y="176"/>
                    </a:lnTo>
                    <a:lnTo>
                      <a:pt x="325" y="174"/>
                    </a:lnTo>
                    <a:lnTo>
                      <a:pt x="323" y="171"/>
                    </a:lnTo>
                    <a:lnTo>
                      <a:pt x="323" y="169"/>
                    </a:lnTo>
                    <a:lnTo>
                      <a:pt x="323" y="165"/>
                    </a:lnTo>
                    <a:lnTo>
                      <a:pt x="325" y="162"/>
                    </a:lnTo>
                    <a:lnTo>
                      <a:pt x="325" y="160"/>
                    </a:lnTo>
                    <a:lnTo>
                      <a:pt x="327" y="160"/>
                    </a:lnTo>
                    <a:lnTo>
                      <a:pt x="327" y="155"/>
                    </a:lnTo>
                    <a:lnTo>
                      <a:pt x="328" y="155"/>
                    </a:lnTo>
                    <a:lnTo>
                      <a:pt x="328" y="154"/>
                    </a:lnTo>
                    <a:lnTo>
                      <a:pt x="328" y="152"/>
                    </a:lnTo>
                    <a:lnTo>
                      <a:pt x="328" y="148"/>
                    </a:lnTo>
                    <a:lnTo>
                      <a:pt x="328" y="147"/>
                    </a:lnTo>
                    <a:lnTo>
                      <a:pt x="330" y="142"/>
                    </a:lnTo>
                    <a:lnTo>
                      <a:pt x="330" y="140"/>
                    </a:lnTo>
                    <a:lnTo>
                      <a:pt x="332" y="138"/>
                    </a:lnTo>
                    <a:lnTo>
                      <a:pt x="332" y="133"/>
                    </a:lnTo>
                    <a:lnTo>
                      <a:pt x="335" y="130"/>
                    </a:lnTo>
                    <a:lnTo>
                      <a:pt x="335" y="128"/>
                    </a:lnTo>
                    <a:lnTo>
                      <a:pt x="335" y="126"/>
                    </a:lnTo>
                    <a:lnTo>
                      <a:pt x="337" y="126"/>
                    </a:lnTo>
                    <a:lnTo>
                      <a:pt x="337" y="125"/>
                    </a:lnTo>
                    <a:lnTo>
                      <a:pt x="339" y="125"/>
                    </a:lnTo>
                    <a:lnTo>
                      <a:pt x="339" y="123"/>
                    </a:lnTo>
                    <a:lnTo>
                      <a:pt x="337" y="121"/>
                    </a:lnTo>
                    <a:lnTo>
                      <a:pt x="339" y="120"/>
                    </a:lnTo>
                    <a:lnTo>
                      <a:pt x="337" y="118"/>
                    </a:lnTo>
                    <a:lnTo>
                      <a:pt x="335" y="116"/>
                    </a:lnTo>
                    <a:lnTo>
                      <a:pt x="337" y="116"/>
                    </a:lnTo>
                    <a:lnTo>
                      <a:pt x="335" y="114"/>
                    </a:lnTo>
                    <a:lnTo>
                      <a:pt x="337" y="113"/>
                    </a:lnTo>
                    <a:lnTo>
                      <a:pt x="335" y="109"/>
                    </a:lnTo>
                    <a:lnTo>
                      <a:pt x="335" y="106"/>
                    </a:lnTo>
                    <a:lnTo>
                      <a:pt x="333" y="103"/>
                    </a:lnTo>
                    <a:lnTo>
                      <a:pt x="335" y="99"/>
                    </a:lnTo>
                    <a:lnTo>
                      <a:pt x="335" y="94"/>
                    </a:lnTo>
                    <a:lnTo>
                      <a:pt x="337" y="92"/>
                    </a:lnTo>
                    <a:lnTo>
                      <a:pt x="335" y="91"/>
                    </a:lnTo>
                    <a:lnTo>
                      <a:pt x="339" y="84"/>
                    </a:lnTo>
                    <a:lnTo>
                      <a:pt x="340" y="80"/>
                    </a:lnTo>
                    <a:lnTo>
                      <a:pt x="339" y="74"/>
                    </a:lnTo>
                    <a:lnTo>
                      <a:pt x="339" y="69"/>
                    </a:lnTo>
                    <a:lnTo>
                      <a:pt x="335" y="63"/>
                    </a:lnTo>
                    <a:lnTo>
                      <a:pt x="335" y="62"/>
                    </a:lnTo>
                    <a:lnTo>
                      <a:pt x="330" y="57"/>
                    </a:lnTo>
                    <a:lnTo>
                      <a:pt x="332" y="53"/>
                    </a:lnTo>
                    <a:lnTo>
                      <a:pt x="349" y="28"/>
                    </a:lnTo>
                    <a:lnTo>
                      <a:pt x="350" y="14"/>
                    </a:lnTo>
                    <a:lnTo>
                      <a:pt x="352" y="12"/>
                    </a:lnTo>
                    <a:lnTo>
                      <a:pt x="354" y="12"/>
                    </a:lnTo>
                    <a:lnTo>
                      <a:pt x="371" y="11"/>
                    </a:lnTo>
                    <a:lnTo>
                      <a:pt x="388" y="7"/>
                    </a:lnTo>
                    <a:lnTo>
                      <a:pt x="398" y="6"/>
                    </a:lnTo>
                    <a:lnTo>
                      <a:pt x="405" y="6"/>
                    </a:lnTo>
                    <a:lnTo>
                      <a:pt x="420" y="4"/>
                    </a:lnTo>
                    <a:lnTo>
                      <a:pt x="434" y="2"/>
                    </a:lnTo>
                    <a:lnTo>
                      <a:pt x="446" y="0"/>
                    </a:lnTo>
                    <a:lnTo>
                      <a:pt x="452" y="12"/>
                    </a:lnTo>
                    <a:lnTo>
                      <a:pt x="459" y="19"/>
                    </a:lnTo>
                    <a:lnTo>
                      <a:pt x="463" y="21"/>
                    </a:lnTo>
                    <a:lnTo>
                      <a:pt x="466" y="19"/>
                    </a:lnTo>
                    <a:lnTo>
                      <a:pt x="468" y="19"/>
                    </a:lnTo>
                    <a:lnTo>
                      <a:pt x="469" y="21"/>
                    </a:lnTo>
                    <a:lnTo>
                      <a:pt x="471" y="19"/>
                    </a:lnTo>
                    <a:lnTo>
                      <a:pt x="473" y="21"/>
                    </a:lnTo>
                    <a:lnTo>
                      <a:pt x="475" y="19"/>
                    </a:lnTo>
                    <a:lnTo>
                      <a:pt x="476" y="21"/>
                    </a:lnTo>
                    <a:lnTo>
                      <a:pt x="480" y="21"/>
                    </a:lnTo>
                    <a:lnTo>
                      <a:pt x="481" y="24"/>
                    </a:lnTo>
                    <a:lnTo>
                      <a:pt x="483" y="24"/>
                    </a:lnTo>
                    <a:lnTo>
                      <a:pt x="485" y="24"/>
                    </a:lnTo>
                    <a:lnTo>
                      <a:pt x="485" y="28"/>
                    </a:lnTo>
                    <a:lnTo>
                      <a:pt x="485" y="29"/>
                    </a:lnTo>
                    <a:lnTo>
                      <a:pt x="485" y="31"/>
                    </a:lnTo>
                    <a:lnTo>
                      <a:pt x="488" y="33"/>
                    </a:lnTo>
                    <a:lnTo>
                      <a:pt x="490" y="36"/>
                    </a:lnTo>
                    <a:lnTo>
                      <a:pt x="493" y="36"/>
                    </a:lnTo>
                    <a:lnTo>
                      <a:pt x="495" y="34"/>
                    </a:lnTo>
                    <a:lnTo>
                      <a:pt x="497" y="34"/>
                    </a:lnTo>
                    <a:lnTo>
                      <a:pt x="502" y="34"/>
                    </a:lnTo>
                    <a:lnTo>
                      <a:pt x="503" y="36"/>
                    </a:lnTo>
                    <a:lnTo>
                      <a:pt x="503" y="38"/>
                    </a:lnTo>
                    <a:lnTo>
                      <a:pt x="503" y="41"/>
                    </a:lnTo>
                    <a:lnTo>
                      <a:pt x="505" y="43"/>
                    </a:lnTo>
                    <a:lnTo>
                      <a:pt x="507" y="43"/>
                    </a:lnTo>
                    <a:lnTo>
                      <a:pt x="510" y="41"/>
                    </a:lnTo>
                    <a:lnTo>
                      <a:pt x="514" y="43"/>
                    </a:lnTo>
                    <a:lnTo>
                      <a:pt x="517" y="45"/>
                    </a:lnTo>
                    <a:lnTo>
                      <a:pt x="520" y="46"/>
                    </a:lnTo>
                    <a:lnTo>
                      <a:pt x="529" y="46"/>
                    </a:lnTo>
                    <a:lnTo>
                      <a:pt x="531" y="46"/>
                    </a:lnTo>
                    <a:lnTo>
                      <a:pt x="531" y="48"/>
                    </a:lnTo>
                    <a:lnTo>
                      <a:pt x="534" y="53"/>
                    </a:lnTo>
                    <a:lnTo>
                      <a:pt x="536" y="53"/>
                    </a:lnTo>
                    <a:lnTo>
                      <a:pt x="537" y="53"/>
                    </a:lnTo>
                    <a:lnTo>
                      <a:pt x="543" y="53"/>
                    </a:lnTo>
                    <a:lnTo>
                      <a:pt x="544" y="55"/>
                    </a:lnTo>
                    <a:lnTo>
                      <a:pt x="549" y="58"/>
                    </a:lnTo>
                    <a:lnTo>
                      <a:pt x="551" y="58"/>
                    </a:lnTo>
                    <a:lnTo>
                      <a:pt x="551" y="60"/>
                    </a:lnTo>
                    <a:lnTo>
                      <a:pt x="553" y="58"/>
                    </a:lnTo>
                    <a:lnTo>
                      <a:pt x="553" y="60"/>
                    </a:lnTo>
                    <a:lnTo>
                      <a:pt x="554" y="60"/>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63">
                <a:extLst>
                  <a:ext uri="{FF2B5EF4-FFF2-40B4-BE49-F238E27FC236}">
                    <a16:creationId xmlns:a16="http://schemas.microsoft.com/office/drawing/2014/main" id="{CFFB10EC-FE52-4D68-9814-23D922141666}"/>
                  </a:ext>
                </a:extLst>
              </p:cNvPr>
              <p:cNvSpPr>
                <a:spLocks/>
              </p:cNvSpPr>
              <p:nvPr/>
            </p:nvSpPr>
            <p:spPr bwMode="gray">
              <a:xfrm>
                <a:off x="6861121" y="4953705"/>
                <a:ext cx="491908" cy="427477"/>
              </a:xfrm>
              <a:custGeom>
                <a:avLst/>
                <a:gdLst>
                  <a:gd name="T0" fmla="*/ 295 w 397"/>
                  <a:gd name="T1" fmla="*/ 20 h 345"/>
                  <a:gd name="T2" fmla="*/ 310 w 397"/>
                  <a:gd name="T3" fmla="*/ 22 h 345"/>
                  <a:gd name="T4" fmla="*/ 318 w 397"/>
                  <a:gd name="T5" fmla="*/ 29 h 345"/>
                  <a:gd name="T6" fmla="*/ 335 w 397"/>
                  <a:gd name="T7" fmla="*/ 35 h 345"/>
                  <a:gd name="T8" fmla="*/ 380 w 397"/>
                  <a:gd name="T9" fmla="*/ 51 h 345"/>
                  <a:gd name="T10" fmla="*/ 393 w 397"/>
                  <a:gd name="T11" fmla="*/ 56 h 345"/>
                  <a:gd name="T12" fmla="*/ 397 w 397"/>
                  <a:gd name="T13" fmla="*/ 88 h 345"/>
                  <a:gd name="T14" fmla="*/ 397 w 397"/>
                  <a:gd name="T15" fmla="*/ 100 h 345"/>
                  <a:gd name="T16" fmla="*/ 391 w 397"/>
                  <a:gd name="T17" fmla="*/ 112 h 345"/>
                  <a:gd name="T18" fmla="*/ 391 w 397"/>
                  <a:gd name="T19" fmla="*/ 122 h 345"/>
                  <a:gd name="T20" fmla="*/ 395 w 397"/>
                  <a:gd name="T21" fmla="*/ 144 h 345"/>
                  <a:gd name="T22" fmla="*/ 390 w 397"/>
                  <a:gd name="T23" fmla="*/ 160 h 345"/>
                  <a:gd name="T24" fmla="*/ 381 w 397"/>
                  <a:gd name="T25" fmla="*/ 173 h 345"/>
                  <a:gd name="T26" fmla="*/ 383 w 397"/>
                  <a:gd name="T27" fmla="*/ 195 h 345"/>
                  <a:gd name="T28" fmla="*/ 388 w 397"/>
                  <a:gd name="T29" fmla="*/ 206 h 345"/>
                  <a:gd name="T30" fmla="*/ 397 w 397"/>
                  <a:gd name="T31" fmla="*/ 212 h 345"/>
                  <a:gd name="T32" fmla="*/ 388 w 397"/>
                  <a:gd name="T33" fmla="*/ 228 h 345"/>
                  <a:gd name="T34" fmla="*/ 385 w 397"/>
                  <a:gd name="T35" fmla="*/ 240 h 345"/>
                  <a:gd name="T36" fmla="*/ 369 w 397"/>
                  <a:gd name="T37" fmla="*/ 268 h 345"/>
                  <a:gd name="T38" fmla="*/ 364 w 397"/>
                  <a:gd name="T39" fmla="*/ 289 h 345"/>
                  <a:gd name="T40" fmla="*/ 308 w 397"/>
                  <a:gd name="T41" fmla="*/ 345 h 345"/>
                  <a:gd name="T42" fmla="*/ 291 w 397"/>
                  <a:gd name="T43" fmla="*/ 340 h 345"/>
                  <a:gd name="T44" fmla="*/ 272 w 397"/>
                  <a:gd name="T45" fmla="*/ 340 h 345"/>
                  <a:gd name="T46" fmla="*/ 249 w 397"/>
                  <a:gd name="T47" fmla="*/ 340 h 345"/>
                  <a:gd name="T48" fmla="*/ 237 w 397"/>
                  <a:gd name="T49" fmla="*/ 333 h 345"/>
                  <a:gd name="T50" fmla="*/ 218 w 397"/>
                  <a:gd name="T51" fmla="*/ 333 h 345"/>
                  <a:gd name="T52" fmla="*/ 199 w 397"/>
                  <a:gd name="T53" fmla="*/ 326 h 345"/>
                  <a:gd name="T54" fmla="*/ 194 w 397"/>
                  <a:gd name="T55" fmla="*/ 314 h 345"/>
                  <a:gd name="T56" fmla="*/ 167 w 397"/>
                  <a:gd name="T57" fmla="*/ 306 h 345"/>
                  <a:gd name="T58" fmla="*/ 142 w 397"/>
                  <a:gd name="T59" fmla="*/ 299 h 345"/>
                  <a:gd name="T60" fmla="*/ 136 w 397"/>
                  <a:gd name="T61" fmla="*/ 291 h 345"/>
                  <a:gd name="T62" fmla="*/ 126 w 397"/>
                  <a:gd name="T63" fmla="*/ 275 h 345"/>
                  <a:gd name="T64" fmla="*/ 126 w 397"/>
                  <a:gd name="T65" fmla="*/ 265 h 345"/>
                  <a:gd name="T66" fmla="*/ 126 w 397"/>
                  <a:gd name="T67" fmla="*/ 248 h 345"/>
                  <a:gd name="T68" fmla="*/ 113 w 397"/>
                  <a:gd name="T69" fmla="*/ 246 h 345"/>
                  <a:gd name="T70" fmla="*/ 96 w 397"/>
                  <a:gd name="T71" fmla="*/ 226 h 345"/>
                  <a:gd name="T72" fmla="*/ 79 w 397"/>
                  <a:gd name="T73" fmla="*/ 219 h 345"/>
                  <a:gd name="T74" fmla="*/ 60 w 397"/>
                  <a:gd name="T75" fmla="*/ 206 h 345"/>
                  <a:gd name="T76" fmla="*/ 46 w 397"/>
                  <a:gd name="T77" fmla="*/ 194 h 345"/>
                  <a:gd name="T78" fmla="*/ 36 w 397"/>
                  <a:gd name="T79" fmla="*/ 166 h 345"/>
                  <a:gd name="T80" fmla="*/ 24 w 397"/>
                  <a:gd name="T81" fmla="*/ 149 h 345"/>
                  <a:gd name="T82" fmla="*/ 6 w 397"/>
                  <a:gd name="T83" fmla="*/ 124 h 345"/>
                  <a:gd name="T84" fmla="*/ 7 w 397"/>
                  <a:gd name="T85" fmla="*/ 112 h 345"/>
                  <a:gd name="T86" fmla="*/ 24 w 397"/>
                  <a:gd name="T87" fmla="*/ 112 h 345"/>
                  <a:gd name="T88" fmla="*/ 40 w 397"/>
                  <a:gd name="T89" fmla="*/ 119 h 345"/>
                  <a:gd name="T90" fmla="*/ 53 w 397"/>
                  <a:gd name="T91" fmla="*/ 117 h 345"/>
                  <a:gd name="T92" fmla="*/ 72 w 397"/>
                  <a:gd name="T93" fmla="*/ 124 h 345"/>
                  <a:gd name="T94" fmla="*/ 91 w 397"/>
                  <a:gd name="T95" fmla="*/ 119 h 345"/>
                  <a:gd name="T96" fmla="*/ 111 w 397"/>
                  <a:gd name="T97" fmla="*/ 95 h 345"/>
                  <a:gd name="T98" fmla="*/ 153 w 397"/>
                  <a:gd name="T99" fmla="*/ 56 h 345"/>
                  <a:gd name="T100" fmla="*/ 184 w 397"/>
                  <a:gd name="T101" fmla="*/ 35 h 345"/>
                  <a:gd name="T102" fmla="*/ 184 w 397"/>
                  <a:gd name="T103" fmla="*/ 22 h 345"/>
                  <a:gd name="T104" fmla="*/ 210 w 397"/>
                  <a:gd name="T105" fmla="*/ 5 h 345"/>
                  <a:gd name="T106" fmla="*/ 240 w 397"/>
                  <a:gd name="T107" fmla="*/ 1 h 345"/>
                  <a:gd name="T108" fmla="*/ 264 w 397"/>
                  <a:gd name="T10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7" h="345">
                    <a:moveTo>
                      <a:pt x="264" y="0"/>
                    </a:moveTo>
                    <a:lnTo>
                      <a:pt x="264" y="20"/>
                    </a:lnTo>
                    <a:lnTo>
                      <a:pt x="269" y="20"/>
                    </a:lnTo>
                    <a:lnTo>
                      <a:pt x="288" y="20"/>
                    </a:lnTo>
                    <a:lnTo>
                      <a:pt x="293" y="22"/>
                    </a:lnTo>
                    <a:lnTo>
                      <a:pt x="295" y="20"/>
                    </a:lnTo>
                    <a:lnTo>
                      <a:pt x="300" y="18"/>
                    </a:lnTo>
                    <a:lnTo>
                      <a:pt x="301" y="18"/>
                    </a:lnTo>
                    <a:lnTo>
                      <a:pt x="301" y="20"/>
                    </a:lnTo>
                    <a:lnTo>
                      <a:pt x="306" y="20"/>
                    </a:lnTo>
                    <a:lnTo>
                      <a:pt x="308" y="20"/>
                    </a:lnTo>
                    <a:lnTo>
                      <a:pt x="310" y="22"/>
                    </a:lnTo>
                    <a:lnTo>
                      <a:pt x="310" y="24"/>
                    </a:lnTo>
                    <a:lnTo>
                      <a:pt x="313" y="25"/>
                    </a:lnTo>
                    <a:lnTo>
                      <a:pt x="313" y="27"/>
                    </a:lnTo>
                    <a:lnTo>
                      <a:pt x="315" y="27"/>
                    </a:lnTo>
                    <a:lnTo>
                      <a:pt x="318" y="27"/>
                    </a:lnTo>
                    <a:lnTo>
                      <a:pt x="318" y="29"/>
                    </a:lnTo>
                    <a:lnTo>
                      <a:pt x="318" y="27"/>
                    </a:lnTo>
                    <a:lnTo>
                      <a:pt x="322" y="29"/>
                    </a:lnTo>
                    <a:lnTo>
                      <a:pt x="325" y="29"/>
                    </a:lnTo>
                    <a:lnTo>
                      <a:pt x="330" y="30"/>
                    </a:lnTo>
                    <a:lnTo>
                      <a:pt x="334" y="34"/>
                    </a:lnTo>
                    <a:lnTo>
                      <a:pt x="335" y="35"/>
                    </a:lnTo>
                    <a:lnTo>
                      <a:pt x="339" y="37"/>
                    </a:lnTo>
                    <a:lnTo>
                      <a:pt x="339" y="41"/>
                    </a:lnTo>
                    <a:lnTo>
                      <a:pt x="346" y="42"/>
                    </a:lnTo>
                    <a:lnTo>
                      <a:pt x="359" y="42"/>
                    </a:lnTo>
                    <a:lnTo>
                      <a:pt x="373" y="47"/>
                    </a:lnTo>
                    <a:lnTo>
                      <a:pt x="380" y="51"/>
                    </a:lnTo>
                    <a:lnTo>
                      <a:pt x="378" y="54"/>
                    </a:lnTo>
                    <a:lnTo>
                      <a:pt x="381" y="56"/>
                    </a:lnTo>
                    <a:lnTo>
                      <a:pt x="386" y="54"/>
                    </a:lnTo>
                    <a:lnTo>
                      <a:pt x="388" y="56"/>
                    </a:lnTo>
                    <a:lnTo>
                      <a:pt x="390" y="54"/>
                    </a:lnTo>
                    <a:lnTo>
                      <a:pt x="393" y="56"/>
                    </a:lnTo>
                    <a:lnTo>
                      <a:pt x="390" y="64"/>
                    </a:lnTo>
                    <a:lnTo>
                      <a:pt x="386" y="66"/>
                    </a:lnTo>
                    <a:lnTo>
                      <a:pt x="391" y="75"/>
                    </a:lnTo>
                    <a:lnTo>
                      <a:pt x="393" y="80"/>
                    </a:lnTo>
                    <a:lnTo>
                      <a:pt x="393" y="85"/>
                    </a:lnTo>
                    <a:lnTo>
                      <a:pt x="397" y="88"/>
                    </a:lnTo>
                    <a:lnTo>
                      <a:pt x="395" y="90"/>
                    </a:lnTo>
                    <a:lnTo>
                      <a:pt x="393" y="93"/>
                    </a:lnTo>
                    <a:lnTo>
                      <a:pt x="391" y="95"/>
                    </a:lnTo>
                    <a:lnTo>
                      <a:pt x="393" y="98"/>
                    </a:lnTo>
                    <a:lnTo>
                      <a:pt x="395" y="98"/>
                    </a:lnTo>
                    <a:lnTo>
                      <a:pt x="397" y="100"/>
                    </a:lnTo>
                    <a:lnTo>
                      <a:pt x="395" y="105"/>
                    </a:lnTo>
                    <a:lnTo>
                      <a:pt x="395" y="107"/>
                    </a:lnTo>
                    <a:lnTo>
                      <a:pt x="395" y="109"/>
                    </a:lnTo>
                    <a:lnTo>
                      <a:pt x="395" y="110"/>
                    </a:lnTo>
                    <a:lnTo>
                      <a:pt x="393" y="110"/>
                    </a:lnTo>
                    <a:lnTo>
                      <a:pt x="391" y="112"/>
                    </a:lnTo>
                    <a:lnTo>
                      <a:pt x="391" y="115"/>
                    </a:lnTo>
                    <a:lnTo>
                      <a:pt x="393" y="117"/>
                    </a:lnTo>
                    <a:lnTo>
                      <a:pt x="393" y="119"/>
                    </a:lnTo>
                    <a:lnTo>
                      <a:pt x="391" y="119"/>
                    </a:lnTo>
                    <a:lnTo>
                      <a:pt x="391" y="120"/>
                    </a:lnTo>
                    <a:lnTo>
                      <a:pt x="391" y="122"/>
                    </a:lnTo>
                    <a:lnTo>
                      <a:pt x="393" y="127"/>
                    </a:lnTo>
                    <a:lnTo>
                      <a:pt x="393" y="129"/>
                    </a:lnTo>
                    <a:lnTo>
                      <a:pt x="393" y="136"/>
                    </a:lnTo>
                    <a:lnTo>
                      <a:pt x="397" y="139"/>
                    </a:lnTo>
                    <a:lnTo>
                      <a:pt x="395" y="141"/>
                    </a:lnTo>
                    <a:lnTo>
                      <a:pt x="395" y="144"/>
                    </a:lnTo>
                    <a:lnTo>
                      <a:pt x="393" y="146"/>
                    </a:lnTo>
                    <a:lnTo>
                      <a:pt x="391" y="144"/>
                    </a:lnTo>
                    <a:lnTo>
                      <a:pt x="388" y="146"/>
                    </a:lnTo>
                    <a:lnTo>
                      <a:pt x="388" y="151"/>
                    </a:lnTo>
                    <a:lnTo>
                      <a:pt x="391" y="155"/>
                    </a:lnTo>
                    <a:lnTo>
                      <a:pt x="390" y="160"/>
                    </a:lnTo>
                    <a:lnTo>
                      <a:pt x="388" y="161"/>
                    </a:lnTo>
                    <a:lnTo>
                      <a:pt x="385" y="160"/>
                    </a:lnTo>
                    <a:lnTo>
                      <a:pt x="380" y="163"/>
                    </a:lnTo>
                    <a:lnTo>
                      <a:pt x="380" y="168"/>
                    </a:lnTo>
                    <a:lnTo>
                      <a:pt x="380" y="173"/>
                    </a:lnTo>
                    <a:lnTo>
                      <a:pt x="381" y="173"/>
                    </a:lnTo>
                    <a:lnTo>
                      <a:pt x="383" y="172"/>
                    </a:lnTo>
                    <a:lnTo>
                      <a:pt x="385" y="172"/>
                    </a:lnTo>
                    <a:lnTo>
                      <a:pt x="388" y="177"/>
                    </a:lnTo>
                    <a:lnTo>
                      <a:pt x="386" y="187"/>
                    </a:lnTo>
                    <a:lnTo>
                      <a:pt x="383" y="190"/>
                    </a:lnTo>
                    <a:lnTo>
                      <a:pt x="383" y="195"/>
                    </a:lnTo>
                    <a:lnTo>
                      <a:pt x="386" y="195"/>
                    </a:lnTo>
                    <a:lnTo>
                      <a:pt x="386" y="197"/>
                    </a:lnTo>
                    <a:lnTo>
                      <a:pt x="386" y="199"/>
                    </a:lnTo>
                    <a:lnTo>
                      <a:pt x="386" y="202"/>
                    </a:lnTo>
                    <a:lnTo>
                      <a:pt x="385" y="206"/>
                    </a:lnTo>
                    <a:lnTo>
                      <a:pt x="388" y="206"/>
                    </a:lnTo>
                    <a:lnTo>
                      <a:pt x="391" y="206"/>
                    </a:lnTo>
                    <a:lnTo>
                      <a:pt x="393" y="206"/>
                    </a:lnTo>
                    <a:lnTo>
                      <a:pt x="391" y="207"/>
                    </a:lnTo>
                    <a:lnTo>
                      <a:pt x="391" y="209"/>
                    </a:lnTo>
                    <a:lnTo>
                      <a:pt x="395" y="211"/>
                    </a:lnTo>
                    <a:lnTo>
                      <a:pt x="397" y="212"/>
                    </a:lnTo>
                    <a:lnTo>
                      <a:pt x="395" y="216"/>
                    </a:lnTo>
                    <a:lnTo>
                      <a:pt x="395" y="223"/>
                    </a:lnTo>
                    <a:lnTo>
                      <a:pt x="393" y="224"/>
                    </a:lnTo>
                    <a:lnTo>
                      <a:pt x="390" y="224"/>
                    </a:lnTo>
                    <a:lnTo>
                      <a:pt x="390" y="228"/>
                    </a:lnTo>
                    <a:lnTo>
                      <a:pt x="388" y="228"/>
                    </a:lnTo>
                    <a:lnTo>
                      <a:pt x="386" y="229"/>
                    </a:lnTo>
                    <a:lnTo>
                      <a:pt x="388" y="231"/>
                    </a:lnTo>
                    <a:lnTo>
                      <a:pt x="386" y="233"/>
                    </a:lnTo>
                    <a:lnTo>
                      <a:pt x="386" y="234"/>
                    </a:lnTo>
                    <a:lnTo>
                      <a:pt x="386" y="236"/>
                    </a:lnTo>
                    <a:lnTo>
                      <a:pt x="385" y="240"/>
                    </a:lnTo>
                    <a:lnTo>
                      <a:pt x="383" y="241"/>
                    </a:lnTo>
                    <a:lnTo>
                      <a:pt x="378" y="250"/>
                    </a:lnTo>
                    <a:lnTo>
                      <a:pt x="373" y="251"/>
                    </a:lnTo>
                    <a:lnTo>
                      <a:pt x="368" y="253"/>
                    </a:lnTo>
                    <a:lnTo>
                      <a:pt x="368" y="263"/>
                    </a:lnTo>
                    <a:lnTo>
                      <a:pt x="369" y="268"/>
                    </a:lnTo>
                    <a:lnTo>
                      <a:pt x="366" y="275"/>
                    </a:lnTo>
                    <a:lnTo>
                      <a:pt x="361" y="280"/>
                    </a:lnTo>
                    <a:lnTo>
                      <a:pt x="364" y="282"/>
                    </a:lnTo>
                    <a:lnTo>
                      <a:pt x="363" y="282"/>
                    </a:lnTo>
                    <a:lnTo>
                      <a:pt x="368" y="289"/>
                    </a:lnTo>
                    <a:lnTo>
                      <a:pt x="364" y="289"/>
                    </a:lnTo>
                    <a:lnTo>
                      <a:pt x="359" y="294"/>
                    </a:lnTo>
                    <a:lnTo>
                      <a:pt x="342" y="311"/>
                    </a:lnTo>
                    <a:lnTo>
                      <a:pt x="327" y="326"/>
                    </a:lnTo>
                    <a:lnTo>
                      <a:pt x="318" y="335"/>
                    </a:lnTo>
                    <a:lnTo>
                      <a:pt x="318" y="337"/>
                    </a:lnTo>
                    <a:lnTo>
                      <a:pt x="308" y="345"/>
                    </a:lnTo>
                    <a:lnTo>
                      <a:pt x="306" y="342"/>
                    </a:lnTo>
                    <a:lnTo>
                      <a:pt x="303" y="342"/>
                    </a:lnTo>
                    <a:lnTo>
                      <a:pt x="301" y="340"/>
                    </a:lnTo>
                    <a:lnTo>
                      <a:pt x="298" y="342"/>
                    </a:lnTo>
                    <a:lnTo>
                      <a:pt x="293" y="340"/>
                    </a:lnTo>
                    <a:lnTo>
                      <a:pt x="291" y="340"/>
                    </a:lnTo>
                    <a:lnTo>
                      <a:pt x="289" y="338"/>
                    </a:lnTo>
                    <a:lnTo>
                      <a:pt x="284" y="338"/>
                    </a:lnTo>
                    <a:lnTo>
                      <a:pt x="278" y="340"/>
                    </a:lnTo>
                    <a:lnTo>
                      <a:pt x="276" y="340"/>
                    </a:lnTo>
                    <a:lnTo>
                      <a:pt x="274" y="340"/>
                    </a:lnTo>
                    <a:lnTo>
                      <a:pt x="272" y="340"/>
                    </a:lnTo>
                    <a:lnTo>
                      <a:pt x="271" y="340"/>
                    </a:lnTo>
                    <a:lnTo>
                      <a:pt x="267" y="340"/>
                    </a:lnTo>
                    <a:lnTo>
                      <a:pt x="261" y="342"/>
                    </a:lnTo>
                    <a:lnTo>
                      <a:pt x="257" y="342"/>
                    </a:lnTo>
                    <a:lnTo>
                      <a:pt x="254" y="338"/>
                    </a:lnTo>
                    <a:lnTo>
                      <a:pt x="249" y="340"/>
                    </a:lnTo>
                    <a:lnTo>
                      <a:pt x="245" y="337"/>
                    </a:lnTo>
                    <a:lnTo>
                      <a:pt x="244" y="337"/>
                    </a:lnTo>
                    <a:lnTo>
                      <a:pt x="244" y="335"/>
                    </a:lnTo>
                    <a:lnTo>
                      <a:pt x="240" y="335"/>
                    </a:lnTo>
                    <a:lnTo>
                      <a:pt x="238" y="333"/>
                    </a:lnTo>
                    <a:lnTo>
                      <a:pt x="237" y="333"/>
                    </a:lnTo>
                    <a:lnTo>
                      <a:pt x="230" y="330"/>
                    </a:lnTo>
                    <a:lnTo>
                      <a:pt x="225" y="330"/>
                    </a:lnTo>
                    <a:lnTo>
                      <a:pt x="221" y="331"/>
                    </a:lnTo>
                    <a:lnTo>
                      <a:pt x="221" y="330"/>
                    </a:lnTo>
                    <a:lnTo>
                      <a:pt x="218" y="331"/>
                    </a:lnTo>
                    <a:lnTo>
                      <a:pt x="218" y="333"/>
                    </a:lnTo>
                    <a:lnTo>
                      <a:pt x="215" y="331"/>
                    </a:lnTo>
                    <a:lnTo>
                      <a:pt x="210" y="333"/>
                    </a:lnTo>
                    <a:lnTo>
                      <a:pt x="206" y="330"/>
                    </a:lnTo>
                    <a:lnTo>
                      <a:pt x="204" y="328"/>
                    </a:lnTo>
                    <a:lnTo>
                      <a:pt x="204" y="326"/>
                    </a:lnTo>
                    <a:lnTo>
                      <a:pt x="199" y="326"/>
                    </a:lnTo>
                    <a:lnTo>
                      <a:pt x="198" y="326"/>
                    </a:lnTo>
                    <a:lnTo>
                      <a:pt x="194" y="325"/>
                    </a:lnTo>
                    <a:lnTo>
                      <a:pt x="193" y="321"/>
                    </a:lnTo>
                    <a:lnTo>
                      <a:pt x="193" y="320"/>
                    </a:lnTo>
                    <a:lnTo>
                      <a:pt x="193" y="316"/>
                    </a:lnTo>
                    <a:lnTo>
                      <a:pt x="194" y="314"/>
                    </a:lnTo>
                    <a:lnTo>
                      <a:pt x="193" y="313"/>
                    </a:lnTo>
                    <a:lnTo>
                      <a:pt x="191" y="311"/>
                    </a:lnTo>
                    <a:lnTo>
                      <a:pt x="189" y="313"/>
                    </a:lnTo>
                    <a:lnTo>
                      <a:pt x="184" y="311"/>
                    </a:lnTo>
                    <a:lnTo>
                      <a:pt x="170" y="304"/>
                    </a:lnTo>
                    <a:lnTo>
                      <a:pt x="167" y="306"/>
                    </a:lnTo>
                    <a:lnTo>
                      <a:pt x="159" y="302"/>
                    </a:lnTo>
                    <a:lnTo>
                      <a:pt x="155" y="302"/>
                    </a:lnTo>
                    <a:lnTo>
                      <a:pt x="150" y="302"/>
                    </a:lnTo>
                    <a:lnTo>
                      <a:pt x="142" y="302"/>
                    </a:lnTo>
                    <a:lnTo>
                      <a:pt x="140" y="299"/>
                    </a:lnTo>
                    <a:lnTo>
                      <a:pt x="142" y="299"/>
                    </a:lnTo>
                    <a:lnTo>
                      <a:pt x="140" y="299"/>
                    </a:lnTo>
                    <a:lnTo>
                      <a:pt x="140" y="297"/>
                    </a:lnTo>
                    <a:lnTo>
                      <a:pt x="138" y="297"/>
                    </a:lnTo>
                    <a:lnTo>
                      <a:pt x="140" y="296"/>
                    </a:lnTo>
                    <a:lnTo>
                      <a:pt x="138" y="294"/>
                    </a:lnTo>
                    <a:lnTo>
                      <a:pt x="136" y="291"/>
                    </a:lnTo>
                    <a:lnTo>
                      <a:pt x="136" y="289"/>
                    </a:lnTo>
                    <a:lnTo>
                      <a:pt x="131" y="282"/>
                    </a:lnTo>
                    <a:lnTo>
                      <a:pt x="128" y="280"/>
                    </a:lnTo>
                    <a:lnTo>
                      <a:pt x="125" y="277"/>
                    </a:lnTo>
                    <a:lnTo>
                      <a:pt x="125" y="275"/>
                    </a:lnTo>
                    <a:lnTo>
                      <a:pt x="126" y="275"/>
                    </a:lnTo>
                    <a:lnTo>
                      <a:pt x="125" y="274"/>
                    </a:lnTo>
                    <a:lnTo>
                      <a:pt x="126" y="270"/>
                    </a:lnTo>
                    <a:lnTo>
                      <a:pt x="125" y="270"/>
                    </a:lnTo>
                    <a:lnTo>
                      <a:pt x="126" y="268"/>
                    </a:lnTo>
                    <a:lnTo>
                      <a:pt x="125" y="265"/>
                    </a:lnTo>
                    <a:lnTo>
                      <a:pt x="126" y="265"/>
                    </a:lnTo>
                    <a:lnTo>
                      <a:pt x="128" y="260"/>
                    </a:lnTo>
                    <a:lnTo>
                      <a:pt x="128" y="258"/>
                    </a:lnTo>
                    <a:lnTo>
                      <a:pt x="126" y="255"/>
                    </a:lnTo>
                    <a:lnTo>
                      <a:pt x="126" y="253"/>
                    </a:lnTo>
                    <a:lnTo>
                      <a:pt x="126" y="250"/>
                    </a:lnTo>
                    <a:lnTo>
                      <a:pt x="126" y="248"/>
                    </a:lnTo>
                    <a:lnTo>
                      <a:pt x="125" y="246"/>
                    </a:lnTo>
                    <a:lnTo>
                      <a:pt x="123" y="248"/>
                    </a:lnTo>
                    <a:lnTo>
                      <a:pt x="121" y="246"/>
                    </a:lnTo>
                    <a:lnTo>
                      <a:pt x="119" y="246"/>
                    </a:lnTo>
                    <a:lnTo>
                      <a:pt x="114" y="246"/>
                    </a:lnTo>
                    <a:lnTo>
                      <a:pt x="113" y="246"/>
                    </a:lnTo>
                    <a:lnTo>
                      <a:pt x="109" y="246"/>
                    </a:lnTo>
                    <a:lnTo>
                      <a:pt x="104" y="248"/>
                    </a:lnTo>
                    <a:lnTo>
                      <a:pt x="106" y="238"/>
                    </a:lnTo>
                    <a:lnTo>
                      <a:pt x="102" y="228"/>
                    </a:lnTo>
                    <a:lnTo>
                      <a:pt x="101" y="226"/>
                    </a:lnTo>
                    <a:lnTo>
                      <a:pt x="96" y="226"/>
                    </a:lnTo>
                    <a:lnTo>
                      <a:pt x="94" y="224"/>
                    </a:lnTo>
                    <a:lnTo>
                      <a:pt x="92" y="223"/>
                    </a:lnTo>
                    <a:lnTo>
                      <a:pt x="87" y="223"/>
                    </a:lnTo>
                    <a:lnTo>
                      <a:pt x="85" y="221"/>
                    </a:lnTo>
                    <a:lnTo>
                      <a:pt x="80" y="221"/>
                    </a:lnTo>
                    <a:lnTo>
                      <a:pt x="79" y="219"/>
                    </a:lnTo>
                    <a:lnTo>
                      <a:pt x="77" y="219"/>
                    </a:lnTo>
                    <a:lnTo>
                      <a:pt x="75" y="216"/>
                    </a:lnTo>
                    <a:lnTo>
                      <a:pt x="70" y="216"/>
                    </a:lnTo>
                    <a:lnTo>
                      <a:pt x="68" y="211"/>
                    </a:lnTo>
                    <a:lnTo>
                      <a:pt x="62" y="209"/>
                    </a:lnTo>
                    <a:lnTo>
                      <a:pt x="60" y="206"/>
                    </a:lnTo>
                    <a:lnTo>
                      <a:pt x="57" y="206"/>
                    </a:lnTo>
                    <a:lnTo>
                      <a:pt x="58" y="202"/>
                    </a:lnTo>
                    <a:lnTo>
                      <a:pt x="55" y="200"/>
                    </a:lnTo>
                    <a:lnTo>
                      <a:pt x="51" y="200"/>
                    </a:lnTo>
                    <a:lnTo>
                      <a:pt x="48" y="199"/>
                    </a:lnTo>
                    <a:lnTo>
                      <a:pt x="46" y="194"/>
                    </a:lnTo>
                    <a:lnTo>
                      <a:pt x="43" y="185"/>
                    </a:lnTo>
                    <a:lnTo>
                      <a:pt x="38" y="177"/>
                    </a:lnTo>
                    <a:lnTo>
                      <a:pt x="38" y="175"/>
                    </a:lnTo>
                    <a:lnTo>
                      <a:pt x="40" y="173"/>
                    </a:lnTo>
                    <a:lnTo>
                      <a:pt x="38" y="170"/>
                    </a:lnTo>
                    <a:lnTo>
                      <a:pt x="36" y="166"/>
                    </a:lnTo>
                    <a:lnTo>
                      <a:pt x="31" y="163"/>
                    </a:lnTo>
                    <a:lnTo>
                      <a:pt x="29" y="160"/>
                    </a:lnTo>
                    <a:lnTo>
                      <a:pt x="29" y="158"/>
                    </a:lnTo>
                    <a:lnTo>
                      <a:pt x="29" y="156"/>
                    </a:lnTo>
                    <a:lnTo>
                      <a:pt x="28" y="153"/>
                    </a:lnTo>
                    <a:lnTo>
                      <a:pt x="24" y="149"/>
                    </a:lnTo>
                    <a:lnTo>
                      <a:pt x="21" y="146"/>
                    </a:lnTo>
                    <a:lnTo>
                      <a:pt x="19" y="144"/>
                    </a:lnTo>
                    <a:lnTo>
                      <a:pt x="16" y="141"/>
                    </a:lnTo>
                    <a:lnTo>
                      <a:pt x="11" y="129"/>
                    </a:lnTo>
                    <a:lnTo>
                      <a:pt x="7" y="126"/>
                    </a:lnTo>
                    <a:lnTo>
                      <a:pt x="6" y="124"/>
                    </a:lnTo>
                    <a:lnTo>
                      <a:pt x="4" y="122"/>
                    </a:lnTo>
                    <a:lnTo>
                      <a:pt x="2" y="119"/>
                    </a:lnTo>
                    <a:lnTo>
                      <a:pt x="0" y="115"/>
                    </a:lnTo>
                    <a:lnTo>
                      <a:pt x="2" y="110"/>
                    </a:lnTo>
                    <a:lnTo>
                      <a:pt x="6" y="112"/>
                    </a:lnTo>
                    <a:lnTo>
                      <a:pt x="7" y="112"/>
                    </a:lnTo>
                    <a:lnTo>
                      <a:pt x="9" y="114"/>
                    </a:lnTo>
                    <a:lnTo>
                      <a:pt x="12" y="112"/>
                    </a:lnTo>
                    <a:lnTo>
                      <a:pt x="16" y="114"/>
                    </a:lnTo>
                    <a:lnTo>
                      <a:pt x="17" y="112"/>
                    </a:lnTo>
                    <a:lnTo>
                      <a:pt x="21" y="112"/>
                    </a:lnTo>
                    <a:lnTo>
                      <a:pt x="24" y="112"/>
                    </a:lnTo>
                    <a:lnTo>
                      <a:pt x="28" y="114"/>
                    </a:lnTo>
                    <a:lnTo>
                      <a:pt x="29" y="115"/>
                    </a:lnTo>
                    <a:lnTo>
                      <a:pt x="31" y="115"/>
                    </a:lnTo>
                    <a:lnTo>
                      <a:pt x="33" y="119"/>
                    </a:lnTo>
                    <a:lnTo>
                      <a:pt x="38" y="120"/>
                    </a:lnTo>
                    <a:lnTo>
                      <a:pt x="40" y="119"/>
                    </a:lnTo>
                    <a:lnTo>
                      <a:pt x="45" y="120"/>
                    </a:lnTo>
                    <a:lnTo>
                      <a:pt x="45" y="119"/>
                    </a:lnTo>
                    <a:lnTo>
                      <a:pt x="45" y="117"/>
                    </a:lnTo>
                    <a:lnTo>
                      <a:pt x="50" y="115"/>
                    </a:lnTo>
                    <a:lnTo>
                      <a:pt x="51" y="117"/>
                    </a:lnTo>
                    <a:lnTo>
                      <a:pt x="53" y="117"/>
                    </a:lnTo>
                    <a:lnTo>
                      <a:pt x="55" y="117"/>
                    </a:lnTo>
                    <a:lnTo>
                      <a:pt x="60" y="117"/>
                    </a:lnTo>
                    <a:lnTo>
                      <a:pt x="65" y="120"/>
                    </a:lnTo>
                    <a:lnTo>
                      <a:pt x="68" y="120"/>
                    </a:lnTo>
                    <a:lnTo>
                      <a:pt x="70" y="124"/>
                    </a:lnTo>
                    <a:lnTo>
                      <a:pt x="72" y="124"/>
                    </a:lnTo>
                    <a:lnTo>
                      <a:pt x="75" y="124"/>
                    </a:lnTo>
                    <a:lnTo>
                      <a:pt x="77" y="122"/>
                    </a:lnTo>
                    <a:lnTo>
                      <a:pt x="80" y="122"/>
                    </a:lnTo>
                    <a:lnTo>
                      <a:pt x="82" y="120"/>
                    </a:lnTo>
                    <a:lnTo>
                      <a:pt x="85" y="120"/>
                    </a:lnTo>
                    <a:lnTo>
                      <a:pt x="91" y="119"/>
                    </a:lnTo>
                    <a:lnTo>
                      <a:pt x="92" y="119"/>
                    </a:lnTo>
                    <a:lnTo>
                      <a:pt x="94" y="115"/>
                    </a:lnTo>
                    <a:lnTo>
                      <a:pt x="97" y="114"/>
                    </a:lnTo>
                    <a:lnTo>
                      <a:pt x="97" y="110"/>
                    </a:lnTo>
                    <a:lnTo>
                      <a:pt x="102" y="103"/>
                    </a:lnTo>
                    <a:lnTo>
                      <a:pt x="111" y="95"/>
                    </a:lnTo>
                    <a:lnTo>
                      <a:pt x="118" y="92"/>
                    </a:lnTo>
                    <a:lnTo>
                      <a:pt x="121" y="88"/>
                    </a:lnTo>
                    <a:lnTo>
                      <a:pt x="123" y="80"/>
                    </a:lnTo>
                    <a:lnTo>
                      <a:pt x="131" y="69"/>
                    </a:lnTo>
                    <a:lnTo>
                      <a:pt x="148" y="61"/>
                    </a:lnTo>
                    <a:lnTo>
                      <a:pt x="153" y="56"/>
                    </a:lnTo>
                    <a:lnTo>
                      <a:pt x="174" y="47"/>
                    </a:lnTo>
                    <a:lnTo>
                      <a:pt x="179" y="47"/>
                    </a:lnTo>
                    <a:lnTo>
                      <a:pt x="182" y="44"/>
                    </a:lnTo>
                    <a:lnTo>
                      <a:pt x="182" y="42"/>
                    </a:lnTo>
                    <a:lnTo>
                      <a:pt x="184" y="39"/>
                    </a:lnTo>
                    <a:lnTo>
                      <a:pt x="184" y="35"/>
                    </a:lnTo>
                    <a:lnTo>
                      <a:pt x="182" y="35"/>
                    </a:lnTo>
                    <a:lnTo>
                      <a:pt x="184" y="32"/>
                    </a:lnTo>
                    <a:lnTo>
                      <a:pt x="184" y="30"/>
                    </a:lnTo>
                    <a:lnTo>
                      <a:pt x="182" y="29"/>
                    </a:lnTo>
                    <a:lnTo>
                      <a:pt x="184" y="25"/>
                    </a:lnTo>
                    <a:lnTo>
                      <a:pt x="184" y="22"/>
                    </a:lnTo>
                    <a:lnTo>
                      <a:pt x="187" y="17"/>
                    </a:lnTo>
                    <a:lnTo>
                      <a:pt x="193" y="17"/>
                    </a:lnTo>
                    <a:lnTo>
                      <a:pt x="194" y="15"/>
                    </a:lnTo>
                    <a:lnTo>
                      <a:pt x="203" y="8"/>
                    </a:lnTo>
                    <a:lnTo>
                      <a:pt x="206" y="7"/>
                    </a:lnTo>
                    <a:lnTo>
                      <a:pt x="210" y="5"/>
                    </a:lnTo>
                    <a:lnTo>
                      <a:pt x="213" y="3"/>
                    </a:lnTo>
                    <a:lnTo>
                      <a:pt x="218" y="3"/>
                    </a:lnTo>
                    <a:lnTo>
                      <a:pt x="221" y="1"/>
                    </a:lnTo>
                    <a:lnTo>
                      <a:pt x="223" y="3"/>
                    </a:lnTo>
                    <a:lnTo>
                      <a:pt x="233" y="0"/>
                    </a:lnTo>
                    <a:lnTo>
                      <a:pt x="240" y="1"/>
                    </a:lnTo>
                    <a:lnTo>
                      <a:pt x="250" y="0"/>
                    </a:lnTo>
                    <a:lnTo>
                      <a:pt x="252" y="3"/>
                    </a:lnTo>
                    <a:lnTo>
                      <a:pt x="255" y="0"/>
                    </a:lnTo>
                    <a:lnTo>
                      <a:pt x="255" y="1"/>
                    </a:lnTo>
                    <a:lnTo>
                      <a:pt x="261" y="1"/>
                    </a:lnTo>
                    <a:lnTo>
                      <a:pt x="264" y="0"/>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62" name="TextBox 61">
            <a:extLst>
              <a:ext uri="{FF2B5EF4-FFF2-40B4-BE49-F238E27FC236}">
                <a16:creationId xmlns:a16="http://schemas.microsoft.com/office/drawing/2014/main" id="{E6EC1290-0754-423E-9C89-A36DAB59DD95}"/>
              </a:ext>
            </a:extLst>
          </p:cNvPr>
          <p:cNvSpPr txBox="1">
            <a:spLocks/>
          </p:cNvSpPr>
          <p:nvPr/>
        </p:nvSpPr>
        <p:spPr>
          <a:xfrm>
            <a:off x="10307229" y="1721829"/>
            <a:ext cx="1266700" cy="19585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égion du Sud</a:t>
            </a:r>
          </a:p>
        </p:txBody>
      </p:sp>
      <p:grpSp>
        <p:nvGrpSpPr>
          <p:cNvPr id="76" name="Group 75">
            <a:extLst>
              <a:ext uri="{FF2B5EF4-FFF2-40B4-BE49-F238E27FC236}">
                <a16:creationId xmlns:a16="http://schemas.microsoft.com/office/drawing/2014/main" id="{5B69E243-179D-42F2-B32D-A05B59DDC4B8}"/>
              </a:ext>
            </a:extLst>
          </p:cNvPr>
          <p:cNvGrpSpPr/>
          <p:nvPr/>
        </p:nvGrpSpPr>
        <p:grpSpPr>
          <a:xfrm>
            <a:off x="6640385" y="1243142"/>
            <a:ext cx="467523" cy="467523"/>
            <a:chOff x="2746270" y="1144592"/>
            <a:chExt cx="914400" cy="914400"/>
          </a:xfrm>
          <a:solidFill>
            <a:schemeClr val="accent1"/>
          </a:solidFill>
        </p:grpSpPr>
        <p:sp>
          <p:nvSpPr>
            <p:cNvPr id="78" name="Oval 77">
              <a:extLst>
                <a:ext uri="{FF2B5EF4-FFF2-40B4-BE49-F238E27FC236}">
                  <a16:creationId xmlns:a16="http://schemas.microsoft.com/office/drawing/2014/main" id="{7D16D342-3C6A-4498-9FE7-568DA51664C2}"/>
                </a:ext>
              </a:extLst>
            </p:cNvPr>
            <p:cNvSpPr/>
            <p:nvPr/>
          </p:nvSpPr>
          <p:spPr>
            <a:xfrm>
              <a:off x="2746270" y="1144592"/>
              <a:ext cx="914400" cy="914400"/>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9" name="Group 78">
              <a:extLst>
                <a:ext uri="{FF2B5EF4-FFF2-40B4-BE49-F238E27FC236}">
                  <a16:creationId xmlns:a16="http://schemas.microsoft.com/office/drawing/2014/main" id="{D408E814-727D-46E2-974B-16D7BC6EF0EF}"/>
                </a:ext>
              </a:extLst>
            </p:cNvPr>
            <p:cNvGrpSpPr/>
            <p:nvPr/>
          </p:nvGrpSpPr>
          <p:grpSpPr>
            <a:xfrm>
              <a:off x="2975412" y="1213141"/>
              <a:ext cx="456116" cy="741434"/>
              <a:chOff x="5819070" y="2500360"/>
              <a:chExt cx="1426161" cy="2318286"/>
            </a:xfrm>
            <a:grpFill/>
          </p:grpSpPr>
          <p:sp>
            <p:nvSpPr>
              <p:cNvPr id="80" name="Freeform 15">
                <a:extLst>
                  <a:ext uri="{FF2B5EF4-FFF2-40B4-BE49-F238E27FC236}">
                    <a16:creationId xmlns:a16="http://schemas.microsoft.com/office/drawing/2014/main" id="{F2E541A5-8104-465D-A414-754C7A410AA6}"/>
                  </a:ext>
                </a:extLst>
              </p:cNvPr>
              <p:cNvSpPr>
                <a:spLocks/>
              </p:cNvSpPr>
              <p:nvPr/>
            </p:nvSpPr>
            <p:spPr bwMode="gray">
              <a:xfrm>
                <a:off x="7097783" y="4118576"/>
                <a:ext cx="115232" cy="135058"/>
              </a:xfrm>
              <a:custGeom>
                <a:avLst/>
                <a:gdLst>
                  <a:gd name="T0" fmla="*/ 76 w 93"/>
                  <a:gd name="T1" fmla="*/ 10 h 109"/>
                  <a:gd name="T2" fmla="*/ 75 w 93"/>
                  <a:gd name="T3" fmla="*/ 19 h 109"/>
                  <a:gd name="T4" fmla="*/ 73 w 93"/>
                  <a:gd name="T5" fmla="*/ 22 h 109"/>
                  <a:gd name="T6" fmla="*/ 73 w 93"/>
                  <a:gd name="T7" fmla="*/ 29 h 109"/>
                  <a:gd name="T8" fmla="*/ 80 w 93"/>
                  <a:gd name="T9" fmla="*/ 29 h 109"/>
                  <a:gd name="T10" fmla="*/ 87 w 93"/>
                  <a:gd name="T11" fmla="*/ 32 h 109"/>
                  <a:gd name="T12" fmla="*/ 93 w 93"/>
                  <a:gd name="T13" fmla="*/ 32 h 109"/>
                  <a:gd name="T14" fmla="*/ 93 w 93"/>
                  <a:gd name="T15" fmla="*/ 43 h 109"/>
                  <a:gd name="T16" fmla="*/ 93 w 93"/>
                  <a:gd name="T17" fmla="*/ 48 h 109"/>
                  <a:gd name="T18" fmla="*/ 88 w 93"/>
                  <a:gd name="T19" fmla="*/ 49 h 109"/>
                  <a:gd name="T20" fmla="*/ 85 w 93"/>
                  <a:gd name="T21" fmla="*/ 55 h 109"/>
                  <a:gd name="T22" fmla="*/ 76 w 93"/>
                  <a:gd name="T23" fmla="*/ 61 h 109"/>
                  <a:gd name="T24" fmla="*/ 71 w 93"/>
                  <a:gd name="T25" fmla="*/ 72 h 109"/>
                  <a:gd name="T26" fmla="*/ 68 w 93"/>
                  <a:gd name="T27" fmla="*/ 75 h 109"/>
                  <a:gd name="T28" fmla="*/ 63 w 93"/>
                  <a:gd name="T29" fmla="*/ 82 h 109"/>
                  <a:gd name="T30" fmla="*/ 63 w 93"/>
                  <a:gd name="T31" fmla="*/ 87 h 109"/>
                  <a:gd name="T32" fmla="*/ 59 w 93"/>
                  <a:gd name="T33" fmla="*/ 90 h 109"/>
                  <a:gd name="T34" fmla="*/ 49 w 93"/>
                  <a:gd name="T35" fmla="*/ 100 h 109"/>
                  <a:gd name="T36" fmla="*/ 44 w 93"/>
                  <a:gd name="T37" fmla="*/ 104 h 109"/>
                  <a:gd name="T38" fmla="*/ 39 w 93"/>
                  <a:gd name="T39" fmla="*/ 109 h 109"/>
                  <a:gd name="T40" fmla="*/ 20 w 93"/>
                  <a:gd name="T41" fmla="*/ 94 h 109"/>
                  <a:gd name="T42" fmla="*/ 12 w 93"/>
                  <a:gd name="T43" fmla="*/ 75 h 109"/>
                  <a:gd name="T44" fmla="*/ 15 w 93"/>
                  <a:gd name="T45" fmla="*/ 51 h 109"/>
                  <a:gd name="T46" fmla="*/ 12 w 93"/>
                  <a:gd name="T47" fmla="*/ 44 h 109"/>
                  <a:gd name="T48" fmla="*/ 13 w 93"/>
                  <a:gd name="T49" fmla="*/ 39 h 109"/>
                  <a:gd name="T50" fmla="*/ 10 w 93"/>
                  <a:gd name="T51" fmla="*/ 36 h 109"/>
                  <a:gd name="T52" fmla="*/ 8 w 93"/>
                  <a:gd name="T53" fmla="*/ 32 h 109"/>
                  <a:gd name="T54" fmla="*/ 3 w 93"/>
                  <a:gd name="T55" fmla="*/ 27 h 109"/>
                  <a:gd name="T56" fmla="*/ 0 w 93"/>
                  <a:gd name="T57" fmla="*/ 24 h 109"/>
                  <a:gd name="T58" fmla="*/ 3 w 93"/>
                  <a:gd name="T59" fmla="*/ 15 h 109"/>
                  <a:gd name="T60" fmla="*/ 8 w 93"/>
                  <a:gd name="T61" fmla="*/ 14 h 109"/>
                  <a:gd name="T62" fmla="*/ 17 w 93"/>
                  <a:gd name="T63" fmla="*/ 17 h 109"/>
                  <a:gd name="T64" fmla="*/ 17 w 93"/>
                  <a:gd name="T65" fmla="*/ 22 h 109"/>
                  <a:gd name="T66" fmla="*/ 24 w 93"/>
                  <a:gd name="T67" fmla="*/ 26 h 109"/>
                  <a:gd name="T68" fmla="*/ 30 w 93"/>
                  <a:gd name="T69" fmla="*/ 24 h 109"/>
                  <a:gd name="T70" fmla="*/ 36 w 93"/>
                  <a:gd name="T71" fmla="*/ 26 h 109"/>
                  <a:gd name="T72" fmla="*/ 41 w 93"/>
                  <a:gd name="T73" fmla="*/ 22 h 109"/>
                  <a:gd name="T74" fmla="*/ 47 w 93"/>
                  <a:gd name="T75" fmla="*/ 19 h 109"/>
                  <a:gd name="T76" fmla="*/ 49 w 93"/>
                  <a:gd name="T77" fmla="*/ 7 h 109"/>
                  <a:gd name="T78" fmla="*/ 53 w 93"/>
                  <a:gd name="T79" fmla="*/ 2 h 109"/>
                  <a:gd name="T80" fmla="*/ 61 w 93"/>
                  <a:gd name="T81" fmla="*/ 5 h 109"/>
                  <a:gd name="T82" fmla="*/ 66 w 93"/>
                  <a:gd name="T83" fmla="*/ 3 h 109"/>
                  <a:gd name="T84" fmla="*/ 71 w 93"/>
                  <a:gd name="T85" fmla="*/ 0 h 109"/>
                  <a:gd name="T86" fmla="*/ 75 w 93"/>
                  <a:gd name="T87" fmla="*/ 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09">
                    <a:moveTo>
                      <a:pt x="78" y="5"/>
                    </a:moveTo>
                    <a:lnTo>
                      <a:pt x="76" y="9"/>
                    </a:lnTo>
                    <a:lnTo>
                      <a:pt x="76" y="10"/>
                    </a:lnTo>
                    <a:lnTo>
                      <a:pt x="76" y="12"/>
                    </a:lnTo>
                    <a:lnTo>
                      <a:pt x="73" y="17"/>
                    </a:lnTo>
                    <a:lnTo>
                      <a:pt x="75" y="19"/>
                    </a:lnTo>
                    <a:lnTo>
                      <a:pt x="78" y="17"/>
                    </a:lnTo>
                    <a:lnTo>
                      <a:pt x="78" y="19"/>
                    </a:lnTo>
                    <a:lnTo>
                      <a:pt x="73" y="22"/>
                    </a:lnTo>
                    <a:lnTo>
                      <a:pt x="73" y="24"/>
                    </a:lnTo>
                    <a:lnTo>
                      <a:pt x="71" y="27"/>
                    </a:lnTo>
                    <a:lnTo>
                      <a:pt x="73" y="29"/>
                    </a:lnTo>
                    <a:lnTo>
                      <a:pt x="73" y="31"/>
                    </a:lnTo>
                    <a:lnTo>
                      <a:pt x="76" y="32"/>
                    </a:lnTo>
                    <a:lnTo>
                      <a:pt x="80" y="29"/>
                    </a:lnTo>
                    <a:lnTo>
                      <a:pt x="83" y="32"/>
                    </a:lnTo>
                    <a:lnTo>
                      <a:pt x="85" y="34"/>
                    </a:lnTo>
                    <a:lnTo>
                      <a:pt x="87" y="32"/>
                    </a:lnTo>
                    <a:lnTo>
                      <a:pt x="88" y="34"/>
                    </a:lnTo>
                    <a:lnTo>
                      <a:pt x="90" y="34"/>
                    </a:lnTo>
                    <a:lnTo>
                      <a:pt x="93" y="32"/>
                    </a:lnTo>
                    <a:lnTo>
                      <a:pt x="92" y="38"/>
                    </a:lnTo>
                    <a:lnTo>
                      <a:pt x="93" y="39"/>
                    </a:lnTo>
                    <a:lnTo>
                      <a:pt x="93" y="43"/>
                    </a:lnTo>
                    <a:lnTo>
                      <a:pt x="93" y="44"/>
                    </a:lnTo>
                    <a:lnTo>
                      <a:pt x="92" y="46"/>
                    </a:lnTo>
                    <a:lnTo>
                      <a:pt x="93" y="48"/>
                    </a:lnTo>
                    <a:lnTo>
                      <a:pt x="90" y="49"/>
                    </a:lnTo>
                    <a:lnTo>
                      <a:pt x="88" y="48"/>
                    </a:lnTo>
                    <a:lnTo>
                      <a:pt x="88" y="49"/>
                    </a:lnTo>
                    <a:lnTo>
                      <a:pt x="85" y="51"/>
                    </a:lnTo>
                    <a:lnTo>
                      <a:pt x="83" y="53"/>
                    </a:lnTo>
                    <a:lnTo>
                      <a:pt x="85" y="55"/>
                    </a:lnTo>
                    <a:lnTo>
                      <a:pt x="85" y="56"/>
                    </a:lnTo>
                    <a:lnTo>
                      <a:pt x="78" y="61"/>
                    </a:lnTo>
                    <a:lnTo>
                      <a:pt x="76" y="61"/>
                    </a:lnTo>
                    <a:lnTo>
                      <a:pt x="73" y="63"/>
                    </a:lnTo>
                    <a:lnTo>
                      <a:pt x="73" y="65"/>
                    </a:lnTo>
                    <a:lnTo>
                      <a:pt x="71" y="72"/>
                    </a:lnTo>
                    <a:lnTo>
                      <a:pt x="71" y="75"/>
                    </a:lnTo>
                    <a:lnTo>
                      <a:pt x="70" y="73"/>
                    </a:lnTo>
                    <a:lnTo>
                      <a:pt x="68" y="75"/>
                    </a:lnTo>
                    <a:lnTo>
                      <a:pt x="66" y="77"/>
                    </a:lnTo>
                    <a:lnTo>
                      <a:pt x="64" y="80"/>
                    </a:lnTo>
                    <a:lnTo>
                      <a:pt x="63" y="82"/>
                    </a:lnTo>
                    <a:lnTo>
                      <a:pt x="61" y="85"/>
                    </a:lnTo>
                    <a:lnTo>
                      <a:pt x="63" y="85"/>
                    </a:lnTo>
                    <a:lnTo>
                      <a:pt x="63" y="87"/>
                    </a:lnTo>
                    <a:lnTo>
                      <a:pt x="61" y="87"/>
                    </a:lnTo>
                    <a:lnTo>
                      <a:pt x="61" y="90"/>
                    </a:lnTo>
                    <a:lnTo>
                      <a:pt x="59" y="90"/>
                    </a:lnTo>
                    <a:lnTo>
                      <a:pt x="54" y="94"/>
                    </a:lnTo>
                    <a:lnTo>
                      <a:pt x="53" y="99"/>
                    </a:lnTo>
                    <a:lnTo>
                      <a:pt x="49" y="100"/>
                    </a:lnTo>
                    <a:lnTo>
                      <a:pt x="49" y="102"/>
                    </a:lnTo>
                    <a:lnTo>
                      <a:pt x="46" y="104"/>
                    </a:lnTo>
                    <a:lnTo>
                      <a:pt x="44" y="104"/>
                    </a:lnTo>
                    <a:lnTo>
                      <a:pt x="41" y="104"/>
                    </a:lnTo>
                    <a:lnTo>
                      <a:pt x="39" y="107"/>
                    </a:lnTo>
                    <a:lnTo>
                      <a:pt x="39" y="109"/>
                    </a:lnTo>
                    <a:lnTo>
                      <a:pt x="34" y="107"/>
                    </a:lnTo>
                    <a:lnTo>
                      <a:pt x="20" y="107"/>
                    </a:lnTo>
                    <a:lnTo>
                      <a:pt x="20" y="94"/>
                    </a:lnTo>
                    <a:lnTo>
                      <a:pt x="19" y="89"/>
                    </a:lnTo>
                    <a:lnTo>
                      <a:pt x="15" y="82"/>
                    </a:lnTo>
                    <a:lnTo>
                      <a:pt x="12" y="75"/>
                    </a:lnTo>
                    <a:lnTo>
                      <a:pt x="12" y="70"/>
                    </a:lnTo>
                    <a:lnTo>
                      <a:pt x="13" y="56"/>
                    </a:lnTo>
                    <a:lnTo>
                      <a:pt x="15" y="51"/>
                    </a:lnTo>
                    <a:lnTo>
                      <a:pt x="12" y="48"/>
                    </a:lnTo>
                    <a:lnTo>
                      <a:pt x="12" y="46"/>
                    </a:lnTo>
                    <a:lnTo>
                      <a:pt x="12" y="44"/>
                    </a:lnTo>
                    <a:lnTo>
                      <a:pt x="12" y="43"/>
                    </a:lnTo>
                    <a:lnTo>
                      <a:pt x="13" y="41"/>
                    </a:lnTo>
                    <a:lnTo>
                      <a:pt x="13" y="39"/>
                    </a:lnTo>
                    <a:lnTo>
                      <a:pt x="13" y="38"/>
                    </a:lnTo>
                    <a:lnTo>
                      <a:pt x="12" y="36"/>
                    </a:lnTo>
                    <a:lnTo>
                      <a:pt x="10" y="36"/>
                    </a:lnTo>
                    <a:lnTo>
                      <a:pt x="10" y="34"/>
                    </a:lnTo>
                    <a:lnTo>
                      <a:pt x="8" y="34"/>
                    </a:lnTo>
                    <a:lnTo>
                      <a:pt x="8" y="32"/>
                    </a:lnTo>
                    <a:lnTo>
                      <a:pt x="5" y="31"/>
                    </a:lnTo>
                    <a:lnTo>
                      <a:pt x="5" y="27"/>
                    </a:lnTo>
                    <a:lnTo>
                      <a:pt x="3" y="27"/>
                    </a:lnTo>
                    <a:lnTo>
                      <a:pt x="3" y="26"/>
                    </a:lnTo>
                    <a:lnTo>
                      <a:pt x="0" y="26"/>
                    </a:lnTo>
                    <a:lnTo>
                      <a:pt x="0" y="24"/>
                    </a:lnTo>
                    <a:lnTo>
                      <a:pt x="2" y="22"/>
                    </a:lnTo>
                    <a:lnTo>
                      <a:pt x="3" y="22"/>
                    </a:lnTo>
                    <a:lnTo>
                      <a:pt x="3" y="15"/>
                    </a:lnTo>
                    <a:lnTo>
                      <a:pt x="5" y="14"/>
                    </a:lnTo>
                    <a:lnTo>
                      <a:pt x="7" y="15"/>
                    </a:lnTo>
                    <a:lnTo>
                      <a:pt x="8" y="14"/>
                    </a:lnTo>
                    <a:lnTo>
                      <a:pt x="8" y="15"/>
                    </a:lnTo>
                    <a:lnTo>
                      <a:pt x="13" y="15"/>
                    </a:lnTo>
                    <a:lnTo>
                      <a:pt x="17" y="17"/>
                    </a:lnTo>
                    <a:lnTo>
                      <a:pt x="17" y="19"/>
                    </a:lnTo>
                    <a:lnTo>
                      <a:pt x="19" y="22"/>
                    </a:lnTo>
                    <a:lnTo>
                      <a:pt x="17" y="22"/>
                    </a:lnTo>
                    <a:lnTo>
                      <a:pt x="19" y="26"/>
                    </a:lnTo>
                    <a:lnTo>
                      <a:pt x="22" y="24"/>
                    </a:lnTo>
                    <a:lnTo>
                      <a:pt x="24" y="26"/>
                    </a:lnTo>
                    <a:lnTo>
                      <a:pt x="25" y="24"/>
                    </a:lnTo>
                    <a:lnTo>
                      <a:pt x="27" y="26"/>
                    </a:lnTo>
                    <a:lnTo>
                      <a:pt x="30" y="24"/>
                    </a:lnTo>
                    <a:lnTo>
                      <a:pt x="32" y="26"/>
                    </a:lnTo>
                    <a:lnTo>
                      <a:pt x="34" y="24"/>
                    </a:lnTo>
                    <a:lnTo>
                      <a:pt x="36" y="26"/>
                    </a:lnTo>
                    <a:lnTo>
                      <a:pt x="39" y="26"/>
                    </a:lnTo>
                    <a:lnTo>
                      <a:pt x="39" y="22"/>
                    </a:lnTo>
                    <a:lnTo>
                      <a:pt x="41" y="22"/>
                    </a:lnTo>
                    <a:lnTo>
                      <a:pt x="42" y="24"/>
                    </a:lnTo>
                    <a:lnTo>
                      <a:pt x="46" y="22"/>
                    </a:lnTo>
                    <a:lnTo>
                      <a:pt x="47" y="19"/>
                    </a:lnTo>
                    <a:lnTo>
                      <a:pt x="47" y="17"/>
                    </a:lnTo>
                    <a:lnTo>
                      <a:pt x="47" y="12"/>
                    </a:lnTo>
                    <a:lnTo>
                      <a:pt x="49" y="7"/>
                    </a:lnTo>
                    <a:lnTo>
                      <a:pt x="47" y="3"/>
                    </a:lnTo>
                    <a:lnTo>
                      <a:pt x="49" y="0"/>
                    </a:lnTo>
                    <a:lnTo>
                      <a:pt x="53" y="2"/>
                    </a:lnTo>
                    <a:lnTo>
                      <a:pt x="54" y="3"/>
                    </a:lnTo>
                    <a:lnTo>
                      <a:pt x="58" y="7"/>
                    </a:lnTo>
                    <a:lnTo>
                      <a:pt x="61" y="5"/>
                    </a:lnTo>
                    <a:lnTo>
                      <a:pt x="63" y="2"/>
                    </a:lnTo>
                    <a:lnTo>
                      <a:pt x="64" y="3"/>
                    </a:lnTo>
                    <a:lnTo>
                      <a:pt x="66" y="3"/>
                    </a:lnTo>
                    <a:lnTo>
                      <a:pt x="70" y="2"/>
                    </a:lnTo>
                    <a:lnTo>
                      <a:pt x="70" y="0"/>
                    </a:lnTo>
                    <a:lnTo>
                      <a:pt x="71" y="0"/>
                    </a:lnTo>
                    <a:lnTo>
                      <a:pt x="73" y="0"/>
                    </a:lnTo>
                    <a:lnTo>
                      <a:pt x="75" y="0"/>
                    </a:lnTo>
                    <a:lnTo>
                      <a:pt x="75" y="2"/>
                    </a:lnTo>
                    <a:lnTo>
                      <a:pt x="78" y="5"/>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6">
                <a:extLst>
                  <a:ext uri="{FF2B5EF4-FFF2-40B4-BE49-F238E27FC236}">
                    <a16:creationId xmlns:a16="http://schemas.microsoft.com/office/drawing/2014/main" id="{CE2E9262-0CE9-4C17-964E-37C4C11B6C82}"/>
                  </a:ext>
                </a:extLst>
              </p:cNvPr>
              <p:cNvSpPr>
                <a:spLocks noEditPoints="1"/>
              </p:cNvSpPr>
              <p:nvPr/>
            </p:nvSpPr>
            <p:spPr bwMode="gray">
              <a:xfrm>
                <a:off x="5819070" y="3150868"/>
                <a:ext cx="475800" cy="718656"/>
              </a:xfrm>
              <a:custGeom>
                <a:avLst/>
                <a:gdLst>
                  <a:gd name="T0" fmla="*/ 306 w 384"/>
                  <a:gd name="T1" fmla="*/ 19 h 580"/>
                  <a:gd name="T2" fmla="*/ 318 w 384"/>
                  <a:gd name="T3" fmla="*/ 48 h 580"/>
                  <a:gd name="T4" fmla="*/ 326 w 384"/>
                  <a:gd name="T5" fmla="*/ 63 h 580"/>
                  <a:gd name="T6" fmla="*/ 328 w 384"/>
                  <a:gd name="T7" fmla="*/ 80 h 580"/>
                  <a:gd name="T8" fmla="*/ 326 w 384"/>
                  <a:gd name="T9" fmla="*/ 104 h 580"/>
                  <a:gd name="T10" fmla="*/ 343 w 384"/>
                  <a:gd name="T11" fmla="*/ 145 h 580"/>
                  <a:gd name="T12" fmla="*/ 299 w 384"/>
                  <a:gd name="T13" fmla="*/ 155 h 580"/>
                  <a:gd name="T14" fmla="*/ 275 w 384"/>
                  <a:gd name="T15" fmla="*/ 179 h 580"/>
                  <a:gd name="T16" fmla="*/ 306 w 384"/>
                  <a:gd name="T17" fmla="*/ 211 h 580"/>
                  <a:gd name="T18" fmla="*/ 343 w 384"/>
                  <a:gd name="T19" fmla="*/ 254 h 580"/>
                  <a:gd name="T20" fmla="*/ 345 w 384"/>
                  <a:gd name="T21" fmla="*/ 288 h 580"/>
                  <a:gd name="T22" fmla="*/ 314 w 384"/>
                  <a:gd name="T23" fmla="*/ 339 h 580"/>
                  <a:gd name="T24" fmla="*/ 303 w 384"/>
                  <a:gd name="T25" fmla="*/ 381 h 580"/>
                  <a:gd name="T26" fmla="*/ 308 w 384"/>
                  <a:gd name="T27" fmla="*/ 414 h 580"/>
                  <a:gd name="T28" fmla="*/ 328 w 384"/>
                  <a:gd name="T29" fmla="*/ 444 h 580"/>
                  <a:gd name="T30" fmla="*/ 364 w 384"/>
                  <a:gd name="T31" fmla="*/ 507 h 580"/>
                  <a:gd name="T32" fmla="*/ 379 w 384"/>
                  <a:gd name="T33" fmla="*/ 533 h 580"/>
                  <a:gd name="T34" fmla="*/ 377 w 384"/>
                  <a:gd name="T35" fmla="*/ 558 h 580"/>
                  <a:gd name="T36" fmla="*/ 376 w 384"/>
                  <a:gd name="T37" fmla="*/ 579 h 580"/>
                  <a:gd name="T38" fmla="*/ 352 w 384"/>
                  <a:gd name="T39" fmla="*/ 565 h 580"/>
                  <a:gd name="T40" fmla="*/ 328 w 384"/>
                  <a:gd name="T41" fmla="*/ 563 h 580"/>
                  <a:gd name="T42" fmla="*/ 314 w 384"/>
                  <a:gd name="T43" fmla="*/ 560 h 580"/>
                  <a:gd name="T44" fmla="*/ 301 w 384"/>
                  <a:gd name="T45" fmla="*/ 551 h 580"/>
                  <a:gd name="T46" fmla="*/ 235 w 384"/>
                  <a:gd name="T47" fmla="*/ 548 h 580"/>
                  <a:gd name="T48" fmla="*/ 206 w 384"/>
                  <a:gd name="T49" fmla="*/ 550 h 580"/>
                  <a:gd name="T50" fmla="*/ 163 w 384"/>
                  <a:gd name="T51" fmla="*/ 548 h 580"/>
                  <a:gd name="T52" fmla="*/ 80 w 384"/>
                  <a:gd name="T53" fmla="*/ 553 h 580"/>
                  <a:gd name="T54" fmla="*/ 65 w 384"/>
                  <a:gd name="T55" fmla="*/ 521 h 580"/>
                  <a:gd name="T56" fmla="*/ 53 w 384"/>
                  <a:gd name="T57" fmla="*/ 480 h 580"/>
                  <a:gd name="T58" fmla="*/ 56 w 384"/>
                  <a:gd name="T59" fmla="*/ 473 h 580"/>
                  <a:gd name="T60" fmla="*/ 58 w 384"/>
                  <a:gd name="T61" fmla="*/ 466 h 580"/>
                  <a:gd name="T62" fmla="*/ 56 w 384"/>
                  <a:gd name="T63" fmla="*/ 461 h 580"/>
                  <a:gd name="T64" fmla="*/ 49 w 384"/>
                  <a:gd name="T65" fmla="*/ 461 h 580"/>
                  <a:gd name="T66" fmla="*/ 39 w 384"/>
                  <a:gd name="T67" fmla="*/ 460 h 580"/>
                  <a:gd name="T68" fmla="*/ 19 w 384"/>
                  <a:gd name="T69" fmla="*/ 451 h 580"/>
                  <a:gd name="T70" fmla="*/ 14 w 384"/>
                  <a:gd name="T71" fmla="*/ 431 h 580"/>
                  <a:gd name="T72" fmla="*/ 7 w 384"/>
                  <a:gd name="T73" fmla="*/ 422 h 580"/>
                  <a:gd name="T74" fmla="*/ 5 w 384"/>
                  <a:gd name="T75" fmla="*/ 427 h 580"/>
                  <a:gd name="T76" fmla="*/ 3 w 384"/>
                  <a:gd name="T77" fmla="*/ 410 h 580"/>
                  <a:gd name="T78" fmla="*/ 14 w 384"/>
                  <a:gd name="T79" fmla="*/ 371 h 580"/>
                  <a:gd name="T80" fmla="*/ 43 w 384"/>
                  <a:gd name="T81" fmla="*/ 337 h 580"/>
                  <a:gd name="T82" fmla="*/ 78 w 384"/>
                  <a:gd name="T83" fmla="*/ 306 h 580"/>
                  <a:gd name="T84" fmla="*/ 105 w 384"/>
                  <a:gd name="T85" fmla="*/ 306 h 580"/>
                  <a:gd name="T86" fmla="*/ 122 w 384"/>
                  <a:gd name="T87" fmla="*/ 323 h 580"/>
                  <a:gd name="T88" fmla="*/ 150 w 384"/>
                  <a:gd name="T89" fmla="*/ 327 h 580"/>
                  <a:gd name="T90" fmla="*/ 163 w 384"/>
                  <a:gd name="T91" fmla="*/ 306 h 580"/>
                  <a:gd name="T92" fmla="*/ 182 w 384"/>
                  <a:gd name="T93" fmla="*/ 261 h 580"/>
                  <a:gd name="T94" fmla="*/ 204 w 384"/>
                  <a:gd name="T95" fmla="*/ 225 h 580"/>
                  <a:gd name="T96" fmla="*/ 216 w 384"/>
                  <a:gd name="T97" fmla="*/ 187 h 580"/>
                  <a:gd name="T98" fmla="*/ 235 w 384"/>
                  <a:gd name="T99" fmla="*/ 162 h 580"/>
                  <a:gd name="T100" fmla="*/ 248 w 384"/>
                  <a:gd name="T101" fmla="*/ 128 h 580"/>
                  <a:gd name="T102" fmla="*/ 279 w 384"/>
                  <a:gd name="T103" fmla="*/ 94 h 580"/>
                  <a:gd name="T104" fmla="*/ 304 w 384"/>
                  <a:gd name="T105" fmla="*/ 58 h 580"/>
                  <a:gd name="T106" fmla="*/ 299 w 384"/>
                  <a:gd name="T107" fmla="*/ 41 h 580"/>
                  <a:gd name="T108" fmla="*/ 282 w 384"/>
                  <a:gd name="T109" fmla="*/ 34 h 580"/>
                  <a:gd name="T110" fmla="*/ 41 w 384"/>
                  <a:gd name="T111" fmla="*/ 466 h 580"/>
                  <a:gd name="T112" fmla="*/ 43 w 384"/>
                  <a:gd name="T113" fmla="*/ 461 h 580"/>
                  <a:gd name="T114" fmla="*/ 10 w 384"/>
                  <a:gd name="T115" fmla="*/ 429 h 580"/>
                  <a:gd name="T116" fmla="*/ 46 w 384"/>
                  <a:gd name="T117" fmla="*/ 463 h 580"/>
                  <a:gd name="T118" fmla="*/ 41 w 384"/>
                  <a:gd name="T119" fmla="*/ 456 h 580"/>
                  <a:gd name="T120" fmla="*/ 41 w 384"/>
                  <a:gd name="T121" fmla="*/ 460 h 580"/>
                  <a:gd name="T122" fmla="*/ 43 w 384"/>
                  <a:gd name="T123" fmla="*/ 460 h 580"/>
                  <a:gd name="T124" fmla="*/ 54 w 384"/>
                  <a:gd name="T125" fmla="*/ 48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4" h="580">
                    <a:moveTo>
                      <a:pt x="277" y="0"/>
                    </a:moveTo>
                    <a:lnTo>
                      <a:pt x="296" y="0"/>
                    </a:lnTo>
                    <a:lnTo>
                      <a:pt x="301" y="7"/>
                    </a:lnTo>
                    <a:lnTo>
                      <a:pt x="301" y="9"/>
                    </a:lnTo>
                    <a:lnTo>
                      <a:pt x="301" y="10"/>
                    </a:lnTo>
                    <a:lnTo>
                      <a:pt x="301" y="12"/>
                    </a:lnTo>
                    <a:lnTo>
                      <a:pt x="301" y="14"/>
                    </a:lnTo>
                    <a:lnTo>
                      <a:pt x="301" y="16"/>
                    </a:lnTo>
                    <a:lnTo>
                      <a:pt x="303" y="16"/>
                    </a:lnTo>
                    <a:lnTo>
                      <a:pt x="303" y="17"/>
                    </a:lnTo>
                    <a:lnTo>
                      <a:pt x="304" y="16"/>
                    </a:lnTo>
                    <a:lnTo>
                      <a:pt x="304" y="17"/>
                    </a:lnTo>
                    <a:lnTo>
                      <a:pt x="306" y="19"/>
                    </a:lnTo>
                    <a:lnTo>
                      <a:pt x="309" y="19"/>
                    </a:lnTo>
                    <a:lnTo>
                      <a:pt x="308" y="21"/>
                    </a:lnTo>
                    <a:lnTo>
                      <a:pt x="309" y="22"/>
                    </a:lnTo>
                    <a:lnTo>
                      <a:pt x="311" y="21"/>
                    </a:lnTo>
                    <a:lnTo>
                      <a:pt x="311" y="22"/>
                    </a:lnTo>
                    <a:lnTo>
                      <a:pt x="314" y="24"/>
                    </a:lnTo>
                    <a:lnTo>
                      <a:pt x="316" y="31"/>
                    </a:lnTo>
                    <a:lnTo>
                      <a:pt x="316" y="33"/>
                    </a:lnTo>
                    <a:lnTo>
                      <a:pt x="318" y="33"/>
                    </a:lnTo>
                    <a:lnTo>
                      <a:pt x="320" y="36"/>
                    </a:lnTo>
                    <a:lnTo>
                      <a:pt x="318" y="45"/>
                    </a:lnTo>
                    <a:lnTo>
                      <a:pt x="320" y="46"/>
                    </a:lnTo>
                    <a:lnTo>
                      <a:pt x="318" y="48"/>
                    </a:lnTo>
                    <a:lnTo>
                      <a:pt x="321" y="51"/>
                    </a:lnTo>
                    <a:lnTo>
                      <a:pt x="323" y="50"/>
                    </a:lnTo>
                    <a:lnTo>
                      <a:pt x="325" y="50"/>
                    </a:lnTo>
                    <a:lnTo>
                      <a:pt x="325" y="51"/>
                    </a:lnTo>
                    <a:lnTo>
                      <a:pt x="326" y="53"/>
                    </a:lnTo>
                    <a:lnTo>
                      <a:pt x="325" y="53"/>
                    </a:lnTo>
                    <a:lnTo>
                      <a:pt x="326" y="55"/>
                    </a:lnTo>
                    <a:lnTo>
                      <a:pt x="328" y="56"/>
                    </a:lnTo>
                    <a:lnTo>
                      <a:pt x="326" y="56"/>
                    </a:lnTo>
                    <a:lnTo>
                      <a:pt x="326" y="58"/>
                    </a:lnTo>
                    <a:lnTo>
                      <a:pt x="325" y="60"/>
                    </a:lnTo>
                    <a:lnTo>
                      <a:pt x="326" y="62"/>
                    </a:lnTo>
                    <a:lnTo>
                      <a:pt x="326" y="63"/>
                    </a:lnTo>
                    <a:lnTo>
                      <a:pt x="328" y="63"/>
                    </a:lnTo>
                    <a:lnTo>
                      <a:pt x="328" y="65"/>
                    </a:lnTo>
                    <a:lnTo>
                      <a:pt x="330" y="67"/>
                    </a:lnTo>
                    <a:lnTo>
                      <a:pt x="328" y="67"/>
                    </a:lnTo>
                    <a:lnTo>
                      <a:pt x="328" y="68"/>
                    </a:lnTo>
                    <a:lnTo>
                      <a:pt x="326" y="70"/>
                    </a:lnTo>
                    <a:lnTo>
                      <a:pt x="328" y="72"/>
                    </a:lnTo>
                    <a:lnTo>
                      <a:pt x="328" y="73"/>
                    </a:lnTo>
                    <a:lnTo>
                      <a:pt x="328" y="75"/>
                    </a:lnTo>
                    <a:lnTo>
                      <a:pt x="328" y="77"/>
                    </a:lnTo>
                    <a:lnTo>
                      <a:pt x="331" y="77"/>
                    </a:lnTo>
                    <a:lnTo>
                      <a:pt x="330" y="80"/>
                    </a:lnTo>
                    <a:lnTo>
                      <a:pt x="328" y="80"/>
                    </a:lnTo>
                    <a:lnTo>
                      <a:pt x="326" y="84"/>
                    </a:lnTo>
                    <a:lnTo>
                      <a:pt x="326" y="85"/>
                    </a:lnTo>
                    <a:lnTo>
                      <a:pt x="326" y="87"/>
                    </a:lnTo>
                    <a:lnTo>
                      <a:pt x="326" y="89"/>
                    </a:lnTo>
                    <a:lnTo>
                      <a:pt x="326" y="90"/>
                    </a:lnTo>
                    <a:lnTo>
                      <a:pt x="326" y="92"/>
                    </a:lnTo>
                    <a:lnTo>
                      <a:pt x="326" y="94"/>
                    </a:lnTo>
                    <a:lnTo>
                      <a:pt x="326" y="96"/>
                    </a:lnTo>
                    <a:lnTo>
                      <a:pt x="328" y="97"/>
                    </a:lnTo>
                    <a:lnTo>
                      <a:pt x="328" y="101"/>
                    </a:lnTo>
                    <a:lnTo>
                      <a:pt x="330" y="102"/>
                    </a:lnTo>
                    <a:lnTo>
                      <a:pt x="328" y="104"/>
                    </a:lnTo>
                    <a:lnTo>
                      <a:pt x="326" y="104"/>
                    </a:lnTo>
                    <a:lnTo>
                      <a:pt x="326" y="106"/>
                    </a:lnTo>
                    <a:lnTo>
                      <a:pt x="328" y="109"/>
                    </a:lnTo>
                    <a:lnTo>
                      <a:pt x="328" y="113"/>
                    </a:lnTo>
                    <a:lnTo>
                      <a:pt x="326" y="116"/>
                    </a:lnTo>
                    <a:lnTo>
                      <a:pt x="330" y="121"/>
                    </a:lnTo>
                    <a:lnTo>
                      <a:pt x="331" y="124"/>
                    </a:lnTo>
                    <a:lnTo>
                      <a:pt x="331" y="130"/>
                    </a:lnTo>
                    <a:lnTo>
                      <a:pt x="335" y="133"/>
                    </a:lnTo>
                    <a:lnTo>
                      <a:pt x="337" y="135"/>
                    </a:lnTo>
                    <a:lnTo>
                      <a:pt x="337" y="136"/>
                    </a:lnTo>
                    <a:lnTo>
                      <a:pt x="338" y="141"/>
                    </a:lnTo>
                    <a:lnTo>
                      <a:pt x="342" y="141"/>
                    </a:lnTo>
                    <a:lnTo>
                      <a:pt x="343" y="145"/>
                    </a:lnTo>
                    <a:lnTo>
                      <a:pt x="348" y="152"/>
                    </a:lnTo>
                    <a:lnTo>
                      <a:pt x="359" y="157"/>
                    </a:lnTo>
                    <a:lnTo>
                      <a:pt x="354" y="158"/>
                    </a:lnTo>
                    <a:lnTo>
                      <a:pt x="345" y="160"/>
                    </a:lnTo>
                    <a:lnTo>
                      <a:pt x="335" y="157"/>
                    </a:lnTo>
                    <a:lnTo>
                      <a:pt x="333" y="158"/>
                    </a:lnTo>
                    <a:lnTo>
                      <a:pt x="330" y="157"/>
                    </a:lnTo>
                    <a:lnTo>
                      <a:pt x="328" y="158"/>
                    </a:lnTo>
                    <a:lnTo>
                      <a:pt x="323" y="157"/>
                    </a:lnTo>
                    <a:lnTo>
                      <a:pt x="314" y="160"/>
                    </a:lnTo>
                    <a:lnTo>
                      <a:pt x="311" y="160"/>
                    </a:lnTo>
                    <a:lnTo>
                      <a:pt x="308" y="158"/>
                    </a:lnTo>
                    <a:lnTo>
                      <a:pt x="299" y="155"/>
                    </a:lnTo>
                    <a:lnTo>
                      <a:pt x="286" y="157"/>
                    </a:lnTo>
                    <a:lnTo>
                      <a:pt x="284" y="157"/>
                    </a:lnTo>
                    <a:lnTo>
                      <a:pt x="282" y="162"/>
                    </a:lnTo>
                    <a:lnTo>
                      <a:pt x="280" y="164"/>
                    </a:lnTo>
                    <a:lnTo>
                      <a:pt x="279" y="165"/>
                    </a:lnTo>
                    <a:lnTo>
                      <a:pt x="277" y="165"/>
                    </a:lnTo>
                    <a:lnTo>
                      <a:pt x="275" y="169"/>
                    </a:lnTo>
                    <a:lnTo>
                      <a:pt x="274" y="172"/>
                    </a:lnTo>
                    <a:lnTo>
                      <a:pt x="274" y="175"/>
                    </a:lnTo>
                    <a:lnTo>
                      <a:pt x="275" y="177"/>
                    </a:lnTo>
                    <a:lnTo>
                      <a:pt x="275" y="175"/>
                    </a:lnTo>
                    <a:lnTo>
                      <a:pt x="277" y="177"/>
                    </a:lnTo>
                    <a:lnTo>
                      <a:pt x="275" y="179"/>
                    </a:lnTo>
                    <a:lnTo>
                      <a:pt x="279" y="181"/>
                    </a:lnTo>
                    <a:lnTo>
                      <a:pt x="282" y="182"/>
                    </a:lnTo>
                    <a:lnTo>
                      <a:pt x="284" y="187"/>
                    </a:lnTo>
                    <a:lnTo>
                      <a:pt x="287" y="189"/>
                    </a:lnTo>
                    <a:lnTo>
                      <a:pt x="289" y="189"/>
                    </a:lnTo>
                    <a:lnTo>
                      <a:pt x="289" y="191"/>
                    </a:lnTo>
                    <a:lnTo>
                      <a:pt x="292" y="193"/>
                    </a:lnTo>
                    <a:lnTo>
                      <a:pt x="292" y="198"/>
                    </a:lnTo>
                    <a:lnTo>
                      <a:pt x="294" y="201"/>
                    </a:lnTo>
                    <a:lnTo>
                      <a:pt x="297" y="203"/>
                    </a:lnTo>
                    <a:lnTo>
                      <a:pt x="297" y="204"/>
                    </a:lnTo>
                    <a:lnTo>
                      <a:pt x="303" y="208"/>
                    </a:lnTo>
                    <a:lnTo>
                      <a:pt x="306" y="211"/>
                    </a:lnTo>
                    <a:lnTo>
                      <a:pt x="308" y="213"/>
                    </a:lnTo>
                    <a:lnTo>
                      <a:pt x="311" y="216"/>
                    </a:lnTo>
                    <a:lnTo>
                      <a:pt x="314" y="218"/>
                    </a:lnTo>
                    <a:lnTo>
                      <a:pt x="318" y="216"/>
                    </a:lnTo>
                    <a:lnTo>
                      <a:pt x="320" y="218"/>
                    </a:lnTo>
                    <a:lnTo>
                      <a:pt x="320" y="220"/>
                    </a:lnTo>
                    <a:lnTo>
                      <a:pt x="323" y="221"/>
                    </a:lnTo>
                    <a:lnTo>
                      <a:pt x="323" y="223"/>
                    </a:lnTo>
                    <a:lnTo>
                      <a:pt x="325" y="225"/>
                    </a:lnTo>
                    <a:lnTo>
                      <a:pt x="330" y="223"/>
                    </a:lnTo>
                    <a:lnTo>
                      <a:pt x="333" y="227"/>
                    </a:lnTo>
                    <a:lnTo>
                      <a:pt x="338" y="244"/>
                    </a:lnTo>
                    <a:lnTo>
                      <a:pt x="343" y="254"/>
                    </a:lnTo>
                    <a:lnTo>
                      <a:pt x="342" y="255"/>
                    </a:lnTo>
                    <a:lnTo>
                      <a:pt x="345" y="259"/>
                    </a:lnTo>
                    <a:lnTo>
                      <a:pt x="345" y="262"/>
                    </a:lnTo>
                    <a:lnTo>
                      <a:pt x="348" y="267"/>
                    </a:lnTo>
                    <a:lnTo>
                      <a:pt x="348" y="269"/>
                    </a:lnTo>
                    <a:lnTo>
                      <a:pt x="350" y="269"/>
                    </a:lnTo>
                    <a:lnTo>
                      <a:pt x="352" y="271"/>
                    </a:lnTo>
                    <a:lnTo>
                      <a:pt x="354" y="271"/>
                    </a:lnTo>
                    <a:lnTo>
                      <a:pt x="354" y="274"/>
                    </a:lnTo>
                    <a:lnTo>
                      <a:pt x="352" y="278"/>
                    </a:lnTo>
                    <a:lnTo>
                      <a:pt x="352" y="279"/>
                    </a:lnTo>
                    <a:lnTo>
                      <a:pt x="348" y="283"/>
                    </a:lnTo>
                    <a:lnTo>
                      <a:pt x="345" y="288"/>
                    </a:lnTo>
                    <a:lnTo>
                      <a:pt x="335" y="296"/>
                    </a:lnTo>
                    <a:lnTo>
                      <a:pt x="335" y="298"/>
                    </a:lnTo>
                    <a:lnTo>
                      <a:pt x="333" y="300"/>
                    </a:lnTo>
                    <a:lnTo>
                      <a:pt x="335" y="303"/>
                    </a:lnTo>
                    <a:lnTo>
                      <a:pt x="333" y="305"/>
                    </a:lnTo>
                    <a:lnTo>
                      <a:pt x="331" y="305"/>
                    </a:lnTo>
                    <a:lnTo>
                      <a:pt x="331" y="306"/>
                    </a:lnTo>
                    <a:lnTo>
                      <a:pt x="330" y="312"/>
                    </a:lnTo>
                    <a:lnTo>
                      <a:pt x="326" y="320"/>
                    </a:lnTo>
                    <a:lnTo>
                      <a:pt x="326" y="322"/>
                    </a:lnTo>
                    <a:lnTo>
                      <a:pt x="323" y="322"/>
                    </a:lnTo>
                    <a:lnTo>
                      <a:pt x="321" y="323"/>
                    </a:lnTo>
                    <a:lnTo>
                      <a:pt x="314" y="339"/>
                    </a:lnTo>
                    <a:lnTo>
                      <a:pt x="314" y="342"/>
                    </a:lnTo>
                    <a:lnTo>
                      <a:pt x="311" y="346"/>
                    </a:lnTo>
                    <a:lnTo>
                      <a:pt x="308" y="347"/>
                    </a:lnTo>
                    <a:lnTo>
                      <a:pt x="301" y="349"/>
                    </a:lnTo>
                    <a:lnTo>
                      <a:pt x="296" y="356"/>
                    </a:lnTo>
                    <a:lnTo>
                      <a:pt x="294" y="356"/>
                    </a:lnTo>
                    <a:lnTo>
                      <a:pt x="294" y="358"/>
                    </a:lnTo>
                    <a:lnTo>
                      <a:pt x="297" y="364"/>
                    </a:lnTo>
                    <a:lnTo>
                      <a:pt x="301" y="364"/>
                    </a:lnTo>
                    <a:lnTo>
                      <a:pt x="303" y="363"/>
                    </a:lnTo>
                    <a:lnTo>
                      <a:pt x="304" y="364"/>
                    </a:lnTo>
                    <a:lnTo>
                      <a:pt x="304" y="375"/>
                    </a:lnTo>
                    <a:lnTo>
                      <a:pt x="303" y="381"/>
                    </a:lnTo>
                    <a:lnTo>
                      <a:pt x="304" y="385"/>
                    </a:lnTo>
                    <a:lnTo>
                      <a:pt x="303" y="386"/>
                    </a:lnTo>
                    <a:lnTo>
                      <a:pt x="303" y="390"/>
                    </a:lnTo>
                    <a:lnTo>
                      <a:pt x="301" y="395"/>
                    </a:lnTo>
                    <a:lnTo>
                      <a:pt x="299" y="397"/>
                    </a:lnTo>
                    <a:lnTo>
                      <a:pt x="301" y="398"/>
                    </a:lnTo>
                    <a:lnTo>
                      <a:pt x="306" y="400"/>
                    </a:lnTo>
                    <a:lnTo>
                      <a:pt x="308" y="402"/>
                    </a:lnTo>
                    <a:lnTo>
                      <a:pt x="308" y="405"/>
                    </a:lnTo>
                    <a:lnTo>
                      <a:pt x="308" y="409"/>
                    </a:lnTo>
                    <a:lnTo>
                      <a:pt x="308" y="410"/>
                    </a:lnTo>
                    <a:lnTo>
                      <a:pt x="308" y="412"/>
                    </a:lnTo>
                    <a:lnTo>
                      <a:pt x="308" y="414"/>
                    </a:lnTo>
                    <a:lnTo>
                      <a:pt x="309" y="417"/>
                    </a:lnTo>
                    <a:lnTo>
                      <a:pt x="308" y="419"/>
                    </a:lnTo>
                    <a:lnTo>
                      <a:pt x="309" y="420"/>
                    </a:lnTo>
                    <a:lnTo>
                      <a:pt x="308" y="422"/>
                    </a:lnTo>
                    <a:lnTo>
                      <a:pt x="309" y="424"/>
                    </a:lnTo>
                    <a:lnTo>
                      <a:pt x="309" y="431"/>
                    </a:lnTo>
                    <a:lnTo>
                      <a:pt x="314" y="434"/>
                    </a:lnTo>
                    <a:lnTo>
                      <a:pt x="316" y="434"/>
                    </a:lnTo>
                    <a:lnTo>
                      <a:pt x="318" y="437"/>
                    </a:lnTo>
                    <a:lnTo>
                      <a:pt x="321" y="439"/>
                    </a:lnTo>
                    <a:lnTo>
                      <a:pt x="325" y="439"/>
                    </a:lnTo>
                    <a:lnTo>
                      <a:pt x="325" y="443"/>
                    </a:lnTo>
                    <a:lnTo>
                      <a:pt x="328" y="444"/>
                    </a:lnTo>
                    <a:lnTo>
                      <a:pt x="328" y="451"/>
                    </a:lnTo>
                    <a:lnTo>
                      <a:pt x="328" y="454"/>
                    </a:lnTo>
                    <a:lnTo>
                      <a:pt x="330" y="456"/>
                    </a:lnTo>
                    <a:lnTo>
                      <a:pt x="330" y="458"/>
                    </a:lnTo>
                    <a:lnTo>
                      <a:pt x="331" y="458"/>
                    </a:lnTo>
                    <a:lnTo>
                      <a:pt x="333" y="458"/>
                    </a:lnTo>
                    <a:lnTo>
                      <a:pt x="326" y="460"/>
                    </a:lnTo>
                    <a:lnTo>
                      <a:pt x="326" y="461"/>
                    </a:lnTo>
                    <a:lnTo>
                      <a:pt x="328" y="461"/>
                    </a:lnTo>
                    <a:lnTo>
                      <a:pt x="328" y="463"/>
                    </a:lnTo>
                    <a:lnTo>
                      <a:pt x="337" y="475"/>
                    </a:lnTo>
                    <a:lnTo>
                      <a:pt x="348" y="488"/>
                    </a:lnTo>
                    <a:lnTo>
                      <a:pt x="364" y="507"/>
                    </a:lnTo>
                    <a:lnTo>
                      <a:pt x="365" y="506"/>
                    </a:lnTo>
                    <a:lnTo>
                      <a:pt x="369" y="506"/>
                    </a:lnTo>
                    <a:lnTo>
                      <a:pt x="372" y="512"/>
                    </a:lnTo>
                    <a:lnTo>
                      <a:pt x="374" y="512"/>
                    </a:lnTo>
                    <a:lnTo>
                      <a:pt x="376" y="512"/>
                    </a:lnTo>
                    <a:lnTo>
                      <a:pt x="377" y="516"/>
                    </a:lnTo>
                    <a:lnTo>
                      <a:pt x="379" y="519"/>
                    </a:lnTo>
                    <a:lnTo>
                      <a:pt x="377" y="521"/>
                    </a:lnTo>
                    <a:lnTo>
                      <a:pt x="376" y="523"/>
                    </a:lnTo>
                    <a:lnTo>
                      <a:pt x="377" y="526"/>
                    </a:lnTo>
                    <a:lnTo>
                      <a:pt x="379" y="526"/>
                    </a:lnTo>
                    <a:lnTo>
                      <a:pt x="377" y="529"/>
                    </a:lnTo>
                    <a:lnTo>
                      <a:pt x="379" y="533"/>
                    </a:lnTo>
                    <a:lnTo>
                      <a:pt x="377" y="534"/>
                    </a:lnTo>
                    <a:lnTo>
                      <a:pt x="379" y="538"/>
                    </a:lnTo>
                    <a:lnTo>
                      <a:pt x="377" y="540"/>
                    </a:lnTo>
                    <a:lnTo>
                      <a:pt x="381" y="545"/>
                    </a:lnTo>
                    <a:lnTo>
                      <a:pt x="382" y="548"/>
                    </a:lnTo>
                    <a:lnTo>
                      <a:pt x="382" y="550"/>
                    </a:lnTo>
                    <a:lnTo>
                      <a:pt x="384" y="551"/>
                    </a:lnTo>
                    <a:lnTo>
                      <a:pt x="381" y="553"/>
                    </a:lnTo>
                    <a:lnTo>
                      <a:pt x="381" y="551"/>
                    </a:lnTo>
                    <a:lnTo>
                      <a:pt x="379" y="551"/>
                    </a:lnTo>
                    <a:lnTo>
                      <a:pt x="377" y="553"/>
                    </a:lnTo>
                    <a:lnTo>
                      <a:pt x="379" y="558"/>
                    </a:lnTo>
                    <a:lnTo>
                      <a:pt x="377" y="558"/>
                    </a:lnTo>
                    <a:lnTo>
                      <a:pt x="377" y="560"/>
                    </a:lnTo>
                    <a:lnTo>
                      <a:pt x="377" y="562"/>
                    </a:lnTo>
                    <a:lnTo>
                      <a:pt x="376" y="563"/>
                    </a:lnTo>
                    <a:lnTo>
                      <a:pt x="377" y="565"/>
                    </a:lnTo>
                    <a:lnTo>
                      <a:pt x="379" y="568"/>
                    </a:lnTo>
                    <a:lnTo>
                      <a:pt x="381" y="572"/>
                    </a:lnTo>
                    <a:lnTo>
                      <a:pt x="381" y="575"/>
                    </a:lnTo>
                    <a:lnTo>
                      <a:pt x="381" y="577"/>
                    </a:lnTo>
                    <a:lnTo>
                      <a:pt x="381" y="579"/>
                    </a:lnTo>
                    <a:lnTo>
                      <a:pt x="381" y="577"/>
                    </a:lnTo>
                    <a:lnTo>
                      <a:pt x="379" y="577"/>
                    </a:lnTo>
                    <a:lnTo>
                      <a:pt x="377" y="580"/>
                    </a:lnTo>
                    <a:lnTo>
                      <a:pt x="376" y="579"/>
                    </a:lnTo>
                    <a:lnTo>
                      <a:pt x="374" y="577"/>
                    </a:lnTo>
                    <a:lnTo>
                      <a:pt x="376" y="574"/>
                    </a:lnTo>
                    <a:lnTo>
                      <a:pt x="372" y="574"/>
                    </a:lnTo>
                    <a:lnTo>
                      <a:pt x="369" y="574"/>
                    </a:lnTo>
                    <a:lnTo>
                      <a:pt x="369" y="572"/>
                    </a:lnTo>
                    <a:lnTo>
                      <a:pt x="369" y="574"/>
                    </a:lnTo>
                    <a:lnTo>
                      <a:pt x="367" y="570"/>
                    </a:lnTo>
                    <a:lnTo>
                      <a:pt x="364" y="570"/>
                    </a:lnTo>
                    <a:lnTo>
                      <a:pt x="362" y="567"/>
                    </a:lnTo>
                    <a:lnTo>
                      <a:pt x="360" y="567"/>
                    </a:lnTo>
                    <a:lnTo>
                      <a:pt x="359" y="565"/>
                    </a:lnTo>
                    <a:lnTo>
                      <a:pt x="357" y="565"/>
                    </a:lnTo>
                    <a:lnTo>
                      <a:pt x="352" y="565"/>
                    </a:lnTo>
                    <a:lnTo>
                      <a:pt x="350" y="563"/>
                    </a:lnTo>
                    <a:lnTo>
                      <a:pt x="350" y="565"/>
                    </a:lnTo>
                    <a:lnTo>
                      <a:pt x="348" y="563"/>
                    </a:lnTo>
                    <a:lnTo>
                      <a:pt x="342" y="567"/>
                    </a:lnTo>
                    <a:lnTo>
                      <a:pt x="340" y="565"/>
                    </a:lnTo>
                    <a:lnTo>
                      <a:pt x="338" y="565"/>
                    </a:lnTo>
                    <a:lnTo>
                      <a:pt x="338" y="563"/>
                    </a:lnTo>
                    <a:lnTo>
                      <a:pt x="337" y="562"/>
                    </a:lnTo>
                    <a:lnTo>
                      <a:pt x="333" y="560"/>
                    </a:lnTo>
                    <a:lnTo>
                      <a:pt x="331" y="562"/>
                    </a:lnTo>
                    <a:lnTo>
                      <a:pt x="331" y="560"/>
                    </a:lnTo>
                    <a:lnTo>
                      <a:pt x="330" y="562"/>
                    </a:lnTo>
                    <a:lnTo>
                      <a:pt x="328" y="563"/>
                    </a:lnTo>
                    <a:lnTo>
                      <a:pt x="326" y="563"/>
                    </a:lnTo>
                    <a:lnTo>
                      <a:pt x="326" y="562"/>
                    </a:lnTo>
                    <a:lnTo>
                      <a:pt x="325" y="563"/>
                    </a:lnTo>
                    <a:lnTo>
                      <a:pt x="323" y="560"/>
                    </a:lnTo>
                    <a:lnTo>
                      <a:pt x="321" y="562"/>
                    </a:lnTo>
                    <a:lnTo>
                      <a:pt x="320" y="562"/>
                    </a:lnTo>
                    <a:lnTo>
                      <a:pt x="318" y="562"/>
                    </a:lnTo>
                    <a:lnTo>
                      <a:pt x="320" y="558"/>
                    </a:lnTo>
                    <a:lnTo>
                      <a:pt x="318" y="558"/>
                    </a:lnTo>
                    <a:lnTo>
                      <a:pt x="316" y="557"/>
                    </a:lnTo>
                    <a:lnTo>
                      <a:pt x="316" y="558"/>
                    </a:lnTo>
                    <a:lnTo>
                      <a:pt x="314" y="558"/>
                    </a:lnTo>
                    <a:lnTo>
                      <a:pt x="314" y="560"/>
                    </a:lnTo>
                    <a:lnTo>
                      <a:pt x="313" y="558"/>
                    </a:lnTo>
                    <a:lnTo>
                      <a:pt x="311" y="558"/>
                    </a:lnTo>
                    <a:lnTo>
                      <a:pt x="311" y="557"/>
                    </a:lnTo>
                    <a:lnTo>
                      <a:pt x="311" y="558"/>
                    </a:lnTo>
                    <a:lnTo>
                      <a:pt x="311" y="557"/>
                    </a:lnTo>
                    <a:lnTo>
                      <a:pt x="309" y="557"/>
                    </a:lnTo>
                    <a:lnTo>
                      <a:pt x="308" y="557"/>
                    </a:lnTo>
                    <a:lnTo>
                      <a:pt x="308" y="555"/>
                    </a:lnTo>
                    <a:lnTo>
                      <a:pt x="306" y="555"/>
                    </a:lnTo>
                    <a:lnTo>
                      <a:pt x="304" y="555"/>
                    </a:lnTo>
                    <a:lnTo>
                      <a:pt x="304" y="551"/>
                    </a:lnTo>
                    <a:lnTo>
                      <a:pt x="303" y="551"/>
                    </a:lnTo>
                    <a:lnTo>
                      <a:pt x="301" y="551"/>
                    </a:lnTo>
                    <a:lnTo>
                      <a:pt x="297" y="553"/>
                    </a:lnTo>
                    <a:lnTo>
                      <a:pt x="294" y="555"/>
                    </a:lnTo>
                    <a:lnTo>
                      <a:pt x="292" y="553"/>
                    </a:lnTo>
                    <a:lnTo>
                      <a:pt x="289" y="553"/>
                    </a:lnTo>
                    <a:lnTo>
                      <a:pt x="286" y="553"/>
                    </a:lnTo>
                    <a:lnTo>
                      <a:pt x="272" y="553"/>
                    </a:lnTo>
                    <a:lnTo>
                      <a:pt x="262" y="553"/>
                    </a:lnTo>
                    <a:lnTo>
                      <a:pt x="260" y="553"/>
                    </a:lnTo>
                    <a:lnTo>
                      <a:pt x="238" y="553"/>
                    </a:lnTo>
                    <a:lnTo>
                      <a:pt x="236" y="553"/>
                    </a:lnTo>
                    <a:lnTo>
                      <a:pt x="238" y="551"/>
                    </a:lnTo>
                    <a:lnTo>
                      <a:pt x="236" y="550"/>
                    </a:lnTo>
                    <a:lnTo>
                      <a:pt x="235" y="548"/>
                    </a:lnTo>
                    <a:lnTo>
                      <a:pt x="233" y="550"/>
                    </a:lnTo>
                    <a:lnTo>
                      <a:pt x="231" y="550"/>
                    </a:lnTo>
                    <a:lnTo>
                      <a:pt x="231" y="548"/>
                    </a:lnTo>
                    <a:lnTo>
                      <a:pt x="229" y="548"/>
                    </a:lnTo>
                    <a:lnTo>
                      <a:pt x="226" y="550"/>
                    </a:lnTo>
                    <a:lnTo>
                      <a:pt x="224" y="550"/>
                    </a:lnTo>
                    <a:lnTo>
                      <a:pt x="221" y="550"/>
                    </a:lnTo>
                    <a:lnTo>
                      <a:pt x="218" y="550"/>
                    </a:lnTo>
                    <a:lnTo>
                      <a:pt x="216" y="550"/>
                    </a:lnTo>
                    <a:lnTo>
                      <a:pt x="214" y="551"/>
                    </a:lnTo>
                    <a:lnTo>
                      <a:pt x="212" y="550"/>
                    </a:lnTo>
                    <a:lnTo>
                      <a:pt x="209" y="551"/>
                    </a:lnTo>
                    <a:lnTo>
                      <a:pt x="206" y="550"/>
                    </a:lnTo>
                    <a:lnTo>
                      <a:pt x="202" y="550"/>
                    </a:lnTo>
                    <a:lnTo>
                      <a:pt x="201" y="548"/>
                    </a:lnTo>
                    <a:lnTo>
                      <a:pt x="199" y="550"/>
                    </a:lnTo>
                    <a:lnTo>
                      <a:pt x="194" y="550"/>
                    </a:lnTo>
                    <a:lnTo>
                      <a:pt x="187" y="548"/>
                    </a:lnTo>
                    <a:lnTo>
                      <a:pt x="185" y="550"/>
                    </a:lnTo>
                    <a:lnTo>
                      <a:pt x="184" y="550"/>
                    </a:lnTo>
                    <a:lnTo>
                      <a:pt x="182" y="548"/>
                    </a:lnTo>
                    <a:lnTo>
                      <a:pt x="178" y="548"/>
                    </a:lnTo>
                    <a:lnTo>
                      <a:pt x="177" y="548"/>
                    </a:lnTo>
                    <a:lnTo>
                      <a:pt x="170" y="548"/>
                    </a:lnTo>
                    <a:lnTo>
                      <a:pt x="165" y="548"/>
                    </a:lnTo>
                    <a:lnTo>
                      <a:pt x="163" y="548"/>
                    </a:lnTo>
                    <a:lnTo>
                      <a:pt x="160" y="548"/>
                    </a:lnTo>
                    <a:lnTo>
                      <a:pt x="158" y="548"/>
                    </a:lnTo>
                    <a:lnTo>
                      <a:pt x="155" y="546"/>
                    </a:lnTo>
                    <a:lnTo>
                      <a:pt x="151" y="548"/>
                    </a:lnTo>
                    <a:lnTo>
                      <a:pt x="151" y="546"/>
                    </a:lnTo>
                    <a:lnTo>
                      <a:pt x="148" y="548"/>
                    </a:lnTo>
                    <a:lnTo>
                      <a:pt x="139" y="548"/>
                    </a:lnTo>
                    <a:lnTo>
                      <a:pt x="139" y="550"/>
                    </a:lnTo>
                    <a:lnTo>
                      <a:pt x="139" y="551"/>
                    </a:lnTo>
                    <a:lnTo>
                      <a:pt x="139" y="553"/>
                    </a:lnTo>
                    <a:lnTo>
                      <a:pt x="129" y="553"/>
                    </a:lnTo>
                    <a:lnTo>
                      <a:pt x="90" y="553"/>
                    </a:lnTo>
                    <a:lnTo>
                      <a:pt x="80" y="553"/>
                    </a:lnTo>
                    <a:lnTo>
                      <a:pt x="80" y="555"/>
                    </a:lnTo>
                    <a:lnTo>
                      <a:pt x="78" y="553"/>
                    </a:lnTo>
                    <a:lnTo>
                      <a:pt x="76" y="555"/>
                    </a:lnTo>
                    <a:lnTo>
                      <a:pt x="73" y="553"/>
                    </a:lnTo>
                    <a:lnTo>
                      <a:pt x="71" y="553"/>
                    </a:lnTo>
                    <a:lnTo>
                      <a:pt x="66" y="551"/>
                    </a:lnTo>
                    <a:lnTo>
                      <a:pt x="65" y="551"/>
                    </a:lnTo>
                    <a:lnTo>
                      <a:pt x="65" y="550"/>
                    </a:lnTo>
                    <a:lnTo>
                      <a:pt x="63" y="550"/>
                    </a:lnTo>
                    <a:lnTo>
                      <a:pt x="61" y="545"/>
                    </a:lnTo>
                    <a:lnTo>
                      <a:pt x="61" y="533"/>
                    </a:lnTo>
                    <a:lnTo>
                      <a:pt x="63" y="526"/>
                    </a:lnTo>
                    <a:lnTo>
                      <a:pt x="65" y="521"/>
                    </a:lnTo>
                    <a:lnTo>
                      <a:pt x="65" y="519"/>
                    </a:lnTo>
                    <a:lnTo>
                      <a:pt x="66" y="514"/>
                    </a:lnTo>
                    <a:lnTo>
                      <a:pt x="66" y="512"/>
                    </a:lnTo>
                    <a:lnTo>
                      <a:pt x="68" y="511"/>
                    </a:lnTo>
                    <a:lnTo>
                      <a:pt x="70" y="507"/>
                    </a:lnTo>
                    <a:lnTo>
                      <a:pt x="65" y="495"/>
                    </a:lnTo>
                    <a:lnTo>
                      <a:pt x="58" y="488"/>
                    </a:lnTo>
                    <a:lnTo>
                      <a:pt x="53" y="483"/>
                    </a:lnTo>
                    <a:lnTo>
                      <a:pt x="56" y="483"/>
                    </a:lnTo>
                    <a:lnTo>
                      <a:pt x="58" y="482"/>
                    </a:lnTo>
                    <a:lnTo>
                      <a:pt x="58" y="480"/>
                    </a:lnTo>
                    <a:lnTo>
                      <a:pt x="53" y="482"/>
                    </a:lnTo>
                    <a:lnTo>
                      <a:pt x="53" y="480"/>
                    </a:lnTo>
                    <a:lnTo>
                      <a:pt x="48" y="470"/>
                    </a:lnTo>
                    <a:lnTo>
                      <a:pt x="49" y="471"/>
                    </a:lnTo>
                    <a:lnTo>
                      <a:pt x="49" y="473"/>
                    </a:lnTo>
                    <a:lnTo>
                      <a:pt x="51" y="475"/>
                    </a:lnTo>
                    <a:lnTo>
                      <a:pt x="54" y="478"/>
                    </a:lnTo>
                    <a:lnTo>
                      <a:pt x="51" y="475"/>
                    </a:lnTo>
                    <a:lnTo>
                      <a:pt x="51" y="473"/>
                    </a:lnTo>
                    <a:lnTo>
                      <a:pt x="54" y="475"/>
                    </a:lnTo>
                    <a:lnTo>
                      <a:pt x="54" y="477"/>
                    </a:lnTo>
                    <a:lnTo>
                      <a:pt x="54" y="473"/>
                    </a:lnTo>
                    <a:lnTo>
                      <a:pt x="56" y="475"/>
                    </a:lnTo>
                    <a:lnTo>
                      <a:pt x="54" y="473"/>
                    </a:lnTo>
                    <a:lnTo>
                      <a:pt x="56" y="473"/>
                    </a:lnTo>
                    <a:lnTo>
                      <a:pt x="54" y="471"/>
                    </a:lnTo>
                    <a:lnTo>
                      <a:pt x="54" y="468"/>
                    </a:lnTo>
                    <a:lnTo>
                      <a:pt x="56" y="468"/>
                    </a:lnTo>
                    <a:lnTo>
                      <a:pt x="58" y="471"/>
                    </a:lnTo>
                    <a:lnTo>
                      <a:pt x="59" y="470"/>
                    </a:lnTo>
                    <a:lnTo>
                      <a:pt x="59" y="473"/>
                    </a:lnTo>
                    <a:lnTo>
                      <a:pt x="59" y="470"/>
                    </a:lnTo>
                    <a:lnTo>
                      <a:pt x="58" y="470"/>
                    </a:lnTo>
                    <a:lnTo>
                      <a:pt x="58" y="468"/>
                    </a:lnTo>
                    <a:lnTo>
                      <a:pt x="59" y="468"/>
                    </a:lnTo>
                    <a:lnTo>
                      <a:pt x="61" y="468"/>
                    </a:lnTo>
                    <a:lnTo>
                      <a:pt x="59" y="468"/>
                    </a:lnTo>
                    <a:lnTo>
                      <a:pt x="58" y="466"/>
                    </a:lnTo>
                    <a:lnTo>
                      <a:pt x="56" y="468"/>
                    </a:lnTo>
                    <a:lnTo>
                      <a:pt x="54" y="465"/>
                    </a:lnTo>
                    <a:lnTo>
                      <a:pt x="58" y="465"/>
                    </a:lnTo>
                    <a:lnTo>
                      <a:pt x="59" y="463"/>
                    </a:lnTo>
                    <a:lnTo>
                      <a:pt x="61" y="463"/>
                    </a:lnTo>
                    <a:lnTo>
                      <a:pt x="59" y="463"/>
                    </a:lnTo>
                    <a:lnTo>
                      <a:pt x="58" y="463"/>
                    </a:lnTo>
                    <a:lnTo>
                      <a:pt x="54" y="465"/>
                    </a:lnTo>
                    <a:lnTo>
                      <a:pt x="54" y="463"/>
                    </a:lnTo>
                    <a:lnTo>
                      <a:pt x="51" y="463"/>
                    </a:lnTo>
                    <a:lnTo>
                      <a:pt x="53" y="460"/>
                    </a:lnTo>
                    <a:lnTo>
                      <a:pt x="54" y="461"/>
                    </a:lnTo>
                    <a:lnTo>
                      <a:pt x="56" y="461"/>
                    </a:lnTo>
                    <a:lnTo>
                      <a:pt x="54" y="460"/>
                    </a:lnTo>
                    <a:lnTo>
                      <a:pt x="54" y="461"/>
                    </a:lnTo>
                    <a:lnTo>
                      <a:pt x="53" y="460"/>
                    </a:lnTo>
                    <a:lnTo>
                      <a:pt x="56" y="456"/>
                    </a:lnTo>
                    <a:lnTo>
                      <a:pt x="54" y="456"/>
                    </a:lnTo>
                    <a:lnTo>
                      <a:pt x="54" y="454"/>
                    </a:lnTo>
                    <a:lnTo>
                      <a:pt x="53" y="454"/>
                    </a:lnTo>
                    <a:lnTo>
                      <a:pt x="54" y="454"/>
                    </a:lnTo>
                    <a:lnTo>
                      <a:pt x="54" y="456"/>
                    </a:lnTo>
                    <a:lnTo>
                      <a:pt x="54" y="458"/>
                    </a:lnTo>
                    <a:lnTo>
                      <a:pt x="53" y="458"/>
                    </a:lnTo>
                    <a:lnTo>
                      <a:pt x="51" y="460"/>
                    </a:lnTo>
                    <a:lnTo>
                      <a:pt x="49" y="461"/>
                    </a:lnTo>
                    <a:lnTo>
                      <a:pt x="48" y="460"/>
                    </a:lnTo>
                    <a:lnTo>
                      <a:pt x="49" y="460"/>
                    </a:lnTo>
                    <a:lnTo>
                      <a:pt x="48" y="460"/>
                    </a:lnTo>
                    <a:lnTo>
                      <a:pt x="49" y="458"/>
                    </a:lnTo>
                    <a:lnTo>
                      <a:pt x="48" y="460"/>
                    </a:lnTo>
                    <a:lnTo>
                      <a:pt x="46" y="458"/>
                    </a:lnTo>
                    <a:lnTo>
                      <a:pt x="44" y="458"/>
                    </a:lnTo>
                    <a:lnTo>
                      <a:pt x="44" y="456"/>
                    </a:lnTo>
                    <a:lnTo>
                      <a:pt x="44" y="454"/>
                    </a:lnTo>
                    <a:lnTo>
                      <a:pt x="43" y="456"/>
                    </a:lnTo>
                    <a:lnTo>
                      <a:pt x="41" y="456"/>
                    </a:lnTo>
                    <a:lnTo>
                      <a:pt x="39" y="458"/>
                    </a:lnTo>
                    <a:lnTo>
                      <a:pt x="39" y="460"/>
                    </a:lnTo>
                    <a:lnTo>
                      <a:pt x="37" y="460"/>
                    </a:lnTo>
                    <a:lnTo>
                      <a:pt x="36" y="460"/>
                    </a:lnTo>
                    <a:lnTo>
                      <a:pt x="36" y="461"/>
                    </a:lnTo>
                    <a:lnTo>
                      <a:pt x="34" y="461"/>
                    </a:lnTo>
                    <a:lnTo>
                      <a:pt x="32" y="463"/>
                    </a:lnTo>
                    <a:lnTo>
                      <a:pt x="31" y="463"/>
                    </a:lnTo>
                    <a:lnTo>
                      <a:pt x="31" y="460"/>
                    </a:lnTo>
                    <a:lnTo>
                      <a:pt x="27" y="460"/>
                    </a:lnTo>
                    <a:lnTo>
                      <a:pt x="26" y="461"/>
                    </a:lnTo>
                    <a:lnTo>
                      <a:pt x="24" y="458"/>
                    </a:lnTo>
                    <a:lnTo>
                      <a:pt x="20" y="458"/>
                    </a:lnTo>
                    <a:lnTo>
                      <a:pt x="19" y="456"/>
                    </a:lnTo>
                    <a:lnTo>
                      <a:pt x="19" y="451"/>
                    </a:lnTo>
                    <a:lnTo>
                      <a:pt x="15" y="446"/>
                    </a:lnTo>
                    <a:lnTo>
                      <a:pt x="15" y="444"/>
                    </a:lnTo>
                    <a:lnTo>
                      <a:pt x="14" y="441"/>
                    </a:lnTo>
                    <a:lnTo>
                      <a:pt x="14" y="439"/>
                    </a:lnTo>
                    <a:lnTo>
                      <a:pt x="15" y="437"/>
                    </a:lnTo>
                    <a:lnTo>
                      <a:pt x="14" y="437"/>
                    </a:lnTo>
                    <a:lnTo>
                      <a:pt x="17" y="432"/>
                    </a:lnTo>
                    <a:lnTo>
                      <a:pt x="17" y="431"/>
                    </a:lnTo>
                    <a:lnTo>
                      <a:pt x="17" y="432"/>
                    </a:lnTo>
                    <a:lnTo>
                      <a:pt x="15" y="432"/>
                    </a:lnTo>
                    <a:lnTo>
                      <a:pt x="15" y="436"/>
                    </a:lnTo>
                    <a:lnTo>
                      <a:pt x="14" y="436"/>
                    </a:lnTo>
                    <a:lnTo>
                      <a:pt x="14" y="431"/>
                    </a:lnTo>
                    <a:lnTo>
                      <a:pt x="10" y="429"/>
                    </a:lnTo>
                    <a:lnTo>
                      <a:pt x="12" y="424"/>
                    </a:lnTo>
                    <a:lnTo>
                      <a:pt x="10" y="422"/>
                    </a:lnTo>
                    <a:lnTo>
                      <a:pt x="9" y="420"/>
                    </a:lnTo>
                    <a:lnTo>
                      <a:pt x="10" y="422"/>
                    </a:lnTo>
                    <a:lnTo>
                      <a:pt x="12" y="424"/>
                    </a:lnTo>
                    <a:lnTo>
                      <a:pt x="10" y="427"/>
                    </a:lnTo>
                    <a:lnTo>
                      <a:pt x="7" y="427"/>
                    </a:lnTo>
                    <a:lnTo>
                      <a:pt x="7" y="424"/>
                    </a:lnTo>
                    <a:lnTo>
                      <a:pt x="9" y="424"/>
                    </a:lnTo>
                    <a:lnTo>
                      <a:pt x="7" y="422"/>
                    </a:lnTo>
                    <a:lnTo>
                      <a:pt x="9" y="422"/>
                    </a:lnTo>
                    <a:lnTo>
                      <a:pt x="7" y="422"/>
                    </a:lnTo>
                    <a:lnTo>
                      <a:pt x="7" y="424"/>
                    </a:lnTo>
                    <a:lnTo>
                      <a:pt x="7" y="426"/>
                    </a:lnTo>
                    <a:lnTo>
                      <a:pt x="7" y="429"/>
                    </a:lnTo>
                    <a:lnTo>
                      <a:pt x="9" y="432"/>
                    </a:lnTo>
                    <a:lnTo>
                      <a:pt x="9" y="434"/>
                    </a:lnTo>
                    <a:lnTo>
                      <a:pt x="5" y="431"/>
                    </a:lnTo>
                    <a:lnTo>
                      <a:pt x="5" y="429"/>
                    </a:lnTo>
                    <a:lnTo>
                      <a:pt x="3" y="427"/>
                    </a:lnTo>
                    <a:lnTo>
                      <a:pt x="5" y="427"/>
                    </a:lnTo>
                    <a:lnTo>
                      <a:pt x="5" y="426"/>
                    </a:lnTo>
                    <a:lnTo>
                      <a:pt x="5" y="424"/>
                    </a:lnTo>
                    <a:lnTo>
                      <a:pt x="5" y="426"/>
                    </a:lnTo>
                    <a:lnTo>
                      <a:pt x="5" y="427"/>
                    </a:lnTo>
                    <a:lnTo>
                      <a:pt x="3" y="427"/>
                    </a:lnTo>
                    <a:lnTo>
                      <a:pt x="2" y="426"/>
                    </a:lnTo>
                    <a:lnTo>
                      <a:pt x="2" y="424"/>
                    </a:lnTo>
                    <a:lnTo>
                      <a:pt x="3" y="424"/>
                    </a:lnTo>
                    <a:lnTo>
                      <a:pt x="3" y="422"/>
                    </a:lnTo>
                    <a:lnTo>
                      <a:pt x="2" y="424"/>
                    </a:lnTo>
                    <a:lnTo>
                      <a:pt x="2" y="422"/>
                    </a:lnTo>
                    <a:lnTo>
                      <a:pt x="0" y="419"/>
                    </a:lnTo>
                    <a:lnTo>
                      <a:pt x="0" y="415"/>
                    </a:lnTo>
                    <a:lnTo>
                      <a:pt x="2" y="415"/>
                    </a:lnTo>
                    <a:lnTo>
                      <a:pt x="2" y="414"/>
                    </a:lnTo>
                    <a:lnTo>
                      <a:pt x="5" y="410"/>
                    </a:lnTo>
                    <a:lnTo>
                      <a:pt x="3" y="410"/>
                    </a:lnTo>
                    <a:lnTo>
                      <a:pt x="5" y="409"/>
                    </a:lnTo>
                    <a:lnTo>
                      <a:pt x="5" y="407"/>
                    </a:lnTo>
                    <a:lnTo>
                      <a:pt x="7" y="405"/>
                    </a:lnTo>
                    <a:lnTo>
                      <a:pt x="9" y="405"/>
                    </a:lnTo>
                    <a:lnTo>
                      <a:pt x="10" y="402"/>
                    </a:lnTo>
                    <a:lnTo>
                      <a:pt x="10" y="395"/>
                    </a:lnTo>
                    <a:lnTo>
                      <a:pt x="12" y="390"/>
                    </a:lnTo>
                    <a:lnTo>
                      <a:pt x="12" y="388"/>
                    </a:lnTo>
                    <a:lnTo>
                      <a:pt x="15" y="381"/>
                    </a:lnTo>
                    <a:lnTo>
                      <a:pt x="15" y="380"/>
                    </a:lnTo>
                    <a:lnTo>
                      <a:pt x="12" y="376"/>
                    </a:lnTo>
                    <a:lnTo>
                      <a:pt x="12" y="375"/>
                    </a:lnTo>
                    <a:lnTo>
                      <a:pt x="14" y="371"/>
                    </a:lnTo>
                    <a:lnTo>
                      <a:pt x="14" y="369"/>
                    </a:lnTo>
                    <a:lnTo>
                      <a:pt x="12" y="369"/>
                    </a:lnTo>
                    <a:lnTo>
                      <a:pt x="12" y="368"/>
                    </a:lnTo>
                    <a:lnTo>
                      <a:pt x="15" y="366"/>
                    </a:lnTo>
                    <a:lnTo>
                      <a:pt x="15" y="364"/>
                    </a:lnTo>
                    <a:lnTo>
                      <a:pt x="19" y="363"/>
                    </a:lnTo>
                    <a:lnTo>
                      <a:pt x="26" y="356"/>
                    </a:lnTo>
                    <a:lnTo>
                      <a:pt x="29" y="352"/>
                    </a:lnTo>
                    <a:lnTo>
                      <a:pt x="34" y="351"/>
                    </a:lnTo>
                    <a:lnTo>
                      <a:pt x="37" y="344"/>
                    </a:lnTo>
                    <a:lnTo>
                      <a:pt x="37" y="342"/>
                    </a:lnTo>
                    <a:lnTo>
                      <a:pt x="41" y="344"/>
                    </a:lnTo>
                    <a:lnTo>
                      <a:pt x="43" y="337"/>
                    </a:lnTo>
                    <a:lnTo>
                      <a:pt x="48" y="337"/>
                    </a:lnTo>
                    <a:lnTo>
                      <a:pt x="49" y="335"/>
                    </a:lnTo>
                    <a:lnTo>
                      <a:pt x="49" y="332"/>
                    </a:lnTo>
                    <a:lnTo>
                      <a:pt x="51" y="334"/>
                    </a:lnTo>
                    <a:lnTo>
                      <a:pt x="53" y="332"/>
                    </a:lnTo>
                    <a:lnTo>
                      <a:pt x="53" y="334"/>
                    </a:lnTo>
                    <a:lnTo>
                      <a:pt x="56" y="334"/>
                    </a:lnTo>
                    <a:lnTo>
                      <a:pt x="58" y="327"/>
                    </a:lnTo>
                    <a:lnTo>
                      <a:pt x="58" y="322"/>
                    </a:lnTo>
                    <a:lnTo>
                      <a:pt x="59" y="320"/>
                    </a:lnTo>
                    <a:lnTo>
                      <a:pt x="65" y="320"/>
                    </a:lnTo>
                    <a:lnTo>
                      <a:pt x="68" y="315"/>
                    </a:lnTo>
                    <a:lnTo>
                      <a:pt x="78" y="306"/>
                    </a:lnTo>
                    <a:lnTo>
                      <a:pt x="80" y="308"/>
                    </a:lnTo>
                    <a:lnTo>
                      <a:pt x="78" y="308"/>
                    </a:lnTo>
                    <a:lnTo>
                      <a:pt x="80" y="310"/>
                    </a:lnTo>
                    <a:lnTo>
                      <a:pt x="80" y="312"/>
                    </a:lnTo>
                    <a:lnTo>
                      <a:pt x="82" y="315"/>
                    </a:lnTo>
                    <a:lnTo>
                      <a:pt x="93" y="313"/>
                    </a:lnTo>
                    <a:lnTo>
                      <a:pt x="95" y="313"/>
                    </a:lnTo>
                    <a:lnTo>
                      <a:pt x="97" y="312"/>
                    </a:lnTo>
                    <a:lnTo>
                      <a:pt x="99" y="301"/>
                    </a:lnTo>
                    <a:lnTo>
                      <a:pt x="100" y="301"/>
                    </a:lnTo>
                    <a:lnTo>
                      <a:pt x="100" y="305"/>
                    </a:lnTo>
                    <a:lnTo>
                      <a:pt x="102" y="306"/>
                    </a:lnTo>
                    <a:lnTo>
                      <a:pt x="105" y="306"/>
                    </a:lnTo>
                    <a:lnTo>
                      <a:pt x="105" y="308"/>
                    </a:lnTo>
                    <a:lnTo>
                      <a:pt x="107" y="310"/>
                    </a:lnTo>
                    <a:lnTo>
                      <a:pt x="109" y="312"/>
                    </a:lnTo>
                    <a:lnTo>
                      <a:pt x="110" y="310"/>
                    </a:lnTo>
                    <a:lnTo>
                      <a:pt x="112" y="312"/>
                    </a:lnTo>
                    <a:lnTo>
                      <a:pt x="112" y="317"/>
                    </a:lnTo>
                    <a:lnTo>
                      <a:pt x="112" y="318"/>
                    </a:lnTo>
                    <a:lnTo>
                      <a:pt x="114" y="318"/>
                    </a:lnTo>
                    <a:lnTo>
                      <a:pt x="116" y="320"/>
                    </a:lnTo>
                    <a:lnTo>
                      <a:pt x="117" y="323"/>
                    </a:lnTo>
                    <a:lnTo>
                      <a:pt x="117" y="325"/>
                    </a:lnTo>
                    <a:lnTo>
                      <a:pt x="121" y="325"/>
                    </a:lnTo>
                    <a:lnTo>
                      <a:pt x="122" y="323"/>
                    </a:lnTo>
                    <a:lnTo>
                      <a:pt x="124" y="323"/>
                    </a:lnTo>
                    <a:lnTo>
                      <a:pt x="126" y="325"/>
                    </a:lnTo>
                    <a:lnTo>
                      <a:pt x="126" y="332"/>
                    </a:lnTo>
                    <a:lnTo>
                      <a:pt x="127" y="332"/>
                    </a:lnTo>
                    <a:lnTo>
                      <a:pt x="129" y="330"/>
                    </a:lnTo>
                    <a:lnTo>
                      <a:pt x="133" y="334"/>
                    </a:lnTo>
                    <a:lnTo>
                      <a:pt x="134" y="332"/>
                    </a:lnTo>
                    <a:lnTo>
                      <a:pt x="136" y="334"/>
                    </a:lnTo>
                    <a:lnTo>
                      <a:pt x="139" y="334"/>
                    </a:lnTo>
                    <a:lnTo>
                      <a:pt x="143" y="332"/>
                    </a:lnTo>
                    <a:lnTo>
                      <a:pt x="143" y="329"/>
                    </a:lnTo>
                    <a:lnTo>
                      <a:pt x="146" y="329"/>
                    </a:lnTo>
                    <a:lnTo>
                      <a:pt x="150" y="327"/>
                    </a:lnTo>
                    <a:lnTo>
                      <a:pt x="150" y="323"/>
                    </a:lnTo>
                    <a:lnTo>
                      <a:pt x="151" y="322"/>
                    </a:lnTo>
                    <a:lnTo>
                      <a:pt x="150" y="320"/>
                    </a:lnTo>
                    <a:lnTo>
                      <a:pt x="151" y="318"/>
                    </a:lnTo>
                    <a:lnTo>
                      <a:pt x="150" y="318"/>
                    </a:lnTo>
                    <a:lnTo>
                      <a:pt x="151" y="317"/>
                    </a:lnTo>
                    <a:lnTo>
                      <a:pt x="150" y="317"/>
                    </a:lnTo>
                    <a:lnTo>
                      <a:pt x="151" y="313"/>
                    </a:lnTo>
                    <a:lnTo>
                      <a:pt x="153" y="310"/>
                    </a:lnTo>
                    <a:lnTo>
                      <a:pt x="155" y="310"/>
                    </a:lnTo>
                    <a:lnTo>
                      <a:pt x="156" y="306"/>
                    </a:lnTo>
                    <a:lnTo>
                      <a:pt x="158" y="306"/>
                    </a:lnTo>
                    <a:lnTo>
                      <a:pt x="163" y="306"/>
                    </a:lnTo>
                    <a:lnTo>
                      <a:pt x="163" y="305"/>
                    </a:lnTo>
                    <a:lnTo>
                      <a:pt x="163" y="303"/>
                    </a:lnTo>
                    <a:lnTo>
                      <a:pt x="161" y="296"/>
                    </a:lnTo>
                    <a:lnTo>
                      <a:pt x="161" y="295"/>
                    </a:lnTo>
                    <a:lnTo>
                      <a:pt x="165" y="288"/>
                    </a:lnTo>
                    <a:lnTo>
                      <a:pt x="168" y="284"/>
                    </a:lnTo>
                    <a:lnTo>
                      <a:pt x="173" y="283"/>
                    </a:lnTo>
                    <a:lnTo>
                      <a:pt x="172" y="276"/>
                    </a:lnTo>
                    <a:lnTo>
                      <a:pt x="173" y="272"/>
                    </a:lnTo>
                    <a:lnTo>
                      <a:pt x="177" y="266"/>
                    </a:lnTo>
                    <a:lnTo>
                      <a:pt x="180" y="264"/>
                    </a:lnTo>
                    <a:lnTo>
                      <a:pt x="180" y="262"/>
                    </a:lnTo>
                    <a:lnTo>
                      <a:pt x="182" y="261"/>
                    </a:lnTo>
                    <a:lnTo>
                      <a:pt x="184" y="259"/>
                    </a:lnTo>
                    <a:lnTo>
                      <a:pt x="182" y="254"/>
                    </a:lnTo>
                    <a:lnTo>
                      <a:pt x="184" y="250"/>
                    </a:lnTo>
                    <a:lnTo>
                      <a:pt x="185" y="247"/>
                    </a:lnTo>
                    <a:lnTo>
                      <a:pt x="184" y="240"/>
                    </a:lnTo>
                    <a:lnTo>
                      <a:pt x="184" y="238"/>
                    </a:lnTo>
                    <a:lnTo>
                      <a:pt x="184" y="235"/>
                    </a:lnTo>
                    <a:lnTo>
                      <a:pt x="192" y="233"/>
                    </a:lnTo>
                    <a:lnTo>
                      <a:pt x="195" y="228"/>
                    </a:lnTo>
                    <a:lnTo>
                      <a:pt x="195" y="227"/>
                    </a:lnTo>
                    <a:lnTo>
                      <a:pt x="197" y="227"/>
                    </a:lnTo>
                    <a:lnTo>
                      <a:pt x="202" y="228"/>
                    </a:lnTo>
                    <a:lnTo>
                      <a:pt x="204" y="225"/>
                    </a:lnTo>
                    <a:lnTo>
                      <a:pt x="206" y="227"/>
                    </a:lnTo>
                    <a:lnTo>
                      <a:pt x="207" y="223"/>
                    </a:lnTo>
                    <a:lnTo>
                      <a:pt x="207" y="220"/>
                    </a:lnTo>
                    <a:lnTo>
                      <a:pt x="211" y="220"/>
                    </a:lnTo>
                    <a:lnTo>
                      <a:pt x="212" y="218"/>
                    </a:lnTo>
                    <a:lnTo>
                      <a:pt x="212" y="211"/>
                    </a:lnTo>
                    <a:lnTo>
                      <a:pt x="216" y="208"/>
                    </a:lnTo>
                    <a:lnTo>
                      <a:pt x="218" y="201"/>
                    </a:lnTo>
                    <a:lnTo>
                      <a:pt x="216" y="199"/>
                    </a:lnTo>
                    <a:lnTo>
                      <a:pt x="218" y="196"/>
                    </a:lnTo>
                    <a:lnTo>
                      <a:pt x="218" y="191"/>
                    </a:lnTo>
                    <a:lnTo>
                      <a:pt x="216" y="189"/>
                    </a:lnTo>
                    <a:lnTo>
                      <a:pt x="216" y="187"/>
                    </a:lnTo>
                    <a:lnTo>
                      <a:pt x="219" y="186"/>
                    </a:lnTo>
                    <a:lnTo>
                      <a:pt x="221" y="184"/>
                    </a:lnTo>
                    <a:lnTo>
                      <a:pt x="224" y="182"/>
                    </a:lnTo>
                    <a:lnTo>
                      <a:pt x="231" y="181"/>
                    </a:lnTo>
                    <a:lnTo>
                      <a:pt x="231" y="179"/>
                    </a:lnTo>
                    <a:lnTo>
                      <a:pt x="233" y="179"/>
                    </a:lnTo>
                    <a:lnTo>
                      <a:pt x="233" y="177"/>
                    </a:lnTo>
                    <a:lnTo>
                      <a:pt x="235" y="174"/>
                    </a:lnTo>
                    <a:lnTo>
                      <a:pt x="235" y="172"/>
                    </a:lnTo>
                    <a:lnTo>
                      <a:pt x="235" y="169"/>
                    </a:lnTo>
                    <a:lnTo>
                      <a:pt x="238" y="165"/>
                    </a:lnTo>
                    <a:lnTo>
                      <a:pt x="235" y="164"/>
                    </a:lnTo>
                    <a:lnTo>
                      <a:pt x="235" y="162"/>
                    </a:lnTo>
                    <a:lnTo>
                      <a:pt x="236" y="160"/>
                    </a:lnTo>
                    <a:lnTo>
                      <a:pt x="236" y="158"/>
                    </a:lnTo>
                    <a:lnTo>
                      <a:pt x="235" y="157"/>
                    </a:lnTo>
                    <a:lnTo>
                      <a:pt x="235" y="155"/>
                    </a:lnTo>
                    <a:lnTo>
                      <a:pt x="236" y="153"/>
                    </a:lnTo>
                    <a:lnTo>
                      <a:pt x="238" y="152"/>
                    </a:lnTo>
                    <a:lnTo>
                      <a:pt x="241" y="150"/>
                    </a:lnTo>
                    <a:lnTo>
                      <a:pt x="245" y="148"/>
                    </a:lnTo>
                    <a:lnTo>
                      <a:pt x="245" y="145"/>
                    </a:lnTo>
                    <a:lnTo>
                      <a:pt x="246" y="143"/>
                    </a:lnTo>
                    <a:lnTo>
                      <a:pt x="248" y="133"/>
                    </a:lnTo>
                    <a:lnTo>
                      <a:pt x="250" y="131"/>
                    </a:lnTo>
                    <a:lnTo>
                      <a:pt x="248" y="128"/>
                    </a:lnTo>
                    <a:lnTo>
                      <a:pt x="248" y="124"/>
                    </a:lnTo>
                    <a:lnTo>
                      <a:pt x="252" y="123"/>
                    </a:lnTo>
                    <a:lnTo>
                      <a:pt x="252" y="121"/>
                    </a:lnTo>
                    <a:lnTo>
                      <a:pt x="253" y="118"/>
                    </a:lnTo>
                    <a:lnTo>
                      <a:pt x="257" y="114"/>
                    </a:lnTo>
                    <a:lnTo>
                      <a:pt x="257" y="107"/>
                    </a:lnTo>
                    <a:lnTo>
                      <a:pt x="262" y="106"/>
                    </a:lnTo>
                    <a:lnTo>
                      <a:pt x="263" y="102"/>
                    </a:lnTo>
                    <a:lnTo>
                      <a:pt x="265" y="102"/>
                    </a:lnTo>
                    <a:lnTo>
                      <a:pt x="267" y="99"/>
                    </a:lnTo>
                    <a:lnTo>
                      <a:pt x="269" y="97"/>
                    </a:lnTo>
                    <a:lnTo>
                      <a:pt x="272" y="90"/>
                    </a:lnTo>
                    <a:lnTo>
                      <a:pt x="279" y="94"/>
                    </a:lnTo>
                    <a:lnTo>
                      <a:pt x="280" y="94"/>
                    </a:lnTo>
                    <a:lnTo>
                      <a:pt x="289" y="87"/>
                    </a:lnTo>
                    <a:lnTo>
                      <a:pt x="294" y="85"/>
                    </a:lnTo>
                    <a:lnTo>
                      <a:pt x="296" y="82"/>
                    </a:lnTo>
                    <a:lnTo>
                      <a:pt x="304" y="80"/>
                    </a:lnTo>
                    <a:lnTo>
                      <a:pt x="304" y="79"/>
                    </a:lnTo>
                    <a:lnTo>
                      <a:pt x="306" y="75"/>
                    </a:lnTo>
                    <a:lnTo>
                      <a:pt x="306" y="73"/>
                    </a:lnTo>
                    <a:lnTo>
                      <a:pt x="301" y="70"/>
                    </a:lnTo>
                    <a:lnTo>
                      <a:pt x="304" y="67"/>
                    </a:lnTo>
                    <a:lnTo>
                      <a:pt x="303" y="62"/>
                    </a:lnTo>
                    <a:lnTo>
                      <a:pt x="306" y="60"/>
                    </a:lnTo>
                    <a:lnTo>
                      <a:pt x="304" y="58"/>
                    </a:lnTo>
                    <a:lnTo>
                      <a:pt x="306" y="58"/>
                    </a:lnTo>
                    <a:lnTo>
                      <a:pt x="304" y="53"/>
                    </a:lnTo>
                    <a:lnTo>
                      <a:pt x="306" y="53"/>
                    </a:lnTo>
                    <a:lnTo>
                      <a:pt x="304" y="51"/>
                    </a:lnTo>
                    <a:lnTo>
                      <a:pt x="308" y="46"/>
                    </a:lnTo>
                    <a:lnTo>
                      <a:pt x="306" y="46"/>
                    </a:lnTo>
                    <a:lnTo>
                      <a:pt x="304" y="46"/>
                    </a:lnTo>
                    <a:lnTo>
                      <a:pt x="303" y="46"/>
                    </a:lnTo>
                    <a:lnTo>
                      <a:pt x="304" y="45"/>
                    </a:lnTo>
                    <a:lnTo>
                      <a:pt x="303" y="45"/>
                    </a:lnTo>
                    <a:lnTo>
                      <a:pt x="301" y="43"/>
                    </a:lnTo>
                    <a:lnTo>
                      <a:pt x="301" y="41"/>
                    </a:lnTo>
                    <a:lnTo>
                      <a:pt x="299" y="41"/>
                    </a:lnTo>
                    <a:lnTo>
                      <a:pt x="299" y="39"/>
                    </a:lnTo>
                    <a:lnTo>
                      <a:pt x="297" y="39"/>
                    </a:lnTo>
                    <a:lnTo>
                      <a:pt x="297" y="38"/>
                    </a:lnTo>
                    <a:lnTo>
                      <a:pt x="296" y="38"/>
                    </a:lnTo>
                    <a:lnTo>
                      <a:pt x="294" y="36"/>
                    </a:lnTo>
                    <a:lnTo>
                      <a:pt x="292" y="38"/>
                    </a:lnTo>
                    <a:lnTo>
                      <a:pt x="289" y="36"/>
                    </a:lnTo>
                    <a:lnTo>
                      <a:pt x="289" y="38"/>
                    </a:lnTo>
                    <a:lnTo>
                      <a:pt x="287" y="36"/>
                    </a:lnTo>
                    <a:lnTo>
                      <a:pt x="287" y="38"/>
                    </a:lnTo>
                    <a:lnTo>
                      <a:pt x="287" y="36"/>
                    </a:lnTo>
                    <a:lnTo>
                      <a:pt x="284" y="38"/>
                    </a:lnTo>
                    <a:lnTo>
                      <a:pt x="282" y="34"/>
                    </a:lnTo>
                    <a:lnTo>
                      <a:pt x="282" y="33"/>
                    </a:lnTo>
                    <a:lnTo>
                      <a:pt x="282" y="31"/>
                    </a:lnTo>
                    <a:lnTo>
                      <a:pt x="282" y="29"/>
                    </a:lnTo>
                    <a:lnTo>
                      <a:pt x="279" y="14"/>
                    </a:lnTo>
                    <a:lnTo>
                      <a:pt x="277" y="0"/>
                    </a:lnTo>
                    <a:close/>
                    <a:moveTo>
                      <a:pt x="43" y="461"/>
                    </a:moveTo>
                    <a:lnTo>
                      <a:pt x="43" y="463"/>
                    </a:lnTo>
                    <a:lnTo>
                      <a:pt x="43" y="465"/>
                    </a:lnTo>
                    <a:lnTo>
                      <a:pt x="41" y="465"/>
                    </a:lnTo>
                    <a:lnTo>
                      <a:pt x="41" y="466"/>
                    </a:lnTo>
                    <a:lnTo>
                      <a:pt x="41" y="465"/>
                    </a:lnTo>
                    <a:lnTo>
                      <a:pt x="44" y="465"/>
                    </a:lnTo>
                    <a:lnTo>
                      <a:pt x="41" y="466"/>
                    </a:lnTo>
                    <a:lnTo>
                      <a:pt x="39" y="466"/>
                    </a:lnTo>
                    <a:lnTo>
                      <a:pt x="36" y="465"/>
                    </a:lnTo>
                    <a:lnTo>
                      <a:pt x="34" y="463"/>
                    </a:lnTo>
                    <a:lnTo>
                      <a:pt x="36" y="461"/>
                    </a:lnTo>
                    <a:lnTo>
                      <a:pt x="36" y="463"/>
                    </a:lnTo>
                    <a:lnTo>
                      <a:pt x="36" y="461"/>
                    </a:lnTo>
                    <a:lnTo>
                      <a:pt x="37" y="463"/>
                    </a:lnTo>
                    <a:lnTo>
                      <a:pt x="39" y="463"/>
                    </a:lnTo>
                    <a:lnTo>
                      <a:pt x="41" y="463"/>
                    </a:lnTo>
                    <a:lnTo>
                      <a:pt x="41" y="461"/>
                    </a:lnTo>
                    <a:lnTo>
                      <a:pt x="41" y="460"/>
                    </a:lnTo>
                    <a:lnTo>
                      <a:pt x="41" y="461"/>
                    </a:lnTo>
                    <a:lnTo>
                      <a:pt x="43" y="461"/>
                    </a:lnTo>
                    <a:close/>
                    <a:moveTo>
                      <a:pt x="53" y="468"/>
                    </a:moveTo>
                    <a:lnTo>
                      <a:pt x="54" y="470"/>
                    </a:lnTo>
                    <a:lnTo>
                      <a:pt x="54" y="473"/>
                    </a:lnTo>
                    <a:lnTo>
                      <a:pt x="53" y="473"/>
                    </a:lnTo>
                    <a:lnTo>
                      <a:pt x="51" y="473"/>
                    </a:lnTo>
                    <a:lnTo>
                      <a:pt x="49" y="471"/>
                    </a:lnTo>
                    <a:lnTo>
                      <a:pt x="51" y="468"/>
                    </a:lnTo>
                    <a:lnTo>
                      <a:pt x="53" y="468"/>
                    </a:lnTo>
                    <a:close/>
                    <a:moveTo>
                      <a:pt x="12" y="434"/>
                    </a:moveTo>
                    <a:lnTo>
                      <a:pt x="9" y="429"/>
                    </a:lnTo>
                    <a:lnTo>
                      <a:pt x="9" y="427"/>
                    </a:lnTo>
                    <a:lnTo>
                      <a:pt x="10" y="427"/>
                    </a:lnTo>
                    <a:lnTo>
                      <a:pt x="10" y="429"/>
                    </a:lnTo>
                    <a:lnTo>
                      <a:pt x="12" y="431"/>
                    </a:lnTo>
                    <a:lnTo>
                      <a:pt x="12" y="434"/>
                    </a:lnTo>
                    <a:close/>
                    <a:moveTo>
                      <a:pt x="39" y="461"/>
                    </a:moveTo>
                    <a:lnTo>
                      <a:pt x="39" y="463"/>
                    </a:lnTo>
                    <a:lnTo>
                      <a:pt x="36" y="461"/>
                    </a:lnTo>
                    <a:lnTo>
                      <a:pt x="37" y="460"/>
                    </a:lnTo>
                    <a:lnTo>
                      <a:pt x="39" y="460"/>
                    </a:lnTo>
                    <a:lnTo>
                      <a:pt x="41" y="458"/>
                    </a:lnTo>
                    <a:lnTo>
                      <a:pt x="41" y="460"/>
                    </a:lnTo>
                    <a:lnTo>
                      <a:pt x="39" y="461"/>
                    </a:lnTo>
                    <a:close/>
                    <a:moveTo>
                      <a:pt x="44" y="460"/>
                    </a:moveTo>
                    <a:lnTo>
                      <a:pt x="46" y="460"/>
                    </a:lnTo>
                    <a:lnTo>
                      <a:pt x="46" y="463"/>
                    </a:lnTo>
                    <a:lnTo>
                      <a:pt x="44" y="463"/>
                    </a:lnTo>
                    <a:lnTo>
                      <a:pt x="44" y="460"/>
                    </a:lnTo>
                    <a:close/>
                    <a:moveTo>
                      <a:pt x="53" y="483"/>
                    </a:moveTo>
                    <a:lnTo>
                      <a:pt x="51" y="483"/>
                    </a:lnTo>
                    <a:lnTo>
                      <a:pt x="53" y="482"/>
                    </a:lnTo>
                    <a:lnTo>
                      <a:pt x="56" y="482"/>
                    </a:lnTo>
                    <a:lnTo>
                      <a:pt x="53" y="483"/>
                    </a:lnTo>
                    <a:close/>
                    <a:moveTo>
                      <a:pt x="43" y="460"/>
                    </a:moveTo>
                    <a:lnTo>
                      <a:pt x="44" y="460"/>
                    </a:lnTo>
                    <a:lnTo>
                      <a:pt x="44" y="461"/>
                    </a:lnTo>
                    <a:lnTo>
                      <a:pt x="43" y="461"/>
                    </a:lnTo>
                    <a:lnTo>
                      <a:pt x="43" y="460"/>
                    </a:lnTo>
                    <a:close/>
                    <a:moveTo>
                      <a:pt x="41" y="456"/>
                    </a:moveTo>
                    <a:lnTo>
                      <a:pt x="43" y="456"/>
                    </a:lnTo>
                    <a:lnTo>
                      <a:pt x="43" y="460"/>
                    </a:lnTo>
                    <a:lnTo>
                      <a:pt x="41" y="460"/>
                    </a:lnTo>
                    <a:lnTo>
                      <a:pt x="41" y="456"/>
                    </a:lnTo>
                    <a:close/>
                    <a:moveTo>
                      <a:pt x="43" y="458"/>
                    </a:moveTo>
                    <a:lnTo>
                      <a:pt x="44" y="458"/>
                    </a:lnTo>
                    <a:lnTo>
                      <a:pt x="44" y="460"/>
                    </a:lnTo>
                    <a:lnTo>
                      <a:pt x="43" y="460"/>
                    </a:lnTo>
                    <a:lnTo>
                      <a:pt x="43" y="458"/>
                    </a:lnTo>
                    <a:close/>
                    <a:moveTo>
                      <a:pt x="41" y="456"/>
                    </a:moveTo>
                    <a:lnTo>
                      <a:pt x="43" y="456"/>
                    </a:lnTo>
                    <a:lnTo>
                      <a:pt x="43" y="460"/>
                    </a:lnTo>
                    <a:lnTo>
                      <a:pt x="41" y="460"/>
                    </a:lnTo>
                    <a:lnTo>
                      <a:pt x="41" y="456"/>
                    </a:lnTo>
                    <a:close/>
                    <a:moveTo>
                      <a:pt x="37" y="461"/>
                    </a:moveTo>
                    <a:lnTo>
                      <a:pt x="41" y="461"/>
                    </a:lnTo>
                    <a:lnTo>
                      <a:pt x="41" y="463"/>
                    </a:lnTo>
                    <a:lnTo>
                      <a:pt x="37" y="463"/>
                    </a:lnTo>
                    <a:lnTo>
                      <a:pt x="37" y="461"/>
                    </a:lnTo>
                    <a:close/>
                    <a:moveTo>
                      <a:pt x="37" y="458"/>
                    </a:moveTo>
                    <a:lnTo>
                      <a:pt x="39" y="458"/>
                    </a:lnTo>
                    <a:lnTo>
                      <a:pt x="39" y="460"/>
                    </a:lnTo>
                    <a:lnTo>
                      <a:pt x="37" y="460"/>
                    </a:lnTo>
                    <a:lnTo>
                      <a:pt x="37" y="458"/>
                    </a:lnTo>
                    <a:close/>
                    <a:moveTo>
                      <a:pt x="41" y="460"/>
                    </a:moveTo>
                    <a:lnTo>
                      <a:pt x="43" y="460"/>
                    </a:lnTo>
                    <a:lnTo>
                      <a:pt x="43" y="461"/>
                    </a:lnTo>
                    <a:lnTo>
                      <a:pt x="41" y="461"/>
                    </a:lnTo>
                    <a:lnTo>
                      <a:pt x="41" y="460"/>
                    </a:lnTo>
                    <a:close/>
                    <a:moveTo>
                      <a:pt x="17" y="431"/>
                    </a:moveTo>
                    <a:lnTo>
                      <a:pt x="17" y="432"/>
                    </a:lnTo>
                    <a:lnTo>
                      <a:pt x="17" y="431"/>
                    </a:lnTo>
                    <a:close/>
                    <a:moveTo>
                      <a:pt x="44" y="454"/>
                    </a:moveTo>
                    <a:lnTo>
                      <a:pt x="44" y="456"/>
                    </a:lnTo>
                    <a:lnTo>
                      <a:pt x="44" y="454"/>
                    </a:lnTo>
                    <a:close/>
                    <a:moveTo>
                      <a:pt x="54" y="482"/>
                    </a:moveTo>
                    <a:lnTo>
                      <a:pt x="56" y="482"/>
                    </a:lnTo>
                    <a:lnTo>
                      <a:pt x="56" y="483"/>
                    </a:lnTo>
                    <a:lnTo>
                      <a:pt x="54" y="483"/>
                    </a:lnTo>
                    <a:lnTo>
                      <a:pt x="54" y="482"/>
                    </a:lnTo>
                    <a:close/>
                    <a:moveTo>
                      <a:pt x="56" y="482"/>
                    </a:moveTo>
                    <a:lnTo>
                      <a:pt x="58" y="482"/>
                    </a:lnTo>
                    <a:lnTo>
                      <a:pt x="56" y="482"/>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18">
                <a:extLst>
                  <a:ext uri="{FF2B5EF4-FFF2-40B4-BE49-F238E27FC236}">
                    <a16:creationId xmlns:a16="http://schemas.microsoft.com/office/drawing/2014/main" id="{5BCA62EF-A9E9-4FAF-8DBA-F3C2AA997836}"/>
                  </a:ext>
                </a:extLst>
              </p:cNvPr>
              <p:cNvSpPr>
                <a:spLocks/>
              </p:cNvSpPr>
              <p:nvPr/>
            </p:nvSpPr>
            <p:spPr bwMode="gray">
              <a:xfrm>
                <a:off x="6183354" y="3282209"/>
                <a:ext cx="817782" cy="551383"/>
              </a:xfrm>
              <a:custGeom>
                <a:avLst/>
                <a:gdLst>
                  <a:gd name="T0" fmla="*/ 466 w 660"/>
                  <a:gd name="T1" fmla="*/ 76 h 445"/>
                  <a:gd name="T2" fmla="*/ 459 w 660"/>
                  <a:gd name="T3" fmla="*/ 97 h 445"/>
                  <a:gd name="T4" fmla="*/ 466 w 660"/>
                  <a:gd name="T5" fmla="*/ 114 h 445"/>
                  <a:gd name="T6" fmla="*/ 498 w 660"/>
                  <a:gd name="T7" fmla="*/ 117 h 445"/>
                  <a:gd name="T8" fmla="*/ 522 w 660"/>
                  <a:gd name="T9" fmla="*/ 141 h 445"/>
                  <a:gd name="T10" fmla="*/ 551 w 660"/>
                  <a:gd name="T11" fmla="*/ 166 h 445"/>
                  <a:gd name="T12" fmla="*/ 563 w 660"/>
                  <a:gd name="T13" fmla="*/ 189 h 445"/>
                  <a:gd name="T14" fmla="*/ 583 w 660"/>
                  <a:gd name="T15" fmla="*/ 200 h 445"/>
                  <a:gd name="T16" fmla="*/ 605 w 660"/>
                  <a:gd name="T17" fmla="*/ 219 h 445"/>
                  <a:gd name="T18" fmla="*/ 614 w 660"/>
                  <a:gd name="T19" fmla="*/ 241 h 445"/>
                  <a:gd name="T20" fmla="*/ 638 w 660"/>
                  <a:gd name="T21" fmla="*/ 262 h 445"/>
                  <a:gd name="T22" fmla="*/ 649 w 660"/>
                  <a:gd name="T23" fmla="*/ 287 h 445"/>
                  <a:gd name="T24" fmla="*/ 631 w 660"/>
                  <a:gd name="T25" fmla="*/ 303 h 445"/>
                  <a:gd name="T26" fmla="*/ 614 w 660"/>
                  <a:gd name="T27" fmla="*/ 303 h 445"/>
                  <a:gd name="T28" fmla="*/ 604 w 660"/>
                  <a:gd name="T29" fmla="*/ 297 h 445"/>
                  <a:gd name="T30" fmla="*/ 593 w 660"/>
                  <a:gd name="T31" fmla="*/ 291 h 445"/>
                  <a:gd name="T32" fmla="*/ 581 w 660"/>
                  <a:gd name="T33" fmla="*/ 294 h 445"/>
                  <a:gd name="T34" fmla="*/ 568 w 660"/>
                  <a:gd name="T35" fmla="*/ 287 h 445"/>
                  <a:gd name="T36" fmla="*/ 558 w 660"/>
                  <a:gd name="T37" fmla="*/ 289 h 445"/>
                  <a:gd name="T38" fmla="*/ 546 w 660"/>
                  <a:gd name="T39" fmla="*/ 304 h 445"/>
                  <a:gd name="T40" fmla="*/ 524 w 660"/>
                  <a:gd name="T41" fmla="*/ 309 h 445"/>
                  <a:gd name="T42" fmla="*/ 505 w 660"/>
                  <a:gd name="T43" fmla="*/ 299 h 445"/>
                  <a:gd name="T44" fmla="*/ 491 w 660"/>
                  <a:gd name="T45" fmla="*/ 308 h 445"/>
                  <a:gd name="T46" fmla="*/ 459 w 660"/>
                  <a:gd name="T47" fmla="*/ 321 h 445"/>
                  <a:gd name="T48" fmla="*/ 434 w 660"/>
                  <a:gd name="T49" fmla="*/ 313 h 445"/>
                  <a:gd name="T50" fmla="*/ 417 w 660"/>
                  <a:gd name="T51" fmla="*/ 330 h 445"/>
                  <a:gd name="T52" fmla="*/ 386 w 660"/>
                  <a:gd name="T53" fmla="*/ 343 h 445"/>
                  <a:gd name="T54" fmla="*/ 343 w 660"/>
                  <a:gd name="T55" fmla="*/ 340 h 445"/>
                  <a:gd name="T56" fmla="*/ 303 w 660"/>
                  <a:gd name="T57" fmla="*/ 320 h 445"/>
                  <a:gd name="T58" fmla="*/ 260 w 660"/>
                  <a:gd name="T59" fmla="*/ 297 h 445"/>
                  <a:gd name="T60" fmla="*/ 223 w 660"/>
                  <a:gd name="T61" fmla="*/ 325 h 445"/>
                  <a:gd name="T62" fmla="*/ 213 w 660"/>
                  <a:gd name="T63" fmla="*/ 379 h 445"/>
                  <a:gd name="T64" fmla="*/ 189 w 660"/>
                  <a:gd name="T65" fmla="*/ 377 h 445"/>
                  <a:gd name="T66" fmla="*/ 151 w 660"/>
                  <a:gd name="T67" fmla="*/ 372 h 445"/>
                  <a:gd name="T68" fmla="*/ 105 w 660"/>
                  <a:gd name="T69" fmla="*/ 400 h 445"/>
                  <a:gd name="T70" fmla="*/ 85 w 660"/>
                  <a:gd name="T71" fmla="*/ 432 h 445"/>
                  <a:gd name="T72" fmla="*/ 75 w 660"/>
                  <a:gd name="T73" fmla="*/ 400 h 445"/>
                  <a:gd name="T74" fmla="*/ 34 w 660"/>
                  <a:gd name="T75" fmla="*/ 348 h 445"/>
                  <a:gd name="T76" fmla="*/ 14 w 660"/>
                  <a:gd name="T77" fmla="*/ 313 h 445"/>
                  <a:gd name="T78" fmla="*/ 9 w 660"/>
                  <a:gd name="T79" fmla="*/ 280 h 445"/>
                  <a:gd name="T80" fmla="*/ 17 w 660"/>
                  <a:gd name="T81" fmla="*/ 240 h 445"/>
                  <a:gd name="T82" fmla="*/ 41 w 660"/>
                  <a:gd name="T83" fmla="*/ 192 h 445"/>
                  <a:gd name="T84" fmla="*/ 92 w 660"/>
                  <a:gd name="T85" fmla="*/ 172 h 445"/>
                  <a:gd name="T86" fmla="*/ 114 w 660"/>
                  <a:gd name="T87" fmla="*/ 168 h 445"/>
                  <a:gd name="T88" fmla="*/ 133 w 660"/>
                  <a:gd name="T89" fmla="*/ 170 h 445"/>
                  <a:gd name="T90" fmla="*/ 148 w 660"/>
                  <a:gd name="T91" fmla="*/ 161 h 445"/>
                  <a:gd name="T92" fmla="*/ 162 w 660"/>
                  <a:gd name="T93" fmla="*/ 156 h 445"/>
                  <a:gd name="T94" fmla="*/ 221 w 660"/>
                  <a:gd name="T95" fmla="*/ 139 h 445"/>
                  <a:gd name="T96" fmla="*/ 235 w 660"/>
                  <a:gd name="T97" fmla="*/ 115 h 445"/>
                  <a:gd name="T98" fmla="*/ 231 w 660"/>
                  <a:gd name="T99" fmla="*/ 104 h 445"/>
                  <a:gd name="T100" fmla="*/ 250 w 660"/>
                  <a:gd name="T101" fmla="*/ 100 h 445"/>
                  <a:gd name="T102" fmla="*/ 272 w 660"/>
                  <a:gd name="T103" fmla="*/ 98 h 445"/>
                  <a:gd name="T104" fmla="*/ 289 w 660"/>
                  <a:gd name="T105" fmla="*/ 95 h 445"/>
                  <a:gd name="T106" fmla="*/ 308 w 660"/>
                  <a:gd name="T107" fmla="*/ 87 h 445"/>
                  <a:gd name="T108" fmla="*/ 326 w 660"/>
                  <a:gd name="T109" fmla="*/ 76 h 445"/>
                  <a:gd name="T110" fmla="*/ 333 w 660"/>
                  <a:gd name="T111" fmla="*/ 68 h 445"/>
                  <a:gd name="T112" fmla="*/ 347 w 660"/>
                  <a:gd name="T113" fmla="*/ 51 h 445"/>
                  <a:gd name="T114" fmla="*/ 357 w 660"/>
                  <a:gd name="T115" fmla="*/ 44 h 445"/>
                  <a:gd name="T116" fmla="*/ 371 w 660"/>
                  <a:gd name="T117" fmla="*/ 32 h 445"/>
                  <a:gd name="T118" fmla="*/ 374 w 660"/>
                  <a:gd name="T119" fmla="*/ 12 h 445"/>
                  <a:gd name="T120" fmla="*/ 388 w 660"/>
                  <a:gd name="T121" fmla="*/ 5 h 445"/>
                  <a:gd name="T122" fmla="*/ 422 w 660"/>
                  <a:gd name="T123" fmla="*/ 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0" h="445">
                    <a:moveTo>
                      <a:pt x="428" y="3"/>
                    </a:moveTo>
                    <a:lnTo>
                      <a:pt x="432" y="7"/>
                    </a:lnTo>
                    <a:lnTo>
                      <a:pt x="435" y="15"/>
                    </a:lnTo>
                    <a:lnTo>
                      <a:pt x="442" y="18"/>
                    </a:lnTo>
                    <a:lnTo>
                      <a:pt x="444" y="22"/>
                    </a:lnTo>
                    <a:lnTo>
                      <a:pt x="449" y="27"/>
                    </a:lnTo>
                    <a:lnTo>
                      <a:pt x="451" y="27"/>
                    </a:lnTo>
                    <a:lnTo>
                      <a:pt x="457" y="39"/>
                    </a:lnTo>
                    <a:lnTo>
                      <a:pt x="469" y="56"/>
                    </a:lnTo>
                    <a:lnTo>
                      <a:pt x="469" y="68"/>
                    </a:lnTo>
                    <a:lnTo>
                      <a:pt x="466" y="73"/>
                    </a:lnTo>
                    <a:lnTo>
                      <a:pt x="468" y="75"/>
                    </a:lnTo>
                    <a:lnTo>
                      <a:pt x="466" y="76"/>
                    </a:lnTo>
                    <a:lnTo>
                      <a:pt x="468" y="80"/>
                    </a:lnTo>
                    <a:lnTo>
                      <a:pt x="469" y="78"/>
                    </a:lnTo>
                    <a:lnTo>
                      <a:pt x="469" y="80"/>
                    </a:lnTo>
                    <a:lnTo>
                      <a:pt x="468" y="83"/>
                    </a:lnTo>
                    <a:lnTo>
                      <a:pt x="466" y="85"/>
                    </a:lnTo>
                    <a:lnTo>
                      <a:pt x="468" y="87"/>
                    </a:lnTo>
                    <a:lnTo>
                      <a:pt x="468" y="88"/>
                    </a:lnTo>
                    <a:lnTo>
                      <a:pt x="466" y="88"/>
                    </a:lnTo>
                    <a:lnTo>
                      <a:pt x="466" y="90"/>
                    </a:lnTo>
                    <a:lnTo>
                      <a:pt x="462" y="92"/>
                    </a:lnTo>
                    <a:lnTo>
                      <a:pt x="459" y="92"/>
                    </a:lnTo>
                    <a:lnTo>
                      <a:pt x="459" y="95"/>
                    </a:lnTo>
                    <a:lnTo>
                      <a:pt x="459" y="97"/>
                    </a:lnTo>
                    <a:lnTo>
                      <a:pt x="457" y="100"/>
                    </a:lnTo>
                    <a:lnTo>
                      <a:pt x="457" y="102"/>
                    </a:lnTo>
                    <a:lnTo>
                      <a:pt x="461" y="104"/>
                    </a:lnTo>
                    <a:lnTo>
                      <a:pt x="462" y="100"/>
                    </a:lnTo>
                    <a:lnTo>
                      <a:pt x="464" y="100"/>
                    </a:lnTo>
                    <a:lnTo>
                      <a:pt x="464" y="102"/>
                    </a:lnTo>
                    <a:lnTo>
                      <a:pt x="464" y="109"/>
                    </a:lnTo>
                    <a:lnTo>
                      <a:pt x="461" y="110"/>
                    </a:lnTo>
                    <a:lnTo>
                      <a:pt x="461" y="114"/>
                    </a:lnTo>
                    <a:lnTo>
                      <a:pt x="461" y="115"/>
                    </a:lnTo>
                    <a:lnTo>
                      <a:pt x="462" y="115"/>
                    </a:lnTo>
                    <a:lnTo>
                      <a:pt x="464" y="114"/>
                    </a:lnTo>
                    <a:lnTo>
                      <a:pt x="466" y="114"/>
                    </a:lnTo>
                    <a:lnTo>
                      <a:pt x="468" y="115"/>
                    </a:lnTo>
                    <a:lnTo>
                      <a:pt x="473" y="115"/>
                    </a:lnTo>
                    <a:lnTo>
                      <a:pt x="474" y="117"/>
                    </a:lnTo>
                    <a:lnTo>
                      <a:pt x="478" y="115"/>
                    </a:lnTo>
                    <a:lnTo>
                      <a:pt x="479" y="115"/>
                    </a:lnTo>
                    <a:lnTo>
                      <a:pt x="483" y="115"/>
                    </a:lnTo>
                    <a:lnTo>
                      <a:pt x="485" y="117"/>
                    </a:lnTo>
                    <a:lnTo>
                      <a:pt x="486" y="115"/>
                    </a:lnTo>
                    <a:lnTo>
                      <a:pt x="491" y="117"/>
                    </a:lnTo>
                    <a:lnTo>
                      <a:pt x="493" y="117"/>
                    </a:lnTo>
                    <a:lnTo>
                      <a:pt x="495" y="117"/>
                    </a:lnTo>
                    <a:lnTo>
                      <a:pt x="496" y="117"/>
                    </a:lnTo>
                    <a:lnTo>
                      <a:pt x="498" y="117"/>
                    </a:lnTo>
                    <a:lnTo>
                      <a:pt x="496" y="121"/>
                    </a:lnTo>
                    <a:lnTo>
                      <a:pt x="498" y="122"/>
                    </a:lnTo>
                    <a:lnTo>
                      <a:pt x="495" y="127"/>
                    </a:lnTo>
                    <a:lnTo>
                      <a:pt x="493" y="131"/>
                    </a:lnTo>
                    <a:lnTo>
                      <a:pt x="493" y="132"/>
                    </a:lnTo>
                    <a:lnTo>
                      <a:pt x="495" y="136"/>
                    </a:lnTo>
                    <a:lnTo>
                      <a:pt x="496" y="138"/>
                    </a:lnTo>
                    <a:lnTo>
                      <a:pt x="503" y="139"/>
                    </a:lnTo>
                    <a:lnTo>
                      <a:pt x="507" y="138"/>
                    </a:lnTo>
                    <a:lnTo>
                      <a:pt x="508" y="138"/>
                    </a:lnTo>
                    <a:lnTo>
                      <a:pt x="512" y="141"/>
                    </a:lnTo>
                    <a:lnTo>
                      <a:pt x="519" y="141"/>
                    </a:lnTo>
                    <a:lnTo>
                      <a:pt x="522" y="141"/>
                    </a:lnTo>
                    <a:lnTo>
                      <a:pt x="524" y="143"/>
                    </a:lnTo>
                    <a:lnTo>
                      <a:pt x="525" y="143"/>
                    </a:lnTo>
                    <a:lnTo>
                      <a:pt x="529" y="143"/>
                    </a:lnTo>
                    <a:lnTo>
                      <a:pt x="530" y="146"/>
                    </a:lnTo>
                    <a:lnTo>
                      <a:pt x="530" y="149"/>
                    </a:lnTo>
                    <a:lnTo>
                      <a:pt x="534" y="153"/>
                    </a:lnTo>
                    <a:lnTo>
                      <a:pt x="541" y="158"/>
                    </a:lnTo>
                    <a:lnTo>
                      <a:pt x="544" y="158"/>
                    </a:lnTo>
                    <a:lnTo>
                      <a:pt x="547" y="160"/>
                    </a:lnTo>
                    <a:lnTo>
                      <a:pt x="549" y="163"/>
                    </a:lnTo>
                    <a:lnTo>
                      <a:pt x="551" y="163"/>
                    </a:lnTo>
                    <a:lnTo>
                      <a:pt x="551" y="165"/>
                    </a:lnTo>
                    <a:lnTo>
                      <a:pt x="551" y="166"/>
                    </a:lnTo>
                    <a:lnTo>
                      <a:pt x="551" y="168"/>
                    </a:lnTo>
                    <a:lnTo>
                      <a:pt x="551" y="170"/>
                    </a:lnTo>
                    <a:lnTo>
                      <a:pt x="547" y="172"/>
                    </a:lnTo>
                    <a:lnTo>
                      <a:pt x="544" y="173"/>
                    </a:lnTo>
                    <a:lnTo>
                      <a:pt x="546" y="175"/>
                    </a:lnTo>
                    <a:lnTo>
                      <a:pt x="546" y="178"/>
                    </a:lnTo>
                    <a:lnTo>
                      <a:pt x="553" y="182"/>
                    </a:lnTo>
                    <a:lnTo>
                      <a:pt x="554" y="185"/>
                    </a:lnTo>
                    <a:lnTo>
                      <a:pt x="556" y="187"/>
                    </a:lnTo>
                    <a:lnTo>
                      <a:pt x="556" y="185"/>
                    </a:lnTo>
                    <a:lnTo>
                      <a:pt x="559" y="187"/>
                    </a:lnTo>
                    <a:lnTo>
                      <a:pt x="559" y="189"/>
                    </a:lnTo>
                    <a:lnTo>
                      <a:pt x="563" y="189"/>
                    </a:lnTo>
                    <a:lnTo>
                      <a:pt x="563" y="190"/>
                    </a:lnTo>
                    <a:lnTo>
                      <a:pt x="564" y="190"/>
                    </a:lnTo>
                    <a:lnTo>
                      <a:pt x="564" y="192"/>
                    </a:lnTo>
                    <a:lnTo>
                      <a:pt x="566" y="190"/>
                    </a:lnTo>
                    <a:lnTo>
                      <a:pt x="566" y="192"/>
                    </a:lnTo>
                    <a:lnTo>
                      <a:pt x="571" y="194"/>
                    </a:lnTo>
                    <a:lnTo>
                      <a:pt x="573" y="194"/>
                    </a:lnTo>
                    <a:lnTo>
                      <a:pt x="573" y="195"/>
                    </a:lnTo>
                    <a:lnTo>
                      <a:pt x="576" y="195"/>
                    </a:lnTo>
                    <a:lnTo>
                      <a:pt x="576" y="197"/>
                    </a:lnTo>
                    <a:lnTo>
                      <a:pt x="581" y="197"/>
                    </a:lnTo>
                    <a:lnTo>
                      <a:pt x="581" y="199"/>
                    </a:lnTo>
                    <a:lnTo>
                      <a:pt x="583" y="200"/>
                    </a:lnTo>
                    <a:lnTo>
                      <a:pt x="585" y="200"/>
                    </a:lnTo>
                    <a:lnTo>
                      <a:pt x="587" y="202"/>
                    </a:lnTo>
                    <a:lnTo>
                      <a:pt x="588" y="202"/>
                    </a:lnTo>
                    <a:lnTo>
                      <a:pt x="590" y="206"/>
                    </a:lnTo>
                    <a:lnTo>
                      <a:pt x="588" y="207"/>
                    </a:lnTo>
                    <a:lnTo>
                      <a:pt x="590" y="207"/>
                    </a:lnTo>
                    <a:lnTo>
                      <a:pt x="592" y="207"/>
                    </a:lnTo>
                    <a:lnTo>
                      <a:pt x="592" y="211"/>
                    </a:lnTo>
                    <a:lnTo>
                      <a:pt x="595" y="212"/>
                    </a:lnTo>
                    <a:lnTo>
                      <a:pt x="597" y="216"/>
                    </a:lnTo>
                    <a:lnTo>
                      <a:pt x="598" y="216"/>
                    </a:lnTo>
                    <a:lnTo>
                      <a:pt x="600" y="217"/>
                    </a:lnTo>
                    <a:lnTo>
                      <a:pt x="605" y="219"/>
                    </a:lnTo>
                    <a:lnTo>
                      <a:pt x="607" y="221"/>
                    </a:lnTo>
                    <a:lnTo>
                      <a:pt x="607" y="223"/>
                    </a:lnTo>
                    <a:lnTo>
                      <a:pt x="604" y="226"/>
                    </a:lnTo>
                    <a:lnTo>
                      <a:pt x="604" y="228"/>
                    </a:lnTo>
                    <a:lnTo>
                      <a:pt x="602" y="228"/>
                    </a:lnTo>
                    <a:lnTo>
                      <a:pt x="600" y="229"/>
                    </a:lnTo>
                    <a:lnTo>
                      <a:pt x="602" y="229"/>
                    </a:lnTo>
                    <a:lnTo>
                      <a:pt x="602" y="233"/>
                    </a:lnTo>
                    <a:lnTo>
                      <a:pt x="607" y="238"/>
                    </a:lnTo>
                    <a:lnTo>
                      <a:pt x="610" y="240"/>
                    </a:lnTo>
                    <a:lnTo>
                      <a:pt x="610" y="243"/>
                    </a:lnTo>
                    <a:lnTo>
                      <a:pt x="612" y="241"/>
                    </a:lnTo>
                    <a:lnTo>
                      <a:pt x="614" y="241"/>
                    </a:lnTo>
                    <a:lnTo>
                      <a:pt x="612" y="245"/>
                    </a:lnTo>
                    <a:lnTo>
                      <a:pt x="610" y="248"/>
                    </a:lnTo>
                    <a:lnTo>
                      <a:pt x="609" y="250"/>
                    </a:lnTo>
                    <a:lnTo>
                      <a:pt x="612" y="248"/>
                    </a:lnTo>
                    <a:lnTo>
                      <a:pt x="614" y="250"/>
                    </a:lnTo>
                    <a:lnTo>
                      <a:pt x="615" y="253"/>
                    </a:lnTo>
                    <a:lnTo>
                      <a:pt x="621" y="253"/>
                    </a:lnTo>
                    <a:lnTo>
                      <a:pt x="624" y="253"/>
                    </a:lnTo>
                    <a:lnTo>
                      <a:pt x="627" y="255"/>
                    </a:lnTo>
                    <a:lnTo>
                      <a:pt x="629" y="258"/>
                    </a:lnTo>
                    <a:lnTo>
                      <a:pt x="632" y="258"/>
                    </a:lnTo>
                    <a:lnTo>
                      <a:pt x="636" y="262"/>
                    </a:lnTo>
                    <a:lnTo>
                      <a:pt x="638" y="262"/>
                    </a:lnTo>
                    <a:lnTo>
                      <a:pt x="639" y="263"/>
                    </a:lnTo>
                    <a:lnTo>
                      <a:pt x="643" y="263"/>
                    </a:lnTo>
                    <a:lnTo>
                      <a:pt x="646" y="265"/>
                    </a:lnTo>
                    <a:lnTo>
                      <a:pt x="644" y="267"/>
                    </a:lnTo>
                    <a:lnTo>
                      <a:pt x="648" y="267"/>
                    </a:lnTo>
                    <a:lnTo>
                      <a:pt x="648" y="270"/>
                    </a:lnTo>
                    <a:lnTo>
                      <a:pt x="649" y="272"/>
                    </a:lnTo>
                    <a:lnTo>
                      <a:pt x="649" y="274"/>
                    </a:lnTo>
                    <a:lnTo>
                      <a:pt x="651" y="274"/>
                    </a:lnTo>
                    <a:lnTo>
                      <a:pt x="651" y="277"/>
                    </a:lnTo>
                    <a:lnTo>
                      <a:pt x="649" y="282"/>
                    </a:lnTo>
                    <a:lnTo>
                      <a:pt x="649" y="286"/>
                    </a:lnTo>
                    <a:lnTo>
                      <a:pt x="649" y="287"/>
                    </a:lnTo>
                    <a:lnTo>
                      <a:pt x="653" y="291"/>
                    </a:lnTo>
                    <a:lnTo>
                      <a:pt x="653" y="292"/>
                    </a:lnTo>
                    <a:lnTo>
                      <a:pt x="658" y="296"/>
                    </a:lnTo>
                    <a:lnTo>
                      <a:pt x="658" y="299"/>
                    </a:lnTo>
                    <a:lnTo>
                      <a:pt x="660" y="299"/>
                    </a:lnTo>
                    <a:lnTo>
                      <a:pt x="660" y="301"/>
                    </a:lnTo>
                    <a:lnTo>
                      <a:pt x="653" y="297"/>
                    </a:lnTo>
                    <a:lnTo>
                      <a:pt x="649" y="296"/>
                    </a:lnTo>
                    <a:lnTo>
                      <a:pt x="646" y="294"/>
                    </a:lnTo>
                    <a:lnTo>
                      <a:pt x="643" y="294"/>
                    </a:lnTo>
                    <a:lnTo>
                      <a:pt x="638" y="294"/>
                    </a:lnTo>
                    <a:lnTo>
                      <a:pt x="634" y="297"/>
                    </a:lnTo>
                    <a:lnTo>
                      <a:pt x="631" y="303"/>
                    </a:lnTo>
                    <a:lnTo>
                      <a:pt x="629" y="301"/>
                    </a:lnTo>
                    <a:lnTo>
                      <a:pt x="627" y="303"/>
                    </a:lnTo>
                    <a:lnTo>
                      <a:pt x="626" y="299"/>
                    </a:lnTo>
                    <a:lnTo>
                      <a:pt x="622" y="299"/>
                    </a:lnTo>
                    <a:lnTo>
                      <a:pt x="619" y="301"/>
                    </a:lnTo>
                    <a:lnTo>
                      <a:pt x="619" y="299"/>
                    </a:lnTo>
                    <a:lnTo>
                      <a:pt x="619" y="301"/>
                    </a:lnTo>
                    <a:lnTo>
                      <a:pt x="617" y="299"/>
                    </a:lnTo>
                    <a:lnTo>
                      <a:pt x="617" y="301"/>
                    </a:lnTo>
                    <a:lnTo>
                      <a:pt x="615" y="299"/>
                    </a:lnTo>
                    <a:lnTo>
                      <a:pt x="615" y="301"/>
                    </a:lnTo>
                    <a:lnTo>
                      <a:pt x="614" y="301"/>
                    </a:lnTo>
                    <a:lnTo>
                      <a:pt x="614" y="303"/>
                    </a:lnTo>
                    <a:lnTo>
                      <a:pt x="614" y="301"/>
                    </a:lnTo>
                    <a:lnTo>
                      <a:pt x="612" y="303"/>
                    </a:lnTo>
                    <a:lnTo>
                      <a:pt x="612" y="301"/>
                    </a:lnTo>
                    <a:lnTo>
                      <a:pt x="610" y="303"/>
                    </a:lnTo>
                    <a:lnTo>
                      <a:pt x="610" y="301"/>
                    </a:lnTo>
                    <a:lnTo>
                      <a:pt x="609" y="301"/>
                    </a:lnTo>
                    <a:lnTo>
                      <a:pt x="609" y="299"/>
                    </a:lnTo>
                    <a:lnTo>
                      <a:pt x="607" y="299"/>
                    </a:lnTo>
                    <a:lnTo>
                      <a:pt x="607" y="297"/>
                    </a:lnTo>
                    <a:lnTo>
                      <a:pt x="605" y="296"/>
                    </a:lnTo>
                    <a:lnTo>
                      <a:pt x="605" y="297"/>
                    </a:lnTo>
                    <a:lnTo>
                      <a:pt x="604" y="296"/>
                    </a:lnTo>
                    <a:lnTo>
                      <a:pt x="604" y="297"/>
                    </a:lnTo>
                    <a:lnTo>
                      <a:pt x="604" y="296"/>
                    </a:lnTo>
                    <a:lnTo>
                      <a:pt x="604" y="297"/>
                    </a:lnTo>
                    <a:lnTo>
                      <a:pt x="602" y="296"/>
                    </a:lnTo>
                    <a:lnTo>
                      <a:pt x="602" y="297"/>
                    </a:lnTo>
                    <a:lnTo>
                      <a:pt x="602" y="296"/>
                    </a:lnTo>
                    <a:lnTo>
                      <a:pt x="600" y="296"/>
                    </a:lnTo>
                    <a:lnTo>
                      <a:pt x="598" y="296"/>
                    </a:lnTo>
                    <a:lnTo>
                      <a:pt x="598" y="294"/>
                    </a:lnTo>
                    <a:lnTo>
                      <a:pt x="597" y="294"/>
                    </a:lnTo>
                    <a:lnTo>
                      <a:pt x="597" y="292"/>
                    </a:lnTo>
                    <a:lnTo>
                      <a:pt x="595" y="292"/>
                    </a:lnTo>
                    <a:lnTo>
                      <a:pt x="595" y="291"/>
                    </a:lnTo>
                    <a:lnTo>
                      <a:pt x="593" y="291"/>
                    </a:lnTo>
                    <a:lnTo>
                      <a:pt x="592" y="292"/>
                    </a:lnTo>
                    <a:lnTo>
                      <a:pt x="592" y="294"/>
                    </a:lnTo>
                    <a:lnTo>
                      <a:pt x="590" y="292"/>
                    </a:lnTo>
                    <a:lnTo>
                      <a:pt x="590" y="294"/>
                    </a:lnTo>
                    <a:lnTo>
                      <a:pt x="588" y="292"/>
                    </a:lnTo>
                    <a:lnTo>
                      <a:pt x="588" y="294"/>
                    </a:lnTo>
                    <a:lnTo>
                      <a:pt x="587" y="294"/>
                    </a:lnTo>
                    <a:lnTo>
                      <a:pt x="587" y="292"/>
                    </a:lnTo>
                    <a:lnTo>
                      <a:pt x="585" y="292"/>
                    </a:lnTo>
                    <a:lnTo>
                      <a:pt x="585" y="294"/>
                    </a:lnTo>
                    <a:lnTo>
                      <a:pt x="581" y="294"/>
                    </a:lnTo>
                    <a:lnTo>
                      <a:pt x="581" y="296"/>
                    </a:lnTo>
                    <a:lnTo>
                      <a:pt x="581" y="294"/>
                    </a:lnTo>
                    <a:lnTo>
                      <a:pt x="580" y="294"/>
                    </a:lnTo>
                    <a:lnTo>
                      <a:pt x="580" y="292"/>
                    </a:lnTo>
                    <a:lnTo>
                      <a:pt x="578" y="294"/>
                    </a:lnTo>
                    <a:lnTo>
                      <a:pt x="576" y="292"/>
                    </a:lnTo>
                    <a:lnTo>
                      <a:pt x="575" y="292"/>
                    </a:lnTo>
                    <a:lnTo>
                      <a:pt x="576" y="291"/>
                    </a:lnTo>
                    <a:lnTo>
                      <a:pt x="575" y="291"/>
                    </a:lnTo>
                    <a:lnTo>
                      <a:pt x="573" y="292"/>
                    </a:lnTo>
                    <a:lnTo>
                      <a:pt x="573" y="291"/>
                    </a:lnTo>
                    <a:lnTo>
                      <a:pt x="571" y="291"/>
                    </a:lnTo>
                    <a:lnTo>
                      <a:pt x="571" y="289"/>
                    </a:lnTo>
                    <a:lnTo>
                      <a:pt x="570" y="289"/>
                    </a:lnTo>
                    <a:lnTo>
                      <a:pt x="568" y="287"/>
                    </a:lnTo>
                    <a:lnTo>
                      <a:pt x="568" y="289"/>
                    </a:lnTo>
                    <a:lnTo>
                      <a:pt x="568" y="287"/>
                    </a:lnTo>
                    <a:lnTo>
                      <a:pt x="566" y="287"/>
                    </a:lnTo>
                    <a:lnTo>
                      <a:pt x="568" y="287"/>
                    </a:lnTo>
                    <a:lnTo>
                      <a:pt x="566" y="287"/>
                    </a:lnTo>
                    <a:lnTo>
                      <a:pt x="564" y="286"/>
                    </a:lnTo>
                    <a:lnTo>
                      <a:pt x="563" y="284"/>
                    </a:lnTo>
                    <a:lnTo>
                      <a:pt x="563" y="286"/>
                    </a:lnTo>
                    <a:lnTo>
                      <a:pt x="561" y="287"/>
                    </a:lnTo>
                    <a:lnTo>
                      <a:pt x="559" y="286"/>
                    </a:lnTo>
                    <a:lnTo>
                      <a:pt x="559" y="287"/>
                    </a:lnTo>
                    <a:lnTo>
                      <a:pt x="558" y="287"/>
                    </a:lnTo>
                    <a:lnTo>
                      <a:pt x="558" y="289"/>
                    </a:lnTo>
                    <a:lnTo>
                      <a:pt x="556" y="289"/>
                    </a:lnTo>
                    <a:lnTo>
                      <a:pt x="556" y="287"/>
                    </a:lnTo>
                    <a:lnTo>
                      <a:pt x="556" y="289"/>
                    </a:lnTo>
                    <a:lnTo>
                      <a:pt x="554" y="289"/>
                    </a:lnTo>
                    <a:lnTo>
                      <a:pt x="553" y="291"/>
                    </a:lnTo>
                    <a:lnTo>
                      <a:pt x="553" y="294"/>
                    </a:lnTo>
                    <a:lnTo>
                      <a:pt x="551" y="294"/>
                    </a:lnTo>
                    <a:lnTo>
                      <a:pt x="553" y="297"/>
                    </a:lnTo>
                    <a:lnTo>
                      <a:pt x="554" y="296"/>
                    </a:lnTo>
                    <a:lnTo>
                      <a:pt x="553" y="299"/>
                    </a:lnTo>
                    <a:lnTo>
                      <a:pt x="553" y="301"/>
                    </a:lnTo>
                    <a:lnTo>
                      <a:pt x="553" y="303"/>
                    </a:lnTo>
                    <a:lnTo>
                      <a:pt x="546" y="304"/>
                    </a:lnTo>
                    <a:lnTo>
                      <a:pt x="544" y="304"/>
                    </a:lnTo>
                    <a:lnTo>
                      <a:pt x="544" y="303"/>
                    </a:lnTo>
                    <a:lnTo>
                      <a:pt x="542" y="304"/>
                    </a:lnTo>
                    <a:lnTo>
                      <a:pt x="541" y="306"/>
                    </a:lnTo>
                    <a:lnTo>
                      <a:pt x="539" y="308"/>
                    </a:lnTo>
                    <a:lnTo>
                      <a:pt x="534" y="304"/>
                    </a:lnTo>
                    <a:lnTo>
                      <a:pt x="532" y="306"/>
                    </a:lnTo>
                    <a:lnTo>
                      <a:pt x="530" y="306"/>
                    </a:lnTo>
                    <a:lnTo>
                      <a:pt x="529" y="306"/>
                    </a:lnTo>
                    <a:lnTo>
                      <a:pt x="529" y="308"/>
                    </a:lnTo>
                    <a:lnTo>
                      <a:pt x="525" y="308"/>
                    </a:lnTo>
                    <a:lnTo>
                      <a:pt x="525" y="309"/>
                    </a:lnTo>
                    <a:lnTo>
                      <a:pt x="524" y="309"/>
                    </a:lnTo>
                    <a:lnTo>
                      <a:pt x="522" y="309"/>
                    </a:lnTo>
                    <a:lnTo>
                      <a:pt x="520" y="309"/>
                    </a:lnTo>
                    <a:lnTo>
                      <a:pt x="519" y="308"/>
                    </a:lnTo>
                    <a:lnTo>
                      <a:pt x="519" y="306"/>
                    </a:lnTo>
                    <a:lnTo>
                      <a:pt x="517" y="306"/>
                    </a:lnTo>
                    <a:lnTo>
                      <a:pt x="517" y="303"/>
                    </a:lnTo>
                    <a:lnTo>
                      <a:pt x="513" y="303"/>
                    </a:lnTo>
                    <a:lnTo>
                      <a:pt x="512" y="301"/>
                    </a:lnTo>
                    <a:lnTo>
                      <a:pt x="508" y="299"/>
                    </a:lnTo>
                    <a:lnTo>
                      <a:pt x="508" y="301"/>
                    </a:lnTo>
                    <a:lnTo>
                      <a:pt x="507" y="301"/>
                    </a:lnTo>
                    <a:lnTo>
                      <a:pt x="507" y="299"/>
                    </a:lnTo>
                    <a:lnTo>
                      <a:pt x="505" y="299"/>
                    </a:lnTo>
                    <a:lnTo>
                      <a:pt x="503" y="301"/>
                    </a:lnTo>
                    <a:lnTo>
                      <a:pt x="503" y="303"/>
                    </a:lnTo>
                    <a:lnTo>
                      <a:pt x="505" y="301"/>
                    </a:lnTo>
                    <a:lnTo>
                      <a:pt x="505" y="303"/>
                    </a:lnTo>
                    <a:lnTo>
                      <a:pt x="503" y="304"/>
                    </a:lnTo>
                    <a:lnTo>
                      <a:pt x="500" y="304"/>
                    </a:lnTo>
                    <a:lnTo>
                      <a:pt x="498" y="306"/>
                    </a:lnTo>
                    <a:lnTo>
                      <a:pt x="498" y="308"/>
                    </a:lnTo>
                    <a:lnTo>
                      <a:pt x="498" y="306"/>
                    </a:lnTo>
                    <a:lnTo>
                      <a:pt x="496" y="306"/>
                    </a:lnTo>
                    <a:lnTo>
                      <a:pt x="495" y="308"/>
                    </a:lnTo>
                    <a:lnTo>
                      <a:pt x="493" y="309"/>
                    </a:lnTo>
                    <a:lnTo>
                      <a:pt x="491" y="308"/>
                    </a:lnTo>
                    <a:lnTo>
                      <a:pt x="486" y="311"/>
                    </a:lnTo>
                    <a:lnTo>
                      <a:pt x="485" y="311"/>
                    </a:lnTo>
                    <a:lnTo>
                      <a:pt x="483" y="311"/>
                    </a:lnTo>
                    <a:lnTo>
                      <a:pt x="483" y="314"/>
                    </a:lnTo>
                    <a:lnTo>
                      <a:pt x="479" y="313"/>
                    </a:lnTo>
                    <a:lnTo>
                      <a:pt x="478" y="314"/>
                    </a:lnTo>
                    <a:lnTo>
                      <a:pt x="476" y="313"/>
                    </a:lnTo>
                    <a:lnTo>
                      <a:pt x="474" y="314"/>
                    </a:lnTo>
                    <a:lnTo>
                      <a:pt x="471" y="314"/>
                    </a:lnTo>
                    <a:lnTo>
                      <a:pt x="469" y="316"/>
                    </a:lnTo>
                    <a:lnTo>
                      <a:pt x="464" y="316"/>
                    </a:lnTo>
                    <a:lnTo>
                      <a:pt x="462" y="320"/>
                    </a:lnTo>
                    <a:lnTo>
                      <a:pt x="459" y="321"/>
                    </a:lnTo>
                    <a:lnTo>
                      <a:pt x="457" y="321"/>
                    </a:lnTo>
                    <a:lnTo>
                      <a:pt x="456" y="321"/>
                    </a:lnTo>
                    <a:lnTo>
                      <a:pt x="456" y="325"/>
                    </a:lnTo>
                    <a:lnTo>
                      <a:pt x="454" y="325"/>
                    </a:lnTo>
                    <a:lnTo>
                      <a:pt x="452" y="323"/>
                    </a:lnTo>
                    <a:lnTo>
                      <a:pt x="451" y="325"/>
                    </a:lnTo>
                    <a:lnTo>
                      <a:pt x="449" y="323"/>
                    </a:lnTo>
                    <a:lnTo>
                      <a:pt x="447" y="321"/>
                    </a:lnTo>
                    <a:lnTo>
                      <a:pt x="445" y="321"/>
                    </a:lnTo>
                    <a:lnTo>
                      <a:pt x="444" y="318"/>
                    </a:lnTo>
                    <a:lnTo>
                      <a:pt x="440" y="320"/>
                    </a:lnTo>
                    <a:lnTo>
                      <a:pt x="435" y="316"/>
                    </a:lnTo>
                    <a:lnTo>
                      <a:pt x="434" y="313"/>
                    </a:lnTo>
                    <a:lnTo>
                      <a:pt x="432" y="313"/>
                    </a:lnTo>
                    <a:lnTo>
                      <a:pt x="430" y="313"/>
                    </a:lnTo>
                    <a:lnTo>
                      <a:pt x="428" y="314"/>
                    </a:lnTo>
                    <a:lnTo>
                      <a:pt x="428" y="316"/>
                    </a:lnTo>
                    <a:lnTo>
                      <a:pt x="428" y="318"/>
                    </a:lnTo>
                    <a:lnTo>
                      <a:pt x="427" y="320"/>
                    </a:lnTo>
                    <a:lnTo>
                      <a:pt x="425" y="318"/>
                    </a:lnTo>
                    <a:lnTo>
                      <a:pt x="423" y="320"/>
                    </a:lnTo>
                    <a:lnTo>
                      <a:pt x="422" y="323"/>
                    </a:lnTo>
                    <a:lnTo>
                      <a:pt x="422" y="326"/>
                    </a:lnTo>
                    <a:lnTo>
                      <a:pt x="420" y="328"/>
                    </a:lnTo>
                    <a:lnTo>
                      <a:pt x="420" y="330"/>
                    </a:lnTo>
                    <a:lnTo>
                      <a:pt x="417" y="330"/>
                    </a:lnTo>
                    <a:lnTo>
                      <a:pt x="415" y="330"/>
                    </a:lnTo>
                    <a:lnTo>
                      <a:pt x="415" y="331"/>
                    </a:lnTo>
                    <a:lnTo>
                      <a:pt x="413" y="333"/>
                    </a:lnTo>
                    <a:lnTo>
                      <a:pt x="413" y="335"/>
                    </a:lnTo>
                    <a:lnTo>
                      <a:pt x="415" y="337"/>
                    </a:lnTo>
                    <a:lnTo>
                      <a:pt x="413" y="338"/>
                    </a:lnTo>
                    <a:lnTo>
                      <a:pt x="411" y="340"/>
                    </a:lnTo>
                    <a:lnTo>
                      <a:pt x="411" y="343"/>
                    </a:lnTo>
                    <a:lnTo>
                      <a:pt x="406" y="348"/>
                    </a:lnTo>
                    <a:lnTo>
                      <a:pt x="396" y="348"/>
                    </a:lnTo>
                    <a:lnTo>
                      <a:pt x="393" y="347"/>
                    </a:lnTo>
                    <a:lnTo>
                      <a:pt x="388" y="343"/>
                    </a:lnTo>
                    <a:lnTo>
                      <a:pt x="386" y="343"/>
                    </a:lnTo>
                    <a:lnTo>
                      <a:pt x="384" y="342"/>
                    </a:lnTo>
                    <a:lnTo>
                      <a:pt x="381" y="343"/>
                    </a:lnTo>
                    <a:lnTo>
                      <a:pt x="376" y="342"/>
                    </a:lnTo>
                    <a:lnTo>
                      <a:pt x="371" y="340"/>
                    </a:lnTo>
                    <a:lnTo>
                      <a:pt x="369" y="340"/>
                    </a:lnTo>
                    <a:lnTo>
                      <a:pt x="366" y="338"/>
                    </a:lnTo>
                    <a:lnTo>
                      <a:pt x="360" y="342"/>
                    </a:lnTo>
                    <a:lnTo>
                      <a:pt x="357" y="342"/>
                    </a:lnTo>
                    <a:lnTo>
                      <a:pt x="355" y="340"/>
                    </a:lnTo>
                    <a:lnTo>
                      <a:pt x="352" y="340"/>
                    </a:lnTo>
                    <a:lnTo>
                      <a:pt x="349" y="338"/>
                    </a:lnTo>
                    <a:lnTo>
                      <a:pt x="345" y="338"/>
                    </a:lnTo>
                    <a:lnTo>
                      <a:pt x="343" y="340"/>
                    </a:lnTo>
                    <a:lnTo>
                      <a:pt x="342" y="338"/>
                    </a:lnTo>
                    <a:lnTo>
                      <a:pt x="338" y="335"/>
                    </a:lnTo>
                    <a:lnTo>
                      <a:pt x="332" y="333"/>
                    </a:lnTo>
                    <a:lnTo>
                      <a:pt x="326" y="331"/>
                    </a:lnTo>
                    <a:lnTo>
                      <a:pt x="323" y="333"/>
                    </a:lnTo>
                    <a:lnTo>
                      <a:pt x="320" y="333"/>
                    </a:lnTo>
                    <a:lnTo>
                      <a:pt x="315" y="333"/>
                    </a:lnTo>
                    <a:lnTo>
                      <a:pt x="313" y="333"/>
                    </a:lnTo>
                    <a:lnTo>
                      <a:pt x="309" y="331"/>
                    </a:lnTo>
                    <a:lnTo>
                      <a:pt x="306" y="328"/>
                    </a:lnTo>
                    <a:lnTo>
                      <a:pt x="306" y="326"/>
                    </a:lnTo>
                    <a:lnTo>
                      <a:pt x="306" y="323"/>
                    </a:lnTo>
                    <a:lnTo>
                      <a:pt x="303" y="320"/>
                    </a:lnTo>
                    <a:lnTo>
                      <a:pt x="301" y="320"/>
                    </a:lnTo>
                    <a:lnTo>
                      <a:pt x="299" y="316"/>
                    </a:lnTo>
                    <a:lnTo>
                      <a:pt x="294" y="314"/>
                    </a:lnTo>
                    <a:lnTo>
                      <a:pt x="291" y="313"/>
                    </a:lnTo>
                    <a:lnTo>
                      <a:pt x="291" y="309"/>
                    </a:lnTo>
                    <a:lnTo>
                      <a:pt x="287" y="309"/>
                    </a:lnTo>
                    <a:lnTo>
                      <a:pt x="282" y="306"/>
                    </a:lnTo>
                    <a:lnTo>
                      <a:pt x="279" y="306"/>
                    </a:lnTo>
                    <a:lnTo>
                      <a:pt x="277" y="304"/>
                    </a:lnTo>
                    <a:lnTo>
                      <a:pt x="274" y="299"/>
                    </a:lnTo>
                    <a:lnTo>
                      <a:pt x="267" y="297"/>
                    </a:lnTo>
                    <a:lnTo>
                      <a:pt x="262" y="297"/>
                    </a:lnTo>
                    <a:lnTo>
                      <a:pt x="260" y="297"/>
                    </a:lnTo>
                    <a:lnTo>
                      <a:pt x="257" y="297"/>
                    </a:lnTo>
                    <a:lnTo>
                      <a:pt x="253" y="297"/>
                    </a:lnTo>
                    <a:lnTo>
                      <a:pt x="252" y="299"/>
                    </a:lnTo>
                    <a:lnTo>
                      <a:pt x="250" y="301"/>
                    </a:lnTo>
                    <a:lnTo>
                      <a:pt x="243" y="304"/>
                    </a:lnTo>
                    <a:lnTo>
                      <a:pt x="241" y="308"/>
                    </a:lnTo>
                    <a:lnTo>
                      <a:pt x="240" y="308"/>
                    </a:lnTo>
                    <a:lnTo>
                      <a:pt x="236" y="308"/>
                    </a:lnTo>
                    <a:lnTo>
                      <a:pt x="233" y="316"/>
                    </a:lnTo>
                    <a:lnTo>
                      <a:pt x="231" y="316"/>
                    </a:lnTo>
                    <a:lnTo>
                      <a:pt x="228" y="321"/>
                    </a:lnTo>
                    <a:lnTo>
                      <a:pt x="226" y="325"/>
                    </a:lnTo>
                    <a:lnTo>
                      <a:pt x="223" y="325"/>
                    </a:lnTo>
                    <a:lnTo>
                      <a:pt x="223" y="331"/>
                    </a:lnTo>
                    <a:lnTo>
                      <a:pt x="219" y="335"/>
                    </a:lnTo>
                    <a:lnTo>
                      <a:pt x="216" y="337"/>
                    </a:lnTo>
                    <a:lnTo>
                      <a:pt x="213" y="337"/>
                    </a:lnTo>
                    <a:lnTo>
                      <a:pt x="211" y="337"/>
                    </a:lnTo>
                    <a:lnTo>
                      <a:pt x="209" y="337"/>
                    </a:lnTo>
                    <a:lnTo>
                      <a:pt x="209" y="338"/>
                    </a:lnTo>
                    <a:lnTo>
                      <a:pt x="213" y="345"/>
                    </a:lnTo>
                    <a:lnTo>
                      <a:pt x="214" y="354"/>
                    </a:lnTo>
                    <a:lnTo>
                      <a:pt x="214" y="355"/>
                    </a:lnTo>
                    <a:lnTo>
                      <a:pt x="213" y="360"/>
                    </a:lnTo>
                    <a:lnTo>
                      <a:pt x="211" y="367"/>
                    </a:lnTo>
                    <a:lnTo>
                      <a:pt x="213" y="379"/>
                    </a:lnTo>
                    <a:lnTo>
                      <a:pt x="213" y="381"/>
                    </a:lnTo>
                    <a:lnTo>
                      <a:pt x="211" y="381"/>
                    </a:lnTo>
                    <a:lnTo>
                      <a:pt x="209" y="376"/>
                    </a:lnTo>
                    <a:lnTo>
                      <a:pt x="206" y="372"/>
                    </a:lnTo>
                    <a:lnTo>
                      <a:pt x="204" y="376"/>
                    </a:lnTo>
                    <a:lnTo>
                      <a:pt x="202" y="374"/>
                    </a:lnTo>
                    <a:lnTo>
                      <a:pt x="202" y="376"/>
                    </a:lnTo>
                    <a:lnTo>
                      <a:pt x="199" y="374"/>
                    </a:lnTo>
                    <a:lnTo>
                      <a:pt x="197" y="376"/>
                    </a:lnTo>
                    <a:lnTo>
                      <a:pt x="196" y="376"/>
                    </a:lnTo>
                    <a:lnTo>
                      <a:pt x="194" y="381"/>
                    </a:lnTo>
                    <a:lnTo>
                      <a:pt x="190" y="381"/>
                    </a:lnTo>
                    <a:lnTo>
                      <a:pt x="189" y="377"/>
                    </a:lnTo>
                    <a:lnTo>
                      <a:pt x="187" y="377"/>
                    </a:lnTo>
                    <a:lnTo>
                      <a:pt x="182" y="376"/>
                    </a:lnTo>
                    <a:lnTo>
                      <a:pt x="180" y="377"/>
                    </a:lnTo>
                    <a:lnTo>
                      <a:pt x="179" y="376"/>
                    </a:lnTo>
                    <a:lnTo>
                      <a:pt x="177" y="377"/>
                    </a:lnTo>
                    <a:lnTo>
                      <a:pt x="173" y="377"/>
                    </a:lnTo>
                    <a:lnTo>
                      <a:pt x="173" y="376"/>
                    </a:lnTo>
                    <a:lnTo>
                      <a:pt x="172" y="374"/>
                    </a:lnTo>
                    <a:lnTo>
                      <a:pt x="167" y="372"/>
                    </a:lnTo>
                    <a:lnTo>
                      <a:pt x="162" y="374"/>
                    </a:lnTo>
                    <a:lnTo>
                      <a:pt x="158" y="371"/>
                    </a:lnTo>
                    <a:lnTo>
                      <a:pt x="155" y="369"/>
                    </a:lnTo>
                    <a:lnTo>
                      <a:pt x="151" y="372"/>
                    </a:lnTo>
                    <a:lnTo>
                      <a:pt x="150" y="374"/>
                    </a:lnTo>
                    <a:lnTo>
                      <a:pt x="148" y="374"/>
                    </a:lnTo>
                    <a:lnTo>
                      <a:pt x="145" y="374"/>
                    </a:lnTo>
                    <a:lnTo>
                      <a:pt x="143" y="374"/>
                    </a:lnTo>
                    <a:lnTo>
                      <a:pt x="143" y="376"/>
                    </a:lnTo>
                    <a:lnTo>
                      <a:pt x="143" y="377"/>
                    </a:lnTo>
                    <a:lnTo>
                      <a:pt x="131" y="377"/>
                    </a:lnTo>
                    <a:lnTo>
                      <a:pt x="126" y="376"/>
                    </a:lnTo>
                    <a:lnTo>
                      <a:pt x="122" y="379"/>
                    </a:lnTo>
                    <a:lnTo>
                      <a:pt x="114" y="379"/>
                    </a:lnTo>
                    <a:lnTo>
                      <a:pt x="109" y="381"/>
                    </a:lnTo>
                    <a:lnTo>
                      <a:pt x="109" y="388"/>
                    </a:lnTo>
                    <a:lnTo>
                      <a:pt x="105" y="400"/>
                    </a:lnTo>
                    <a:lnTo>
                      <a:pt x="105" y="403"/>
                    </a:lnTo>
                    <a:lnTo>
                      <a:pt x="105" y="406"/>
                    </a:lnTo>
                    <a:lnTo>
                      <a:pt x="104" y="408"/>
                    </a:lnTo>
                    <a:lnTo>
                      <a:pt x="105" y="411"/>
                    </a:lnTo>
                    <a:lnTo>
                      <a:pt x="105" y="413"/>
                    </a:lnTo>
                    <a:lnTo>
                      <a:pt x="104" y="415"/>
                    </a:lnTo>
                    <a:lnTo>
                      <a:pt x="100" y="425"/>
                    </a:lnTo>
                    <a:lnTo>
                      <a:pt x="90" y="445"/>
                    </a:lnTo>
                    <a:lnTo>
                      <a:pt x="88" y="444"/>
                    </a:lnTo>
                    <a:lnTo>
                      <a:pt x="88" y="442"/>
                    </a:lnTo>
                    <a:lnTo>
                      <a:pt x="87" y="439"/>
                    </a:lnTo>
                    <a:lnTo>
                      <a:pt x="83" y="434"/>
                    </a:lnTo>
                    <a:lnTo>
                      <a:pt x="85" y="432"/>
                    </a:lnTo>
                    <a:lnTo>
                      <a:pt x="83" y="428"/>
                    </a:lnTo>
                    <a:lnTo>
                      <a:pt x="85" y="427"/>
                    </a:lnTo>
                    <a:lnTo>
                      <a:pt x="83" y="423"/>
                    </a:lnTo>
                    <a:lnTo>
                      <a:pt x="85" y="420"/>
                    </a:lnTo>
                    <a:lnTo>
                      <a:pt x="83" y="420"/>
                    </a:lnTo>
                    <a:lnTo>
                      <a:pt x="82" y="417"/>
                    </a:lnTo>
                    <a:lnTo>
                      <a:pt x="83" y="415"/>
                    </a:lnTo>
                    <a:lnTo>
                      <a:pt x="85" y="413"/>
                    </a:lnTo>
                    <a:lnTo>
                      <a:pt x="83" y="410"/>
                    </a:lnTo>
                    <a:lnTo>
                      <a:pt x="82" y="406"/>
                    </a:lnTo>
                    <a:lnTo>
                      <a:pt x="80" y="406"/>
                    </a:lnTo>
                    <a:lnTo>
                      <a:pt x="78" y="406"/>
                    </a:lnTo>
                    <a:lnTo>
                      <a:pt x="75" y="400"/>
                    </a:lnTo>
                    <a:lnTo>
                      <a:pt x="71" y="400"/>
                    </a:lnTo>
                    <a:lnTo>
                      <a:pt x="70" y="401"/>
                    </a:lnTo>
                    <a:lnTo>
                      <a:pt x="54" y="382"/>
                    </a:lnTo>
                    <a:lnTo>
                      <a:pt x="43" y="369"/>
                    </a:lnTo>
                    <a:lnTo>
                      <a:pt x="34" y="357"/>
                    </a:lnTo>
                    <a:lnTo>
                      <a:pt x="34" y="355"/>
                    </a:lnTo>
                    <a:lnTo>
                      <a:pt x="32" y="355"/>
                    </a:lnTo>
                    <a:lnTo>
                      <a:pt x="32" y="354"/>
                    </a:lnTo>
                    <a:lnTo>
                      <a:pt x="39" y="352"/>
                    </a:lnTo>
                    <a:lnTo>
                      <a:pt x="37" y="352"/>
                    </a:lnTo>
                    <a:lnTo>
                      <a:pt x="36" y="352"/>
                    </a:lnTo>
                    <a:lnTo>
                      <a:pt x="36" y="350"/>
                    </a:lnTo>
                    <a:lnTo>
                      <a:pt x="34" y="348"/>
                    </a:lnTo>
                    <a:lnTo>
                      <a:pt x="34" y="345"/>
                    </a:lnTo>
                    <a:lnTo>
                      <a:pt x="34" y="338"/>
                    </a:lnTo>
                    <a:lnTo>
                      <a:pt x="31" y="337"/>
                    </a:lnTo>
                    <a:lnTo>
                      <a:pt x="31" y="333"/>
                    </a:lnTo>
                    <a:lnTo>
                      <a:pt x="27" y="333"/>
                    </a:lnTo>
                    <a:lnTo>
                      <a:pt x="24" y="331"/>
                    </a:lnTo>
                    <a:lnTo>
                      <a:pt x="22" y="328"/>
                    </a:lnTo>
                    <a:lnTo>
                      <a:pt x="20" y="328"/>
                    </a:lnTo>
                    <a:lnTo>
                      <a:pt x="15" y="325"/>
                    </a:lnTo>
                    <a:lnTo>
                      <a:pt x="15" y="318"/>
                    </a:lnTo>
                    <a:lnTo>
                      <a:pt x="14" y="316"/>
                    </a:lnTo>
                    <a:lnTo>
                      <a:pt x="15" y="314"/>
                    </a:lnTo>
                    <a:lnTo>
                      <a:pt x="14" y="313"/>
                    </a:lnTo>
                    <a:lnTo>
                      <a:pt x="15" y="311"/>
                    </a:lnTo>
                    <a:lnTo>
                      <a:pt x="14" y="308"/>
                    </a:lnTo>
                    <a:lnTo>
                      <a:pt x="14" y="306"/>
                    </a:lnTo>
                    <a:lnTo>
                      <a:pt x="14" y="304"/>
                    </a:lnTo>
                    <a:lnTo>
                      <a:pt x="14" y="303"/>
                    </a:lnTo>
                    <a:lnTo>
                      <a:pt x="14" y="299"/>
                    </a:lnTo>
                    <a:lnTo>
                      <a:pt x="14" y="296"/>
                    </a:lnTo>
                    <a:lnTo>
                      <a:pt x="12" y="294"/>
                    </a:lnTo>
                    <a:lnTo>
                      <a:pt x="7" y="292"/>
                    </a:lnTo>
                    <a:lnTo>
                      <a:pt x="5" y="291"/>
                    </a:lnTo>
                    <a:lnTo>
                      <a:pt x="7" y="289"/>
                    </a:lnTo>
                    <a:lnTo>
                      <a:pt x="9" y="284"/>
                    </a:lnTo>
                    <a:lnTo>
                      <a:pt x="9" y="280"/>
                    </a:lnTo>
                    <a:lnTo>
                      <a:pt x="10" y="279"/>
                    </a:lnTo>
                    <a:lnTo>
                      <a:pt x="9" y="275"/>
                    </a:lnTo>
                    <a:lnTo>
                      <a:pt x="10" y="269"/>
                    </a:lnTo>
                    <a:lnTo>
                      <a:pt x="10" y="258"/>
                    </a:lnTo>
                    <a:lnTo>
                      <a:pt x="9" y="257"/>
                    </a:lnTo>
                    <a:lnTo>
                      <a:pt x="7" y="258"/>
                    </a:lnTo>
                    <a:lnTo>
                      <a:pt x="3" y="258"/>
                    </a:lnTo>
                    <a:lnTo>
                      <a:pt x="0" y="252"/>
                    </a:lnTo>
                    <a:lnTo>
                      <a:pt x="0" y="250"/>
                    </a:lnTo>
                    <a:lnTo>
                      <a:pt x="2" y="250"/>
                    </a:lnTo>
                    <a:lnTo>
                      <a:pt x="7" y="243"/>
                    </a:lnTo>
                    <a:lnTo>
                      <a:pt x="14" y="241"/>
                    </a:lnTo>
                    <a:lnTo>
                      <a:pt x="17" y="240"/>
                    </a:lnTo>
                    <a:lnTo>
                      <a:pt x="20" y="236"/>
                    </a:lnTo>
                    <a:lnTo>
                      <a:pt x="20" y="233"/>
                    </a:lnTo>
                    <a:lnTo>
                      <a:pt x="27" y="217"/>
                    </a:lnTo>
                    <a:lnTo>
                      <a:pt x="29" y="216"/>
                    </a:lnTo>
                    <a:lnTo>
                      <a:pt x="32" y="216"/>
                    </a:lnTo>
                    <a:lnTo>
                      <a:pt x="32" y="214"/>
                    </a:lnTo>
                    <a:lnTo>
                      <a:pt x="36" y="206"/>
                    </a:lnTo>
                    <a:lnTo>
                      <a:pt x="37" y="200"/>
                    </a:lnTo>
                    <a:lnTo>
                      <a:pt x="37" y="199"/>
                    </a:lnTo>
                    <a:lnTo>
                      <a:pt x="39" y="199"/>
                    </a:lnTo>
                    <a:lnTo>
                      <a:pt x="41" y="197"/>
                    </a:lnTo>
                    <a:lnTo>
                      <a:pt x="39" y="194"/>
                    </a:lnTo>
                    <a:lnTo>
                      <a:pt x="41" y="192"/>
                    </a:lnTo>
                    <a:lnTo>
                      <a:pt x="41" y="190"/>
                    </a:lnTo>
                    <a:lnTo>
                      <a:pt x="51" y="182"/>
                    </a:lnTo>
                    <a:lnTo>
                      <a:pt x="54" y="177"/>
                    </a:lnTo>
                    <a:lnTo>
                      <a:pt x="58" y="177"/>
                    </a:lnTo>
                    <a:lnTo>
                      <a:pt x="66" y="177"/>
                    </a:lnTo>
                    <a:lnTo>
                      <a:pt x="68" y="180"/>
                    </a:lnTo>
                    <a:lnTo>
                      <a:pt x="70" y="180"/>
                    </a:lnTo>
                    <a:lnTo>
                      <a:pt x="78" y="178"/>
                    </a:lnTo>
                    <a:lnTo>
                      <a:pt x="80" y="177"/>
                    </a:lnTo>
                    <a:lnTo>
                      <a:pt x="83" y="173"/>
                    </a:lnTo>
                    <a:lnTo>
                      <a:pt x="88" y="173"/>
                    </a:lnTo>
                    <a:lnTo>
                      <a:pt x="90" y="172"/>
                    </a:lnTo>
                    <a:lnTo>
                      <a:pt x="92" y="172"/>
                    </a:lnTo>
                    <a:lnTo>
                      <a:pt x="95" y="170"/>
                    </a:lnTo>
                    <a:lnTo>
                      <a:pt x="100" y="168"/>
                    </a:lnTo>
                    <a:lnTo>
                      <a:pt x="102" y="166"/>
                    </a:lnTo>
                    <a:lnTo>
                      <a:pt x="100" y="163"/>
                    </a:lnTo>
                    <a:lnTo>
                      <a:pt x="102" y="161"/>
                    </a:lnTo>
                    <a:lnTo>
                      <a:pt x="102" y="163"/>
                    </a:lnTo>
                    <a:lnTo>
                      <a:pt x="104" y="163"/>
                    </a:lnTo>
                    <a:lnTo>
                      <a:pt x="105" y="160"/>
                    </a:lnTo>
                    <a:lnTo>
                      <a:pt x="111" y="158"/>
                    </a:lnTo>
                    <a:lnTo>
                      <a:pt x="109" y="160"/>
                    </a:lnTo>
                    <a:lnTo>
                      <a:pt x="111" y="163"/>
                    </a:lnTo>
                    <a:lnTo>
                      <a:pt x="114" y="165"/>
                    </a:lnTo>
                    <a:lnTo>
                      <a:pt x="114" y="168"/>
                    </a:lnTo>
                    <a:lnTo>
                      <a:pt x="114" y="170"/>
                    </a:lnTo>
                    <a:lnTo>
                      <a:pt x="117" y="170"/>
                    </a:lnTo>
                    <a:lnTo>
                      <a:pt x="121" y="173"/>
                    </a:lnTo>
                    <a:lnTo>
                      <a:pt x="121" y="175"/>
                    </a:lnTo>
                    <a:lnTo>
                      <a:pt x="122" y="175"/>
                    </a:lnTo>
                    <a:lnTo>
                      <a:pt x="124" y="175"/>
                    </a:lnTo>
                    <a:lnTo>
                      <a:pt x="126" y="175"/>
                    </a:lnTo>
                    <a:lnTo>
                      <a:pt x="124" y="173"/>
                    </a:lnTo>
                    <a:lnTo>
                      <a:pt x="126" y="172"/>
                    </a:lnTo>
                    <a:lnTo>
                      <a:pt x="128" y="170"/>
                    </a:lnTo>
                    <a:lnTo>
                      <a:pt x="129" y="172"/>
                    </a:lnTo>
                    <a:lnTo>
                      <a:pt x="129" y="170"/>
                    </a:lnTo>
                    <a:lnTo>
                      <a:pt x="133" y="170"/>
                    </a:lnTo>
                    <a:lnTo>
                      <a:pt x="134" y="170"/>
                    </a:lnTo>
                    <a:lnTo>
                      <a:pt x="134" y="168"/>
                    </a:lnTo>
                    <a:lnTo>
                      <a:pt x="136" y="166"/>
                    </a:lnTo>
                    <a:lnTo>
                      <a:pt x="136" y="170"/>
                    </a:lnTo>
                    <a:lnTo>
                      <a:pt x="138" y="168"/>
                    </a:lnTo>
                    <a:lnTo>
                      <a:pt x="139" y="166"/>
                    </a:lnTo>
                    <a:lnTo>
                      <a:pt x="141" y="166"/>
                    </a:lnTo>
                    <a:lnTo>
                      <a:pt x="141" y="163"/>
                    </a:lnTo>
                    <a:lnTo>
                      <a:pt x="143" y="165"/>
                    </a:lnTo>
                    <a:lnTo>
                      <a:pt x="145" y="165"/>
                    </a:lnTo>
                    <a:lnTo>
                      <a:pt x="143" y="163"/>
                    </a:lnTo>
                    <a:lnTo>
                      <a:pt x="146" y="161"/>
                    </a:lnTo>
                    <a:lnTo>
                      <a:pt x="148" y="161"/>
                    </a:lnTo>
                    <a:lnTo>
                      <a:pt x="148" y="160"/>
                    </a:lnTo>
                    <a:lnTo>
                      <a:pt x="150" y="160"/>
                    </a:lnTo>
                    <a:lnTo>
                      <a:pt x="151" y="160"/>
                    </a:lnTo>
                    <a:lnTo>
                      <a:pt x="151" y="158"/>
                    </a:lnTo>
                    <a:lnTo>
                      <a:pt x="151" y="160"/>
                    </a:lnTo>
                    <a:lnTo>
                      <a:pt x="153" y="158"/>
                    </a:lnTo>
                    <a:lnTo>
                      <a:pt x="155" y="158"/>
                    </a:lnTo>
                    <a:lnTo>
                      <a:pt x="156" y="158"/>
                    </a:lnTo>
                    <a:lnTo>
                      <a:pt x="158" y="158"/>
                    </a:lnTo>
                    <a:lnTo>
                      <a:pt x="158" y="156"/>
                    </a:lnTo>
                    <a:lnTo>
                      <a:pt x="160" y="156"/>
                    </a:lnTo>
                    <a:lnTo>
                      <a:pt x="160" y="155"/>
                    </a:lnTo>
                    <a:lnTo>
                      <a:pt x="162" y="156"/>
                    </a:lnTo>
                    <a:lnTo>
                      <a:pt x="163" y="155"/>
                    </a:lnTo>
                    <a:lnTo>
                      <a:pt x="165" y="153"/>
                    </a:lnTo>
                    <a:lnTo>
                      <a:pt x="167" y="153"/>
                    </a:lnTo>
                    <a:lnTo>
                      <a:pt x="177" y="155"/>
                    </a:lnTo>
                    <a:lnTo>
                      <a:pt x="182" y="151"/>
                    </a:lnTo>
                    <a:lnTo>
                      <a:pt x="196" y="151"/>
                    </a:lnTo>
                    <a:lnTo>
                      <a:pt x="211" y="149"/>
                    </a:lnTo>
                    <a:lnTo>
                      <a:pt x="213" y="149"/>
                    </a:lnTo>
                    <a:lnTo>
                      <a:pt x="213" y="148"/>
                    </a:lnTo>
                    <a:lnTo>
                      <a:pt x="213" y="144"/>
                    </a:lnTo>
                    <a:lnTo>
                      <a:pt x="214" y="143"/>
                    </a:lnTo>
                    <a:lnTo>
                      <a:pt x="216" y="141"/>
                    </a:lnTo>
                    <a:lnTo>
                      <a:pt x="221" y="139"/>
                    </a:lnTo>
                    <a:lnTo>
                      <a:pt x="223" y="138"/>
                    </a:lnTo>
                    <a:lnTo>
                      <a:pt x="224" y="134"/>
                    </a:lnTo>
                    <a:lnTo>
                      <a:pt x="226" y="134"/>
                    </a:lnTo>
                    <a:lnTo>
                      <a:pt x="228" y="132"/>
                    </a:lnTo>
                    <a:lnTo>
                      <a:pt x="228" y="131"/>
                    </a:lnTo>
                    <a:lnTo>
                      <a:pt x="230" y="129"/>
                    </a:lnTo>
                    <a:lnTo>
                      <a:pt x="231" y="127"/>
                    </a:lnTo>
                    <a:lnTo>
                      <a:pt x="231" y="126"/>
                    </a:lnTo>
                    <a:lnTo>
                      <a:pt x="233" y="126"/>
                    </a:lnTo>
                    <a:lnTo>
                      <a:pt x="235" y="121"/>
                    </a:lnTo>
                    <a:lnTo>
                      <a:pt x="238" y="119"/>
                    </a:lnTo>
                    <a:lnTo>
                      <a:pt x="236" y="117"/>
                    </a:lnTo>
                    <a:lnTo>
                      <a:pt x="235" y="115"/>
                    </a:lnTo>
                    <a:lnTo>
                      <a:pt x="233" y="114"/>
                    </a:lnTo>
                    <a:lnTo>
                      <a:pt x="230" y="112"/>
                    </a:lnTo>
                    <a:lnTo>
                      <a:pt x="230" y="110"/>
                    </a:lnTo>
                    <a:lnTo>
                      <a:pt x="228" y="110"/>
                    </a:lnTo>
                    <a:lnTo>
                      <a:pt x="228" y="109"/>
                    </a:lnTo>
                    <a:lnTo>
                      <a:pt x="226" y="109"/>
                    </a:lnTo>
                    <a:lnTo>
                      <a:pt x="226" y="110"/>
                    </a:lnTo>
                    <a:lnTo>
                      <a:pt x="224" y="109"/>
                    </a:lnTo>
                    <a:lnTo>
                      <a:pt x="224" y="107"/>
                    </a:lnTo>
                    <a:lnTo>
                      <a:pt x="226" y="107"/>
                    </a:lnTo>
                    <a:lnTo>
                      <a:pt x="228" y="105"/>
                    </a:lnTo>
                    <a:lnTo>
                      <a:pt x="231" y="105"/>
                    </a:lnTo>
                    <a:lnTo>
                      <a:pt x="231" y="104"/>
                    </a:lnTo>
                    <a:lnTo>
                      <a:pt x="233" y="104"/>
                    </a:lnTo>
                    <a:lnTo>
                      <a:pt x="233" y="102"/>
                    </a:lnTo>
                    <a:lnTo>
                      <a:pt x="235" y="102"/>
                    </a:lnTo>
                    <a:lnTo>
                      <a:pt x="236" y="100"/>
                    </a:lnTo>
                    <a:lnTo>
                      <a:pt x="238" y="102"/>
                    </a:lnTo>
                    <a:lnTo>
                      <a:pt x="238" y="100"/>
                    </a:lnTo>
                    <a:lnTo>
                      <a:pt x="240" y="102"/>
                    </a:lnTo>
                    <a:lnTo>
                      <a:pt x="243" y="100"/>
                    </a:lnTo>
                    <a:lnTo>
                      <a:pt x="247" y="102"/>
                    </a:lnTo>
                    <a:lnTo>
                      <a:pt x="248" y="100"/>
                    </a:lnTo>
                    <a:lnTo>
                      <a:pt x="250" y="100"/>
                    </a:lnTo>
                    <a:lnTo>
                      <a:pt x="250" y="102"/>
                    </a:lnTo>
                    <a:lnTo>
                      <a:pt x="250" y="100"/>
                    </a:lnTo>
                    <a:lnTo>
                      <a:pt x="250" y="102"/>
                    </a:lnTo>
                    <a:lnTo>
                      <a:pt x="255" y="100"/>
                    </a:lnTo>
                    <a:lnTo>
                      <a:pt x="255" y="102"/>
                    </a:lnTo>
                    <a:lnTo>
                      <a:pt x="257" y="100"/>
                    </a:lnTo>
                    <a:lnTo>
                      <a:pt x="258" y="100"/>
                    </a:lnTo>
                    <a:lnTo>
                      <a:pt x="260" y="100"/>
                    </a:lnTo>
                    <a:lnTo>
                      <a:pt x="264" y="100"/>
                    </a:lnTo>
                    <a:lnTo>
                      <a:pt x="265" y="100"/>
                    </a:lnTo>
                    <a:lnTo>
                      <a:pt x="267" y="100"/>
                    </a:lnTo>
                    <a:lnTo>
                      <a:pt x="269" y="98"/>
                    </a:lnTo>
                    <a:lnTo>
                      <a:pt x="269" y="100"/>
                    </a:lnTo>
                    <a:lnTo>
                      <a:pt x="270" y="98"/>
                    </a:lnTo>
                    <a:lnTo>
                      <a:pt x="272" y="98"/>
                    </a:lnTo>
                    <a:lnTo>
                      <a:pt x="274" y="98"/>
                    </a:lnTo>
                    <a:lnTo>
                      <a:pt x="275" y="98"/>
                    </a:lnTo>
                    <a:lnTo>
                      <a:pt x="279" y="97"/>
                    </a:lnTo>
                    <a:lnTo>
                      <a:pt x="279" y="98"/>
                    </a:lnTo>
                    <a:lnTo>
                      <a:pt x="279" y="97"/>
                    </a:lnTo>
                    <a:lnTo>
                      <a:pt x="281" y="97"/>
                    </a:lnTo>
                    <a:lnTo>
                      <a:pt x="282" y="95"/>
                    </a:lnTo>
                    <a:lnTo>
                      <a:pt x="284" y="97"/>
                    </a:lnTo>
                    <a:lnTo>
                      <a:pt x="284" y="95"/>
                    </a:lnTo>
                    <a:lnTo>
                      <a:pt x="286" y="93"/>
                    </a:lnTo>
                    <a:lnTo>
                      <a:pt x="287" y="95"/>
                    </a:lnTo>
                    <a:lnTo>
                      <a:pt x="287" y="93"/>
                    </a:lnTo>
                    <a:lnTo>
                      <a:pt x="289" y="95"/>
                    </a:lnTo>
                    <a:lnTo>
                      <a:pt x="289" y="93"/>
                    </a:lnTo>
                    <a:lnTo>
                      <a:pt x="291" y="95"/>
                    </a:lnTo>
                    <a:lnTo>
                      <a:pt x="292" y="95"/>
                    </a:lnTo>
                    <a:lnTo>
                      <a:pt x="292" y="93"/>
                    </a:lnTo>
                    <a:lnTo>
                      <a:pt x="296" y="95"/>
                    </a:lnTo>
                    <a:lnTo>
                      <a:pt x="298" y="95"/>
                    </a:lnTo>
                    <a:lnTo>
                      <a:pt x="299" y="95"/>
                    </a:lnTo>
                    <a:lnTo>
                      <a:pt x="301" y="95"/>
                    </a:lnTo>
                    <a:lnTo>
                      <a:pt x="303" y="93"/>
                    </a:lnTo>
                    <a:lnTo>
                      <a:pt x="304" y="93"/>
                    </a:lnTo>
                    <a:lnTo>
                      <a:pt x="306" y="92"/>
                    </a:lnTo>
                    <a:lnTo>
                      <a:pt x="309" y="90"/>
                    </a:lnTo>
                    <a:lnTo>
                      <a:pt x="308" y="87"/>
                    </a:lnTo>
                    <a:lnTo>
                      <a:pt x="309" y="87"/>
                    </a:lnTo>
                    <a:lnTo>
                      <a:pt x="309" y="83"/>
                    </a:lnTo>
                    <a:lnTo>
                      <a:pt x="311" y="85"/>
                    </a:lnTo>
                    <a:lnTo>
                      <a:pt x="313" y="85"/>
                    </a:lnTo>
                    <a:lnTo>
                      <a:pt x="315" y="87"/>
                    </a:lnTo>
                    <a:lnTo>
                      <a:pt x="316" y="81"/>
                    </a:lnTo>
                    <a:lnTo>
                      <a:pt x="321" y="81"/>
                    </a:lnTo>
                    <a:lnTo>
                      <a:pt x="321" y="80"/>
                    </a:lnTo>
                    <a:lnTo>
                      <a:pt x="323" y="80"/>
                    </a:lnTo>
                    <a:lnTo>
                      <a:pt x="325" y="80"/>
                    </a:lnTo>
                    <a:lnTo>
                      <a:pt x="325" y="78"/>
                    </a:lnTo>
                    <a:lnTo>
                      <a:pt x="325" y="76"/>
                    </a:lnTo>
                    <a:lnTo>
                      <a:pt x="326" y="76"/>
                    </a:lnTo>
                    <a:lnTo>
                      <a:pt x="326" y="75"/>
                    </a:lnTo>
                    <a:lnTo>
                      <a:pt x="328" y="75"/>
                    </a:lnTo>
                    <a:lnTo>
                      <a:pt x="330" y="75"/>
                    </a:lnTo>
                    <a:lnTo>
                      <a:pt x="328" y="75"/>
                    </a:lnTo>
                    <a:lnTo>
                      <a:pt x="330" y="73"/>
                    </a:lnTo>
                    <a:lnTo>
                      <a:pt x="332" y="73"/>
                    </a:lnTo>
                    <a:lnTo>
                      <a:pt x="332" y="69"/>
                    </a:lnTo>
                    <a:lnTo>
                      <a:pt x="332" y="71"/>
                    </a:lnTo>
                    <a:lnTo>
                      <a:pt x="333" y="69"/>
                    </a:lnTo>
                    <a:lnTo>
                      <a:pt x="332" y="69"/>
                    </a:lnTo>
                    <a:lnTo>
                      <a:pt x="333" y="68"/>
                    </a:lnTo>
                    <a:lnTo>
                      <a:pt x="332" y="68"/>
                    </a:lnTo>
                    <a:lnTo>
                      <a:pt x="333" y="68"/>
                    </a:lnTo>
                    <a:lnTo>
                      <a:pt x="333" y="66"/>
                    </a:lnTo>
                    <a:lnTo>
                      <a:pt x="333" y="64"/>
                    </a:lnTo>
                    <a:lnTo>
                      <a:pt x="335" y="64"/>
                    </a:lnTo>
                    <a:lnTo>
                      <a:pt x="335" y="63"/>
                    </a:lnTo>
                    <a:lnTo>
                      <a:pt x="335" y="61"/>
                    </a:lnTo>
                    <a:lnTo>
                      <a:pt x="337" y="63"/>
                    </a:lnTo>
                    <a:lnTo>
                      <a:pt x="340" y="61"/>
                    </a:lnTo>
                    <a:lnTo>
                      <a:pt x="340" y="59"/>
                    </a:lnTo>
                    <a:lnTo>
                      <a:pt x="342" y="58"/>
                    </a:lnTo>
                    <a:lnTo>
                      <a:pt x="343" y="56"/>
                    </a:lnTo>
                    <a:lnTo>
                      <a:pt x="343" y="52"/>
                    </a:lnTo>
                    <a:lnTo>
                      <a:pt x="347" y="52"/>
                    </a:lnTo>
                    <a:lnTo>
                      <a:pt x="347" y="51"/>
                    </a:lnTo>
                    <a:lnTo>
                      <a:pt x="349" y="52"/>
                    </a:lnTo>
                    <a:lnTo>
                      <a:pt x="349" y="51"/>
                    </a:lnTo>
                    <a:lnTo>
                      <a:pt x="350" y="51"/>
                    </a:lnTo>
                    <a:lnTo>
                      <a:pt x="350" y="52"/>
                    </a:lnTo>
                    <a:lnTo>
                      <a:pt x="352" y="51"/>
                    </a:lnTo>
                    <a:lnTo>
                      <a:pt x="352" y="52"/>
                    </a:lnTo>
                    <a:lnTo>
                      <a:pt x="354" y="51"/>
                    </a:lnTo>
                    <a:lnTo>
                      <a:pt x="354" y="47"/>
                    </a:lnTo>
                    <a:lnTo>
                      <a:pt x="355" y="49"/>
                    </a:lnTo>
                    <a:lnTo>
                      <a:pt x="355" y="46"/>
                    </a:lnTo>
                    <a:lnTo>
                      <a:pt x="357" y="46"/>
                    </a:lnTo>
                    <a:lnTo>
                      <a:pt x="355" y="44"/>
                    </a:lnTo>
                    <a:lnTo>
                      <a:pt x="357" y="44"/>
                    </a:lnTo>
                    <a:lnTo>
                      <a:pt x="357" y="42"/>
                    </a:lnTo>
                    <a:lnTo>
                      <a:pt x="359" y="42"/>
                    </a:lnTo>
                    <a:lnTo>
                      <a:pt x="359" y="41"/>
                    </a:lnTo>
                    <a:lnTo>
                      <a:pt x="360" y="39"/>
                    </a:lnTo>
                    <a:lnTo>
                      <a:pt x="362" y="41"/>
                    </a:lnTo>
                    <a:lnTo>
                      <a:pt x="364" y="41"/>
                    </a:lnTo>
                    <a:lnTo>
                      <a:pt x="366" y="39"/>
                    </a:lnTo>
                    <a:lnTo>
                      <a:pt x="367" y="39"/>
                    </a:lnTo>
                    <a:lnTo>
                      <a:pt x="367" y="37"/>
                    </a:lnTo>
                    <a:lnTo>
                      <a:pt x="367" y="35"/>
                    </a:lnTo>
                    <a:lnTo>
                      <a:pt x="369" y="37"/>
                    </a:lnTo>
                    <a:lnTo>
                      <a:pt x="371" y="34"/>
                    </a:lnTo>
                    <a:lnTo>
                      <a:pt x="371" y="32"/>
                    </a:lnTo>
                    <a:lnTo>
                      <a:pt x="371" y="30"/>
                    </a:lnTo>
                    <a:lnTo>
                      <a:pt x="372" y="29"/>
                    </a:lnTo>
                    <a:lnTo>
                      <a:pt x="371" y="29"/>
                    </a:lnTo>
                    <a:lnTo>
                      <a:pt x="371" y="27"/>
                    </a:lnTo>
                    <a:lnTo>
                      <a:pt x="369" y="25"/>
                    </a:lnTo>
                    <a:lnTo>
                      <a:pt x="371" y="22"/>
                    </a:lnTo>
                    <a:lnTo>
                      <a:pt x="371" y="18"/>
                    </a:lnTo>
                    <a:lnTo>
                      <a:pt x="371" y="17"/>
                    </a:lnTo>
                    <a:lnTo>
                      <a:pt x="372" y="18"/>
                    </a:lnTo>
                    <a:lnTo>
                      <a:pt x="372" y="17"/>
                    </a:lnTo>
                    <a:lnTo>
                      <a:pt x="374" y="13"/>
                    </a:lnTo>
                    <a:lnTo>
                      <a:pt x="372" y="12"/>
                    </a:lnTo>
                    <a:lnTo>
                      <a:pt x="374" y="12"/>
                    </a:lnTo>
                    <a:lnTo>
                      <a:pt x="372" y="10"/>
                    </a:lnTo>
                    <a:lnTo>
                      <a:pt x="374" y="10"/>
                    </a:lnTo>
                    <a:lnTo>
                      <a:pt x="376" y="8"/>
                    </a:lnTo>
                    <a:lnTo>
                      <a:pt x="377" y="8"/>
                    </a:lnTo>
                    <a:lnTo>
                      <a:pt x="377" y="7"/>
                    </a:lnTo>
                    <a:lnTo>
                      <a:pt x="379" y="7"/>
                    </a:lnTo>
                    <a:lnTo>
                      <a:pt x="381" y="8"/>
                    </a:lnTo>
                    <a:lnTo>
                      <a:pt x="381" y="7"/>
                    </a:lnTo>
                    <a:lnTo>
                      <a:pt x="381" y="8"/>
                    </a:lnTo>
                    <a:lnTo>
                      <a:pt x="383" y="7"/>
                    </a:lnTo>
                    <a:lnTo>
                      <a:pt x="384" y="5"/>
                    </a:lnTo>
                    <a:lnTo>
                      <a:pt x="386" y="7"/>
                    </a:lnTo>
                    <a:lnTo>
                      <a:pt x="388" y="5"/>
                    </a:lnTo>
                    <a:lnTo>
                      <a:pt x="391" y="7"/>
                    </a:lnTo>
                    <a:lnTo>
                      <a:pt x="393" y="7"/>
                    </a:lnTo>
                    <a:lnTo>
                      <a:pt x="393" y="5"/>
                    </a:lnTo>
                    <a:lnTo>
                      <a:pt x="398" y="3"/>
                    </a:lnTo>
                    <a:lnTo>
                      <a:pt x="400" y="3"/>
                    </a:lnTo>
                    <a:lnTo>
                      <a:pt x="400" y="1"/>
                    </a:lnTo>
                    <a:lnTo>
                      <a:pt x="405" y="1"/>
                    </a:lnTo>
                    <a:lnTo>
                      <a:pt x="406" y="0"/>
                    </a:lnTo>
                    <a:lnTo>
                      <a:pt x="410" y="0"/>
                    </a:lnTo>
                    <a:lnTo>
                      <a:pt x="413" y="1"/>
                    </a:lnTo>
                    <a:lnTo>
                      <a:pt x="415" y="0"/>
                    </a:lnTo>
                    <a:lnTo>
                      <a:pt x="420" y="1"/>
                    </a:lnTo>
                    <a:lnTo>
                      <a:pt x="422" y="1"/>
                    </a:lnTo>
                    <a:lnTo>
                      <a:pt x="423" y="1"/>
                    </a:lnTo>
                    <a:lnTo>
                      <a:pt x="423" y="3"/>
                    </a:lnTo>
                    <a:lnTo>
                      <a:pt x="425" y="3"/>
                    </a:lnTo>
                    <a:lnTo>
                      <a:pt x="428" y="3"/>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19">
                <a:extLst>
                  <a:ext uri="{FF2B5EF4-FFF2-40B4-BE49-F238E27FC236}">
                    <a16:creationId xmlns:a16="http://schemas.microsoft.com/office/drawing/2014/main" id="{14118088-019D-49E5-B537-3E9FD51CCA49}"/>
                  </a:ext>
                </a:extLst>
              </p:cNvPr>
              <p:cNvSpPr>
                <a:spLocks/>
              </p:cNvSpPr>
              <p:nvPr/>
            </p:nvSpPr>
            <p:spPr bwMode="gray">
              <a:xfrm>
                <a:off x="6123879" y="2500360"/>
                <a:ext cx="660420" cy="1004880"/>
              </a:xfrm>
              <a:custGeom>
                <a:avLst/>
                <a:gdLst>
                  <a:gd name="T0" fmla="*/ 458 w 533"/>
                  <a:gd name="T1" fmla="*/ 631 h 811"/>
                  <a:gd name="T2" fmla="*/ 436 w 533"/>
                  <a:gd name="T3" fmla="*/ 636 h 811"/>
                  <a:gd name="T4" fmla="*/ 425 w 533"/>
                  <a:gd name="T5" fmla="*/ 639 h 811"/>
                  <a:gd name="T6" fmla="*/ 419 w 533"/>
                  <a:gd name="T7" fmla="*/ 648 h 811"/>
                  <a:gd name="T8" fmla="*/ 419 w 533"/>
                  <a:gd name="T9" fmla="*/ 665 h 811"/>
                  <a:gd name="T10" fmla="*/ 407 w 533"/>
                  <a:gd name="T11" fmla="*/ 672 h 811"/>
                  <a:gd name="T12" fmla="*/ 402 w 533"/>
                  <a:gd name="T13" fmla="*/ 682 h 811"/>
                  <a:gd name="T14" fmla="*/ 391 w 533"/>
                  <a:gd name="T15" fmla="*/ 683 h 811"/>
                  <a:gd name="T16" fmla="*/ 381 w 533"/>
                  <a:gd name="T17" fmla="*/ 695 h 811"/>
                  <a:gd name="T18" fmla="*/ 380 w 533"/>
                  <a:gd name="T19" fmla="*/ 704 h 811"/>
                  <a:gd name="T20" fmla="*/ 373 w 533"/>
                  <a:gd name="T21" fmla="*/ 711 h 811"/>
                  <a:gd name="T22" fmla="*/ 357 w 533"/>
                  <a:gd name="T23" fmla="*/ 718 h 811"/>
                  <a:gd name="T24" fmla="*/ 344 w 533"/>
                  <a:gd name="T25" fmla="*/ 726 h 811"/>
                  <a:gd name="T26" fmla="*/ 332 w 533"/>
                  <a:gd name="T27" fmla="*/ 726 h 811"/>
                  <a:gd name="T28" fmla="*/ 320 w 533"/>
                  <a:gd name="T29" fmla="*/ 729 h 811"/>
                  <a:gd name="T30" fmla="*/ 305 w 533"/>
                  <a:gd name="T31" fmla="*/ 731 h 811"/>
                  <a:gd name="T32" fmla="*/ 291 w 533"/>
                  <a:gd name="T33" fmla="*/ 731 h 811"/>
                  <a:gd name="T34" fmla="*/ 279 w 533"/>
                  <a:gd name="T35" fmla="*/ 736 h 811"/>
                  <a:gd name="T36" fmla="*/ 278 w 533"/>
                  <a:gd name="T37" fmla="*/ 741 h 811"/>
                  <a:gd name="T38" fmla="*/ 279 w 533"/>
                  <a:gd name="T39" fmla="*/ 758 h 811"/>
                  <a:gd name="T40" fmla="*/ 262 w 533"/>
                  <a:gd name="T41" fmla="*/ 774 h 811"/>
                  <a:gd name="T42" fmla="*/ 213 w 533"/>
                  <a:gd name="T43" fmla="*/ 784 h 811"/>
                  <a:gd name="T44" fmla="*/ 201 w 533"/>
                  <a:gd name="T45" fmla="*/ 789 h 811"/>
                  <a:gd name="T46" fmla="*/ 193 w 533"/>
                  <a:gd name="T47" fmla="*/ 796 h 811"/>
                  <a:gd name="T48" fmla="*/ 182 w 533"/>
                  <a:gd name="T49" fmla="*/ 801 h 811"/>
                  <a:gd name="T50" fmla="*/ 170 w 533"/>
                  <a:gd name="T51" fmla="*/ 806 h 811"/>
                  <a:gd name="T52" fmla="*/ 159 w 533"/>
                  <a:gd name="T53" fmla="*/ 789 h 811"/>
                  <a:gd name="T54" fmla="*/ 140 w 533"/>
                  <a:gd name="T55" fmla="*/ 803 h 811"/>
                  <a:gd name="T56" fmla="*/ 106 w 533"/>
                  <a:gd name="T57" fmla="*/ 808 h 811"/>
                  <a:gd name="T58" fmla="*/ 102 w 533"/>
                  <a:gd name="T59" fmla="*/ 792 h 811"/>
                  <a:gd name="T60" fmla="*/ 77 w 533"/>
                  <a:gd name="T61" fmla="*/ 748 h 811"/>
                  <a:gd name="T62" fmla="*/ 57 w 533"/>
                  <a:gd name="T63" fmla="*/ 733 h 811"/>
                  <a:gd name="T64" fmla="*/ 38 w 533"/>
                  <a:gd name="T65" fmla="*/ 712 h 811"/>
                  <a:gd name="T66" fmla="*/ 29 w 533"/>
                  <a:gd name="T67" fmla="*/ 694 h 811"/>
                  <a:gd name="T68" fmla="*/ 65 w 533"/>
                  <a:gd name="T69" fmla="*/ 685 h 811"/>
                  <a:gd name="T70" fmla="*/ 113 w 533"/>
                  <a:gd name="T71" fmla="*/ 682 h 811"/>
                  <a:gd name="T72" fmla="*/ 85 w 533"/>
                  <a:gd name="T73" fmla="*/ 649 h 811"/>
                  <a:gd name="T74" fmla="*/ 82 w 533"/>
                  <a:gd name="T75" fmla="*/ 626 h 811"/>
                  <a:gd name="T76" fmla="*/ 80 w 533"/>
                  <a:gd name="T77" fmla="*/ 609 h 811"/>
                  <a:gd name="T78" fmla="*/ 82 w 533"/>
                  <a:gd name="T79" fmla="*/ 593 h 811"/>
                  <a:gd name="T80" fmla="*/ 80 w 533"/>
                  <a:gd name="T81" fmla="*/ 581 h 811"/>
                  <a:gd name="T82" fmla="*/ 72 w 533"/>
                  <a:gd name="T83" fmla="*/ 573 h 811"/>
                  <a:gd name="T84" fmla="*/ 65 w 533"/>
                  <a:gd name="T85" fmla="*/ 546 h 811"/>
                  <a:gd name="T86" fmla="*/ 55 w 533"/>
                  <a:gd name="T87" fmla="*/ 541 h 811"/>
                  <a:gd name="T88" fmla="*/ 19 w 533"/>
                  <a:gd name="T89" fmla="*/ 510 h 811"/>
                  <a:gd name="T90" fmla="*/ 11 w 533"/>
                  <a:gd name="T91" fmla="*/ 447 h 811"/>
                  <a:gd name="T92" fmla="*/ 77 w 533"/>
                  <a:gd name="T93" fmla="*/ 359 h 811"/>
                  <a:gd name="T94" fmla="*/ 121 w 533"/>
                  <a:gd name="T95" fmla="*/ 151 h 811"/>
                  <a:gd name="T96" fmla="*/ 87 w 533"/>
                  <a:gd name="T97" fmla="*/ 100 h 811"/>
                  <a:gd name="T98" fmla="*/ 284 w 533"/>
                  <a:gd name="T99" fmla="*/ 75 h 811"/>
                  <a:gd name="T100" fmla="*/ 533 w 533"/>
                  <a:gd name="T101" fmla="*/ 326 h 811"/>
                  <a:gd name="T102" fmla="*/ 495 w 533"/>
                  <a:gd name="T103" fmla="*/ 393 h 811"/>
                  <a:gd name="T104" fmla="*/ 483 w 533"/>
                  <a:gd name="T105" fmla="*/ 416 h 811"/>
                  <a:gd name="T106" fmla="*/ 468 w 533"/>
                  <a:gd name="T107" fmla="*/ 433 h 811"/>
                  <a:gd name="T108" fmla="*/ 454 w 533"/>
                  <a:gd name="T109" fmla="*/ 464 h 811"/>
                  <a:gd name="T110" fmla="*/ 444 w 533"/>
                  <a:gd name="T111" fmla="*/ 481 h 811"/>
                  <a:gd name="T112" fmla="*/ 446 w 533"/>
                  <a:gd name="T113" fmla="*/ 512 h 811"/>
                  <a:gd name="T114" fmla="*/ 424 w 533"/>
                  <a:gd name="T115" fmla="*/ 539 h 811"/>
                  <a:gd name="T116" fmla="*/ 451 w 533"/>
                  <a:gd name="T117" fmla="*/ 547 h 811"/>
                  <a:gd name="T118" fmla="*/ 456 w 533"/>
                  <a:gd name="T119" fmla="*/ 578 h 811"/>
                  <a:gd name="T120" fmla="*/ 471 w 533"/>
                  <a:gd name="T121" fmla="*/ 61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3" h="811">
                    <a:moveTo>
                      <a:pt x="476" y="634"/>
                    </a:moveTo>
                    <a:lnTo>
                      <a:pt x="473" y="634"/>
                    </a:lnTo>
                    <a:lnTo>
                      <a:pt x="471" y="634"/>
                    </a:lnTo>
                    <a:lnTo>
                      <a:pt x="471" y="632"/>
                    </a:lnTo>
                    <a:lnTo>
                      <a:pt x="470" y="632"/>
                    </a:lnTo>
                    <a:lnTo>
                      <a:pt x="468" y="632"/>
                    </a:lnTo>
                    <a:lnTo>
                      <a:pt x="463" y="631"/>
                    </a:lnTo>
                    <a:lnTo>
                      <a:pt x="461" y="632"/>
                    </a:lnTo>
                    <a:lnTo>
                      <a:pt x="458" y="631"/>
                    </a:lnTo>
                    <a:lnTo>
                      <a:pt x="454" y="631"/>
                    </a:lnTo>
                    <a:lnTo>
                      <a:pt x="453" y="632"/>
                    </a:lnTo>
                    <a:lnTo>
                      <a:pt x="448" y="632"/>
                    </a:lnTo>
                    <a:lnTo>
                      <a:pt x="448" y="634"/>
                    </a:lnTo>
                    <a:lnTo>
                      <a:pt x="446" y="634"/>
                    </a:lnTo>
                    <a:lnTo>
                      <a:pt x="441" y="636"/>
                    </a:lnTo>
                    <a:lnTo>
                      <a:pt x="441" y="638"/>
                    </a:lnTo>
                    <a:lnTo>
                      <a:pt x="439" y="638"/>
                    </a:lnTo>
                    <a:lnTo>
                      <a:pt x="436" y="636"/>
                    </a:lnTo>
                    <a:lnTo>
                      <a:pt x="434" y="638"/>
                    </a:lnTo>
                    <a:lnTo>
                      <a:pt x="432" y="636"/>
                    </a:lnTo>
                    <a:lnTo>
                      <a:pt x="431" y="638"/>
                    </a:lnTo>
                    <a:lnTo>
                      <a:pt x="429" y="639"/>
                    </a:lnTo>
                    <a:lnTo>
                      <a:pt x="429" y="638"/>
                    </a:lnTo>
                    <a:lnTo>
                      <a:pt x="429" y="639"/>
                    </a:lnTo>
                    <a:lnTo>
                      <a:pt x="427" y="638"/>
                    </a:lnTo>
                    <a:lnTo>
                      <a:pt x="425" y="638"/>
                    </a:lnTo>
                    <a:lnTo>
                      <a:pt x="425" y="639"/>
                    </a:lnTo>
                    <a:lnTo>
                      <a:pt x="424" y="639"/>
                    </a:lnTo>
                    <a:lnTo>
                      <a:pt x="422" y="641"/>
                    </a:lnTo>
                    <a:lnTo>
                      <a:pt x="420" y="641"/>
                    </a:lnTo>
                    <a:lnTo>
                      <a:pt x="422" y="643"/>
                    </a:lnTo>
                    <a:lnTo>
                      <a:pt x="420" y="643"/>
                    </a:lnTo>
                    <a:lnTo>
                      <a:pt x="422" y="644"/>
                    </a:lnTo>
                    <a:lnTo>
                      <a:pt x="420" y="648"/>
                    </a:lnTo>
                    <a:lnTo>
                      <a:pt x="420" y="649"/>
                    </a:lnTo>
                    <a:lnTo>
                      <a:pt x="419" y="648"/>
                    </a:lnTo>
                    <a:lnTo>
                      <a:pt x="419" y="649"/>
                    </a:lnTo>
                    <a:lnTo>
                      <a:pt x="419" y="653"/>
                    </a:lnTo>
                    <a:lnTo>
                      <a:pt x="417" y="656"/>
                    </a:lnTo>
                    <a:lnTo>
                      <a:pt x="419" y="658"/>
                    </a:lnTo>
                    <a:lnTo>
                      <a:pt x="419" y="660"/>
                    </a:lnTo>
                    <a:lnTo>
                      <a:pt x="420" y="660"/>
                    </a:lnTo>
                    <a:lnTo>
                      <a:pt x="419" y="661"/>
                    </a:lnTo>
                    <a:lnTo>
                      <a:pt x="419" y="663"/>
                    </a:lnTo>
                    <a:lnTo>
                      <a:pt x="419" y="665"/>
                    </a:lnTo>
                    <a:lnTo>
                      <a:pt x="417" y="668"/>
                    </a:lnTo>
                    <a:lnTo>
                      <a:pt x="415" y="666"/>
                    </a:lnTo>
                    <a:lnTo>
                      <a:pt x="415" y="668"/>
                    </a:lnTo>
                    <a:lnTo>
                      <a:pt x="415" y="670"/>
                    </a:lnTo>
                    <a:lnTo>
                      <a:pt x="414" y="670"/>
                    </a:lnTo>
                    <a:lnTo>
                      <a:pt x="412" y="672"/>
                    </a:lnTo>
                    <a:lnTo>
                      <a:pt x="410" y="672"/>
                    </a:lnTo>
                    <a:lnTo>
                      <a:pt x="408" y="670"/>
                    </a:lnTo>
                    <a:lnTo>
                      <a:pt x="407" y="672"/>
                    </a:lnTo>
                    <a:lnTo>
                      <a:pt x="407" y="673"/>
                    </a:lnTo>
                    <a:lnTo>
                      <a:pt x="405" y="673"/>
                    </a:lnTo>
                    <a:lnTo>
                      <a:pt x="405" y="675"/>
                    </a:lnTo>
                    <a:lnTo>
                      <a:pt x="403" y="675"/>
                    </a:lnTo>
                    <a:lnTo>
                      <a:pt x="405" y="677"/>
                    </a:lnTo>
                    <a:lnTo>
                      <a:pt x="403" y="677"/>
                    </a:lnTo>
                    <a:lnTo>
                      <a:pt x="403" y="680"/>
                    </a:lnTo>
                    <a:lnTo>
                      <a:pt x="402" y="678"/>
                    </a:lnTo>
                    <a:lnTo>
                      <a:pt x="402" y="682"/>
                    </a:lnTo>
                    <a:lnTo>
                      <a:pt x="400" y="683"/>
                    </a:lnTo>
                    <a:lnTo>
                      <a:pt x="400" y="682"/>
                    </a:lnTo>
                    <a:lnTo>
                      <a:pt x="398" y="683"/>
                    </a:lnTo>
                    <a:lnTo>
                      <a:pt x="398" y="682"/>
                    </a:lnTo>
                    <a:lnTo>
                      <a:pt x="397" y="682"/>
                    </a:lnTo>
                    <a:lnTo>
                      <a:pt x="397" y="683"/>
                    </a:lnTo>
                    <a:lnTo>
                      <a:pt x="395" y="682"/>
                    </a:lnTo>
                    <a:lnTo>
                      <a:pt x="395" y="683"/>
                    </a:lnTo>
                    <a:lnTo>
                      <a:pt x="391" y="683"/>
                    </a:lnTo>
                    <a:lnTo>
                      <a:pt x="391" y="687"/>
                    </a:lnTo>
                    <a:lnTo>
                      <a:pt x="390" y="689"/>
                    </a:lnTo>
                    <a:lnTo>
                      <a:pt x="388" y="690"/>
                    </a:lnTo>
                    <a:lnTo>
                      <a:pt x="388" y="692"/>
                    </a:lnTo>
                    <a:lnTo>
                      <a:pt x="385" y="694"/>
                    </a:lnTo>
                    <a:lnTo>
                      <a:pt x="383" y="692"/>
                    </a:lnTo>
                    <a:lnTo>
                      <a:pt x="383" y="694"/>
                    </a:lnTo>
                    <a:lnTo>
                      <a:pt x="383" y="695"/>
                    </a:lnTo>
                    <a:lnTo>
                      <a:pt x="381" y="695"/>
                    </a:lnTo>
                    <a:lnTo>
                      <a:pt x="381" y="697"/>
                    </a:lnTo>
                    <a:lnTo>
                      <a:pt x="381" y="699"/>
                    </a:lnTo>
                    <a:lnTo>
                      <a:pt x="380" y="699"/>
                    </a:lnTo>
                    <a:lnTo>
                      <a:pt x="381" y="699"/>
                    </a:lnTo>
                    <a:lnTo>
                      <a:pt x="380" y="700"/>
                    </a:lnTo>
                    <a:lnTo>
                      <a:pt x="381" y="700"/>
                    </a:lnTo>
                    <a:lnTo>
                      <a:pt x="380" y="702"/>
                    </a:lnTo>
                    <a:lnTo>
                      <a:pt x="380" y="700"/>
                    </a:lnTo>
                    <a:lnTo>
                      <a:pt x="380" y="704"/>
                    </a:lnTo>
                    <a:lnTo>
                      <a:pt x="378" y="704"/>
                    </a:lnTo>
                    <a:lnTo>
                      <a:pt x="376" y="706"/>
                    </a:lnTo>
                    <a:lnTo>
                      <a:pt x="378" y="706"/>
                    </a:lnTo>
                    <a:lnTo>
                      <a:pt x="376" y="706"/>
                    </a:lnTo>
                    <a:lnTo>
                      <a:pt x="374" y="706"/>
                    </a:lnTo>
                    <a:lnTo>
                      <a:pt x="374" y="707"/>
                    </a:lnTo>
                    <a:lnTo>
                      <a:pt x="373" y="707"/>
                    </a:lnTo>
                    <a:lnTo>
                      <a:pt x="373" y="709"/>
                    </a:lnTo>
                    <a:lnTo>
                      <a:pt x="373" y="711"/>
                    </a:lnTo>
                    <a:lnTo>
                      <a:pt x="371" y="711"/>
                    </a:lnTo>
                    <a:lnTo>
                      <a:pt x="369" y="711"/>
                    </a:lnTo>
                    <a:lnTo>
                      <a:pt x="369" y="712"/>
                    </a:lnTo>
                    <a:lnTo>
                      <a:pt x="364" y="712"/>
                    </a:lnTo>
                    <a:lnTo>
                      <a:pt x="363" y="718"/>
                    </a:lnTo>
                    <a:lnTo>
                      <a:pt x="361" y="716"/>
                    </a:lnTo>
                    <a:lnTo>
                      <a:pt x="359" y="716"/>
                    </a:lnTo>
                    <a:lnTo>
                      <a:pt x="357" y="714"/>
                    </a:lnTo>
                    <a:lnTo>
                      <a:pt x="357" y="718"/>
                    </a:lnTo>
                    <a:lnTo>
                      <a:pt x="356" y="718"/>
                    </a:lnTo>
                    <a:lnTo>
                      <a:pt x="357" y="721"/>
                    </a:lnTo>
                    <a:lnTo>
                      <a:pt x="354" y="723"/>
                    </a:lnTo>
                    <a:lnTo>
                      <a:pt x="352" y="724"/>
                    </a:lnTo>
                    <a:lnTo>
                      <a:pt x="351" y="724"/>
                    </a:lnTo>
                    <a:lnTo>
                      <a:pt x="349" y="726"/>
                    </a:lnTo>
                    <a:lnTo>
                      <a:pt x="347" y="726"/>
                    </a:lnTo>
                    <a:lnTo>
                      <a:pt x="346" y="726"/>
                    </a:lnTo>
                    <a:lnTo>
                      <a:pt x="344" y="726"/>
                    </a:lnTo>
                    <a:lnTo>
                      <a:pt x="340" y="724"/>
                    </a:lnTo>
                    <a:lnTo>
                      <a:pt x="340" y="726"/>
                    </a:lnTo>
                    <a:lnTo>
                      <a:pt x="339" y="726"/>
                    </a:lnTo>
                    <a:lnTo>
                      <a:pt x="337" y="724"/>
                    </a:lnTo>
                    <a:lnTo>
                      <a:pt x="337" y="726"/>
                    </a:lnTo>
                    <a:lnTo>
                      <a:pt x="335" y="724"/>
                    </a:lnTo>
                    <a:lnTo>
                      <a:pt x="335" y="726"/>
                    </a:lnTo>
                    <a:lnTo>
                      <a:pt x="334" y="724"/>
                    </a:lnTo>
                    <a:lnTo>
                      <a:pt x="332" y="726"/>
                    </a:lnTo>
                    <a:lnTo>
                      <a:pt x="332" y="728"/>
                    </a:lnTo>
                    <a:lnTo>
                      <a:pt x="330" y="726"/>
                    </a:lnTo>
                    <a:lnTo>
                      <a:pt x="329" y="728"/>
                    </a:lnTo>
                    <a:lnTo>
                      <a:pt x="327" y="728"/>
                    </a:lnTo>
                    <a:lnTo>
                      <a:pt x="327" y="729"/>
                    </a:lnTo>
                    <a:lnTo>
                      <a:pt x="327" y="728"/>
                    </a:lnTo>
                    <a:lnTo>
                      <a:pt x="323" y="729"/>
                    </a:lnTo>
                    <a:lnTo>
                      <a:pt x="322" y="729"/>
                    </a:lnTo>
                    <a:lnTo>
                      <a:pt x="320" y="729"/>
                    </a:lnTo>
                    <a:lnTo>
                      <a:pt x="318" y="729"/>
                    </a:lnTo>
                    <a:lnTo>
                      <a:pt x="317" y="731"/>
                    </a:lnTo>
                    <a:lnTo>
                      <a:pt x="317" y="729"/>
                    </a:lnTo>
                    <a:lnTo>
                      <a:pt x="315" y="731"/>
                    </a:lnTo>
                    <a:lnTo>
                      <a:pt x="313" y="731"/>
                    </a:lnTo>
                    <a:lnTo>
                      <a:pt x="312" y="731"/>
                    </a:lnTo>
                    <a:lnTo>
                      <a:pt x="308" y="731"/>
                    </a:lnTo>
                    <a:lnTo>
                      <a:pt x="306" y="731"/>
                    </a:lnTo>
                    <a:lnTo>
                      <a:pt x="305" y="731"/>
                    </a:lnTo>
                    <a:lnTo>
                      <a:pt x="303" y="733"/>
                    </a:lnTo>
                    <a:lnTo>
                      <a:pt x="303" y="731"/>
                    </a:lnTo>
                    <a:lnTo>
                      <a:pt x="298" y="733"/>
                    </a:lnTo>
                    <a:lnTo>
                      <a:pt x="298" y="731"/>
                    </a:lnTo>
                    <a:lnTo>
                      <a:pt x="298" y="733"/>
                    </a:lnTo>
                    <a:lnTo>
                      <a:pt x="298" y="731"/>
                    </a:lnTo>
                    <a:lnTo>
                      <a:pt x="296" y="731"/>
                    </a:lnTo>
                    <a:lnTo>
                      <a:pt x="295" y="733"/>
                    </a:lnTo>
                    <a:lnTo>
                      <a:pt x="291" y="731"/>
                    </a:lnTo>
                    <a:lnTo>
                      <a:pt x="288" y="733"/>
                    </a:lnTo>
                    <a:lnTo>
                      <a:pt x="286" y="731"/>
                    </a:lnTo>
                    <a:lnTo>
                      <a:pt x="286" y="733"/>
                    </a:lnTo>
                    <a:lnTo>
                      <a:pt x="284" y="731"/>
                    </a:lnTo>
                    <a:lnTo>
                      <a:pt x="283" y="733"/>
                    </a:lnTo>
                    <a:lnTo>
                      <a:pt x="281" y="733"/>
                    </a:lnTo>
                    <a:lnTo>
                      <a:pt x="281" y="735"/>
                    </a:lnTo>
                    <a:lnTo>
                      <a:pt x="279" y="735"/>
                    </a:lnTo>
                    <a:lnTo>
                      <a:pt x="279" y="736"/>
                    </a:lnTo>
                    <a:lnTo>
                      <a:pt x="276" y="736"/>
                    </a:lnTo>
                    <a:lnTo>
                      <a:pt x="274" y="738"/>
                    </a:lnTo>
                    <a:lnTo>
                      <a:pt x="272" y="738"/>
                    </a:lnTo>
                    <a:lnTo>
                      <a:pt x="272" y="740"/>
                    </a:lnTo>
                    <a:lnTo>
                      <a:pt x="274" y="741"/>
                    </a:lnTo>
                    <a:lnTo>
                      <a:pt x="274" y="740"/>
                    </a:lnTo>
                    <a:lnTo>
                      <a:pt x="276" y="740"/>
                    </a:lnTo>
                    <a:lnTo>
                      <a:pt x="276" y="741"/>
                    </a:lnTo>
                    <a:lnTo>
                      <a:pt x="278" y="741"/>
                    </a:lnTo>
                    <a:lnTo>
                      <a:pt x="278" y="743"/>
                    </a:lnTo>
                    <a:lnTo>
                      <a:pt x="281" y="745"/>
                    </a:lnTo>
                    <a:lnTo>
                      <a:pt x="283" y="746"/>
                    </a:lnTo>
                    <a:lnTo>
                      <a:pt x="284" y="748"/>
                    </a:lnTo>
                    <a:lnTo>
                      <a:pt x="286" y="750"/>
                    </a:lnTo>
                    <a:lnTo>
                      <a:pt x="283" y="752"/>
                    </a:lnTo>
                    <a:lnTo>
                      <a:pt x="281" y="757"/>
                    </a:lnTo>
                    <a:lnTo>
                      <a:pt x="279" y="757"/>
                    </a:lnTo>
                    <a:lnTo>
                      <a:pt x="279" y="758"/>
                    </a:lnTo>
                    <a:lnTo>
                      <a:pt x="278" y="760"/>
                    </a:lnTo>
                    <a:lnTo>
                      <a:pt x="276" y="762"/>
                    </a:lnTo>
                    <a:lnTo>
                      <a:pt x="276" y="763"/>
                    </a:lnTo>
                    <a:lnTo>
                      <a:pt x="274" y="765"/>
                    </a:lnTo>
                    <a:lnTo>
                      <a:pt x="272" y="765"/>
                    </a:lnTo>
                    <a:lnTo>
                      <a:pt x="271" y="769"/>
                    </a:lnTo>
                    <a:lnTo>
                      <a:pt x="269" y="770"/>
                    </a:lnTo>
                    <a:lnTo>
                      <a:pt x="264" y="772"/>
                    </a:lnTo>
                    <a:lnTo>
                      <a:pt x="262" y="774"/>
                    </a:lnTo>
                    <a:lnTo>
                      <a:pt x="261" y="775"/>
                    </a:lnTo>
                    <a:lnTo>
                      <a:pt x="261" y="779"/>
                    </a:lnTo>
                    <a:lnTo>
                      <a:pt x="261" y="780"/>
                    </a:lnTo>
                    <a:lnTo>
                      <a:pt x="259" y="780"/>
                    </a:lnTo>
                    <a:lnTo>
                      <a:pt x="244" y="782"/>
                    </a:lnTo>
                    <a:lnTo>
                      <a:pt x="230" y="782"/>
                    </a:lnTo>
                    <a:lnTo>
                      <a:pt x="225" y="786"/>
                    </a:lnTo>
                    <a:lnTo>
                      <a:pt x="215" y="784"/>
                    </a:lnTo>
                    <a:lnTo>
                      <a:pt x="213" y="784"/>
                    </a:lnTo>
                    <a:lnTo>
                      <a:pt x="211" y="786"/>
                    </a:lnTo>
                    <a:lnTo>
                      <a:pt x="210" y="787"/>
                    </a:lnTo>
                    <a:lnTo>
                      <a:pt x="208" y="786"/>
                    </a:lnTo>
                    <a:lnTo>
                      <a:pt x="208" y="787"/>
                    </a:lnTo>
                    <a:lnTo>
                      <a:pt x="206" y="787"/>
                    </a:lnTo>
                    <a:lnTo>
                      <a:pt x="206" y="789"/>
                    </a:lnTo>
                    <a:lnTo>
                      <a:pt x="204" y="789"/>
                    </a:lnTo>
                    <a:lnTo>
                      <a:pt x="203" y="789"/>
                    </a:lnTo>
                    <a:lnTo>
                      <a:pt x="201" y="789"/>
                    </a:lnTo>
                    <a:lnTo>
                      <a:pt x="199" y="791"/>
                    </a:lnTo>
                    <a:lnTo>
                      <a:pt x="199" y="789"/>
                    </a:lnTo>
                    <a:lnTo>
                      <a:pt x="199" y="791"/>
                    </a:lnTo>
                    <a:lnTo>
                      <a:pt x="198" y="791"/>
                    </a:lnTo>
                    <a:lnTo>
                      <a:pt x="196" y="791"/>
                    </a:lnTo>
                    <a:lnTo>
                      <a:pt x="196" y="792"/>
                    </a:lnTo>
                    <a:lnTo>
                      <a:pt x="194" y="792"/>
                    </a:lnTo>
                    <a:lnTo>
                      <a:pt x="191" y="794"/>
                    </a:lnTo>
                    <a:lnTo>
                      <a:pt x="193" y="796"/>
                    </a:lnTo>
                    <a:lnTo>
                      <a:pt x="191" y="796"/>
                    </a:lnTo>
                    <a:lnTo>
                      <a:pt x="189" y="794"/>
                    </a:lnTo>
                    <a:lnTo>
                      <a:pt x="189" y="797"/>
                    </a:lnTo>
                    <a:lnTo>
                      <a:pt x="187" y="797"/>
                    </a:lnTo>
                    <a:lnTo>
                      <a:pt x="186" y="799"/>
                    </a:lnTo>
                    <a:lnTo>
                      <a:pt x="184" y="801"/>
                    </a:lnTo>
                    <a:lnTo>
                      <a:pt x="184" y="797"/>
                    </a:lnTo>
                    <a:lnTo>
                      <a:pt x="182" y="799"/>
                    </a:lnTo>
                    <a:lnTo>
                      <a:pt x="182" y="801"/>
                    </a:lnTo>
                    <a:lnTo>
                      <a:pt x="181" y="801"/>
                    </a:lnTo>
                    <a:lnTo>
                      <a:pt x="177" y="801"/>
                    </a:lnTo>
                    <a:lnTo>
                      <a:pt x="177" y="803"/>
                    </a:lnTo>
                    <a:lnTo>
                      <a:pt x="176" y="801"/>
                    </a:lnTo>
                    <a:lnTo>
                      <a:pt x="174" y="803"/>
                    </a:lnTo>
                    <a:lnTo>
                      <a:pt x="172" y="804"/>
                    </a:lnTo>
                    <a:lnTo>
                      <a:pt x="174" y="806"/>
                    </a:lnTo>
                    <a:lnTo>
                      <a:pt x="172" y="806"/>
                    </a:lnTo>
                    <a:lnTo>
                      <a:pt x="170" y="806"/>
                    </a:lnTo>
                    <a:lnTo>
                      <a:pt x="169" y="806"/>
                    </a:lnTo>
                    <a:lnTo>
                      <a:pt x="169" y="804"/>
                    </a:lnTo>
                    <a:lnTo>
                      <a:pt x="165" y="801"/>
                    </a:lnTo>
                    <a:lnTo>
                      <a:pt x="162" y="801"/>
                    </a:lnTo>
                    <a:lnTo>
                      <a:pt x="162" y="799"/>
                    </a:lnTo>
                    <a:lnTo>
                      <a:pt x="162" y="796"/>
                    </a:lnTo>
                    <a:lnTo>
                      <a:pt x="159" y="794"/>
                    </a:lnTo>
                    <a:lnTo>
                      <a:pt x="157" y="791"/>
                    </a:lnTo>
                    <a:lnTo>
                      <a:pt x="159" y="789"/>
                    </a:lnTo>
                    <a:lnTo>
                      <a:pt x="153" y="791"/>
                    </a:lnTo>
                    <a:lnTo>
                      <a:pt x="152" y="794"/>
                    </a:lnTo>
                    <a:lnTo>
                      <a:pt x="150" y="794"/>
                    </a:lnTo>
                    <a:lnTo>
                      <a:pt x="150" y="792"/>
                    </a:lnTo>
                    <a:lnTo>
                      <a:pt x="148" y="794"/>
                    </a:lnTo>
                    <a:lnTo>
                      <a:pt x="150" y="797"/>
                    </a:lnTo>
                    <a:lnTo>
                      <a:pt x="148" y="799"/>
                    </a:lnTo>
                    <a:lnTo>
                      <a:pt x="143" y="801"/>
                    </a:lnTo>
                    <a:lnTo>
                      <a:pt x="140" y="803"/>
                    </a:lnTo>
                    <a:lnTo>
                      <a:pt x="138" y="803"/>
                    </a:lnTo>
                    <a:lnTo>
                      <a:pt x="136" y="804"/>
                    </a:lnTo>
                    <a:lnTo>
                      <a:pt x="131" y="804"/>
                    </a:lnTo>
                    <a:lnTo>
                      <a:pt x="128" y="808"/>
                    </a:lnTo>
                    <a:lnTo>
                      <a:pt x="126" y="809"/>
                    </a:lnTo>
                    <a:lnTo>
                      <a:pt x="118" y="811"/>
                    </a:lnTo>
                    <a:lnTo>
                      <a:pt x="116" y="811"/>
                    </a:lnTo>
                    <a:lnTo>
                      <a:pt x="114" y="808"/>
                    </a:lnTo>
                    <a:lnTo>
                      <a:pt x="106" y="808"/>
                    </a:lnTo>
                    <a:lnTo>
                      <a:pt x="102" y="808"/>
                    </a:lnTo>
                    <a:lnTo>
                      <a:pt x="106" y="804"/>
                    </a:lnTo>
                    <a:lnTo>
                      <a:pt x="106" y="803"/>
                    </a:lnTo>
                    <a:lnTo>
                      <a:pt x="108" y="799"/>
                    </a:lnTo>
                    <a:lnTo>
                      <a:pt x="108" y="796"/>
                    </a:lnTo>
                    <a:lnTo>
                      <a:pt x="106" y="796"/>
                    </a:lnTo>
                    <a:lnTo>
                      <a:pt x="104" y="794"/>
                    </a:lnTo>
                    <a:lnTo>
                      <a:pt x="102" y="794"/>
                    </a:lnTo>
                    <a:lnTo>
                      <a:pt x="102" y="792"/>
                    </a:lnTo>
                    <a:lnTo>
                      <a:pt x="99" y="787"/>
                    </a:lnTo>
                    <a:lnTo>
                      <a:pt x="99" y="784"/>
                    </a:lnTo>
                    <a:lnTo>
                      <a:pt x="96" y="780"/>
                    </a:lnTo>
                    <a:lnTo>
                      <a:pt x="97" y="779"/>
                    </a:lnTo>
                    <a:lnTo>
                      <a:pt x="92" y="769"/>
                    </a:lnTo>
                    <a:lnTo>
                      <a:pt x="87" y="752"/>
                    </a:lnTo>
                    <a:lnTo>
                      <a:pt x="84" y="748"/>
                    </a:lnTo>
                    <a:lnTo>
                      <a:pt x="79" y="750"/>
                    </a:lnTo>
                    <a:lnTo>
                      <a:pt x="77" y="748"/>
                    </a:lnTo>
                    <a:lnTo>
                      <a:pt x="77" y="746"/>
                    </a:lnTo>
                    <a:lnTo>
                      <a:pt x="74" y="745"/>
                    </a:lnTo>
                    <a:lnTo>
                      <a:pt x="74" y="743"/>
                    </a:lnTo>
                    <a:lnTo>
                      <a:pt x="72" y="741"/>
                    </a:lnTo>
                    <a:lnTo>
                      <a:pt x="68" y="743"/>
                    </a:lnTo>
                    <a:lnTo>
                      <a:pt x="65" y="741"/>
                    </a:lnTo>
                    <a:lnTo>
                      <a:pt x="62" y="738"/>
                    </a:lnTo>
                    <a:lnTo>
                      <a:pt x="60" y="736"/>
                    </a:lnTo>
                    <a:lnTo>
                      <a:pt x="57" y="733"/>
                    </a:lnTo>
                    <a:lnTo>
                      <a:pt x="51" y="729"/>
                    </a:lnTo>
                    <a:lnTo>
                      <a:pt x="51" y="728"/>
                    </a:lnTo>
                    <a:lnTo>
                      <a:pt x="48" y="726"/>
                    </a:lnTo>
                    <a:lnTo>
                      <a:pt x="46" y="723"/>
                    </a:lnTo>
                    <a:lnTo>
                      <a:pt x="46" y="718"/>
                    </a:lnTo>
                    <a:lnTo>
                      <a:pt x="43" y="716"/>
                    </a:lnTo>
                    <a:lnTo>
                      <a:pt x="43" y="714"/>
                    </a:lnTo>
                    <a:lnTo>
                      <a:pt x="41" y="714"/>
                    </a:lnTo>
                    <a:lnTo>
                      <a:pt x="38" y="712"/>
                    </a:lnTo>
                    <a:lnTo>
                      <a:pt x="36" y="707"/>
                    </a:lnTo>
                    <a:lnTo>
                      <a:pt x="33" y="706"/>
                    </a:lnTo>
                    <a:lnTo>
                      <a:pt x="29" y="704"/>
                    </a:lnTo>
                    <a:lnTo>
                      <a:pt x="31" y="702"/>
                    </a:lnTo>
                    <a:lnTo>
                      <a:pt x="29" y="700"/>
                    </a:lnTo>
                    <a:lnTo>
                      <a:pt x="29" y="702"/>
                    </a:lnTo>
                    <a:lnTo>
                      <a:pt x="28" y="700"/>
                    </a:lnTo>
                    <a:lnTo>
                      <a:pt x="28" y="697"/>
                    </a:lnTo>
                    <a:lnTo>
                      <a:pt x="29" y="694"/>
                    </a:lnTo>
                    <a:lnTo>
                      <a:pt x="31" y="690"/>
                    </a:lnTo>
                    <a:lnTo>
                      <a:pt x="33" y="690"/>
                    </a:lnTo>
                    <a:lnTo>
                      <a:pt x="34" y="689"/>
                    </a:lnTo>
                    <a:lnTo>
                      <a:pt x="36" y="687"/>
                    </a:lnTo>
                    <a:lnTo>
                      <a:pt x="38" y="682"/>
                    </a:lnTo>
                    <a:lnTo>
                      <a:pt x="40" y="682"/>
                    </a:lnTo>
                    <a:lnTo>
                      <a:pt x="53" y="680"/>
                    </a:lnTo>
                    <a:lnTo>
                      <a:pt x="62" y="683"/>
                    </a:lnTo>
                    <a:lnTo>
                      <a:pt x="65" y="685"/>
                    </a:lnTo>
                    <a:lnTo>
                      <a:pt x="68" y="685"/>
                    </a:lnTo>
                    <a:lnTo>
                      <a:pt x="77" y="682"/>
                    </a:lnTo>
                    <a:lnTo>
                      <a:pt x="82" y="683"/>
                    </a:lnTo>
                    <a:lnTo>
                      <a:pt x="84" y="682"/>
                    </a:lnTo>
                    <a:lnTo>
                      <a:pt x="87" y="683"/>
                    </a:lnTo>
                    <a:lnTo>
                      <a:pt x="89" y="682"/>
                    </a:lnTo>
                    <a:lnTo>
                      <a:pt x="99" y="685"/>
                    </a:lnTo>
                    <a:lnTo>
                      <a:pt x="108" y="683"/>
                    </a:lnTo>
                    <a:lnTo>
                      <a:pt x="113" y="682"/>
                    </a:lnTo>
                    <a:lnTo>
                      <a:pt x="102" y="677"/>
                    </a:lnTo>
                    <a:lnTo>
                      <a:pt x="97" y="670"/>
                    </a:lnTo>
                    <a:lnTo>
                      <a:pt x="96" y="666"/>
                    </a:lnTo>
                    <a:lnTo>
                      <a:pt x="92" y="666"/>
                    </a:lnTo>
                    <a:lnTo>
                      <a:pt x="91" y="661"/>
                    </a:lnTo>
                    <a:lnTo>
                      <a:pt x="91" y="660"/>
                    </a:lnTo>
                    <a:lnTo>
                      <a:pt x="89" y="658"/>
                    </a:lnTo>
                    <a:lnTo>
                      <a:pt x="85" y="655"/>
                    </a:lnTo>
                    <a:lnTo>
                      <a:pt x="85" y="649"/>
                    </a:lnTo>
                    <a:lnTo>
                      <a:pt x="84" y="646"/>
                    </a:lnTo>
                    <a:lnTo>
                      <a:pt x="80" y="641"/>
                    </a:lnTo>
                    <a:lnTo>
                      <a:pt x="82" y="638"/>
                    </a:lnTo>
                    <a:lnTo>
                      <a:pt x="82" y="634"/>
                    </a:lnTo>
                    <a:lnTo>
                      <a:pt x="80" y="631"/>
                    </a:lnTo>
                    <a:lnTo>
                      <a:pt x="80" y="629"/>
                    </a:lnTo>
                    <a:lnTo>
                      <a:pt x="82" y="629"/>
                    </a:lnTo>
                    <a:lnTo>
                      <a:pt x="84" y="627"/>
                    </a:lnTo>
                    <a:lnTo>
                      <a:pt x="82" y="626"/>
                    </a:lnTo>
                    <a:lnTo>
                      <a:pt x="82" y="622"/>
                    </a:lnTo>
                    <a:lnTo>
                      <a:pt x="80" y="621"/>
                    </a:lnTo>
                    <a:lnTo>
                      <a:pt x="80" y="619"/>
                    </a:lnTo>
                    <a:lnTo>
                      <a:pt x="80" y="617"/>
                    </a:lnTo>
                    <a:lnTo>
                      <a:pt x="80" y="615"/>
                    </a:lnTo>
                    <a:lnTo>
                      <a:pt x="80" y="614"/>
                    </a:lnTo>
                    <a:lnTo>
                      <a:pt x="80" y="612"/>
                    </a:lnTo>
                    <a:lnTo>
                      <a:pt x="80" y="610"/>
                    </a:lnTo>
                    <a:lnTo>
                      <a:pt x="80" y="609"/>
                    </a:lnTo>
                    <a:lnTo>
                      <a:pt x="82" y="605"/>
                    </a:lnTo>
                    <a:lnTo>
                      <a:pt x="84" y="605"/>
                    </a:lnTo>
                    <a:lnTo>
                      <a:pt x="85" y="602"/>
                    </a:lnTo>
                    <a:lnTo>
                      <a:pt x="82" y="602"/>
                    </a:lnTo>
                    <a:lnTo>
                      <a:pt x="82" y="600"/>
                    </a:lnTo>
                    <a:lnTo>
                      <a:pt x="82" y="598"/>
                    </a:lnTo>
                    <a:lnTo>
                      <a:pt x="82" y="597"/>
                    </a:lnTo>
                    <a:lnTo>
                      <a:pt x="80" y="595"/>
                    </a:lnTo>
                    <a:lnTo>
                      <a:pt x="82" y="593"/>
                    </a:lnTo>
                    <a:lnTo>
                      <a:pt x="82" y="592"/>
                    </a:lnTo>
                    <a:lnTo>
                      <a:pt x="84" y="592"/>
                    </a:lnTo>
                    <a:lnTo>
                      <a:pt x="82" y="590"/>
                    </a:lnTo>
                    <a:lnTo>
                      <a:pt x="82" y="588"/>
                    </a:lnTo>
                    <a:lnTo>
                      <a:pt x="80" y="588"/>
                    </a:lnTo>
                    <a:lnTo>
                      <a:pt x="80" y="587"/>
                    </a:lnTo>
                    <a:lnTo>
                      <a:pt x="79" y="585"/>
                    </a:lnTo>
                    <a:lnTo>
                      <a:pt x="80" y="583"/>
                    </a:lnTo>
                    <a:lnTo>
                      <a:pt x="80" y="581"/>
                    </a:lnTo>
                    <a:lnTo>
                      <a:pt x="82" y="581"/>
                    </a:lnTo>
                    <a:lnTo>
                      <a:pt x="80" y="580"/>
                    </a:lnTo>
                    <a:lnTo>
                      <a:pt x="79" y="578"/>
                    </a:lnTo>
                    <a:lnTo>
                      <a:pt x="80" y="578"/>
                    </a:lnTo>
                    <a:lnTo>
                      <a:pt x="79" y="576"/>
                    </a:lnTo>
                    <a:lnTo>
                      <a:pt x="79" y="575"/>
                    </a:lnTo>
                    <a:lnTo>
                      <a:pt x="77" y="575"/>
                    </a:lnTo>
                    <a:lnTo>
                      <a:pt x="75" y="576"/>
                    </a:lnTo>
                    <a:lnTo>
                      <a:pt x="72" y="573"/>
                    </a:lnTo>
                    <a:lnTo>
                      <a:pt x="74" y="571"/>
                    </a:lnTo>
                    <a:lnTo>
                      <a:pt x="72" y="570"/>
                    </a:lnTo>
                    <a:lnTo>
                      <a:pt x="74" y="561"/>
                    </a:lnTo>
                    <a:lnTo>
                      <a:pt x="72" y="558"/>
                    </a:lnTo>
                    <a:lnTo>
                      <a:pt x="70" y="558"/>
                    </a:lnTo>
                    <a:lnTo>
                      <a:pt x="70" y="556"/>
                    </a:lnTo>
                    <a:lnTo>
                      <a:pt x="68" y="549"/>
                    </a:lnTo>
                    <a:lnTo>
                      <a:pt x="65" y="547"/>
                    </a:lnTo>
                    <a:lnTo>
                      <a:pt x="65" y="546"/>
                    </a:lnTo>
                    <a:lnTo>
                      <a:pt x="63" y="547"/>
                    </a:lnTo>
                    <a:lnTo>
                      <a:pt x="62" y="546"/>
                    </a:lnTo>
                    <a:lnTo>
                      <a:pt x="63" y="544"/>
                    </a:lnTo>
                    <a:lnTo>
                      <a:pt x="60" y="544"/>
                    </a:lnTo>
                    <a:lnTo>
                      <a:pt x="58" y="542"/>
                    </a:lnTo>
                    <a:lnTo>
                      <a:pt x="58" y="541"/>
                    </a:lnTo>
                    <a:lnTo>
                      <a:pt x="57" y="542"/>
                    </a:lnTo>
                    <a:lnTo>
                      <a:pt x="57" y="541"/>
                    </a:lnTo>
                    <a:lnTo>
                      <a:pt x="55" y="541"/>
                    </a:lnTo>
                    <a:lnTo>
                      <a:pt x="55" y="539"/>
                    </a:lnTo>
                    <a:lnTo>
                      <a:pt x="55" y="537"/>
                    </a:lnTo>
                    <a:lnTo>
                      <a:pt x="55" y="535"/>
                    </a:lnTo>
                    <a:lnTo>
                      <a:pt x="55" y="534"/>
                    </a:lnTo>
                    <a:lnTo>
                      <a:pt x="55" y="532"/>
                    </a:lnTo>
                    <a:lnTo>
                      <a:pt x="50" y="525"/>
                    </a:lnTo>
                    <a:lnTo>
                      <a:pt x="31" y="525"/>
                    </a:lnTo>
                    <a:lnTo>
                      <a:pt x="24" y="518"/>
                    </a:lnTo>
                    <a:lnTo>
                      <a:pt x="19" y="510"/>
                    </a:lnTo>
                    <a:lnTo>
                      <a:pt x="9" y="495"/>
                    </a:lnTo>
                    <a:lnTo>
                      <a:pt x="6" y="481"/>
                    </a:lnTo>
                    <a:lnTo>
                      <a:pt x="2" y="473"/>
                    </a:lnTo>
                    <a:lnTo>
                      <a:pt x="0" y="461"/>
                    </a:lnTo>
                    <a:lnTo>
                      <a:pt x="0" y="456"/>
                    </a:lnTo>
                    <a:lnTo>
                      <a:pt x="6" y="454"/>
                    </a:lnTo>
                    <a:lnTo>
                      <a:pt x="9" y="454"/>
                    </a:lnTo>
                    <a:lnTo>
                      <a:pt x="11" y="452"/>
                    </a:lnTo>
                    <a:lnTo>
                      <a:pt x="11" y="447"/>
                    </a:lnTo>
                    <a:lnTo>
                      <a:pt x="14" y="444"/>
                    </a:lnTo>
                    <a:lnTo>
                      <a:pt x="16" y="444"/>
                    </a:lnTo>
                    <a:lnTo>
                      <a:pt x="17" y="442"/>
                    </a:lnTo>
                    <a:lnTo>
                      <a:pt x="16" y="435"/>
                    </a:lnTo>
                    <a:lnTo>
                      <a:pt x="19" y="427"/>
                    </a:lnTo>
                    <a:lnTo>
                      <a:pt x="26" y="422"/>
                    </a:lnTo>
                    <a:lnTo>
                      <a:pt x="33" y="410"/>
                    </a:lnTo>
                    <a:lnTo>
                      <a:pt x="45" y="393"/>
                    </a:lnTo>
                    <a:lnTo>
                      <a:pt x="77" y="359"/>
                    </a:lnTo>
                    <a:lnTo>
                      <a:pt x="99" y="336"/>
                    </a:lnTo>
                    <a:lnTo>
                      <a:pt x="102" y="333"/>
                    </a:lnTo>
                    <a:lnTo>
                      <a:pt x="104" y="319"/>
                    </a:lnTo>
                    <a:lnTo>
                      <a:pt x="106" y="277"/>
                    </a:lnTo>
                    <a:lnTo>
                      <a:pt x="108" y="238"/>
                    </a:lnTo>
                    <a:lnTo>
                      <a:pt x="116" y="178"/>
                    </a:lnTo>
                    <a:lnTo>
                      <a:pt x="116" y="177"/>
                    </a:lnTo>
                    <a:lnTo>
                      <a:pt x="128" y="158"/>
                    </a:lnTo>
                    <a:lnTo>
                      <a:pt x="121" y="151"/>
                    </a:lnTo>
                    <a:lnTo>
                      <a:pt x="114" y="143"/>
                    </a:lnTo>
                    <a:lnTo>
                      <a:pt x="111" y="137"/>
                    </a:lnTo>
                    <a:lnTo>
                      <a:pt x="108" y="136"/>
                    </a:lnTo>
                    <a:lnTo>
                      <a:pt x="104" y="131"/>
                    </a:lnTo>
                    <a:lnTo>
                      <a:pt x="109" y="126"/>
                    </a:lnTo>
                    <a:lnTo>
                      <a:pt x="101" y="114"/>
                    </a:lnTo>
                    <a:lnTo>
                      <a:pt x="94" y="105"/>
                    </a:lnTo>
                    <a:lnTo>
                      <a:pt x="92" y="102"/>
                    </a:lnTo>
                    <a:lnTo>
                      <a:pt x="87" y="100"/>
                    </a:lnTo>
                    <a:lnTo>
                      <a:pt x="87" y="75"/>
                    </a:lnTo>
                    <a:lnTo>
                      <a:pt x="84" y="54"/>
                    </a:lnTo>
                    <a:lnTo>
                      <a:pt x="77" y="23"/>
                    </a:lnTo>
                    <a:lnTo>
                      <a:pt x="84" y="20"/>
                    </a:lnTo>
                    <a:lnTo>
                      <a:pt x="128" y="0"/>
                    </a:lnTo>
                    <a:lnTo>
                      <a:pt x="174" y="22"/>
                    </a:lnTo>
                    <a:lnTo>
                      <a:pt x="228" y="47"/>
                    </a:lnTo>
                    <a:lnTo>
                      <a:pt x="283" y="73"/>
                    </a:lnTo>
                    <a:lnTo>
                      <a:pt x="284" y="75"/>
                    </a:lnTo>
                    <a:lnTo>
                      <a:pt x="323" y="93"/>
                    </a:lnTo>
                    <a:lnTo>
                      <a:pt x="373" y="117"/>
                    </a:lnTo>
                    <a:lnTo>
                      <a:pt x="381" y="122"/>
                    </a:lnTo>
                    <a:lnTo>
                      <a:pt x="441" y="153"/>
                    </a:lnTo>
                    <a:lnTo>
                      <a:pt x="533" y="200"/>
                    </a:lnTo>
                    <a:lnTo>
                      <a:pt x="533" y="216"/>
                    </a:lnTo>
                    <a:lnTo>
                      <a:pt x="533" y="248"/>
                    </a:lnTo>
                    <a:lnTo>
                      <a:pt x="533" y="285"/>
                    </a:lnTo>
                    <a:lnTo>
                      <a:pt x="533" y="326"/>
                    </a:lnTo>
                    <a:lnTo>
                      <a:pt x="533" y="348"/>
                    </a:lnTo>
                    <a:lnTo>
                      <a:pt x="533" y="353"/>
                    </a:lnTo>
                    <a:lnTo>
                      <a:pt x="533" y="367"/>
                    </a:lnTo>
                    <a:lnTo>
                      <a:pt x="533" y="393"/>
                    </a:lnTo>
                    <a:lnTo>
                      <a:pt x="516" y="389"/>
                    </a:lnTo>
                    <a:lnTo>
                      <a:pt x="510" y="389"/>
                    </a:lnTo>
                    <a:lnTo>
                      <a:pt x="504" y="393"/>
                    </a:lnTo>
                    <a:lnTo>
                      <a:pt x="500" y="394"/>
                    </a:lnTo>
                    <a:lnTo>
                      <a:pt x="495" y="393"/>
                    </a:lnTo>
                    <a:lnTo>
                      <a:pt x="493" y="393"/>
                    </a:lnTo>
                    <a:lnTo>
                      <a:pt x="488" y="393"/>
                    </a:lnTo>
                    <a:lnTo>
                      <a:pt x="483" y="398"/>
                    </a:lnTo>
                    <a:lnTo>
                      <a:pt x="480" y="399"/>
                    </a:lnTo>
                    <a:lnTo>
                      <a:pt x="478" y="405"/>
                    </a:lnTo>
                    <a:lnTo>
                      <a:pt x="482" y="408"/>
                    </a:lnTo>
                    <a:lnTo>
                      <a:pt x="483" y="413"/>
                    </a:lnTo>
                    <a:lnTo>
                      <a:pt x="482" y="415"/>
                    </a:lnTo>
                    <a:lnTo>
                      <a:pt x="483" y="416"/>
                    </a:lnTo>
                    <a:lnTo>
                      <a:pt x="482" y="418"/>
                    </a:lnTo>
                    <a:lnTo>
                      <a:pt x="480" y="420"/>
                    </a:lnTo>
                    <a:lnTo>
                      <a:pt x="480" y="423"/>
                    </a:lnTo>
                    <a:lnTo>
                      <a:pt x="476" y="425"/>
                    </a:lnTo>
                    <a:lnTo>
                      <a:pt x="475" y="427"/>
                    </a:lnTo>
                    <a:lnTo>
                      <a:pt x="473" y="427"/>
                    </a:lnTo>
                    <a:lnTo>
                      <a:pt x="470" y="430"/>
                    </a:lnTo>
                    <a:lnTo>
                      <a:pt x="470" y="433"/>
                    </a:lnTo>
                    <a:lnTo>
                      <a:pt x="468" y="433"/>
                    </a:lnTo>
                    <a:lnTo>
                      <a:pt x="466" y="435"/>
                    </a:lnTo>
                    <a:lnTo>
                      <a:pt x="468" y="444"/>
                    </a:lnTo>
                    <a:lnTo>
                      <a:pt x="456" y="447"/>
                    </a:lnTo>
                    <a:lnTo>
                      <a:pt x="453" y="449"/>
                    </a:lnTo>
                    <a:lnTo>
                      <a:pt x="451" y="454"/>
                    </a:lnTo>
                    <a:lnTo>
                      <a:pt x="454" y="454"/>
                    </a:lnTo>
                    <a:lnTo>
                      <a:pt x="454" y="461"/>
                    </a:lnTo>
                    <a:lnTo>
                      <a:pt x="456" y="462"/>
                    </a:lnTo>
                    <a:lnTo>
                      <a:pt x="454" y="464"/>
                    </a:lnTo>
                    <a:lnTo>
                      <a:pt x="456" y="467"/>
                    </a:lnTo>
                    <a:lnTo>
                      <a:pt x="458" y="467"/>
                    </a:lnTo>
                    <a:lnTo>
                      <a:pt x="459" y="467"/>
                    </a:lnTo>
                    <a:lnTo>
                      <a:pt x="461" y="471"/>
                    </a:lnTo>
                    <a:lnTo>
                      <a:pt x="459" y="473"/>
                    </a:lnTo>
                    <a:lnTo>
                      <a:pt x="458" y="474"/>
                    </a:lnTo>
                    <a:lnTo>
                      <a:pt x="454" y="476"/>
                    </a:lnTo>
                    <a:lnTo>
                      <a:pt x="451" y="476"/>
                    </a:lnTo>
                    <a:lnTo>
                      <a:pt x="444" y="481"/>
                    </a:lnTo>
                    <a:lnTo>
                      <a:pt x="437" y="491"/>
                    </a:lnTo>
                    <a:lnTo>
                      <a:pt x="439" y="493"/>
                    </a:lnTo>
                    <a:lnTo>
                      <a:pt x="437" y="495"/>
                    </a:lnTo>
                    <a:lnTo>
                      <a:pt x="439" y="498"/>
                    </a:lnTo>
                    <a:lnTo>
                      <a:pt x="444" y="501"/>
                    </a:lnTo>
                    <a:lnTo>
                      <a:pt x="442" y="507"/>
                    </a:lnTo>
                    <a:lnTo>
                      <a:pt x="444" y="508"/>
                    </a:lnTo>
                    <a:lnTo>
                      <a:pt x="446" y="510"/>
                    </a:lnTo>
                    <a:lnTo>
                      <a:pt x="446" y="512"/>
                    </a:lnTo>
                    <a:lnTo>
                      <a:pt x="441" y="517"/>
                    </a:lnTo>
                    <a:lnTo>
                      <a:pt x="439" y="522"/>
                    </a:lnTo>
                    <a:lnTo>
                      <a:pt x="436" y="522"/>
                    </a:lnTo>
                    <a:lnTo>
                      <a:pt x="432" y="522"/>
                    </a:lnTo>
                    <a:lnTo>
                      <a:pt x="431" y="525"/>
                    </a:lnTo>
                    <a:lnTo>
                      <a:pt x="429" y="527"/>
                    </a:lnTo>
                    <a:lnTo>
                      <a:pt x="429" y="529"/>
                    </a:lnTo>
                    <a:lnTo>
                      <a:pt x="427" y="530"/>
                    </a:lnTo>
                    <a:lnTo>
                      <a:pt x="424" y="539"/>
                    </a:lnTo>
                    <a:lnTo>
                      <a:pt x="422" y="539"/>
                    </a:lnTo>
                    <a:lnTo>
                      <a:pt x="424" y="541"/>
                    </a:lnTo>
                    <a:lnTo>
                      <a:pt x="424" y="544"/>
                    </a:lnTo>
                    <a:lnTo>
                      <a:pt x="429" y="547"/>
                    </a:lnTo>
                    <a:lnTo>
                      <a:pt x="434" y="547"/>
                    </a:lnTo>
                    <a:lnTo>
                      <a:pt x="439" y="547"/>
                    </a:lnTo>
                    <a:lnTo>
                      <a:pt x="441" y="546"/>
                    </a:lnTo>
                    <a:lnTo>
                      <a:pt x="442" y="542"/>
                    </a:lnTo>
                    <a:lnTo>
                      <a:pt x="451" y="547"/>
                    </a:lnTo>
                    <a:lnTo>
                      <a:pt x="454" y="549"/>
                    </a:lnTo>
                    <a:lnTo>
                      <a:pt x="454" y="554"/>
                    </a:lnTo>
                    <a:lnTo>
                      <a:pt x="451" y="558"/>
                    </a:lnTo>
                    <a:lnTo>
                      <a:pt x="454" y="561"/>
                    </a:lnTo>
                    <a:lnTo>
                      <a:pt x="453" y="563"/>
                    </a:lnTo>
                    <a:lnTo>
                      <a:pt x="454" y="564"/>
                    </a:lnTo>
                    <a:lnTo>
                      <a:pt x="454" y="566"/>
                    </a:lnTo>
                    <a:lnTo>
                      <a:pt x="456" y="571"/>
                    </a:lnTo>
                    <a:lnTo>
                      <a:pt x="456" y="578"/>
                    </a:lnTo>
                    <a:lnTo>
                      <a:pt x="458" y="580"/>
                    </a:lnTo>
                    <a:lnTo>
                      <a:pt x="459" y="578"/>
                    </a:lnTo>
                    <a:lnTo>
                      <a:pt x="465" y="578"/>
                    </a:lnTo>
                    <a:lnTo>
                      <a:pt x="459" y="595"/>
                    </a:lnTo>
                    <a:lnTo>
                      <a:pt x="461" y="600"/>
                    </a:lnTo>
                    <a:lnTo>
                      <a:pt x="465" y="605"/>
                    </a:lnTo>
                    <a:lnTo>
                      <a:pt x="470" y="607"/>
                    </a:lnTo>
                    <a:lnTo>
                      <a:pt x="471" y="609"/>
                    </a:lnTo>
                    <a:lnTo>
                      <a:pt x="471" y="610"/>
                    </a:lnTo>
                    <a:lnTo>
                      <a:pt x="480" y="610"/>
                    </a:lnTo>
                    <a:lnTo>
                      <a:pt x="480" y="615"/>
                    </a:lnTo>
                    <a:lnTo>
                      <a:pt x="482" y="615"/>
                    </a:lnTo>
                    <a:lnTo>
                      <a:pt x="482" y="619"/>
                    </a:lnTo>
                    <a:lnTo>
                      <a:pt x="482" y="624"/>
                    </a:lnTo>
                    <a:lnTo>
                      <a:pt x="476" y="634"/>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21">
                <a:extLst>
                  <a:ext uri="{FF2B5EF4-FFF2-40B4-BE49-F238E27FC236}">
                    <a16:creationId xmlns:a16="http://schemas.microsoft.com/office/drawing/2014/main" id="{5C010B09-F7E6-4370-BC32-AB6ADD38E281}"/>
                  </a:ext>
                </a:extLst>
              </p:cNvPr>
              <p:cNvSpPr>
                <a:spLocks/>
              </p:cNvSpPr>
              <p:nvPr/>
            </p:nvSpPr>
            <p:spPr bwMode="gray">
              <a:xfrm>
                <a:off x="5976430" y="3739423"/>
                <a:ext cx="472083" cy="550144"/>
              </a:xfrm>
              <a:custGeom>
                <a:avLst/>
                <a:gdLst>
                  <a:gd name="T0" fmla="*/ 361 w 381"/>
                  <a:gd name="T1" fmla="*/ 61 h 444"/>
                  <a:gd name="T2" fmla="*/ 347 w 381"/>
                  <a:gd name="T3" fmla="*/ 119 h 444"/>
                  <a:gd name="T4" fmla="*/ 342 w 381"/>
                  <a:gd name="T5" fmla="*/ 160 h 444"/>
                  <a:gd name="T6" fmla="*/ 334 w 381"/>
                  <a:gd name="T7" fmla="*/ 216 h 444"/>
                  <a:gd name="T8" fmla="*/ 295 w 381"/>
                  <a:gd name="T9" fmla="*/ 248 h 444"/>
                  <a:gd name="T10" fmla="*/ 259 w 381"/>
                  <a:gd name="T11" fmla="*/ 298 h 444"/>
                  <a:gd name="T12" fmla="*/ 257 w 381"/>
                  <a:gd name="T13" fmla="*/ 350 h 444"/>
                  <a:gd name="T14" fmla="*/ 225 w 381"/>
                  <a:gd name="T15" fmla="*/ 393 h 444"/>
                  <a:gd name="T16" fmla="*/ 203 w 381"/>
                  <a:gd name="T17" fmla="*/ 415 h 444"/>
                  <a:gd name="T18" fmla="*/ 165 w 381"/>
                  <a:gd name="T19" fmla="*/ 434 h 444"/>
                  <a:gd name="T20" fmla="*/ 170 w 381"/>
                  <a:gd name="T21" fmla="*/ 413 h 444"/>
                  <a:gd name="T22" fmla="*/ 145 w 381"/>
                  <a:gd name="T23" fmla="*/ 415 h 444"/>
                  <a:gd name="T24" fmla="*/ 130 w 381"/>
                  <a:gd name="T25" fmla="*/ 427 h 444"/>
                  <a:gd name="T26" fmla="*/ 121 w 381"/>
                  <a:gd name="T27" fmla="*/ 430 h 444"/>
                  <a:gd name="T28" fmla="*/ 109 w 381"/>
                  <a:gd name="T29" fmla="*/ 430 h 444"/>
                  <a:gd name="T30" fmla="*/ 96 w 381"/>
                  <a:gd name="T31" fmla="*/ 422 h 444"/>
                  <a:gd name="T32" fmla="*/ 82 w 381"/>
                  <a:gd name="T33" fmla="*/ 415 h 444"/>
                  <a:gd name="T34" fmla="*/ 55 w 381"/>
                  <a:gd name="T35" fmla="*/ 430 h 444"/>
                  <a:gd name="T36" fmla="*/ 34 w 381"/>
                  <a:gd name="T37" fmla="*/ 420 h 444"/>
                  <a:gd name="T38" fmla="*/ 4 w 381"/>
                  <a:gd name="T39" fmla="*/ 379 h 444"/>
                  <a:gd name="T40" fmla="*/ 41 w 381"/>
                  <a:gd name="T41" fmla="*/ 374 h 444"/>
                  <a:gd name="T42" fmla="*/ 31 w 381"/>
                  <a:gd name="T43" fmla="*/ 337 h 444"/>
                  <a:gd name="T44" fmla="*/ 24 w 381"/>
                  <a:gd name="T45" fmla="*/ 309 h 444"/>
                  <a:gd name="T46" fmla="*/ 40 w 381"/>
                  <a:gd name="T47" fmla="*/ 308 h 444"/>
                  <a:gd name="T48" fmla="*/ 68 w 381"/>
                  <a:gd name="T49" fmla="*/ 306 h 444"/>
                  <a:gd name="T50" fmla="*/ 67 w 381"/>
                  <a:gd name="T51" fmla="*/ 289 h 444"/>
                  <a:gd name="T52" fmla="*/ 75 w 381"/>
                  <a:gd name="T53" fmla="*/ 281 h 444"/>
                  <a:gd name="T54" fmla="*/ 87 w 381"/>
                  <a:gd name="T55" fmla="*/ 289 h 444"/>
                  <a:gd name="T56" fmla="*/ 97 w 381"/>
                  <a:gd name="T57" fmla="*/ 304 h 444"/>
                  <a:gd name="T58" fmla="*/ 119 w 381"/>
                  <a:gd name="T59" fmla="*/ 311 h 444"/>
                  <a:gd name="T60" fmla="*/ 140 w 381"/>
                  <a:gd name="T61" fmla="*/ 306 h 444"/>
                  <a:gd name="T62" fmla="*/ 152 w 381"/>
                  <a:gd name="T63" fmla="*/ 316 h 444"/>
                  <a:gd name="T64" fmla="*/ 157 w 381"/>
                  <a:gd name="T65" fmla="*/ 299 h 444"/>
                  <a:gd name="T66" fmla="*/ 167 w 381"/>
                  <a:gd name="T67" fmla="*/ 284 h 444"/>
                  <a:gd name="T68" fmla="*/ 167 w 381"/>
                  <a:gd name="T69" fmla="*/ 269 h 444"/>
                  <a:gd name="T70" fmla="*/ 170 w 381"/>
                  <a:gd name="T71" fmla="*/ 250 h 444"/>
                  <a:gd name="T72" fmla="*/ 169 w 381"/>
                  <a:gd name="T73" fmla="*/ 230 h 444"/>
                  <a:gd name="T74" fmla="*/ 169 w 381"/>
                  <a:gd name="T75" fmla="*/ 214 h 444"/>
                  <a:gd name="T76" fmla="*/ 150 w 381"/>
                  <a:gd name="T77" fmla="*/ 201 h 444"/>
                  <a:gd name="T78" fmla="*/ 147 w 381"/>
                  <a:gd name="T79" fmla="*/ 190 h 444"/>
                  <a:gd name="T80" fmla="*/ 145 w 381"/>
                  <a:gd name="T81" fmla="*/ 170 h 444"/>
                  <a:gd name="T82" fmla="*/ 160 w 381"/>
                  <a:gd name="T83" fmla="*/ 160 h 444"/>
                  <a:gd name="T84" fmla="*/ 165 w 381"/>
                  <a:gd name="T85" fmla="*/ 133 h 444"/>
                  <a:gd name="T86" fmla="*/ 147 w 381"/>
                  <a:gd name="T87" fmla="*/ 116 h 444"/>
                  <a:gd name="T88" fmla="*/ 126 w 381"/>
                  <a:gd name="T89" fmla="*/ 121 h 444"/>
                  <a:gd name="T90" fmla="*/ 114 w 381"/>
                  <a:gd name="T91" fmla="*/ 124 h 444"/>
                  <a:gd name="T92" fmla="*/ 106 w 381"/>
                  <a:gd name="T93" fmla="*/ 124 h 444"/>
                  <a:gd name="T94" fmla="*/ 102 w 381"/>
                  <a:gd name="T95" fmla="*/ 110 h 444"/>
                  <a:gd name="T96" fmla="*/ 106 w 381"/>
                  <a:gd name="T97" fmla="*/ 95 h 444"/>
                  <a:gd name="T98" fmla="*/ 111 w 381"/>
                  <a:gd name="T99" fmla="*/ 80 h 444"/>
                  <a:gd name="T100" fmla="*/ 170 w 381"/>
                  <a:gd name="T101" fmla="*/ 78 h 444"/>
                  <a:gd name="T102" fmla="*/ 184 w 381"/>
                  <a:gd name="T103" fmla="*/ 83 h 444"/>
                  <a:gd name="T104" fmla="*/ 191 w 381"/>
                  <a:gd name="T105" fmla="*/ 87 h 444"/>
                  <a:gd name="T106" fmla="*/ 204 w 381"/>
                  <a:gd name="T107" fmla="*/ 87 h 444"/>
                  <a:gd name="T108" fmla="*/ 225 w 381"/>
                  <a:gd name="T109" fmla="*/ 90 h 444"/>
                  <a:gd name="T110" fmla="*/ 245 w 381"/>
                  <a:gd name="T111" fmla="*/ 99 h 444"/>
                  <a:gd name="T112" fmla="*/ 254 w 381"/>
                  <a:gd name="T113" fmla="*/ 97 h 444"/>
                  <a:gd name="T114" fmla="*/ 254 w 381"/>
                  <a:gd name="T115" fmla="*/ 76 h 444"/>
                  <a:gd name="T116" fmla="*/ 272 w 381"/>
                  <a:gd name="T117" fmla="*/ 31 h 444"/>
                  <a:gd name="T118" fmla="*/ 312 w 381"/>
                  <a:gd name="T119" fmla="*/ 5 h 444"/>
                  <a:gd name="T120" fmla="*/ 340 w 381"/>
                  <a:gd name="T121" fmla="*/ 8 h 444"/>
                  <a:gd name="T122" fmla="*/ 364 w 381"/>
                  <a:gd name="T123" fmla="*/ 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444">
                    <a:moveTo>
                      <a:pt x="380" y="12"/>
                    </a:moveTo>
                    <a:lnTo>
                      <a:pt x="381" y="20"/>
                    </a:lnTo>
                    <a:lnTo>
                      <a:pt x="381" y="27"/>
                    </a:lnTo>
                    <a:lnTo>
                      <a:pt x="378" y="31"/>
                    </a:lnTo>
                    <a:lnTo>
                      <a:pt x="376" y="32"/>
                    </a:lnTo>
                    <a:lnTo>
                      <a:pt x="371" y="41"/>
                    </a:lnTo>
                    <a:lnTo>
                      <a:pt x="369" y="48"/>
                    </a:lnTo>
                    <a:lnTo>
                      <a:pt x="366" y="54"/>
                    </a:lnTo>
                    <a:lnTo>
                      <a:pt x="366" y="56"/>
                    </a:lnTo>
                    <a:lnTo>
                      <a:pt x="361" y="61"/>
                    </a:lnTo>
                    <a:lnTo>
                      <a:pt x="359" y="65"/>
                    </a:lnTo>
                    <a:lnTo>
                      <a:pt x="357" y="70"/>
                    </a:lnTo>
                    <a:lnTo>
                      <a:pt x="352" y="75"/>
                    </a:lnTo>
                    <a:lnTo>
                      <a:pt x="352" y="82"/>
                    </a:lnTo>
                    <a:lnTo>
                      <a:pt x="351" y="85"/>
                    </a:lnTo>
                    <a:lnTo>
                      <a:pt x="352" y="90"/>
                    </a:lnTo>
                    <a:lnTo>
                      <a:pt x="351" y="95"/>
                    </a:lnTo>
                    <a:lnTo>
                      <a:pt x="352" y="102"/>
                    </a:lnTo>
                    <a:lnTo>
                      <a:pt x="352" y="110"/>
                    </a:lnTo>
                    <a:lnTo>
                      <a:pt x="347" y="119"/>
                    </a:lnTo>
                    <a:lnTo>
                      <a:pt x="346" y="124"/>
                    </a:lnTo>
                    <a:lnTo>
                      <a:pt x="346" y="129"/>
                    </a:lnTo>
                    <a:lnTo>
                      <a:pt x="342" y="134"/>
                    </a:lnTo>
                    <a:lnTo>
                      <a:pt x="340" y="139"/>
                    </a:lnTo>
                    <a:lnTo>
                      <a:pt x="342" y="150"/>
                    </a:lnTo>
                    <a:lnTo>
                      <a:pt x="342" y="151"/>
                    </a:lnTo>
                    <a:lnTo>
                      <a:pt x="342" y="153"/>
                    </a:lnTo>
                    <a:lnTo>
                      <a:pt x="342" y="155"/>
                    </a:lnTo>
                    <a:lnTo>
                      <a:pt x="342" y="158"/>
                    </a:lnTo>
                    <a:lnTo>
                      <a:pt x="342" y="160"/>
                    </a:lnTo>
                    <a:lnTo>
                      <a:pt x="346" y="161"/>
                    </a:lnTo>
                    <a:lnTo>
                      <a:pt x="346" y="165"/>
                    </a:lnTo>
                    <a:lnTo>
                      <a:pt x="346" y="170"/>
                    </a:lnTo>
                    <a:lnTo>
                      <a:pt x="340" y="175"/>
                    </a:lnTo>
                    <a:lnTo>
                      <a:pt x="337" y="180"/>
                    </a:lnTo>
                    <a:lnTo>
                      <a:pt x="335" y="192"/>
                    </a:lnTo>
                    <a:lnTo>
                      <a:pt x="332" y="197"/>
                    </a:lnTo>
                    <a:lnTo>
                      <a:pt x="332" y="204"/>
                    </a:lnTo>
                    <a:lnTo>
                      <a:pt x="334" y="207"/>
                    </a:lnTo>
                    <a:lnTo>
                      <a:pt x="334" y="216"/>
                    </a:lnTo>
                    <a:lnTo>
                      <a:pt x="329" y="219"/>
                    </a:lnTo>
                    <a:lnTo>
                      <a:pt x="329" y="223"/>
                    </a:lnTo>
                    <a:lnTo>
                      <a:pt x="323" y="226"/>
                    </a:lnTo>
                    <a:lnTo>
                      <a:pt x="320" y="231"/>
                    </a:lnTo>
                    <a:lnTo>
                      <a:pt x="318" y="233"/>
                    </a:lnTo>
                    <a:lnTo>
                      <a:pt x="317" y="236"/>
                    </a:lnTo>
                    <a:lnTo>
                      <a:pt x="308" y="241"/>
                    </a:lnTo>
                    <a:lnTo>
                      <a:pt x="301" y="243"/>
                    </a:lnTo>
                    <a:lnTo>
                      <a:pt x="298" y="245"/>
                    </a:lnTo>
                    <a:lnTo>
                      <a:pt x="295" y="248"/>
                    </a:lnTo>
                    <a:lnTo>
                      <a:pt x="288" y="253"/>
                    </a:lnTo>
                    <a:lnTo>
                      <a:pt x="286" y="258"/>
                    </a:lnTo>
                    <a:lnTo>
                      <a:pt x="281" y="264"/>
                    </a:lnTo>
                    <a:lnTo>
                      <a:pt x="281" y="267"/>
                    </a:lnTo>
                    <a:lnTo>
                      <a:pt x="276" y="277"/>
                    </a:lnTo>
                    <a:lnTo>
                      <a:pt x="276" y="282"/>
                    </a:lnTo>
                    <a:lnTo>
                      <a:pt x="271" y="284"/>
                    </a:lnTo>
                    <a:lnTo>
                      <a:pt x="267" y="289"/>
                    </a:lnTo>
                    <a:lnTo>
                      <a:pt x="266" y="291"/>
                    </a:lnTo>
                    <a:lnTo>
                      <a:pt x="259" y="298"/>
                    </a:lnTo>
                    <a:lnTo>
                      <a:pt x="257" y="301"/>
                    </a:lnTo>
                    <a:lnTo>
                      <a:pt x="255" y="306"/>
                    </a:lnTo>
                    <a:lnTo>
                      <a:pt x="257" y="315"/>
                    </a:lnTo>
                    <a:lnTo>
                      <a:pt x="259" y="320"/>
                    </a:lnTo>
                    <a:lnTo>
                      <a:pt x="259" y="325"/>
                    </a:lnTo>
                    <a:lnTo>
                      <a:pt x="257" y="328"/>
                    </a:lnTo>
                    <a:lnTo>
                      <a:pt x="255" y="337"/>
                    </a:lnTo>
                    <a:lnTo>
                      <a:pt x="257" y="342"/>
                    </a:lnTo>
                    <a:lnTo>
                      <a:pt x="255" y="345"/>
                    </a:lnTo>
                    <a:lnTo>
                      <a:pt x="257" y="350"/>
                    </a:lnTo>
                    <a:lnTo>
                      <a:pt x="255" y="354"/>
                    </a:lnTo>
                    <a:lnTo>
                      <a:pt x="257" y="355"/>
                    </a:lnTo>
                    <a:lnTo>
                      <a:pt x="257" y="359"/>
                    </a:lnTo>
                    <a:lnTo>
                      <a:pt x="254" y="364"/>
                    </a:lnTo>
                    <a:lnTo>
                      <a:pt x="252" y="369"/>
                    </a:lnTo>
                    <a:lnTo>
                      <a:pt x="249" y="372"/>
                    </a:lnTo>
                    <a:lnTo>
                      <a:pt x="242" y="388"/>
                    </a:lnTo>
                    <a:lnTo>
                      <a:pt x="238" y="389"/>
                    </a:lnTo>
                    <a:lnTo>
                      <a:pt x="232" y="391"/>
                    </a:lnTo>
                    <a:lnTo>
                      <a:pt x="225" y="393"/>
                    </a:lnTo>
                    <a:lnTo>
                      <a:pt x="223" y="396"/>
                    </a:lnTo>
                    <a:lnTo>
                      <a:pt x="221" y="398"/>
                    </a:lnTo>
                    <a:lnTo>
                      <a:pt x="221" y="401"/>
                    </a:lnTo>
                    <a:lnTo>
                      <a:pt x="220" y="403"/>
                    </a:lnTo>
                    <a:lnTo>
                      <a:pt x="216" y="406"/>
                    </a:lnTo>
                    <a:lnTo>
                      <a:pt x="211" y="405"/>
                    </a:lnTo>
                    <a:lnTo>
                      <a:pt x="210" y="406"/>
                    </a:lnTo>
                    <a:lnTo>
                      <a:pt x="206" y="408"/>
                    </a:lnTo>
                    <a:lnTo>
                      <a:pt x="204" y="412"/>
                    </a:lnTo>
                    <a:lnTo>
                      <a:pt x="203" y="415"/>
                    </a:lnTo>
                    <a:lnTo>
                      <a:pt x="198" y="418"/>
                    </a:lnTo>
                    <a:lnTo>
                      <a:pt x="191" y="427"/>
                    </a:lnTo>
                    <a:lnTo>
                      <a:pt x="189" y="432"/>
                    </a:lnTo>
                    <a:lnTo>
                      <a:pt x="181" y="437"/>
                    </a:lnTo>
                    <a:lnTo>
                      <a:pt x="179" y="439"/>
                    </a:lnTo>
                    <a:lnTo>
                      <a:pt x="176" y="437"/>
                    </a:lnTo>
                    <a:lnTo>
                      <a:pt x="174" y="435"/>
                    </a:lnTo>
                    <a:lnTo>
                      <a:pt x="170" y="434"/>
                    </a:lnTo>
                    <a:lnTo>
                      <a:pt x="167" y="437"/>
                    </a:lnTo>
                    <a:lnTo>
                      <a:pt x="165" y="434"/>
                    </a:lnTo>
                    <a:lnTo>
                      <a:pt x="165" y="432"/>
                    </a:lnTo>
                    <a:lnTo>
                      <a:pt x="167" y="430"/>
                    </a:lnTo>
                    <a:lnTo>
                      <a:pt x="165" y="429"/>
                    </a:lnTo>
                    <a:lnTo>
                      <a:pt x="167" y="427"/>
                    </a:lnTo>
                    <a:lnTo>
                      <a:pt x="165" y="423"/>
                    </a:lnTo>
                    <a:lnTo>
                      <a:pt x="165" y="420"/>
                    </a:lnTo>
                    <a:lnTo>
                      <a:pt x="165" y="418"/>
                    </a:lnTo>
                    <a:lnTo>
                      <a:pt x="165" y="417"/>
                    </a:lnTo>
                    <a:lnTo>
                      <a:pt x="167" y="417"/>
                    </a:lnTo>
                    <a:lnTo>
                      <a:pt x="170" y="413"/>
                    </a:lnTo>
                    <a:lnTo>
                      <a:pt x="167" y="412"/>
                    </a:lnTo>
                    <a:lnTo>
                      <a:pt x="165" y="408"/>
                    </a:lnTo>
                    <a:lnTo>
                      <a:pt x="167" y="405"/>
                    </a:lnTo>
                    <a:lnTo>
                      <a:pt x="164" y="406"/>
                    </a:lnTo>
                    <a:lnTo>
                      <a:pt x="160" y="408"/>
                    </a:lnTo>
                    <a:lnTo>
                      <a:pt x="159" y="410"/>
                    </a:lnTo>
                    <a:lnTo>
                      <a:pt x="155" y="412"/>
                    </a:lnTo>
                    <a:lnTo>
                      <a:pt x="150" y="412"/>
                    </a:lnTo>
                    <a:lnTo>
                      <a:pt x="147" y="413"/>
                    </a:lnTo>
                    <a:lnTo>
                      <a:pt x="145" y="415"/>
                    </a:lnTo>
                    <a:lnTo>
                      <a:pt x="145" y="417"/>
                    </a:lnTo>
                    <a:lnTo>
                      <a:pt x="143" y="417"/>
                    </a:lnTo>
                    <a:lnTo>
                      <a:pt x="140" y="417"/>
                    </a:lnTo>
                    <a:lnTo>
                      <a:pt x="138" y="413"/>
                    </a:lnTo>
                    <a:lnTo>
                      <a:pt x="136" y="413"/>
                    </a:lnTo>
                    <a:lnTo>
                      <a:pt x="133" y="413"/>
                    </a:lnTo>
                    <a:lnTo>
                      <a:pt x="133" y="420"/>
                    </a:lnTo>
                    <a:lnTo>
                      <a:pt x="131" y="423"/>
                    </a:lnTo>
                    <a:lnTo>
                      <a:pt x="131" y="427"/>
                    </a:lnTo>
                    <a:lnTo>
                      <a:pt x="130" y="427"/>
                    </a:lnTo>
                    <a:lnTo>
                      <a:pt x="130" y="429"/>
                    </a:lnTo>
                    <a:lnTo>
                      <a:pt x="130" y="430"/>
                    </a:lnTo>
                    <a:lnTo>
                      <a:pt x="128" y="429"/>
                    </a:lnTo>
                    <a:lnTo>
                      <a:pt x="126" y="429"/>
                    </a:lnTo>
                    <a:lnTo>
                      <a:pt x="128" y="430"/>
                    </a:lnTo>
                    <a:lnTo>
                      <a:pt x="126" y="430"/>
                    </a:lnTo>
                    <a:lnTo>
                      <a:pt x="126" y="432"/>
                    </a:lnTo>
                    <a:lnTo>
                      <a:pt x="123" y="432"/>
                    </a:lnTo>
                    <a:lnTo>
                      <a:pt x="123" y="430"/>
                    </a:lnTo>
                    <a:lnTo>
                      <a:pt x="121" y="430"/>
                    </a:lnTo>
                    <a:lnTo>
                      <a:pt x="121" y="432"/>
                    </a:lnTo>
                    <a:lnTo>
                      <a:pt x="121" y="434"/>
                    </a:lnTo>
                    <a:lnTo>
                      <a:pt x="119" y="435"/>
                    </a:lnTo>
                    <a:lnTo>
                      <a:pt x="116" y="435"/>
                    </a:lnTo>
                    <a:lnTo>
                      <a:pt x="116" y="437"/>
                    </a:lnTo>
                    <a:lnTo>
                      <a:pt x="114" y="435"/>
                    </a:lnTo>
                    <a:lnTo>
                      <a:pt x="114" y="432"/>
                    </a:lnTo>
                    <a:lnTo>
                      <a:pt x="113" y="430"/>
                    </a:lnTo>
                    <a:lnTo>
                      <a:pt x="111" y="430"/>
                    </a:lnTo>
                    <a:lnTo>
                      <a:pt x="109" y="430"/>
                    </a:lnTo>
                    <a:lnTo>
                      <a:pt x="108" y="429"/>
                    </a:lnTo>
                    <a:lnTo>
                      <a:pt x="108" y="427"/>
                    </a:lnTo>
                    <a:lnTo>
                      <a:pt x="102" y="423"/>
                    </a:lnTo>
                    <a:lnTo>
                      <a:pt x="102" y="422"/>
                    </a:lnTo>
                    <a:lnTo>
                      <a:pt x="101" y="420"/>
                    </a:lnTo>
                    <a:lnTo>
                      <a:pt x="101" y="422"/>
                    </a:lnTo>
                    <a:lnTo>
                      <a:pt x="101" y="423"/>
                    </a:lnTo>
                    <a:lnTo>
                      <a:pt x="99" y="423"/>
                    </a:lnTo>
                    <a:lnTo>
                      <a:pt x="97" y="423"/>
                    </a:lnTo>
                    <a:lnTo>
                      <a:pt x="96" y="422"/>
                    </a:lnTo>
                    <a:lnTo>
                      <a:pt x="94" y="418"/>
                    </a:lnTo>
                    <a:lnTo>
                      <a:pt x="89" y="415"/>
                    </a:lnTo>
                    <a:lnTo>
                      <a:pt x="91" y="412"/>
                    </a:lnTo>
                    <a:lnTo>
                      <a:pt x="85" y="412"/>
                    </a:lnTo>
                    <a:lnTo>
                      <a:pt x="82" y="410"/>
                    </a:lnTo>
                    <a:lnTo>
                      <a:pt x="80" y="413"/>
                    </a:lnTo>
                    <a:lnTo>
                      <a:pt x="84" y="415"/>
                    </a:lnTo>
                    <a:lnTo>
                      <a:pt x="84" y="417"/>
                    </a:lnTo>
                    <a:lnTo>
                      <a:pt x="82" y="417"/>
                    </a:lnTo>
                    <a:lnTo>
                      <a:pt x="82" y="415"/>
                    </a:lnTo>
                    <a:lnTo>
                      <a:pt x="79" y="415"/>
                    </a:lnTo>
                    <a:lnTo>
                      <a:pt x="77" y="417"/>
                    </a:lnTo>
                    <a:lnTo>
                      <a:pt x="75" y="418"/>
                    </a:lnTo>
                    <a:lnTo>
                      <a:pt x="67" y="422"/>
                    </a:lnTo>
                    <a:lnTo>
                      <a:pt x="65" y="422"/>
                    </a:lnTo>
                    <a:lnTo>
                      <a:pt x="65" y="425"/>
                    </a:lnTo>
                    <a:lnTo>
                      <a:pt x="62" y="432"/>
                    </a:lnTo>
                    <a:lnTo>
                      <a:pt x="60" y="432"/>
                    </a:lnTo>
                    <a:lnTo>
                      <a:pt x="57" y="432"/>
                    </a:lnTo>
                    <a:lnTo>
                      <a:pt x="55" y="430"/>
                    </a:lnTo>
                    <a:lnTo>
                      <a:pt x="53" y="437"/>
                    </a:lnTo>
                    <a:lnTo>
                      <a:pt x="45" y="444"/>
                    </a:lnTo>
                    <a:lnTo>
                      <a:pt x="36" y="432"/>
                    </a:lnTo>
                    <a:lnTo>
                      <a:pt x="36" y="430"/>
                    </a:lnTo>
                    <a:lnTo>
                      <a:pt x="36" y="432"/>
                    </a:lnTo>
                    <a:lnTo>
                      <a:pt x="36" y="430"/>
                    </a:lnTo>
                    <a:lnTo>
                      <a:pt x="33" y="425"/>
                    </a:lnTo>
                    <a:lnTo>
                      <a:pt x="34" y="425"/>
                    </a:lnTo>
                    <a:lnTo>
                      <a:pt x="36" y="422"/>
                    </a:lnTo>
                    <a:lnTo>
                      <a:pt x="34" y="420"/>
                    </a:lnTo>
                    <a:lnTo>
                      <a:pt x="29" y="415"/>
                    </a:lnTo>
                    <a:lnTo>
                      <a:pt x="31" y="415"/>
                    </a:lnTo>
                    <a:lnTo>
                      <a:pt x="29" y="415"/>
                    </a:lnTo>
                    <a:lnTo>
                      <a:pt x="14" y="401"/>
                    </a:lnTo>
                    <a:lnTo>
                      <a:pt x="12" y="400"/>
                    </a:lnTo>
                    <a:lnTo>
                      <a:pt x="12" y="398"/>
                    </a:lnTo>
                    <a:lnTo>
                      <a:pt x="11" y="396"/>
                    </a:lnTo>
                    <a:lnTo>
                      <a:pt x="0" y="389"/>
                    </a:lnTo>
                    <a:lnTo>
                      <a:pt x="6" y="383"/>
                    </a:lnTo>
                    <a:lnTo>
                      <a:pt x="4" y="379"/>
                    </a:lnTo>
                    <a:lnTo>
                      <a:pt x="6" y="376"/>
                    </a:lnTo>
                    <a:lnTo>
                      <a:pt x="11" y="371"/>
                    </a:lnTo>
                    <a:lnTo>
                      <a:pt x="16" y="371"/>
                    </a:lnTo>
                    <a:lnTo>
                      <a:pt x="17" y="369"/>
                    </a:lnTo>
                    <a:lnTo>
                      <a:pt x="19" y="362"/>
                    </a:lnTo>
                    <a:lnTo>
                      <a:pt x="23" y="362"/>
                    </a:lnTo>
                    <a:lnTo>
                      <a:pt x="28" y="367"/>
                    </a:lnTo>
                    <a:lnTo>
                      <a:pt x="31" y="374"/>
                    </a:lnTo>
                    <a:lnTo>
                      <a:pt x="36" y="378"/>
                    </a:lnTo>
                    <a:lnTo>
                      <a:pt x="41" y="374"/>
                    </a:lnTo>
                    <a:lnTo>
                      <a:pt x="38" y="369"/>
                    </a:lnTo>
                    <a:lnTo>
                      <a:pt x="38" y="366"/>
                    </a:lnTo>
                    <a:lnTo>
                      <a:pt x="41" y="366"/>
                    </a:lnTo>
                    <a:lnTo>
                      <a:pt x="43" y="362"/>
                    </a:lnTo>
                    <a:lnTo>
                      <a:pt x="43" y="354"/>
                    </a:lnTo>
                    <a:lnTo>
                      <a:pt x="38" y="352"/>
                    </a:lnTo>
                    <a:lnTo>
                      <a:pt x="31" y="347"/>
                    </a:lnTo>
                    <a:lnTo>
                      <a:pt x="31" y="344"/>
                    </a:lnTo>
                    <a:lnTo>
                      <a:pt x="34" y="342"/>
                    </a:lnTo>
                    <a:lnTo>
                      <a:pt x="31" y="337"/>
                    </a:lnTo>
                    <a:lnTo>
                      <a:pt x="28" y="332"/>
                    </a:lnTo>
                    <a:lnTo>
                      <a:pt x="26" y="330"/>
                    </a:lnTo>
                    <a:lnTo>
                      <a:pt x="24" y="335"/>
                    </a:lnTo>
                    <a:lnTo>
                      <a:pt x="23" y="333"/>
                    </a:lnTo>
                    <a:lnTo>
                      <a:pt x="21" y="333"/>
                    </a:lnTo>
                    <a:lnTo>
                      <a:pt x="23" y="332"/>
                    </a:lnTo>
                    <a:lnTo>
                      <a:pt x="26" y="326"/>
                    </a:lnTo>
                    <a:lnTo>
                      <a:pt x="28" y="321"/>
                    </a:lnTo>
                    <a:lnTo>
                      <a:pt x="24" y="316"/>
                    </a:lnTo>
                    <a:lnTo>
                      <a:pt x="24" y="309"/>
                    </a:lnTo>
                    <a:lnTo>
                      <a:pt x="23" y="308"/>
                    </a:lnTo>
                    <a:lnTo>
                      <a:pt x="24" y="308"/>
                    </a:lnTo>
                    <a:lnTo>
                      <a:pt x="26" y="306"/>
                    </a:lnTo>
                    <a:lnTo>
                      <a:pt x="26" y="308"/>
                    </a:lnTo>
                    <a:lnTo>
                      <a:pt x="28" y="308"/>
                    </a:lnTo>
                    <a:lnTo>
                      <a:pt x="29" y="311"/>
                    </a:lnTo>
                    <a:lnTo>
                      <a:pt x="31" y="311"/>
                    </a:lnTo>
                    <a:lnTo>
                      <a:pt x="31" y="313"/>
                    </a:lnTo>
                    <a:lnTo>
                      <a:pt x="34" y="309"/>
                    </a:lnTo>
                    <a:lnTo>
                      <a:pt x="40" y="308"/>
                    </a:lnTo>
                    <a:lnTo>
                      <a:pt x="43" y="306"/>
                    </a:lnTo>
                    <a:lnTo>
                      <a:pt x="45" y="308"/>
                    </a:lnTo>
                    <a:lnTo>
                      <a:pt x="46" y="311"/>
                    </a:lnTo>
                    <a:lnTo>
                      <a:pt x="51" y="311"/>
                    </a:lnTo>
                    <a:lnTo>
                      <a:pt x="70" y="311"/>
                    </a:lnTo>
                    <a:lnTo>
                      <a:pt x="70" y="309"/>
                    </a:lnTo>
                    <a:lnTo>
                      <a:pt x="70" y="308"/>
                    </a:lnTo>
                    <a:lnTo>
                      <a:pt x="70" y="306"/>
                    </a:lnTo>
                    <a:lnTo>
                      <a:pt x="68" y="308"/>
                    </a:lnTo>
                    <a:lnTo>
                      <a:pt x="68" y="306"/>
                    </a:lnTo>
                    <a:lnTo>
                      <a:pt x="68" y="304"/>
                    </a:lnTo>
                    <a:lnTo>
                      <a:pt x="68" y="303"/>
                    </a:lnTo>
                    <a:lnTo>
                      <a:pt x="70" y="301"/>
                    </a:lnTo>
                    <a:lnTo>
                      <a:pt x="68" y="301"/>
                    </a:lnTo>
                    <a:lnTo>
                      <a:pt x="70" y="299"/>
                    </a:lnTo>
                    <a:lnTo>
                      <a:pt x="68" y="298"/>
                    </a:lnTo>
                    <a:lnTo>
                      <a:pt x="70" y="296"/>
                    </a:lnTo>
                    <a:lnTo>
                      <a:pt x="67" y="292"/>
                    </a:lnTo>
                    <a:lnTo>
                      <a:pt x="68" y="291"/>
                    </a:lnTo>
                    <a:lnTo>
                      <a:pt x="67" y="289"/>
                    </a:lnTo>
                    <a:lnTo>
                      <a:pt x="68" y="287"/>
                    </a:lnTo>
                    <a:lnTo>
                      <a:pt x="67" y="286"/>
                    </a:lnTo>
                    <a:lnTo>
                      <a:pt x="67" y="284"/>
                    </a:lnTo>
                    <a:lnTo>
                      <a:pt x="68" y="284"/>
                    </a:lnTo>
                    <a:lnTo>
                      <a:pt x="70" y="286"/>
                    </a:lnTo>
                    <a:lnTo>
                      <a:pt x="72" y="286"/>
                    </a:lnTo>
                    <a:lnTo>
                      <a:pt x="72" y="284"/>
                    </a:lnTo>
                    <a:lnTo>
                      <a:pt x="74" y="282"/>
                    </a:lnTo>
                    <a:lnTo>
                      <a:pt x="74" y="281"/>
                    </a:lnTo>
                    <a:lnTo>
                      <a:pt x="75" y="281"/>
                    </a:lnTo>
                    <a:lnTo>
                      <a:pt x="77" y="281"/>
                    </a:lnTo>
                    <a:lnTo>
                      <a:pt x="79" y="282"/>
                    </a:lnTo>
                    <a:lnTo>
                      <a:pt x="80" y="282"/>
                    </a:lnTo>
                    <a:lnTo>
                      <a:pt x="82" y="286"/>
                    </a:lnTo>
                    <a:lnTo>
                      <a:pt x="84" y="284"/>
                    </a:lnTo>
                    <a:lnTo>
                      <a:pt x="85" y="286"/>
                    </a:lnTo>
                    <a:lnTo>
                      <a:pt x="87" y="286"/>
                    </a:lnTo>
                    <a:lnTo>
                      <a:pt x="85" y="286"/>
                    </a:lnTo>
                    <a:lnTo>
                      <a:pt x="87" y="287"/>
                    </a:lnTo>
                    <a:lnTo>
                      <a:pt x="87" y="289"/>
                    </a:lnTo>
                    <a:lnTo>
                      <a:pt x="89" y="292"/>
                    </a:lnTo>
                    <a:lnTo>
                      <a:pt x="91" y="294"/>
                    </a:lnTo>
                    <a:lnTo>
                      <a:pt x="89" y="294"/>
                    </a:lnTo>
                    <a:lnTo>
                      <a:pt x="91" y="296"/>
                    </a:lnTo>
                    <a:lnTo>
                      <a:pt x="91" y="298"/>
                    </a:lnTo>
                    <a:lnTo>
                      <a:pt x="92" y="299"/>
                    </a:lnTo>
                    <a:lnTo>
                      <a:pt x="92" y="301"/>
                    </a:lnTo>
                    <a:lnTo>
                      <a:pt x="94" y="299"/>
                    </a:lnTo>
                    <a:lnTo>
                      <a:pt x="96" y="304"/>
                    </a:lnTo>
                    <a:lnTo>
                      <a:pt x="97" y="304"/>
                    </a:lnTo>
                    <a:lnTo>
                      <a:pt x="96" y="306"/>
                    </a:lnTo>
                    <a:lnTo>
                      <a:pt x="96" y="309"/>
                    </a:lnTo>
                    <a:lnTo>
                      <a:pt x="97" y="306"/>
                    </a:lnTo>
                    <a:lnTo>
                      <a:pt x="102" y="309"/>
                    </a:lnTo>
                    <a:lnTo>
                      <a:pt x="106" y="308"/>
                    </a:lnTo>
                    <a:lnTo>
                      <a:pt x="108" y="309"/>
                    </a:lnTo>
                    <a:lnTo>
                      <a:pt x="113" y="309"/>
                    </a:lnTo>
                    <a:lnTo>
                      <a:pt x="114" y="311"/>
                    </a:lnTo>
                    <a:lnTo>
                      <a:pt x="118" y="311"/>
                    </a:lnTo>
                    <a:lnTo>
                      <a:pt x="119" y="311"/>
                    </a:lnTo>
                    <a:lnTo>
                      <a:pt x="125" y="308"/>
                    </a:lnTo>
                    <a:lnTo>
                      <a:pt x="126" y="306"/>
                    </a:lnTo>
                    <a:lnTo>
                      <a:pt x="131" y="301"/>
                    </a:lnTo>
                    <a:lnTo>
                      <a:pt x="133" y="296"/>
                    </a:lnTo>
                    <a:lnTo>
                      <a:pt x="135" y="294"/>
                    </a:lnTo>
                    <a:lnTo>
                      <a:pt x="135" y="296"/>
                    </a:lnTo>
                    <a:lnTo>
                      <a:pt x="136" y="298"/>
                    </a:lnTo>
                    <a:lnTo>
                      <a:pt x="138" y="303"/>
                    </a:lnTo>
                    <a:lnTo>
                      <a:pt x="140" y="304"/>
                    </a:lnTo>
                    <a:lnTo>
                      <a:pt x="140" y="306"/>
                    </a:lnTo>
                    <a:lnTo>
                      <a:pt x="143" y="308"/>
                    </a:lnTo>
                    <a:lnTo>
                      <a:pt x="140" y="311"/>
                    </a:lnTo>
                    <a:lnTo>
                      <a:pt x="140" y="315"/>
                    </a:lnTo>
                    <a:lnTo>
                      <a:pt x="142" y="315"/>
                    </a:lnTo>
                    <a:lnTo>
                      <a:pt x="143" y="313"/>
                    </a:lnTo>
                    <a:lnTo>
                      <a:pt x="145" y="313"/>
                    </a:lnTo>
                    <a:lnTo>
                      <a:pt x="147" y="315"/>
                    </a:lnTo>
                    <a:lnTo>
                      <a:pt x="148" y="315"/>
                    </a:lnTo>
                    <a:lnTo>
                      <a:pt x="150" y="315"/>
                    </a:lnTo>
                    <a:lnTo>
                      <a:pt x="152" y="316"/>
                    </a:lnTo>
                    <a:lnTo>
                      <a:pt x="152" y="315"/>
                    </a:lnTo>
                    <a:lnTo>
                      <a:pt x="153" y="313"/>
                    </a:lnTo>
                    <a:lnTo>
                      <a:pt x="153" y="311"/>
                    </a:lnTo>
                    <a:lnTo>
                      <a:pt x="153" y="309"/>
                    </a:lnTo>
                    <a:lnTo>
                      <a:pt x="157" y="308"/>
                    </a:lnTo>
                    <a:lnTo>
                      <a:pt x="159" y="308"/>
                    </a:lnTo>
                    <a:lnTo>
                      <a:pt x="155" y="304"/>
                    </a:lnTo>
                    <a:lnTo>
                      <a:pt x="155" y="303"/>
                    </a:lnTo>
                    <a:lnTo>
                      <a:pt x="153" y="301"/>
                    </a:lnTo>
                    <a:lnTo>
                      <a:pt x="157" y="299"/>
                    </a:lnTo>
                    <a:lnTo>
                      <a:pt x="157" y="298"/>
                    </a:lnTo>
                    <a:lnTo>
                      <a:pt x="160" y="296"/>
                    </a:lnTo>
                    <a:lnTo>
                      <a:pt x="159" y="294"/>
                    </a:lnTo>
                    <a:lnTo>
                      <a:pt x="160" y="292"/>
                    </a:lnTo>
                    <a:lnTo>
                      <a:pt x="159" y="291"/>
                    </a:lnTo>
                    <a:lnTo>
                      <a:pt x="159" y="289"/>
                    </a:lnTo>
                    <a:lnTo>
                      <a:pt x="160" y="289"/>
                    </a:lnTo>
                    <a:lnTo>
                      <a:pt x="162" y="287"/>
                    </a:lnTo>
                    <a:lnTo>
                      <a:pt x="165" y="286"/>
                    </a:lnTo>
                    <a:lnTo>
                      <a:pt x="167" y="284"/>
                    </a:lnTo>
                    <a:lnTo>
                      <a:pt x="167" y="282"/>
                    </a:lnTo>
                    <a:lnTo>
                      <a:pt x="169" y="279"/>
                    </a:lnTo>
                    <a:lnTo>
                      <a:pt x="167" y="279"/>
                    </a:lnTo>
                    <a:lnTo>
                      <a:pt x="167" y="277"/>
                    </a:lnTo>
                    <a:lnTo>
                      <a:pt x="170" y="274"/>
                    </a:lnTo>
                    <a:lnTo>
                      <a:pt x="169" y="274"/>
                    </a:lnTo>
                    <a:lnTo>
                      <a:pt x="167" y="274"/>
                    </a:lnTo>
                    <a:lnTo>
                      <a:pt x="167" y="272"/>
                    </a:lnTo>
                    <a:lnTo>
                      <a:pt x="165" y="270"/>
                    </a:lnTo>
                    <a:lnTo>
                      <a:pt x="167" y="269"/>
                    </a:lnTo>
                    <a:lnTo>
                      <a:pt x="169" y="267"/>
                    </a:lnTo>
                    <a:lnTo>
                      <a:pt x="170" y="267"/>
                    </a:lnTo>
                    <a:lnTo>
                      <a:pt x="169" y="265"/>
                    </a:lnTo>
                    <a:lnTo>
                      <a:pt x="170" y="265"/>
                    </a:lnTo>
                    <a:lnTo>
                      <a:pt x="170" y="264"/>
                    </a:lnTo>
                    <a:lnTo>
                      <a:pt x="172" y="260"/>
                    </a:lnTo>
                    <a:lnTo>
                      <a:pt x="169" y="257"/>
                    </a:lnTo>
                    <a:lnTo>
                      <a:pt x="170" y="255"/>
                    </a:lnTo>
                    <a:lnTo>
                      <a:pt x="172" y="252"/>
                    </a:lnTo>
                    <a:lnTo>
                      <a:pt x="170" y="250"/>
                    </a:lnTo>
                    <a:lnTo>
                      <a:pt x="169" y="248"/>
                    </a:lnTo>
                    <a:lnTo>
                      <a:pt x="170" y="245"/>
                    </a:lnTo>
                    <a:lnTo>
                      <a:pt x="169" y="241"/>
                    </a:lnTo>
                    <a:lnTo>
                      <a:pt x="167" y="241"/>
                    </a:lnTo>
                    <a:lnTo>
                      <a:pt x="169" y="238"/>
                    </a:lnTo>
                    <a:lnTo>
                      <a:pt x="169" y="236"/>
                    </a:lnTo>
                    <a:lnTo>
                      <a:pt x="167" y="236"/>
                    </a:lnTo>
                    <a:lnTo>
                      <a:pt x="170" y="233"/>
                    </a:lnTo>
                    <a:lnTo>
                      <a:pt x="170" y="231"/>
                    </a:lnTo>
                    <a:lnTo>
                      <a:pt x="169" y="230"/>
                    </a:lnTo>
                    <a:lnTo>
                      <a:pt x="170" y="228"/>
                    </a:lnTo>
                    <a:lnTo>
                      <a:pt x="169" y="226"/>
                    </a:lnTo>
                    <a:lnTo>
                      <a:pt x="172" y="223"/>
                    </a:lnTo>
                    <a:lnTo>
                      <a:pt x="172" y="221"/>
                    </a:lnTo>
                    <a:lnTo>
                      <a:pt x="172" y="219"/>
                    </a:lnTo>
                    <a:lnTo>
                      <a:pt x="170" y="219"/>
                    </a:lnTo>
                    <a:lnTo>
                      <a:pt x="170" y="218"/>
                    </a:lnTo>
                    <a:lnTo>
                      <a:pt x="169" y="216"/>
                    </a:lnTo>
                    <a:lnTo>
                      <a:pt x="167" y="216"/>
                    </a:lnTo>
                    <a:lnTo>
                      <a:pt x="169" y="214"/>
                    </a:lnTo>
                    <a:lnTo>
                      <a:pt x="167" y="213"/>
                    </a:lnTo>
                    <a:lnTo>
                      <a:pt x="165" y="213"/>
                    </a:lnTo>
                    <a:lnTo>
                      <a:pt x="162" y="211"/>
                    </a:lnTo>
                    <a:lnTo>
                      <a:pt x="160" y="213"/>
                    </a:lnTo>
                    <a:lnTo>
                      <a:pt x="157" y="211"/>
                    </a:lnTo>
                    <a:lnTo>
                      <a:pt x="155" y="211"/>
                    </a:lnTo>
                    <a:lnTo>
                      <a:pt x="155" y="207"/>
                    </a:lnTo>
                    <a:lnTo>
                      <a:pt x="153" y="202"/>
                    </a:lnTo>
                    <a:lnTo>
                      <a:pt x="152" y="202"/>
                    </a:lnTo>
                    <a:lnTo>
                      <a:pt x="150" y="201"/>
                    </a:lnTo>
                    <a:lnTo>
                      <a:pt x="148" y="202"/>
                    </a:lnTo>
                    <a:lnTo>
                      <a:pt x="148" y="201"/>
                    </a:lnTo>
                    <a:lnTo>
                      <a:pt x="147" y="202"/>
                    </a:lnTo>
                    <a:lnTo>
                      <a:pt x="145" y="201"/>
                    </a:lnTo>
                    <a:lnTo>
                      <a:pt x="145" y="202"/>
                    </a:lnTo>
                    <a:lnTo>
                      <a:pt x="143" y="201"/>
                    </a:lnTo>
                    <a:lnTo>
                      <a:pt x="142" y="197"/>
                    </a:lnTo>
                    <a:lnTo>
                      <a:pt x="142" y="196"/>
                    </a:lnTo>
                    <a:lnTo>
                      <a:pt x="147" y="194"/>
                    </a:lnTo>
                    <a:lnTo>
                      <a:pt x="147" y="190"/>
                    </a:lnTo>
                    <a:lnTo>
                      <a:pt x="145" y="189"/>
                    </a:lnTo>
                    <a:lnTo>
                      <a:pt x="143" y="189"/>
                    </a:lnTo>
                    <a:lnTo>
                      <a:pt x="143" y="187"/>
                    </a:lnTo>
                    <a:lnTo>
                      <a:pt x="142" y="185"/>
                    </a:lnTo>
                    <a:lnTo>
                      <a:pt x="142" y="182"/>
                    </a:lnTo>
                    <a:lnTo>
                      <a:pt x="140" y="178"/>
                    </a:lnTo>
                    <a:lnTo>
                      <a:pt x="140" y="177"/>
                    </a:lnTo>
                    <a:lnTo>
                      <a:pt x="143" y="175"/>
                    </a:lnTo>
                    <a:lnTo>
                      <a:pt x="143" y="172"/>
                    </a:lnTo>
                    <a:lnTo>
                      <a:pt x="145" y="170"/>
                    </a:lnTo>
                    <a:lnTo>
                      <a:pt x="148" y="167"/>
                    </a:lnTo>
                    <a:lnTo>
                      <a:pt x="150" y="165"/>
                    </a:lnTo>
                    <a:lnTo>
                      <a:pt x="150" y="163"/>
                    </a:lnTo>
                    <a:lnTo>
                      <a:pt x="150" y="161"/>
                    </a:lnTo>
                    <a:lnTo>
                      <a:pt x="153" y="160"/>
                    </a:lnTo>
                    <a:lnTo>
                      <a:pt x="155" y="161"/>
                    </a:lnTo>
                    <a:lnTo>
                      <a:pt x="157" y="160"/>
                    </a:lnTo>
                    <a:lnTo>
                      <a:pt x="157" y="161"/>
                    </a:lnTo>
                    <a:lnTo>
                      <a:pt x="160" y="161"/>
                    </a:lnTo>
                    <a:lnTo>
                      <a:pt x="160" y="160"/>
                    </a:lnTo>
                    <a:lnTo>
                      <a:pt x="160" y="158"/>
                    </a:lnTo>
                    <a:lnTo>
                      <a:pt x="165" y="156"/>
                    </a:lnTo>
                    <a:lnTo>
                      <a:pt x="164" y="155"/>
                    </a:lnTo>
                    <a:lnTo>
                      <a:pt x="164" y="153"/>
                    </a:lnTo>
                    <a:lnTo>
                      <a:pt x="170" y="146"/>
                    </a:lnTo>
                    <a:lnTo>
                      <a:pt x="169" y="144"/>
                    </a:lnTo>
                    <a:lnTo>
                      <a:pt x="170" y="144"/>
                    </a:lnTo>
                    <a:lnTo>
                      <a:pt x="170" y="141"/>
                    </a:lnTo>
                    <a:lnTo>
                      <a:pt x="167" y="139"/>
                    </a:lnTo>
                    <a:lnTo>
                      <a:pt x="165" y="133"/>
                    </a:lnTo>
                    <a:lnTo>
                      <a:pt x="164" y="131"/>
                    </a:lnTo>
                    <a:lnTo>
                      <a:pt x="162" y="127"/>
                    </a:lnTo>
                    <a:lnTo>
                      <a:pt x="160" y="126"/>
                    </a:lnTo>
                    <a:lnTo>
                      <a:pt x="162" y="122"/>
                    </a:lnTo>
                    <a:lnTo>
                      <a:pt x="160" y="121"/>
                    </a:lnTo>
                    <a:lnTo>
                      <a:pt x="155" y="119"/>
                    </a:lnTo>
                    <a:lnTo>
                      <a:pt x="155" y="117"/>
                    </a:lnTo>
                    <a:lnTo>
                      <a:pt x="152" y="117"/>
                    </a:lnTo>
                    <a:lnTo>
                      <a:pt x="150" y="119"/>
                    </a:lnTo>
                    <a:lnTo>
                      <a:pt x="147" y="116"/>
                    </a:lnTo>
                    <a:lnTo>
                      <a:pt x="145" y="117"/>
                    </a:lnTo>
                    <a:lnTo>
                      <a:pt x="136" y="116"/>
                    </a:lnTo>
                    <a:lnTo>
                      <a:pt x="136" y="117"/>
                    </a:lnTo>
                    <a:lnTo>
                      <a:pt x="135" y="117"/>
                    </a:lnTo>
                    <a:lnTo>
                      <a:pt x="135" y="119"/>
                    </a:lnTo>
                    <a:lnTo>
                      <a:pt x="133" y="121"/>
                    </a:lnTo>
                    <a:lnTo>
                      <a:pt x="133" y="119"/>
                    </a:lnTo>
                    <a:lnTo>
                      <a:pt x="131" y="121"/>
                    </a:lnTo>
                    <a:lnTo>
                      <a:pt x="128" y="121"/>
                    </a:lnTo>
                    <a:lnTo>
                      <a:pt x="126" y="121"/>
                    </a:lnTo>
                    <a:lnTo>
                      <a:pt x="125" y="122"/>
                    </a:lnTo>
                    <a:lnTo>
                      <a:pt x="123" y="124"/>
                    </a:lnTo>
                    <a:lnTo>
                      <a:pt x="121" y="124"/>
                    </a:lnTo>
                    <a:lnTo>
                      <a:pt x="119" y="124"/>
                    </a:lnTo>
                    <a:lnTo>
                      <a:pt x="118" y="122"/>
                    </a:lnTo>
                    <a:lnTo>
                      <a:pt x="118" y="124"/>
                    </a:lnTo>
                    <a:lnTo>
                      <a:pt x="118" y="122"/>
                    </a:lnTo>
                    <a:lnTo>
                      <a:pt x="116" y="122"/>
                    </a:lnTo>
                    <a:lnTo>
                      <a:pt x="116" y="124"/>
                    </a:lnTo>
                    <a:lnTo>
                      <a:pt x="114" y="124"/>
                    </a:lnTo>
                    <a:lnTo>
                      <a:pt x="113" y="126"/>
                    </a:lnTo>
                    <a:lnTo>
                      <a:pt x="111" y="124"/>
                    </a:lnTo>
                    <a:lnTo>
                      <a:pt x="111" y="126"/>
                    </a:lnTo>
                    <a:lnTo>
                      <a:pt x="111" y="127"/>
                    </a:lnTo>
                    <a:lnTo>
                      <a:pt x="109" y="126"/>
                    </a:lnTo>
                    <a:lnTo>
                      <a:pt x="104" y="127"/>
                    </a:lnTo>
                    <a:lnTo>
                      <a:pt x="102" y="126"/>
                    </a:lnTo>
                    <a:lnTo>
                      <a:pt x="104" y="126"/>
                    </a:lnTo>
                    <a:lnTo>
                      <a:pt x="104" y="122"/>
                    </a:lnTo>
                    <a:lnTo>
                      <a:pt x="106" y="124"/>
                    </a:lnTo>
                    <a:lnTo>
                      <a:pt x="109" y="121"/>
                    </a:lnTo>
                    <a:lnTo>
                      <a:pt x="108" y="121"/>
                    </a:lnTo>
                    <a:lnTo>
                      <a:pt x="108" y="119"/>
                    </a:lnTo>
                    <a:lnTo>
                      <a:pt x="108" y="117"/>
                    </a:lnTo>
                    <a:lnTo>
                      <a:pt x="106" y="114"/>
                    </a:lnTo>
                    <a:lnTo>
                      <a:pt x="104" y="114"/>
                    </a:lnTo>
                    <a:lnTo>
                      <a:pt x="104" y="112"/>
                    </a:lnTo>
                    <a:lnTo>
                      <a:pt x="104" y="110"/>
                    </a:lnTo>
                    <a:lnTo>
                      <a:pt x="102" y="112"/>
                    </a:lnTo>
                    <a:lnTo>
                      <a:pt x="102" y="110"/>
                    </a:lnTo>
                    <a:lnTo>
                      <a:pt x="102" y="109"/>
                    </a:lnTo>
                    <a:lnTo>
                      <a:pt x="101" y="109"/>
                    </a:lnTo>
                    <a:lnTo>
                      <a:pt x="102" y="109"/>
                    </a:lnTo>
                    <a:lnTo>
                      <a:pt x="102" y="107"/>
                    </a:lnTo>
                    <a:lnTo>
                      <a:pt x="102" y="102"/>
                    </a:lnTo>
                    <a:lnTo>
                      <a:pt x="102" y="100"/>
                    </a:lnTo>
                    <a:lnTo>
                      <a:pt x="104" y="100"/>
                    </a:lnTo>
                    <a:lnTo>
                      <a:pt x="104" y="99"/>
                    </a:lnTo>
                    <a:lnTo>
                      <a:pt x="104" y="97"/>
                    </a:lnTo>
                    <a:lnTo>
                      <a:pt x="106" y="95"/>
                    </a:lnTo>
                    <a:lnTo>
                      <a:pt x="104" y="93"/>
                    </a:lnTo>
                    <a:lnTo>
                      <a:pt x="102" y="93"/>
                    </a:lnTo>
                    <a:lnTo>
                      <a:pt x="106" y="90"/>
                    </a:lnTo>
                    <a:lnTo>
                      <a:pt x="106" y="88"/>
                    </a:lnTo>
                    <a:lnTo>
                      <a:pt x="108" y="87"/>
                    </a:lnTo>
                    <a:lnTo>
                      <a:pt x="109" y="85"/>
                    </a:lnTo>
                    <a:lnTo>
                      <a:pt x="111" y="83"/>
                    </a:lnTo>
                    <a:lnTo>
                      <a:pt x="111" y="82"/>
                    </a:lnTo>
                    <a:lnTo>
                      <a:pt x="109" y="80"/>
                    </a:lnTo>
                    <a:lnTo>
                      <a:pt x="111" y="80"/>
                    </a:lnTo>
                    <a:lnTo>
                      <a:pt x="109" y="80"/>
                    </a:lnTo>
                    <a:lnTo>
                      <a:pt x="111" y="78"/>
                    </a:lnTo>
                    <a:lnTo>
                      <a:pt x="133" y="78"/>
                    </a:lnTo>
                    <a:lnTo>
                      <a:pt x="135" y="78"/>
                    </a:lnTo>
                    <a:lnTo>
                      <a:pt x="145" y="78"/>
                    </a:lnTo>
                    <a:lnTo>
                      <a:pt x="159" y="78"/>
                    </a:lnTo>
                    <a:lnTo>
                      <a:pt x="162" y="78"/>
                    </a:lnTo>
                    <a:lnTo>
                      <a:pt x="165" y="78"/>
                    </a:lnTo>
                    <a:lnTo>
                      <a:pt x="167" y="80"/>
                    </a:lnTo>
                    <a:lnTo>
                      <a:pt x="170" y="78"/>
                    </a:lnTo>
                    <a:lnTo>
                      <a:pt x="174" y="76"/>
                    </a:lnTo>
                    <a:lnTo>
                      <a:pt x="176" y="76"/>
                    </a:lnTo>
                    <a:lnTo>
                      <a:pt x="177" y="76"/>
                    </a:lnTo>
                    <a:lnTo>
                      <a:pt x="177" y="80"/>
                    </a:lnTo>
                    <a:lnTo>
                      <a:pt x="179" y="80"/>
                    </a:lnTo>
                    <a:lnTo>
                      <a:pt x="181" y="80"/>
                    </a:lnTo>
                    <a:lnTo>
                      <a:pt x="181" y="82"/>
                    </a:lnTo>
                    <a:lnTo>
                      <a:pt x="182" y="82"/>
                    </a:lnTo>
                    <a:lnTo>
                      <a:pt x="184" y="82"/>
                    </a:lnTo>
                    <a:lnTo>
                      <a:pt x="184" y="83"/>
                    </a:lnTo>
                    <a:lnTo>
                      <a:pt x="184" y="82"/>
                    </a:lnTo>
                    <a:lnTo>
                      <a:pt x="184" y="83"/>
                    </a:lnTo>
                    <a:lnTo>
                      <a:pt x="186" y="83"/>
                    </a:lnTo>
                    <a:lnTo>
                      <a:pt x="187" y="85"/>
                    </a:lnTo>
                    <a:lnTo>
                      <a:pt x="187" y="83"/>
                    </a:lnTo>
                    <a:lnTo>
                      <a:pt x="189" y="83"/>
                    </a:lnTo>
                    <a:lnTo>
                      <a:pt x="189" y="82"/>
                    </a:lnTo>
                    <a:lnTo>
                      <a:pt x="191" y="83"/>
                    </a:lnTo>
                    <a:lnTo>
                      <a:pt x="193" y="83"/>
                    </a:lnTo>
                    <a:lnTo>
                      <a:pt x="191" y="87"/>
                    </a:lnTo>
                    <a:lnTo>
                      <a:pt x="193" y="87"/>
                    </a:lnTo>
                    <a:lnTo>
                      <a:pt x="194" y="87"/>
                    </a:lnTo>
                    <a:lnTo>
                      <a:pt x="196" y="85"/>
                    </a:lnTo>
                    <a:lnTo>
                      <a:pt x="198" y="88"/>
                    </a:lnTo>
                    <a:lnTo>
                      <a:pt x="199" y="87"/>
                    </a:lnTo>
                    <a:lnTo>
                      <a:pt x="199" y="88"/>
                    </a:lnTo>
                    <a:lnTo>
                      <a:pt x="201" y="88"/>
                    </a:lnTo>
                    <a:lnTo>
                      <a:pt x="203" y="87"/>
                    </a:lnTo>
                    <a:lnTo>
                      <a:pt x="204" y="85"/>
                    </a:lnTo>
                    <a:lnTo>
                      <a:pt x="204" y="87"/>
                    </a:lnTo>
                    <a:lnTo>
                      <a:pt x="206" y="85"/>
                    </a:lnTo>
                    <a:lnTo>
                      <a:pt x="210" y="87"/>
                    </a:lnTo>
                    <a:lnTo>
                      <a:pt x="211" y="88"/>
                    </a:lnTo>
                    <a:lnTo>
                      <a:pt x="211" y="90"/>
                    </a:lnTo>
                    <a:lnTo>
                      <a:pt x="213" y="90"/>
                    </a:lnTo>
                    <a:lnTo>
                      <a:pt x="215" y="92"/>
                    </a:lnTo>
                    <a:lnTo>
                      <a:pt x="221" y="88"/>
                    </a:lnTo>
                    <a:lnTo>
                      <a:pt x="223" y="90"/>
                    </a:lnTo>
                    <a:lnTo>
                      <a:pt x="223" y="88"/>
                    </a:lnTo>
                    <a:lnTo>
                      <a:pt x="225" y="90"/>
                    </a:lnTo>
                    <a:lnTo>
                      <a:pt x="230" y="90"/>
                    </a:lnTo>
                    <a:lnTo>
                      <a:pt x="232" y="90"/>
                    </a:lnTo>
                    <a:lnTo>
                      <a:pt x="233" y="92"/>
                    </a:lnTo>
                    <a:lnTo>
                      <a:pt x="235" y="92"/>
                    </a:lnTo>
                    <a:lnTo>
                      <a:pt x="237" y="95"/>
                    </a:lnTo>
                    <a:lnTo>
                      <a:pt x="240" y="95"/>
                    </a:lnTo>
                    <a:lnTo>
                      <a:pt x="242" y="99"/>
                    </a:lnTo>
                    <a:lnTo>
                      <a:pt x="242" y="97"/>
                    </a:lnTo>
                    <a:lnTo>
                      <a:pt x="242" y="99"/>
                    </a:lnTo>
                    <a:lnTo>
                      <a:pt x="245" y="99"/>
                    </a:lnTo>
                    <a:lnTo>
                      <a:pt x="249" y="99"/>
                    </a:lnTo>
                    <a:lnTo>
                      <a:pt x="247" y="102"/>
                    </a:lnTo>
                    <a:lnTo>
                      <a:pt x="249" y="104"/>
                    </a:lnTo>
                    <a:lnTo>
                      <a:pt x="250" y="105"/>
                    </a:lnTo>
                    <a:lnTo>
                      <a:pt x="252" y="102"/>
                    </a:lnTo>
                    <a:lnTo>
                      <a:pt x="254" y="102"/>
                    </a:lnTo>
                    <a:lnTo>
                      <a:pt x="254" y="104"/>
                    </a:lnTo>
                    <a:lnTo>
                      <a:pt x="254" y="102"/>
                    </a:lnTo>
                    <a:lnTo>
                      <a:pt x="254" y="100"/>
                    </a:lnTo>
                    <a:lnTo>
                      <a:pt x="254" y="97"/>
                    </a:lnTo>
                    <a:lnTo>
                      <a:pt x="252" y="93"/>
                    </a:lnTo>
                    <a:lnTo>
                      <a:pt x="250" y="90"/>
                    </a:lnTo>
                    <a:lnTo>
                      <a:pt x="249" y="88"/>
                    </a:lnTo>
                    <a:lnTo>
                      <a:pt x="250" y="87"/>
                    </a:lnTo>
                    <a:lnTo>
                      <a:pt x="250" y="85"/>
                    </a:lnTo>
                    <a:lnTo>
                      <a:pt x="250" y="83"/>
                    </a:lnTo>
                    <a:lnTo>
                      <a:pt x="252" y="83"/>
                    </a:lnTo>
                    <a:lnTo>
                      <a:pt x="250" y="78"/>
                    </a:lnTo>
                    <a:lnTo>
                      <a:pt x="252" y="76"/>
                    </a:lnTo>
                    <a:lnTo>
                      <a:pt x="254" y="76"/>
                    </a:lnTo>
                    <a:lnTo>
                      <a:pt x="254" y="78"/>
                    </a:lnTo>
                    <a:lnTo>
                      <a:pt x="257" y="76"/>
                    </a:lnTo>
                    <a:lnTo>
                      <a:pt x="267" y="56"/>
                    </a:lnTo>
                    <a:lnTo>
                      <a:pt x="271" y="46"/>
                    </a:lnTo>
                    <a:lnTo>
                      <a:pt x="272" y="44"/>
                    </a:lnTo>
                    <a:lnTo>
                      <a:pt x="272" y="42"/>
                    </a:lnTo>
                    <a:lnTo>
                      <a:pt x="271" y="39"/>
                    </a:lnTo>
                    <a:lnTo>
                      <a:pt x="272" y="37"/>
                    </a:lnTo>
                    <a:lnTo>
                      <a:pt x="272" y="34"/>
                    </a:lnTo>
                    <a:lnTo>
                      <a:pt x="272" y="31"/>
                    </a:lnTo>
                    <a:lnTo>
                      <a:pt x="276" y="19"/>
                    </a:lnTo>
                    <a:lnTo>
                      <a:pt x="276" y="12"/>
                    </a:lnTo>
                    <a:lnTo>
                      <a:pt x="281" y="10"/>
                    </a:lnTo>
                    <a:lnTo>
                      <a:pt x="289" y="10"/>
                    </a:lnTo>
                    <a:lnTo>
                      <a:pt x="293" y="7"/>
                    </a:lnTo>
                    <a:lnTo>
                      <a:pt x="298" y="8"/>
                    </a:lnTo>
                    <a:lnTo>
                      <a:pt x="310" y="8"/>
                    </a:lnTo>
                    <a:lnTo>
                      <a:pt x="310" y="7"/>
                    </a:lnTo>
                    <a:lnTo>
                      <a:pt x="310" y="5"/>
                    </a:lnTo>
                    <a:lnTo>
                      <a:pt x="312" y="5"/>
                    </a:lnTo>
                    <a:lnTo>
                      <a:pt x="315" y="5"/>
                    </a:lnTo>
                    <a:lnTo>
                      <a:pt x="317" y="5"/>
                    </a:lnTo>
                    <a:lnTo>
                      <a:pt x="318" y="3"/>
                    </a:lnTo>
                    <a:lnTo>
                      <a:pt x="322" y="0"/>
                    </a:lnTo>
                    <a:lnTo>
                      <a:pt x="325" y="2"/>
                    </a:lnTo>
                    <a:lnTo>
                      <a:pt x="329" y="5"/>
                    </a:lnTo>
                    <a:lnTo>
                      <a:pt x="334" y="3"/>
                    </a:lnTo>
                    <a:lnTo>
                      <a:pt x="339" y="5"/>
                    </a:lnTo>
                    <a:lnTo>
                      <a:pt x="340" y="7"/>
                    </a:lnTo>
                    <a:lnTo>
                      <a:pt x="340" y="8"/>
                    </a:lnTo>
                    <a:lnTo>
                      <a:pt x="344" y="8"/>
                    </a:lnTo>
                    <a:lnTo>
                      <a:pt x="346" y="7"/>
                    </a:lnTo>
                    <a:lnTo>
                      <a:pt x="347" y="8"/>
                    </a:lnTo>
                    <a:lnTo>
                      <a:pt x="349" y="7"/>
                    </a:lnTo>
                    <a:lnTo>
                      <a:pt x="354" y="8"/>
                    </a:lnTo>
                    <a:lnTo>
                      <a:pt x="356" y="8"/>
                    </a:lnTo>
                    <a:lnTo>
                      <a:pt x="357" y="12"/>
                    </a:lnTo>
                    <a:lnTo>
                      <a:pt x="361" y="12"/>
                    </a:lnTo>
                    <a:lnTo>
                      <a:pt x="363" y="7"/>
                    </a:lnTo>
                    <a:lnTo>
                      <a:pt x="364" y="7"/>
                    </a:lnTo>
                    <a:lnTo>
                      <a:pt x="366" y="5"/>
                    </a:lnTo>
                    <a:lnTo>
                      <a:pt x="369" y="7"/>
                    </a:lnTo>
                    <a:lnTo>
                      <a:pt x="369" y="5"/>
                    </a:lnTo>
                    <a:lnTo>
                      <a:pt x="371" y="7"/>
                    </a:lnTo>
                    <a:lnTo>
                      <a:pt x="373" y="3"/>
                    </a:lnTo>
                    <a:lnTo>
                      <a:pt x="376" y="7"/>
                    </a:lnTo>
                    <a:lnTo>
                      <a:pt x="378" y="12"/>
                    </a:lnTo>
                    <a:lnTo>
                      <a:pt x="380" y="12"/>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22">
                <a:extLst>
                  <a:ext uri="{FF2B5EF4-FFF2-40B4-BE49-F238E27FC236}">
                    <a16:creationId xmlns:a16="http://schemas.microsoft.com/office/drawing/2014/main" id="{06AF59E9-E436-447B-97FF-282FF378937E}"/>
                  </a:ext>
                </a:extLst>
              </p:cNvPr>
              <p:cNvSpPr>
                <a:spLocks noEditPoints="1"/>
              </p:cNvSpPr>
              <p:nvPr/>
            </p:nvSpPr>
            <p:spPr bwMode="gray">
              <a:xfrm>
                <a:off x="6044579" y="3634102"/>
                <a:ext cx="1200652" cy="1184544"/>
              </a:xfrm>
              <a:custGeom>
                <a:avLst/>
                <a:gdLst>
                  <a:gd name="T0" fmla="*/ 809 w 969"/>
                  <a:gd name="T1" fmla="*/ 53 h 956"/>
                  <a:gd name="T2" fmla="*/ 865 w 969"/>
                  <a:gd name="T3" fmla="*/ 53 h 956"/>
                  <a:gd name="T4" fmla="*/ 903 w 969"/>
                  <a:gd name="T5" fmla="*/ 63 h 956"/>
                  <a:gd name="T6" fmla="*/ 945 w 969"/>
                  <a:gd name="T7" fmla="*/ 92 h 956"/>
                  <a:gd name="T8" fmla="*/ 938 w 969"/>
                  <a:gd name="T9" fmla="*/ 150 h 956"/>
                  <a:gd name="T10" fmla="*/ 918 w 969"/>
                  <a:gd name="T11" fmla="*/ 216 h 956"/>
                  <a:gd name="T12" fmla="*/ 896 w 969"/>
                  <a:gd name="T13" fmla="*/ 241 h 956"/>
                  <a:gd name="T14" fmla="*/ 884 w 969"/>
                  <a:gd name="T15" fmla="*/ 306 h 956"/>
                  <a:gd name="T16" fmla="*/ 867 w 969"/>
                  <a:gd name="T17" fmla="*/ 354 h 956"/>
                  <a:gd name="T18" fmla="*/ 850 w 969"/>
                  <a:gd name="T19" fmla="*/ 415 h 956"/>
                  <a:gd name="T20" fmla="*/ 862 w 969"/>
                  <a:gd name="T21" fmla="*/ 461 h 956"/>
                  <a:gd name="T22" fmla="*/ 914 w 969"/>
                  <a:gd name="T23" fmla="*/ 629 h 956"/>
                  <a:gd name="T24" fmla="*/ 835 w 969"/>
                  <a:gd name="T25" fmla="*/ 759 h 956"/>
                  <a:gd name="T26" fmla="*/ 833 w 969"/>
                  <a:gd name="T27" fmla="*/ 815 h 956"/>
                  <a:gd name="T28" fmla="*/ 819 w 969"/>
                  <a:gd name="T29" fmla="*/ 861 h 956"/>
                  <a:gd name="T30" fmla="*/ 852 w 969"/>
                  <a:gd name="T31" fmla="*/ 896 h 956"/>
                  <a:gd name="T32" fmla="*/ 886 w 969"/>
                  <a:gd name="T33" fmla="*/ 893 h 956"/>
                  <a:gd name="T34" fmla="*/ 869 w 969"/>
                  <a:gd name="T35" fmla="*/ 951 h 956"/>
                  <a:gd name="T36" fmla="*/ 836 w 969"/>
                  <a:gd name="T37" fmla="*/ 927 h 956"/>
                  <a:gd name="T38" fmla="*/ 801 w 969"/>
                  <a:gd name="T39" fmla="*/ 900 h 956"/>
                  <a:gd name="T40" fmla="*/ 761 w 969"/>
                  <a:gd name="T41" fmla="*/ 864 h 956"/>
                  <a:gd name="T42" fmla="*/ 709 w 969"/>
                  <a:gd name="T43" fmla="*/ 878 h 956"/>
                  <a:gd name="T44" fmla="*/ 663 w 969"/>
                  <a:gd name="T45" fmla="*/ 849 h 956"/>
                  <a:gd name="T46" fmla="*/ 617 w 969"/>
                  <a:gd name="T47" fmla="*/ 844 h 956"/>
                  <a:gd name="T48" fmla="*/ 554 w 969"/>
                  <a:gd name="T49" fmla="*/ 835 h 956"/>
                  <a:gd name="T50" fmla="*/ 505 w 969"/>
                  <a:gd name="T51" fmla="*/ 825 h 956"/>
                  <a:gd name="T52" fmla="*/ 493 w 969"/>
                  <a:gd name="T53" fmla="*/ 765 h 956"/>
                  <a:gd name="T54" fmla="*/ 493 w 969"/>
                  <a:gd name="T55" fmla="*/ 709 h 956"/>
                  <a:gd name="T56" fmla="*/ 486 w 969"/>
                  <a:gd name="T57" fmla="*/ 662 h 956"/>
                  <a:gd name="T58" fmla="*/ 421 w 969"/>
                  <a:gd name="T59" fmla="*/ 636 h 956"/>
                  <a:gd name="T60" fmla="*/ 362 w 969"/>
                  <a:gd name="T61" fmla="*/ 658 h 956"/>
                  <a:gd name="T62" fmla="*/ 301 w 969"/>
                  <a:gd name="T63" fmla="*/ 680 h 956"/>
                  <a:gd name="T64" fmla="*/ 262 w 969"/>
                  <a:gd name="T65" fmla="*/ 670 h 956"/>
                  <a:gd name="T66" fmla="*/ 248 w 969"/>
                  <a:gd name="T67" fmla="*/ 646 h 956"/>
                  <a:gd name="T68" fmla="*/ 231 w 969"/>
                  <a:gd name="T69" fmla="*/ 609 h 956"/>
                  <a:gd name="T70" fmla="*/ 224 w 969"/>
                  <a:gd name="T71" fmla="*/ 580 h 956"/>
                  <a:gd name="T72" fmla="*/ 109 w 969"/>
                  <a:gd name="T73" fmla="*/ 571 h 956"/>
                  <a:gd name="T74" fmla="*/ 46 w 969"/>
                  <a:gd name="T75" fmla="*/ 571 h 956"/>
                  <a:gd name="T76" fmla="*/ 5 w 969"/>
                  <a:gd name="T77" fmla="*/ 565 h 956"/>
                  <a:gd name="T78" fmla="*/ 34 w 969"/>
                  <a:gd name="T79" fmla="*/ 515 h 956"/>
                  <a:gd name="T80" fmla="*/ 59 w 969"/>
                  <a:gd name="T81" fmla="*/ 520 h 956"/>
                  <a:gd name="T82" fmla="*/ 78 w 969"/>
                  <a:gd name="T83" fmla="*/ 498 h 956"/>
                  <a:gd name="T84" fmla="*/ 110 w 969"/>
                  <a:gd name="T85" fmla="*/ 505 h 956"/>
                  <a:gd name="T86" fmla="*/ 156 w 969"/>
                  <a:gd name="T87" fmla="*/ 490 h 956"/>
                  <a:gd name="T88" fmla="*/ 202 w 969"/>
                  <a:gd name="T89" fmla="*/ 413 h 956"/>
                  <a:gd name="T90" fmla="*/ 262 w 969"/>
                  <a:gd name="T91" fmla="*/ 321 h 956"/>
                  <a:gd name="T92" fmla="*/ 287 w 969"/>
                  <a:gd name="T93" fmla="*/ 236 h 956"/>
                  <a:gd name="T94" fmla="*/ 316 w 969"/>
                  <a:gd name="T95" fmla="*/ 126 h 956"/>
                  <a:gd name="T96" fmla="*/ 338 w 969"/>
                  <a:gd name="T97" fmla="*/ 41 h 956"/>
                  <a:gd name="T98" fmla="*/ 403 w 969"/>
                  <a:gd name="T99" fmla="*/ 25 h 956"/>
                  <a:gd name="T100" fmla="*/ 461 w 969"/>
                  <a:gd name="T101" fmla="*/ 54 h 956"/>
                  <a:gd name="T102" fmla="*/ 525 w 969"/>
                  <a:gd name="T103" fmla="*/ 51 h 956"/>
                  <a:gd name="T104" fmla="*/ 556 w 969"/>
                  <a:gd name="T105" fmla="*/ 34 h 956"/>
                  <a:gd name="T106" fmla="*/ 595 w 969"/>
                  <a:gd name="T107" fmla="*/ 27 h 956"/>
                  <a:gd name="T108" fmla="*/ 620 w 969"/>
                  <a:gd name="T109" fmla="*/ 15 h 956"/>
                  <a:gd name="T110" fmla="*/ 656 w 969"/>
                  <a:gd name="T111" fmla="*/ 19 h 956"/>
                  <a:gd name="T112" fmla="*/ 675 w 969"/>
                  <a:gd name="T113" fmla="*/ 2 h 956"/>
                  <a:gd name="T114" fmla="*/ 692 w 969"/>
                  <a:gd name="T115" fmla="*/ 10 h 956"/>
                  <a:gd name="T116" fmla="*/ 710 w 969"/>
                  <a:gd name="T117" fmla="*/ 12 h 956"/>
                  <a:gd name="T118" fmla="*/ 726 w 969"/>
                  <a:gd name="T119" fmla="*/ 19 h 956"/>
                  <a:gd name="T120" fmla="*/ 772 w 969"/>
                  <a:gd name="T121" fmla="*/ 17 h 956"/>
                  <a:gd name="T122" fmla="*/ 39 w 969"/>
                  <a:gd name="T123" fmla="*/ 570 h 956"/>
                  <a:gd name="T124" fmla="*/ 34 w 969"/>
                  <a:gd name="T125" fmla="*/ 575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9" h="956">
                    <a:moveTo>
                      <a:pt x="772" y="17"/>
                    </a:moveTo>
                    <a:lnTo>
                      <a:pt x="772" y="20"/>
                    </a:lnTo>
                    <a:lnTo>
                      <a:pt x="777" y="25"/>
                    </a:lnTo>
                    <a:lnTo>
                      <a:pt x="778" y="27"/>
                    </a:lnTo>
                    <a:lnTo>
                      <a:pt x="784" y="27"/>
                    </a:lnTo>
                    <a:lnTo>
                      <a:pt x="784" y="29"/>
                    </a:lnTo>
                    <a:lnTo>
                      <a:pt x="785" y="32"/>
                    </a:lnTo>
                    <a:lnTo>
                      <a:pt x="787" y="32"/>
                    </a:lnTo>
                    <a:lnTo>
                      <a:pt x="789" y="32"/>
                    </a:lnTo>
                    <a:lnTo>
                      <a:pt x="789" y="37"/>
                    </a:lnTo>
                    <a:lnTo>
                      <a:pt x="787" y="39"/>
                    </a:lnTo>
                    <a:lnTo>
                      <a:pt x="789" y="42"/>
                    </a:lnTo>
                    <a:lnTo>
                      <a:pt x="792" y="42"/>
                    </a:lnTo>
                    <a:lnTo>
                      <a:pt x="794" y="44"/>
                    </a:lnTo>
                    <a:lnTo>
                      <a:pt x="795" y="42"/>
                    </a:lnTo>
                    <a:lnTo>
                      <a:pt x="801" y="44"/>
                    </a:lnTo>
                    <a:lnTo>
                      <a:pt x="802" y="47"/>
                    </a:lnTo>
                    <a:lnTo>
                      <a:pt x="804" y="49"/>
                    </a:lnTo>
                    <a:lnTo>
                      <a:pt x="807" y="49"/>
                    </a:lnTo>
                    <a:lnTo>
                      <a:pt x="809" y="53"/>
                    </a:lnTo>
                    <a:lnTo>
                      <a:pt x="811" y="54"/>
                    </a:lnTo>
                    <a:lnTo>
                      <a:pt x="818" y="54"/>
                    </a:lnTo>
                    <a:lnTo>
                      <a:pt x="819" y="56"/>
                    </a:lnTo>
                    <a:lnTo>
                      <a:pt x="821" y="58"/>
                    </a:lnTo>
                    <a:lnTo>
                      <a:pt x="824" y="56"/>
                    </a:lnTo>
                    <a:lnTo>
                      <a:pt x="826" y="53"/>
                    </a:lnTo>
                    <a:lnTo>
                      <a:pt x="828" y="53"/>
                    </a:lnTo>
                    <a:lnTo>
                      <a:pt x="829" y="51"/>
                    </a:lnTo>
                    <a:lnTo>
                      <a:pt x="833" y="51"/>
                    </a:lnTo>
                    <a:lnTo>
                      <a:pt x="836" y="44"/>
                    </a:lnTo>
                    <a:lnTo>
                      <a:pt x="840" y="42"/>
                    </a:lnTo>
                    <a:lnTo>
                      <a:pt x="841" y="42"/>
                    </a:lnTo>
                    <a:lnTo>
                      <a:pt x="841" y="47"/>
                    </a:lnTo>
                    <a:lnTo>
                      <a:pt x="848" y="47"/>
                    </a:lnTo>
                    <a:lnTo>
                      <a:pt x="850" y="46"/>
                    </a:lnTo>
                    <a:lnTo>
                      <a:pt x="852" y="46"/>
                    </a:lnTo>
                    <a:lnTo>
                      <a:pt x="857" y="51"/>
                    </a:lnTo>
                    <a:lnTo>
                      <a:pt x="858" y="53"/>
                    </a:lnTo>
                    <a:lnTo>
                      <a:pt x="862" y="53"/>
                    </a:lnTo>
                    <a:lnTo>
                      <a:pt x="865" y="53"/>
                    </a:lnTo>
                    <a:lnTo>
                      <a:pt x="869" y="47"/>
                    </a:lnTo>
                    <a:lnTo>
                      <a:pt x="870" y="47"/>
                    </a:lnTo>
                    <a:lnTo>
                      <a:pt x="872" y="44"/>
                    </a:lnTo>
                    <a:lnTo>
                      <a:pt x="874" y="44"/>
                    </a:lnTo>
                    <a:lnTo>
                      <a:pt x="875" y="36"/>
                    </a:lnTo>
                    <a:lnTo>
                      <a:pt x="879" y="37"/>
                    </a:lnTo>
                    <a:lnTo>
                      <a:pt x="880" y="39"/>
                    </a:lnTo>
                    <a:lnTo>
                      <a:pt x="882" y="37"/>
                    </a:lnTo>
                    <a:lnTo>
                      <a:pt x="886" y="41"/>
                    </a:lnTo>
                    <a:lnTo>
                      <a:pt x="889" y="41"/>
                    </a:lnTo>
                    <a:lnTo>
                      <a:pt x="892" y="44"/>
                    </a:lnTo>
                    <a:lnTo>
                      <a:pt x="891" y="46"/>
                    </a:lnTo>
                    <a:lnTo>
                      <a:pt x="891" y="51"/>
                    </a:lnTo>
                    <a:lnTo>
                      <a:pt x="894" y="53"/>
                    </a:lnTo>
                    <a:lnTo>
                      <a:pt x="896" y="53"/>
                    </a:lnTo>
                    <a:lnTo>
                      <a:pt x="899" y="54"/>
                    </a:lnTo>
                    <a:lnTo>
                      <a:pt x="899" y="56"/>
                    </a:lnTo>
                    <a:lnTo>
                      <a:pt x="899" y="59"/>
                    </a:lnTo>
                    <a:lnTo>
                      <a:pt x="901" y="59"/>
                    </a:lnTo>
                    <a:lnTo>
                      <a:pt x="903" y="63"/>
                    </a:lnTo>
                    <a:lnTo>
                      <a:pt x="909" y="64"/>
                    </a:lnTo>
                    <a:lnTo>
                      <a:pt x="909" y="70"/>
                    </a:lnTo>
                    <a:lnTo>
                      <a:pt x="911" y="70"/>
                    </a:lnTo>
                    <a:lnTo>
                      <a:pt x="911" y="75"/>
                    </a:lnTo>
                    <a:lnTo>
                      <a:pt x="914" y="73"/>
                    </a:lnTo>
                    <a:lnTo>
                      <a:pt x="923" y="76"/>
                    </a:lnTo>
                    <a:lnTo>
                      <a:pt x="925" y="78"/>
                    </a:lnTo>
                    <a:lnTo>
                      <a:pt x="928" y="78"/>
                    </a:lnTo>
                    <a:lnTo>
                      <a:pt x="930" y="80"/>
                    </a:lnTo>
                    <a:lnTo>
                      <a:pt x="930" y="83"/>
                    </a:lnTo>
                    <a:lnTo>
                      <a:pt x="930" y="88"/>
                    </a:lnTo>
                    <a:lnTo>
                      <a:pt x="928" y="90"/>
                    </a:lnTo>
                    <a:lnTo>
                      <a:pt x="931" y="92"/>
                    </a:lnTo>
                    <a:lnTo>
                      <a:pt x="935" y="88"/>
                    </a:lnTo>
                    <a:lnTo>
                      <a:pt x="938" y="88"/>
                    </a:lnTo>
                    <a:lnTo>
                      <a:pt x="938" y="87"/>
                    </a:lnTo>
                    <a:lnTo>
                      <a:pt x="940" y="87"/>
                    </a:lnTo>
                    <a:lnTo>
                      <a:pt x="942" y="87"/>
                    </a:lnTo>
                    <a:lnTo>
                      <a:pt x="942" y="92"/>
                    </a:lnTo>
                    <a:lnTo>
                      <a:pt x="945" y="92"/>
                    </a:lnTo>
                    <a:lnTo>
                      <a:pt x="943" y="95"/>
                    </a:lnTo>
                    <a:lnTo>
                      <a:pt x="945" y="97"/>
                    </a:lnTo>
                    <a:lnTo>
                      <a:pt x="947" y="95"/>
                    </a:lnTo>
                    <a:lnTo>
                      <a:pt x="948" y="97"/>
                    </a:lnTo>
                    <a:lnTo>
                      <a:pt x="948" y="100"/>
                    </a:lnTo>
                    <a:lnTo>
                      <a:pt x="947" y="104"/>
                    </a:lnTo>
                    <a:lnTo>
                      <a:pt x="945" y="107"/>
                    </a:lnTo>
                    <a:lnTo>
                      <a:pt x="943" y="107"/>
                    </a:lnTo>
                    <a:lnTo>
                      <a:pt x="942" y="109"/>
                    </a:lnTo>
                    <a:lnTo>
                      <a:pt x="943" y="110"/>
                    </a:lnTo>
                    <a:lnTo>
                      <a:pt x="940" y="119"/>
                    </a:lnTo>
                    <a:lnTo>
                      <a:pt x="945" y="124"/>
                    </a:lnTo>
                    <a:lnTo>
                      <a:pt x="947" y="126"/>
                    </a:lnTo>
                    <a:lnTo>
                      <a:pt x="947" y="129"/>
                    </a:lnTo>
                    <a:lnTo>
                      <a:pt x="942" y="138"/>
                    </a:lnTo>
                    <a:lnTo>
                      <a:pt x="942" y="139"/>
                    </a:lnTo>
                    <a:lnTo>
                      <a:pt x="940" y="143"/>
                    </a:lnTo>
                    <a:lnTo>
                      <a:pt x="940" y="146"/>
                    </a:lnTo>
                    <a:lnTo>
                      <a:pt x="938" y="148"/>
                    </a:lnTo>
                    <a:lnTo>
                      <a:pt x="938" y="150"/>
                    </a:lnTo>
                    <a:lnTo>
                      <a:pt x="943" y="150"/>
                    </a:lnTo>
                    <a:lnTo>
                      <a:pt x="945" y="151"/>
                    </a:lnTo>
                    <a:lnTo>
                      <a:pt x="945" y="153"/>
                    </a:lnTo>
                    <a:lnTo>
                      <a:pt x="947" y="155"/>
                    </a:lnTo>
                    <a:lnTo>
                      <a:pt x="948" y="153"/>
                    </a:lnTo>
                    <a:lnTo>
                      <a:pt x="950" y="151"/>
                    </a:lnTo>
                    <a:lnTo>
                      <a:pt x="954" y="151"/>
                    </a:lnTo>
                    <a:lnTo>
                      <a:pt x="955" y="155"/>
                    </a:lnTo>
                    <a:lnTo>
                      <a:pt x="957" y="156"/>
                    </a:lnTo>
                    <a:lnTo>
                      <a:pt x="964" y="158"/>
                    </a:lnTo>
                    <a:lnTo>
                      <a:pt x="965" y="161"/>
                    </a:lnTo>
                    <a:lnTo>
                      <a:pt x="969" y="165"/>
                    </a:lnTo>
                    <a:lnTo>
                      <a:pt x="964" y="175"/>
                    </a:lnTo>
                    <a:lnTo>
                      <a:pt x="954" y="184"/>
                    </a:lnTo>
                    <a:lnTo>
                      <a:pt x="938" y="197"/>
                    </a:lnTo>
                    <a:lnTo>
                      <a:pt x="931" y="206"/>
                    </a:lnTo>
                    <a:lnTo>
                      <a:pt x="926" y="207"/>
                    </a:lnTo>
                    <a:lnTo>
                      <a:pt x="923" y="211"/>
                    </a:lnTo>
                    <a:lnTo>
                      <a:pt x="920" y="212"/>
                    </a:lnTo>
                    <a:lnTo>
                      <a:pt x="918" y="216"/>
                    </a:lnTo>
                    <a:lnTo>
                      <a:pt x="916" y="216"/>
                    </a:lnTo>
                    <a:lnTo>
                      <a:pt x="916" y="214"/>
                    </a:lnTo>
                    <a:lnTo>
                      <a:pt x="913" y="216"/>
                    </a:lnTo>
                    <a:lnTo>
                      <a:pt x="913" y="218"/>
                    </a:lnTo>
                    <a:lnTo>
                      <a:pt x="913" y="221"/>
                    </a:lnTo>
                    <a:lnTo>
                      <a:pt x="913" y="223"/>
                    </a:lnTo>
                    <a:lnTo>
                      <a:pt x="911" y="224"/>
                    </a:lnTo>
                    <a:lnTo>
                      <a:pt x="913" y="224"/>
                    </a:lnTo>
                    <a:lnTo>
                      <a:pt x="911" y="224"/>
                    </a:lnTo>
                    <a:lnTo>
                      <a:pt x="909" y="226"/>
                    </a:lnTo>
                    <a:lnTo>
                      <a:pt x="909" y="228"/>
                    </a:lnTo>
                    <a:lnTo>
                      <a:pt x="909" y="229"/>
                    </a:lnTo>
                    <a:lnTo>
                      <a:pt x="906" y="228"/>
                    </a:lnTo>
                    <a:lnTo>
                      <a:pt x="899" y="231"/>
                    </a:lnTo>
                    <a:lnTo>
                      <a:pt x="899" y="233"/>
                    </a:lnTo>
                    <a:lnTo>
                      <a:pt x="897" y="233"/>
                    </a:lnTo>
                    <a:lnTo>
                      <a:pt x="899" y="233"/>
                    </a:lnTo>
                    <a:lnTo>
                      <a:pt x="897" y="236"/>
                    </a:lnTo>
                    <a:lnTo>
                      <a:pt x="897" y="238"/>
                    </a:lnTo>
                    <a:lnTo>
                      <a:pt x="896" y="241"/>
                    </a:lnTo>
                    <a:lnTo>
                      <a:pt x="897" y="243"/>
                    </a:lnTo>
                    <a:lnTo>
                      <a:pt x="897" y="248"/>
                    </a:lnTo>
                    <a:lnTo>
                      <a:pt x="899" y="252"/>
                    </a:lnTo>
                    <a:lnTo>
                      <a:pt x="897" y="255"/>
                    </a:lnTo>
                    <a:lnTo>
                      <a:pt x="894" y="257"/>
                    </a:lnTo>
                    <a:lnTo>
                      <a:pt x="894" y="258"/>
                    </a:lnTo>
                    <a:lnTo>
                      <a:pt x="892" y="262"/>
                    </a:lnTo>
                    <a:lnTo>
                      <a:pt x="892" y="265"/>
                    </a:lnTo>
                    <a:lnTo>
                      <a:pt x="889" y="267"/>
                    </a:lnTo>
                    <a:lnTo>
                      <a:pt x="887" y="270"/>
                    </a:lnTo>
                    <a:lnTo>
                      <a:pt x="887" y="274"/>
                    </a:lnTo>
                    <a:lnTo>
                      <a:pt x="887" y="275"/>
                    </a:lnTo>
                    <a:lnTo>
                      <a:pt x="887" y="277"/>
                    </a:lnTo>
                    <a:lnTo>
                      <a:pt x="887" y="281"/>
                    </a:lnTo>
                    <a:lnTo>
                      <a:pt x="887" y="282"/>
                    </a:lnTo>
                    <a:lnTo>
                      <a:pt x="886" y="284"/>
                    </a:lnTo>
                    <a:lnTo>
                      <a:pt x="880" y="289"/>
                    </a:lnTo>
                    <a:lnTo>
                      <a:pt x="886" y="296"/>
                    </a:lnTo>
                    <a:lnTo>
                      <a:pt x="884" y="301"/>
                    </a:lnTo>
                    <a:lnTo>
                      <a:pt x="884" y="306"/>
                    </a:lnTo>
                    <a:lnTo>
                      <a:pt x="882" y="309"/>
                    </a:lnTo>
                    <a:lnTo>
                      <a:pt x="882" y="316"/>
                    </a:lnTo>
                    <a:lnTo>
                      <a:pt x="882" y="318"/>
                    </a:lnTo>
                    <a:lnTo>
                      <a:pt x="882" y="320"/>
                    </a:lnTo>
                    <a:lnTo>
                      <a:pt x="880" y="320"/>
                    </a:lnTo>
                    <a:lnTo>
                      <a:pt x="879" y="320"/>
                    </a:lnTo>
                    <a:lnTo>
                      <a:pt x="880" y="323"/>
                    </a:lnTo>
                    <a:lnTo>
                      <a:pt x="879" y="325"/>
                    </a:lnTo>
                    <a:lnTo>
                      <a:pt x="879" y="328"/>
                    </a:lnTo>
                    <a:lnTo>
                      <a:pt x="879" y="330"/>
                    </a:lnTo>
                    <a:lnTo>
                      <a:pt x="879" y="333"/>
                    </a:lnTo>
                    <a:lnTo>
                      <a:pt x="880" y="337"/>
                    </a:lnTo>
                    <a:lnTo>
                      <a:pt x="879" y="338"/>
                    </a:lnTo>
                    <a:lnTo>
                      <a:pt x="880" y="343"/>
                    </a:lnTo>
                    <a:lnTo>
                      <a:pt x="879" y="343"/>
                    </a:lnTo>
                    <a:lnTo>
                      <a:pt x="877" y="345"/>
                    </a:lnTo>
                    <a:lnTo>
                      <a:pt x="875" y="349"/>
                    </a:lnTo>
                    <a:lnTo>
                      <a:pt x="872" y="350"/>
                    </a:lnTo>
                    <a:lnTo>
                      <a:pt x="869" y="352"/>
                    </a:lnTo>
                    <a:lnTo>
                      <a:pt x="867" y="354"/>
                    </a:lnTo>
                    <a:lnTo>
                      <a:pt x="863" y="357"/>
                    </a:lnTo>
                    <a:lnTo>
                      <a:pt x="863" y="360"/>
                    </a:lnTo>
                    <a:lnTo>
                      <a:pt x="862" y="362"/>
                    </a:lnTo>
                    <a:lnTo>
                      <a:pt x="858" y="381"/>
                    </a:lnTo>
                    <a:lnTo>
                      <a:pt x="855" y="388"/>
                    </a:lnTo>
                    <a:lnTo>
                      <a:pt x="853" y="389"/>
                    </a:lnTo>
                    <a:lnTo>
                      <a:pt x="850" y="389"/>
                    </a:lnTo>
                    <a:lnTo>
                      <a:pt x="850" y="391"/>
                    </a:lnTo>
                    <a:lnTo>
                      <a:pt x="845" y="393"/>
                    </a:lnTo>
                    <a:lnTo>
                      <a:pt x="843" y="394"/>
                    </a:lnTo>
                    <a:lnTo>
                      <a:pt x="843" y="398"/>
                    </a:lnTo>
                    <a:lnTo>
                      <a:pt x="845" y="400"/>
                    </a:lnTo>
                    <a:lnTo>
                      <a:pt x="843" y="401"/>
                    </a:lnTo>
                    <a:lnTo>
                      <a:pt x="845" y="405"/>
                    </a:lnTo>
                    <a:lnTo>
                      <a:pt x="845" y="408"/>
                    </a:lnTo>
                    <a:lnTo>
                      <a:pt x="848" y="410"/>
                    </a:lnTo>
                    <a:lnTo>
                      <a:pt x="850" y="410"/>
                    </a:lnTo>
                    <a:lnTo>
                      <a:pt x="853" y="413"/>
                    </a:lnTo>
                    <a:lnTo>
                      <a:pt x="852" y="413"/>
                    </a:lnTo>
                    <a:lnTo>
                      <a:pt x="850" y="415"/>
                    </a:lnTo>
                    <a:lnTo>
                      <a:pt x="850" y="417"/>
                    </a:lnTo>
                    <a:lnTo>
                      <a:pt x="853" y="417"/>
                    </a:lnTo>
                    <a:lnTo>
                      <a:pt x="853" y="418"/>
                    </a:lnTo>
                    <a:lnTo>
                      <a:pt x="855" y="418"/>
                    </a:lnTo>
                    <a:lnTo>
                      <a:pt x="855" y="422"/>
                    </a:lnTo>
                    <a:lnTo>
                      <a:pt x="858" y="423"/>
                    </a:lnTo>
                    <a:lnTo>
                      <a:pt x="858" y="425"/>
                    </a:lnTo>
                    <a:lnTo>
                      <a:pt x="860" y="425"/>
                    </a:lnTo>
                    <a:lnTo>
                      <a:pt x="860" y="427"/>
                    </a:lnTo>
                    <a:lnTo>
                      <a:pt x="862" y="427"/>
                    </a:lnTo>
                    <a:lnTo>
                      <a:pt x="863" y="429"/>
                    </a:lnTo>
                    <a:lnTo>
                      <a:pt x="863" y="430"/>
                    </a:lnTo>
                    <a:lnTo>
                      <a:pt x="863" y="432"/>
                    </a:lnTo>
                    <a:lnTo>
                      <a:pt x="862" y="434"/>
                    </a:lnTo>
                    <a:lnTo>
                      <a:pt x="862" y="435"/>
                    </a:lnTo>
                    <a:lnTo>
                      <a:pt x="862" y="437"/>
                    </a:lnTo>
                    <a:lnTo>
                      <a:pt x="862" y="439"/>
                    </a:lnTo>
                    <a:lnTo>
                      <a:pt x="865" y="442"/>
                    </a:lnTo>
                    <a:lnTo>
                      <a:pt x="863" y="447"/>
                    </a:lnTo>
                    <a:lnTo>
                      <a:pt x="862" y="461"/>
                    </a:lnTo>
                    <a:lnTo>
                      <a:pt x="862" y="466"/>
                    </a:lnTo>
                    <a:lnTo>
                      <a:pt x="865" y="473"/>
                    </a:lnTo>
                    <a:lnTo>
                      <a:pt x="869" y="480"/>
                    </a:lnTo>
                    <a:lnTo>
                      <a:pt x="870" y="485"/>
                    </a:lnTo>
                    <a:lnTo>
                      <a:pt x="870" y="498"/>
                    </a:lnTo>
                    <a:lnTo>
                      <a:pt x="870" y="514"/>
                    </a:lnTo>
                    <a:lnTo>
                      <a:pt x="870" y="525"/>
                    </a:lnTo>
                    <a:lnTo>
                      <a:pt x="877" y="546"/>
                    </a:lnTo>
                    <a:lnTo>
                      <a:pt x="884" y="558"/>
                    </a:lnTo>
                    <a:lnTo>
                      <a:pt x="886" y="563"/>
                    </a:lnTo>
                    <a:lnTo>
                      <a:pt x="882" y="570"/>
                    </a:lnTo>
                    <a:lnTo>
                      <a:pt x="879" y="576"/>
                    </a:lnTo>
                    <a:lnTo>
                      <a:pt x="877" y="582"/>
                    </a:lnTo>
                    <a:lnTo>
                      <a:pt x="877" y="587"/>
                    </a:lnTo>
                    <a:lnTo>
                      <a:pt x="880" y="597"/>
                    </a:lnTo>
                    <a:lnTo>
                      <a:pt x="884" y="600"/>
                    </a:lnTo>
                    <a:lnTo>
                      <a:pt x="889" y="605"/>
                    </a:lnTo>
                    <a:lnTo>
                      <a:pt x="897" y="612"/>
                    </a:lnTo>
                    <a:lnTo>
                      <a:pt x="906" y="621"/>
                    </a:lnTo>
                    <a:lnTo>
                      <a:pt x="914" y="629"/>
                    </a:lnTo>
                    <a:lnTo>
                      <a:pt x="918" y="636"/>
                    </a:lnTo>
                    <a:lnTo>
                      <a:pt x="921" y="656"/>
                    </a:lnTo>
                    <a:lnTo>
                      <a:pt x="926" y="665"/>
                    </a:lnTo>
                    <a:lnTo>
                      <a:pt x="933" y="677"/>
                    </a:lnTo>
                    <a:lnTo>
                      <a:pt x="942" y="690"/>
                    </a:lnTo>
                    <a:lnTo>
                      <a:pt x="930" y="692"/>
                    </a:lnTo>
                    <a:lnTo>
                      <a:pt x="916" y="694"/>
                    </a:lnTo>
                    <a:lnTo>
                      <a:pt x="901" y="696"/>
                    </a:lnTo>
                    <a:lnTo>
                      <a:pt x="894" y="696"/>
                    </a:lnTo>
                    <a:lnTo>
                      <a:pt x="884" y="697"/>
                    </a:lnTo>
                    <a:lnTo>
                      <a:pt x="867" y="701"/>
                    </a:lnTo>
                    <a:lnTo>
                      <a:pt x="850" y="702"/>
                    </a:lnTo>
                    <a:lnTo>
                      <a:pt x="848" y="702"/>
                    </a:lnTo>
                    <a:lnTo>
                      <a:pt x="846" y="704"/>
                    </a:lnTo>
                    <a:lnTo>
                      <a:pt x="845" y="718"/>
                    </a:lnTo>
                    <a:lnTo>
                      <a:pt x="828" y="743"/>
                    </a:lnTo>
                    <a:lnTo>
                      <a:pt x="826" y="747"/>
                    </a:lnTo>
                    <a:lnTo>
                      <a:pt x="831" y="752"/>
                    </a:lnTo>
                    <a:lnTo>
                      <a:pt x="831" y="753"/>
                    </a:lnTo>
                    <a:lnTo>
                      <a:pt x="835" y="759"/>
                    </a:lnTo>
                    <a:lnTo>
                      <a:pt x="835" y="764"/>
                    </a:lnTo>
                    <a:lnTo>
                      <a:pt x="836" y="770"/>
                    </a:lnTo>
                    <a:lnTo>
                      <a:pt x="835" y="774"/>
                    </a:lnTo>
                    <a:lnTo>
                      <a:pt x="831" y="781"/>
                    </a:lnTo>
                    <a:lnTo>
                      <a:pt x="833" y="782"/>
                    </a:lnTo>
                    <a:lnTo>
                      <a:pt x="831" y="784"/>
                    </a:lnTo>
                    <a:lnTo>
                      <a:pt x="831" y="789"/>
                    </a:lnTo>
                    <a:lnTo>
                      <a:pt x="829" y="793"/>
                    </a:lnTo>
                    <a:lnTo>
                      <a:pt x="831" y="796"/>
                    </a:lnTo>
                    <a:lnTo>
                      <a:pt x="831" y="799"/>
                    </a:lnTo>
                    <a:lnTo>
                      <a:pt x="833" y="803"/>
                    </a:lnTo>
                    <a:lnTo>
                      <a:pt x="831" y="804"/>
                    </a:lnTo>
                    <a:lnTo>
                      <a:pt x="833" y="806"/>
                    </a:lnTo>
                    <a:lnTo>
                      <a:pt x="831" y="806"/>
                    </a:lnTo>
                    <a:lnTo>
                      <a:pt x="833" y="808"/>
                    </a:lnTo>
                    <a:lnTo>
                      <a:pt x="835" y="810"/>
                    </a:lnTo>
                    <a:lnTo>
                      <a:pt x="833" y="811"/>
                    </a:lnTo>
                    <a:lnTo>
                      <a:pt x="835" y="813"/>
                    </a:lnTo>
                    <a:lnTo>
                      <a:pt x="835" y="815"/>
                    </a:lnTo>
                    <a:lnTo>
                      <a:pt x="833" y="815"/>
                    </a:lnTo>
                    <a:lnTo>
                      <a:pt x="833" y="816"/>
                    </a:lnTo>
                    <a:lnTo>
                      <a:pt x="831" y="816"/>
                    </a:lnTo>
                    <a:lnTo>
                      <a:pt x="831" y="818"/>
                    </a:lnTo>
                    <a:lnTo>
                      <a:pt x="831" y="820"/>
                    </a:lnTo>
                    <a:lnTo>
                      <a:pt x="828" y="823"/>
                    </a:lnTo>
                    <a:lnTo>
                      <a:pt x="828" y="828"/>
                    </a:lnTo>
                    <a:lnTo>
                      <a:pt x="826" y="830"/>
                    </a:lnTo>
                    <a:lnTo>
                      <a:pt x="826" y="832"/>
                    </a:lnTo>
                    <a:lnTo>
                      <a:pt x="824" y="837"/>
                    </a:lnTo>
                    <a:lnTo>
                      <a:pt x="824" y="838"/>
                    </a:lnTo>
                    <a:lnTo>
                      <a:pt x="824" y="842"/>
                    </a:lnTo>
                    <a:lnTo>
                      <a:pt x="824" y="844"/>
                    </a:lnTo>
                    <a:lnTo>
                      <a:pt x="824" y="845"/>
                    </a:lnTo>
                    <a:lnTo>
                      <a:pt x="823" y="845"/>
                    </a:lnTo>
                    <a:lnTo>
                      <a:pt x="823" y="850"/>
                    </a:lnTo>
                    <a:lnTo>
                      <a:pt x="821" y="850"/>
                    </a:lnTo>
                    <a:lnTo>
                      <a:pt x="821" y="852"/>
                    </a:lnTo>
                    <a:lnTo>
                      <a:pt x="819" y="855"/>
                    </a:lnTo>
                    <a:lnTo>
                      <a:pt x="819" y="859"/>
                    </a:lnTo>
                    <a:lnTo>
                      <a:pt x="819" y="861"/>
                    </a:lnTo>
                    <a:lnTo>
                      <a:pt x="821" y="864"/>
                    </a:lnTo>
                    <a:lnTo>
                      <a:pt x="821" y="866"/>
                    </a:lnTo>
                    <a:lnTo>
                      <a:pt x="823" y="867"/>
                    </a:lnTo>
                    <a:lnTo>
                      <a:pt x="821" y="867"/>
                    </a:lnTo>
                    <a:lnTo>
                      <a:pt x="823" y="871"/>
                    </a:lnTo>
                    <a:lnTo>
                      <a:pt x="823" y="872"/>
                    </a:lnTo>
                    <a:lnTo>
                      <a:pt x="823" y="874"/>
                    </a:lnTo>
                    <a:lnTo>
                      <a:pt x="824" y="872"/>
                    </a:lnTo>
                    <a:lnTo>
                      <a:pt x="824" y="876"/>
                    </a:lnTo>
                    <a:lnTo>
                      <a:pt x="829" y="878"/>
                    </a:lnTo>
                    <a:lnTo>
                      <a:pt x="831" y="878"/>
                    </a:lnTo>
                    <a:lnTo>
                      <a:pt x="831" y="879"/>
                    </a:lnTo>
                    <a:lnTo>
                      <a:pt x="835" y="881"/>
                    </a:lnTo>
                    <a:lnTo>
                      <a:pt x="836" y="881"/>
                    </a:lnTo>
                    <a:lnTo>
                      <a:pt x="838" y="881"/>
                    </a:lnTo>
                    <a:lnTo>
                      <a:pt x="840" y="884"/>
                    </a:lnTo>
                    <a:lnTo>
                      <a:pt x="841" y="886"/>
                    </a:lnTo>
                    <a:lnTo>
                      <a:pt x="843" y="889"/>
                    </a:lnTo>
                    <a:lnTo>
                      <a:pt x="846" y="891"/>
                    </a:lnTo>
                    <a:lnTo>
                      <a:pt x="852" y="896"/>
                    </a:lnTo>
                    <a:lnTo>
                      <a:pt x="853" y="901"/>
                    </a:lnTo>
                    <a:lnTo>
                      <a:pt x="855" y="901"/>
                    </a:lnTo>
                    <a:lnTo>
                      <a:pt x="857" y="901"/>
                    </a:lnTo>
                    <a:lnTo>
                      <a:pt x="860" y="900"/>
                    </a:lnTo>
                    <a:lnTo>
                      <a:pt x="863" y="901"/>
                    </a:lnTo>
                    <a:lnTo>
                      <a:pt x="863" y="900"/>
                    </a:lnTo>
                    <a:lnTo>
                      <a:pt x="865" y="901"/>
                    </a:lnTo>
                    <a:lnTo>
                      <a:pt x="865" y="903"/>
                    </a:lnTo>
                    <a:lnTo>
                      <a:pt x="867" y="903"/>
                    </a:lnTo>
                    <a:lnTo>
                      <a:pt x="870" y="903"/>
                    </a:lnTo>
                    <a:lnTo>
                      <a:pt x="875" y="905"/>
                    </a:lnTo>
                    <a:lnTo>
                      <a:pt x="877" y="903"/>
                    </a:lnTo>
                    <a:lnTo>
                      <a:pt x="877" y="901"/>
                    </a:lnTo>
                    <a:lnTo>
                      <a:pt x="875" y="901"/>
                    </a:lnTo>
                    <a:lnTo>
                      <a:pt x="874" y="898"/>
                    </a:lnTo>
                    <a:lnTo>
                      <a:pt x="875" y="895"/>
                    </a:lnTo>
                    <a:lnTo>
                      <a:pt x="877" y="893"/>
                    </a:lnTo>
                    <a:lnTo>
                      <a:pt x="879" y="891"/>
                    </a:lnTo>
                    <a:lnTo>
                      <a:pt x="884" y="893"/>
                    </a:lnTo>
                    <a:lnTo>
                      <a:pt x="886" y="893"/>
                    </a:lnTo>
                    <a:lnTo>
                      <a:pt x="887" y="891"/>
                    </a:lnTo>
                    <a:lnTo>
                      <a:pt x="889" y="889"/>
                    </a:lnTo>
                    <a:lnTo>
                      <a:pt x="892" y="889"/>
                    </a:lnTo>
                    <a:lnTo>
                      <a:pt x="892" y="898"/>
                    </a:lnTo>
                    <a:lnTo>
                      <a:pt x="892" y="939"/>
                    </a:lnTo>
                    <a:lnTo>
                      <a:pt x="892" y="956"/>
                    </a:lnTo>
                    <a:lnTo>
                      <a:pt x="891" y="954"/>
                    </a:lnTo>
                    <a:lnTo>
                      <a:pt x="887" y="956"/>
                    </a:lnTo>
                    <a:lnTo>
                      <a:pt x="884" y="954"/>
                    </a:lnTo>
                    <a:lnTo>
                      <a:pt x="882" y="952"/>
                    </a:lnTo>
                    <a:lnTo>
                      <a:pt x="880" y="951"/>
                    </a:lnTo>
                    <a:lnTo>
                      <a:pt x="884" y="949"/>
                    </a:lnTo>
                    <a:lnTo>
                      <a:pt x="884" y="947"/>
                    </a:lnTo>
                    <a:lnTo>
                      <a:pt x="886" y="946"/>
                    </a:lnTo>
                    <a:lnTo>
                      <a:pt x="884" y="944"/>
                    </a:lnTo>
                    <a:lnTo>
                      <a:pt x="880" y="944"/>
                    </a:lnTo>
                    <a:lnTo>
                      <a:pt x="877" y="944"/>
                    </a:lnTo>
                    <a:lnTo>
                      <a:pt x="872" y="949"/>
                    </a:lnTo>
                    <a:lnTo>
                      <a:pt x="869" y="949"/>
                    </a:lnTo>
                    <a:lnTo>
                      <a:pt x="869" y="951"/>
                    </a:lnTo>
                    <a:lnTo>
                      <a:pt x="867" y="949"/>
                    </a:lnTo>
                    <a:lnTo>
                      <a:pt x="865" y="951"/>
                    </a:lnTo>
                    <a:lnTo>
                      <a:pt x="862" y="954"/>
                    </a:lnTo>
                    <a:lnTo>
                      <a:pt x="860" y="954"/>
                    </a:lnTo>
                    <a:lnTo>
                      <a:pt x="858" y="952"/>
                    </a:lnTo>
                    <a:lnTo>
                      <a:pt x="857" y="951"/>
                    </a:lnTo>
                    <a:lnTo>
                      <a:pt x="852" y="954"/>
                    </a:lnTo>
                    <a:lnTo>
                      <a:pt x="850" y="954"/>
                    </a:lnTo>
                    <a:lnTo>
                      <a:pt x="850" y="951"/>
                    </a:lnTo>
                    <a:lnTo>
                      <a:pt x="848" y="951"/>
                    </a:lnTo>
                    <a:lnTo>
                      <a:pt x="846" y="941"/>
                    </a:lnTo>
                    <a:lnTo>
                      <a:pt x="843" y="941"/>
                    </a:lnTo>
                    <a:lnTo>
                      <a:pt x="843" y="937"/>
                    </a:lnTo>
                    <a:lnTo>
                      <a:pt x="841" y="937"/>
                    </a:lnTo>
                    <a:lnTo>
                      <a:pt x="843" y="935"/>
                    </a:lnTo>
                    <a:lnTo>
                      <a:pt x="841" y="932"/>
                    </a:lnTo>
                    <a:lnTo>
                      <a:pt x="840" y="930"/>
                    </a:lnTo>
                    <a:lnTo>
                      <a:pt x="840" y="929"/>
                    </a:lnTo>
                    <a:lnTo>
                      <a:pt x="838" y="929"/>
                    </a:lnTo>
                    <a:lnTo>
                      <a:pt x="836" y="927"/>
                    </a:lnTo>
                    <a:lnTo>
                      <a:pt x="833" y="924"/>
                    </a:lnTo>
                    <a:lnTo>
                      <a:pt x="831" y="924"/>
                    </a:lnTo>
                    <a:lnTo>
                      <a:pt x="829" y="927"/>
                    </a:lnTo>
                    <a:lnTo>
                      <a:pt x="828" y="927"/>
                    </a:lnTo>
                    <a:lnTo>
                      <a:pt x="828" y="924"/>
                    </a:lnTo>
                    <a:lnTo>
                      <a:pt x="823" y="918"/>
                    </a:lnTo>
                    <a:lnTo>
                      <a:pt x="824" y="917"/>
                    </a:lnTo>
                    <a:lnTo>
                      <a:pt x="826" y="917"/>
                    </a:lnTo>
                    <a:lnTo>
                      <a:pt x="826" y="913"/>
                    </a:lnTo>
                    <a:lnTo>
                      <a:pt x="823" y="910"/>
                    </a:lnTo>
                    <a:lnTo>
                      <a:pt x="823" y="908"/>
                    </a:lnTo>
                    <a:lnTo>
                      <a:pt x="821" y="907"/>
                    </a:lnTo>
                    <a:lnTo>
                      <a:pt x="816" y="903"/>
                    </a:lnTo>
                    <a:lnTo>
                      <a:pt x="814" y="903"/>
                    </a:lnTo>
                    <a:lnTo>
                      <a:pt x="812" y="903"/>
                    </a:lnTo>
                    <a:lnTo>
                      <a:pt x="811" y="903"/>
                    </a:lnTo>
                    <a:lnTo>
                      <a:pt x="809" y="901"/>
                    </a:lnTo>
                    <a:lnTo>
                      <a:pt x="806" y="903"/>
                    </a:lnTo>
                    <a:lnTo>
                      <a:pt x="804" y="900"/>
                    </a:lnTo>
                    <a:lnTo>
                      <a:pt x="801" y="900"/>
                    </a:lnTo>
                    <a:lnTo>
                      <a:pt x="799" y="898"/>
                    </a:lnTo>
                    <a:lnTo>
                      <a:pt x="797" y="900"/>
                    </a:lnTo>
                    <a:lnTo>
                      <a:pt x="797" y="898"/>
                    </a:lnTo>
                    <a:lnTo>
                      <a:pt x="795" y="896"/>
                    </a:lnTo>
                    <a:lnTo>
                      <a:pt x="795" y="895"/>
                    </a:lnTo>
                    <a:lnTo>
                      <a:pt x="790" y="893"/>
                    </a:lnTo>
                    <a:lnTo>
                      <a:pt x="790" y="895"/>
                    </a:lnTo>
                    <a:lnTo>
                      <a:pt x="789" y="895"/>
                    </a:lnTo>
                    <a:lnTo>
                      <a:pt x="787" y="896"/>
                    </a:lnTo>
                    <a:lnTo>
                      <a:pt x="782" y="895"/>
                    </a:lnTo>
                    <a:lnTo>
                      <a:pt x="780" y="893"/>
                    </a:lnTo>
                    <a:lnTo>
                      <a:pt x="777" y="891"/>
                    </a:lnTo>
                    <a:lnTo>
                      <a:pt x="775" y="888"/>
                    </a:lnTo>
                    <a:lnTo>
                      <a:pt x="775" y="886"/>
                    </a:lnTo>
                    <a:lnTo>
                      <a:pt x="773" y="883"/>
                    </a:lnTo>
                    <a:lnTo>
                      <a:pt x="773" y="879"/>
                    </a:lnTo>
                    <a:lnTo>
                      <a:pt x="767" y="874"/>
                    </a:lnTo>
                    <a:lnTo>
                      <a:pt x="763" y="872"/>
                    </a:lnTo>
                    <a:lnTo>
                      <a:pt x="760" y="871"/>
                    </a:lnTo>
                    <a:lnTo>
                      <a:pt x="761" y="864"/>
                    </a:lnTo>
                    <a:lnTo>
                      <a:pt x="760" y="861"/>
                    </a:lnTo>
                    <a:lnTo>
                      <a:pt x="756" y="862"/>
                    </a:lnTo>
                    <a:lnTo>
                      <a:pt x="755" y="861"/>
                    </a:lnTo>
                    <a:lnTo>
                      <a:pt x="750" y="862"/>
                    </a:lnTo>
                    <a:lnTo>
                      <a:pt x="751" y="867"/>
                    </a:lnTo>
                    <a:lnTo>
                      <a:pt x="750" y="871"/>
                    </a:lnTo>
                    <a:lnTo>
                      <a:pt x="750" y="874"/>
                    </a:lnTo>
                    <a:lnTo>
                      <a:pt x="746" y="878"/>
                    </a:lnTo>
                    <a:lnTo>
                      <a:pt x="743" y="881"/>
                    </a:lnTo>
                    <a:lnTo>
                      <a:pt x="739" y="881"/>
                    </a:lnTo>
                    <a:lnTo>
                      <a:pt x="738" y="879"/>
                    </a:lnTo>
                    <a:lnTo>
                      <a:pt x="734" y="881"/>
                    </a:lnTo>
                    <a:lnTo>
                      <a:pt x="729" y="881"/>
                    </a:lnTo>
                    <a:lnTo>
                      <a:pt x="726" y="881"/>
                    </a:lnTo>
                    <a:lnTo>
                      <a:pt x="724" y="879"/>
                    </a:lnTo>
                    <a:lnTo>
                      <a:pt x="722" y="878"/>
                    </a:lnTo>
                    <a:lnTo>
                      <a:pt x="719" y="878"/>
                    </a:lnTo>
                    <a:lnTo>
                      <a:pt x="716" y="879"/>
                    </a:lnTo>
                    <a:lnTo>
                      <a:pt x="714" y="879"/>
                    </a:lnTo>
                    <a:lnTo>
                      <a:pt x="709" y="878"/>
                    </a:lnTo>
                    <a:lnTo>
                      <a:pt x="699" y="879"/>
                    </a:lnTo>
                    <a:lnTo>
                      <a:pt x="697" y="876"/>
                    </a:lnTo>
                    <a:lnTo>
                      <a:pt x="693" y="876"/>
                    </a:lnTo>
                    <a:lnTo>
                      <a:pt x="692" y="872"/>
                    </a:lnTo>
                    <a:lnTo>
                      <a:pt x="688" y="872"/>
                    </a:lnTo>
                    <a:lnTo>
                      <a:pt x="685" y="872"/>
                    </a:lnTo>
                    <a:lnTo>
                      <a:pt x="682" y="871"/>
                    </a:lnTo>
                    <a:lnTo>
                      <a:pt x="682" y="867"/>
                    </a:lnTo>
                    <a:lnTo>
                      <a:pt x="673" y="871"/>
                    </a:lnTo>
                    <a:lnTo>
                      <a:pt x="673" y="867"/>
                    </a:lnTo>
                    <a:lnTo>
                      <a:pt x="673" y="866"/>
                    </a:lnTo>
                    <a:lnTo>
                      <a:pt x="670" y="866"/>
                    </a:lnTo>
                    <a:lnTo>
                      <a:pt x="668" y="864"/>
                    </a:lnTo>
                    <a:lnTo>
                      <a:pt x="666" y="864"/>
                    </a:lnTo>
                    <a:lnTo>
                      <a:pt x="665" y="862"/>
                    </a:lnTo>
                    <a:lnTo>
                      <a:pt x="663" y="859"/>
                    </a:lnTo>
                    <a:lnTo>
                      <a:pt x="663" y="857"/>
                    </a:lnTo>
                    <a:lnTo>
                      <a:pt x="665" y="855"/>
                    </a:lnTo>
                    <a:lnTo>
                      <a:pt x="661" y="850"/>
                    </a:lnTo>
                    <a:lnTo>
                      <a:pt x="663" y="849"/>
                    </a:lnTo>
                    <a:lnTo>
                      <a:pt x="663" y="847"/>
                    </a:lnTo>
                    <a:lnTo>
                      <a:pt x="665" y="845"/>
                    </a:lnTo>
                    <a:lnTo>
                      <a:pt x="665" y="844"/>
                    </a:lnTo>
                    <a:lnTo>
                      <a:pt x="666" y="840"/>
                    </a:lnTo>
                    <a:lnTo>
                      <a:pt x="663" y="840"/>
                    </a:lnTo>
                    <a:lnTo>
                      <a:pt x="659" y="842"/>
                    </a:lnTo>
                    <a:lnTo>
                      <a:pt x="653" y="844"/>
                    </a:lnTo>
                    <a:lnTo>
                      <a:pt x="641" y="844"/>
                    </a:lnTo>
                    <a:lnTo>
                      <a:pt x="641" y="845"/>
                    </a:lnTo>
                    <a:lnTo>
                      <a:pt x="636" y="847"/>
                    </a:lnTo>
                    <a:lnTo>
                      <a:pt x="634" y="847"/>
                    </a:lnTo>
                    <a:lnTo>
                      <a:pt x="632" y="849"/>
                    </a:lnTo>
                    <a:lnTo>
                      <a:pt x="631" y="850"/>
                    </a:lnTo>
                    <a:lnTo>
                      <a:pt x="627" y="852"/>
                    </a:lnTo>
                    <a:lnTo>
                      <a:pt x="627" y="854"/>
                    </a:lnTo>
                    <a:lnTo>
                      <a:pt x="619" y="854"/>
                    </a:lnTo>
                    <a:lnTo>
                      <a:pt x="617" y="852"/>
                    </a:lnTo>
                    <a:lnTo>
                      <a:pt x="612" y="850"/>
                    </a:lnTo>
                    <a:lnTo>
                      <a:pt x="615" y="849"/>
                    </a:lnTo>
                    <a:lnTo>
                      <a:pt x="617" y="844"/>
                    </a:lnTo>
                    <a:lnTo>
                      <a:pt x="617" y="835"/>
                    </a:lnTo>
                    <a:lnTo>
                      <a:pt x="614" y="833"/>
                    </a:lnTo>
                    <a:lnTo>
                      <a:pt x="610" y="833"/>
                    </a:lnTo>
                    <a:lnTo>
                      <a:pt x="607" y="832"/>
                    </a:lnTo>
                    <a:lnTo>
                      <a:pt x="605" y="833"/>
                    </a:lnTo>
                    <a:lnTo>
                      <a:pt x="603" y="827"/>
                    </a:lnTo>
                    <a:lnTo>
                      <a:pt x="600" y="825"/>
                    </a:lnTo>
                    <a:lnTo>
                      <a:pt x="597" y="825"/>
                    </a:lnTo>
                    <a:lnTo>
                      <a:pt x="595" y="828"/>
                    </a:lnTo>
                    <a:lnTo>
                      <a:pt x="591" y="830"/>
                    </a:lnTo>
                    <a:lnTo>
                      <a:pt x="590" y="833"/>
                    </a:lnTo>
                    <a:lnTo>
                      <a:pt x="585" y="830"/>
                    </a:lnTo>
                    <a:lnTo>
                      <a:pt x="580" y="832"/>
                    </a:lnTo>
                    <a:lnTo>
                      <a:pt x="580" y="830"/>
                    </a:lnTo>
                    <a:lnTo>
                      <a:pt x="576" y="830"/>
                    </a:lnTo>
                    <a:lnTo>
                      <a:pt x="573" y="828"/>
                    </a:lnTo>
                    <a:lnTo>
                      <a:pt x="571" y="828"/>
                    </a:lnTo>
                    <a:lnTo>
                      <a:pt x="566" y="828"/>
                    </a:lnTo>
                    <a:lnTo>
                      <a:pt x="556" y="837"/>
                    </a:lnTo>
                    <a:lnTo>
                      <a:pt x="554" y="835"/>
                    </a:lnTo>
                    <a:lnTo>
                      <a:pt x="551" y="837"/>
                    </a:lnTo>
                    <a:lnTo>
                      <a:pt x="549" y="835"/>
                    </a:lnTo>
                    <a:lnTo>
                      <a:pt x="542" y="835"/>
                    </a:lnTo>
                    <a:lnTo>
                      <a:pt x="540" y="833"/>
                    </a:lnTo>
                    <a:lnTo>
                      <a:pt x="535" y="837"/>
                    </a:lnTo>
                    <a:lnTo>
                      <a:pt x="532" y="837"/>
                    </a:lnTo>
                    <a:lnTo>
                      <a:pt x="530" y="835"/>
                    </a:lnTo>
                    <a:lnTo>
                      <a:pt x="527" y="833"/>
                    </a:lnTo>
                    <a:lnTo>
                      <a:pt x="522" y="833"/>
                    </a:lnTo>
                    <a:lnTo>
                      <a:pt x="520" y="833"/>
                    </a:lnTo>
                    <a:lnTo>
                      <a:pt x="522" y="837"/>
                    </a:lnTo>
                    <a:lnTo>
                      <a:pt x="518" y="840"/>
                    </a:lnTo>
                    <a:lnTo>
                      <a:pt x="513" y="840"/>
                    </a:lnTo>
                    <a:lnTo>
                      <a:pt x="512" y="844"/>
                    </a:lnTo>
                    <a:lnTo>
                      <a:pt x="508" y="844"/>
                    </a:lnTo>
                    <a:lnTo>
                      <a:pt x="510" y="840"/>
                    </a:lnTo>
                    <a:lnTo>
                      <a:pt x="508" y="838"/>
                    </a:lnTo>
                    <a:lnTo>
                      <a:pt x="506" y="837"/>
                    </a:lnTo>
                    <a:lnTo>
                      <a:pt x="506" y="828"/>
                    </a:lnTo>
                    <a:lnTo>
                      <a:pt x="505" y="825"/>
                    </a:lnTo>
                    <a:lnTo>
                      <a:pt x="506" y="821"/>
                    </a:lnTo>
                    <a:lnTo>
                      <a:pt x="510" y="820"/>
                    </a:lnTo>
                    <a:lnTo>
                      <a:pt x="512" y="820"/>
                    </a:lnTo>
                    <a:lnTo>
                      <a:pt x="513" y="818"/>
                    </a:lnTo>
                    <a:lnTo>
                      <a:pt x="512" y="815"/>
                    </a:lnTo>
                    <a:lnTo>
                      <a:pt x="512" y="813"/>
                    </a:lnTo>
                    <a:lnTo>
                      <a:pt x="512" y="808"/>
                    </a:lnTo>
                    <a:lnTo>
                      <a:pt x="510" y="806"/>
                    </a:lnTo>
                    <a:lnTo>
                      <a:pt x="512" y="799"/>
                    </a:lnTo>
                    <a:lnTo>
                      <a:pt x="506" y="789"/>
                    </a:lnTo>
                    <a:lnTo>
                      <a:pt x="506" y="781"/>
                    </a:lnTo>
                    <a:lnTo>
                      <a:pt x="505" y="776"/>
                    </a:lnTo>
                    <a:lnTo>
                      <a:pt x="501" y="774"/>
                    </a:lnTo>
                    <a:lnTo>
                      <a:pt x="500" y="774"/>
                    </a:lnTo>
                    <a:lnTo>
                      <a:pt x="498" y="772"/>
                    </a:lnTo>
                    <a:lnTo>
                      <a:pt x="496" y="770"/>
                    </a:lnTo>
                    <a:lnTo>
                      <a:pt x="496" y="767"/>
                    </a:lnTo>
                    <a:lnTo>
                      <a:pt x="495" y="769"/>
                    </a:lnTo>
                    <a:lnTo>
                      <a:pt x="495" y="767"/>
                    </a:lnTo>
                    <a:lnTo>
                      <a:pt x="493" y="765"/>
                    </a:lnTo>
                    <a:lnTo>
                      <a:pt x="493" y="764"/>
                    </a:lnTo>
                    <a:lnTo>
                      <a:pt x="489" y="762"/>
                    </a:lnTo>
                    <a:lnTo>
                      <a:pt x="489" y="759"/>
                    </a:lnTo>
                    <a:lnTo>
                      <a:pt x="488" y="755"/>
                    </a:lnTo>
                    <a:lnTo>
                      <a:pt x="488" y="753"/>
                    </a:lnTo>
                    <a:lnTo>
                      <a:pt x="486" y="750"/>
                    </a:lnTo>
                    <a:lnTo>
                      <a:pt x="486" y="748"/>
                    </a:lnTo>
                    <a:lnTo>
                      <a:pt x="486" y="747"/>
                    </a:lnTo>
                    <a:lnTo>
                      <a:pt x="489" y="742"/>
                    </a:lnTo>
                    <a:lnTo>
                      <a:pt x="489" y="738"/>
                    </a:lnTo>
                    <a:lnTo>
                      <a:pt x="488" y="735"/>
                    </a:lnTo>
                    <a:lnTo>
                      <a:pt x="488" y="733"/>
                    </a:lnTo>
                    <a:lnTo>
                      <a:pt x="488" y="731"/>
                    </a:lnTo>
                    <a:lnTo>
                      <a:pt x="488" y="724"/>
                    </a:lnTo>
                    <a:lnTo>
                      <a:pt x="489" y="723"/>
                    </a:lnTo>
                    <a:lnTo>
                      <a:pt x="491" y="719"/>
                    </a:lnTo>
                    <a:lnTo>
                      <a:pt x="491" y="714"/>
                    </a:lnTo>
                    <a:lnTo>
                      <a:pt x="491" y="713"/>
                    </a:lnTo>
                    <a:lnTo>
                      <a:pt x="491" y="711"/>
                    </a:lnTo>
                    <a:lnTo>
                      <a:pt x="493" y="709"/>
                    </a:lnTo>
                    <a:lnTo>
                      <a:pt x="491" y="709"/>
                    </a:lnTo>
                    <a:lnTo>
                      <a:pt x="493" y="707"/>
                    </a:lnTo>
                    <a:lnTo>
                      <a:pt x="493" y="706"/>
                    </a:lnTo>
                    <a:lnTo>
                      <a:pt x="493" y="704"/>
                    </a:lnTo>
                    <a:lnTo>
                      <a:pt x="493" y="701"/>
                    </a:lnTo>
                    <a:lnTo>
                      <a:pt x="491" y="699"/>
                    </a:lnTo>
                    <a:lnTo>
                      <a:pt x="491" y="697"/>
                    </a:lnTo>
                    <a:lnTo>
                      <a:pt x="493" y="696"/>
                    </a:lnTo>
                    <a:lnTo>
                      <a:pt x="493" y="694"/>
                    </a:lnTo>
                    <a:lnTo>
                      <a:pt x="491" y="694"/>
                    </a:lnTo>
                    <a:lnTo>
                      <a:pt x="489" y="689"/>
                    </a:lnTo>
                    <a:lnTo>
                      <a:pt x="488" y="685"/>
                    </a:lnTo>
                    <a:lnTo>
                      <a:pt x="486" y="682"/>
                    </a:lnTo>
                    <a:lnTo>
                      <a:pt x="484" y="680"/>
                    </a:lnTo>
                    <a:lnTo>
                      <a:pt x="484" y="677"/>
                    </a:lnTo>
                    <a:lnTo>
                      <a:pt x="483" y="675"/>
                    </a:lnTo>
                    <a:lnTo>
                      <a:pt x="484" y="673"/>
                    </a:lnTo>
                    <a:lnTo>
                      <a:pt x="484" y="668"/>
                    </a:lnTo>
                    <a:lnTo>
                      <a:pt x="486" y="665"/>
                    </a:lnTo>
                    <a:lnTo>
                      <a:pt x="486" y="662"/>
                    </a:lnTo>
                    <a:lnTo>
                      <a:pt x="488" y="662"/>
                    </a:lnTo>
                    <a:lnTo>
                      <a:pt x="488" y="660"/>
                    </a:lnTo>
                    <a:lnTo>
                      <a:pt x="488" y="658"/>
                    </a:lnTo>
                    <a:lnTo>
                      <a:pt x="489" y="656"/>
                    </a:lnTo>
                    <a:lnTo>
                      <a:pt x="488" y="655"/>
                    </a:lnTo>
                    <a:lnTo>
                      <a:pt x="489" y="653"/>
                    </a:lnTo>
                    <a:lnTo>
                      <a:pt x="488" y="651"/>
                    </a:lnTo>
                    <a:lnTo>
                      <a:pt x="489" y="650"/>
                    </a:lnTo>
                    <a:lnTo>
                      <a:pt x="488" y="650"/>
                    </a:lnTo>
                    <a:lnTo>
                      <a:pt x="488" y="648"/>
                    </a:lnTo>
                    <a:lnTo>
                      <a:pt x="488" y="645"/>
                    </a:lnTo>
                    <a:lnTo>
                      <a:pt x="486" y="645"/>
                    </a:lnTo>
                    <a:lnTo>
                      <a:pt x="486" y="643"/>
                    </a:lnTo>
                    <a:lnTo>
                      <a:pt x="461" y="643"/>
                    </a:lnTo>
                    <a:lnTo>
                      <a:pt x="445" y="643"/>
                    </a:lnTo>
                    <a:lnTo>
                      <a:pt x="437" y="643"/>
                    </a:lnTo>
                    <a:lnTo>
                      <a:pt x="423" y="643"/>
                    </a:lnTo>
                    <a:lnTo>
                      <a:pt x="423" y="639"/>
                    </a:lnTo>
                    <a:lnTo>
                      <a:pt x="423" y="636"/>
                    </a:lnTo>
                    <a:lnTo>
                      <a:pt x="421" y="636"/>
                    </a:lnTo>
                    <a:lnTo>
                      <a:pt x="425" y="631"/>
                    </a:lnTo>
                    <a:lnTo>
                      <a:pt x="427" y="624"/>
                    </a:lnTo>
                    <a:lnTo>
                      <a:pt x="411" y="624"/>
                    </a:lnTo>
                    <a:lnTo>
                      <a:pt x="410" y="628"/>
                    </a:lnTo>
                    <a:lnTo>
                      <a:pt x="393" y="628"/>
                    </a:lnTo>
                    <a:lnTo>
                      <a:pt x="372" y="628"/>
                    </a:lnTo>
                    <a:lnTo>
                      <a:pt x="372" y="631"/>
                    </a:lnTo>
                    <a:lnTo>
                      <a:pt x="369" y="636"/>
                    </a:lnTo>
                    <a:lnTo>
                      <a:pt x="370" y="641"/>
                    </a:lnTo>
                    <a:lnTo>
                      <a:pt x="369" y="645"/>
                    </a:lnTo>
                    <a:lnTo>
                      <a:pt x="369" y="646"/>
                    </a:lnTo>
                    <a:lnTo>
                      <a:pt x="369" y="648"/>
                    </a:lnTo>
                    <a:lnTo>
                      <a:pt x="370" y="648"/>
                    </a:lnTo>
                    <a:lnTo>
                      <a:pt x="370" y="650"/>
                    </a:lnTo>
                    <a:lnTo>
                      <a:pt x="370" y="651"/>
                    </a:lnTo>
                    <a:lnTo>
                      <a:pt x="369" y="653"/>
                    </a:lnTo>
                    <a:lnTo>
                      <a:pt x="369" y="655"/>
                    </a:lnTo>
                    <a:lnTo>
                      <a:pt x="369" y="658"/>
                    </a:lnTo>
                    <a:lnTo>
                      <a:pt x="364" y="658"/>
                    </a:lnTo>
                    <a:lnTo>
                      <a:pt x="362" y="658"/>
                    </a:lnTo>
                    <a:lnTo>
                      <a:pt x="365" y="663"/>
                    </a:lnTo>
                    <a:lnTo>
                      <a:pt x="364" y="668"/>
                    </a:lnTo>
                    <a:lnTo>
                      <a:pt x="362" y="670"/>
                    </a:lnTo>
                    <a:lnTo>
                      <a:pt x="362" y="672"/>
                    </a:lnTo>
                    <a:lnTo>
                      <a:pt x="362" y="673"/>
                    </a:lnTo>
                    <a:lnTo>
                      <a:pt x="362" y="675"/>
                    </a:lnTo>
                    <a:lnTo>
                      <a:pt x="362" y="677"/>
                    </a:lnTo>
                    <a:lnTo>
                      <a:pt x="364" y="679"/>
                    </a:lnTo>
                    <a:lnTo>
                      <a:pt x="333" y="679"/>
                    </a:lnTo>
                    <a:lnTo>
                      <a:pt x="333" y="677"/>
                    </a:lnTo>
                    <a:lnTo>
                      <a:pt x="333" y="675"/>
                    </a:lnTo>
                    <a:lnTo>
                      <a:pt x="321" y="675"/>
                    </a:lnTo>
                    <a:lnTo>
                      <a:pt x="319" y="679"/>
                    </a:lnTo>
                    <a:lnTo>
                      <a:pt x="314" y="679"/>
                    </a:lnTo>
                    <a:lnTo>
                      <a:pt x="311" y="680"/>
                    </a:lnTo>
                    <a:lnTo>
                      <a:pt x="309" y="680"/>
                    </a:lnTo>
                    <a:lnTo>
                      <a:pt x="308" y="679"/>
                    </a:lnTo>
                    <a:lnTo>
                      <a:pt x="304" y="677"/>
                    </a:lnTo>
                    <a:lnTo>
                      <a:pt x="302" y="679"/>
                    </a:lnTo>
                    <a:lnTo>
                      <a:pt x="301" y="680"/>
                    </a:lnTo>
                    <a:lnTo>
                      <a:pt x="299" y="680"/>
                    </a:lnTo>
                    <a:lnTo>
                      <a:pt x="297" y="682"/>
                    </a:lnTo>
                    <a:lnTo>
                      <a:pt x="299" y="684"/>
                    </a:lnTo>
                    <a:lnTo>
                      <a:pt x="292" y="684"/>
                    </a:lnTo>
                    <a:lnTo>
                      <a:pt x="287" y="684"/>
                    </a:lnTo>
                    <a:lnTo>
                      <a:pt x="284" y="685"/>
                    </a:lnTo>
                    <a:lnTo>
                      <a:pt x="279" y="684"/>
                    </a:lnTo>
                    <a:lnTo>
                      <a:pt x="274" y="685"/>
                    </a:lnTo>
                    <a:lnTo>
                      <a:pt x="272" y="685"/>
                    </a:lnTo>
                    <a:lnTo>
                      <a:pt x="268" y="684"/>
                    </a:lnTo>
                    <a:lnTo>
                      <a:pt x="268" y="682"/>
                    </a:lnTo>
                    <a:lnTo>
                      <a:pt x="270" y="682"/>
                    </a:lnTo>
                    <a:lnTo>
                      <a:pt x="268" y="679"/>
                    </a:lnTo>
                    <a:lnTo>
                      <a:pt x="267" y="679"/>
                    </a:lnTo>
                    <a:lnTo>
                      <a:pt x="267" y="677"/>
                    </a:lnTo>
                    <a:lnTo>
                      <a:pt x="265" y="675"/>
                    </a:lnTo>
                    <a:lnTo>
                      <a:pt x="265" y="672"/>
                    </a:lnTo>
                    <a:lnTo>
                      <a:pt x="263" y="672"/>
                    </a:lnTo>
                    <a:lnTo>
                      <a:pt x="263" y="670"/>
                    </a:lnTo>
                    <a:lnTo>
                      <a:pt x="262" y="670"/>
                    </a:lnTo>
                    <a:lnTo>
                      <a:pt x="263" y="670"/>
                    </a:lnTo>
                    <a:lnTo>
                      <a:pt x="262" y="670"/>
                    </a:lnTo>
                    <a:lnTo>
                      <a:pt x="262" y="668"/>
                    </a:lnTo>
                    <a:lnTo>
                      <a:pt x="260" y="668"/>
                    </a:lnTo>
                    <a:lnTo>
                      <a:pt x="260" y="667"/>
                    </a:lnTo>
                    <a:lnTo>
                      <a:pt x="258" y="667"/>
                    </a:lnTo>
                    <a:lnTo>
                      <a:pt x="260" y="665"/>
                    </a:lnTo>
                    <a:lnTo>
                      <a:pt x="257" y="663"/>
                    </a:lnTo>
                    <a:lnTo>
                      <a:pt x="258" y="663"/>
                    </a:lnTo>
                    <a:lnTo>
                      <a:pt x="258" y="660"/>
                    </a:lnTo>
                    <a:lnTo>
                      <a:pt x="255" y="658"/>
                    </a:lnTo>
                    <a:lnTo>
                      <a:pt x="253" y="658"/>
                    </a:lnTo>
                    <a:lnTo>
                      <a:pt x="253" y="655"/>
                    </a:lnTo>
                    <a:lnTo>
                      <a:pt x="253" y="653"/>
                    </a:lnTo>
                    <a:lnTo>
                      <a:pt x="250" y="651"/>
                    </a:lnTo>
                    <a:lnTo>
                      <a:pt x="251" y="650"/>
                    </a:lnTo>
                    <a:lnTo>
                      <a:pt x="250" y="648"/>
                    </a:lnTo>
                    <a:lnTo>
                      <a:pt x="250" y="650"/>
                    </a:lnTo>
                    <a:lnTo>
                      <a:pt x="248" y="650"/>
                    </a:lnTo>
                    <a:lnTo>
                      <a:pt x="248" y="646"/>
                    </a:lnTo>
                    <a:lnTo>
                      <a:pt x="245" y="645"/>
                    </a:lnTo>
                    <a:lnTo>
                      <a:pt x="245" y="643"/>
                    </a:lnTo>
                    <a:lnTo>
                      <a:pt x="241" y="643"/>
                    </a:lnTo>
                    <a:lnTo>
                      <a:pt x="241" y="641"/>
                    </a:lnTo>
                    <a:lnTo>
                      <a:pt x="240" y="639"/>
                    </a:lnTo>
                    <a:lnTo>
                      <a:pt x="240" y="638"/>
                    </a:lnTo>
                    <a:lnTo>
                      <a:pt x="238" y="633"/>
                    </a:lnTo>
                    <a:lnTo>
                      <a:pt x="240" y="634"/>
                    </a:lnTo>
                    <a:lnTo>
                      <a:pt x="241" y="631"/>
                    </a:lnTo>
                    <a:lnTo>
                      <a:pt x="240" y="631"/>
                    </a:lnTo>
                    <a:lnTo>
                      <a:pt x="240" y="629"/>
                    </a:lnTo>
                    <a:lnTo>
                      <a:pt x="238" y="629"/>
                    </a:lnTo>
                    <a:lnTo>
                      <a:pt x="238" y="624"/>
                    </a:lnTo>
                    <a:lnTo>
                      <a:pt x="236" y="622"/>
                    </a:lnTo>
                    <a:lnTo>
                      <a:pt x="234" y="622"/>
                    </a:lnTo>
                    <a:lnTo>
                      <a:pt x="234" y="619"/>
                    </a:lnTo>
                    <a:lnTo>
                      <a:pt x="233" y="617"/>
                    </a:lnTo>
                    <a:lnTo>
                      <a:pt x="233" y="614"/>
                    </a:lnTo>
                    <a:lnTo>
                      <a:pt x="231" y="614"/>
                    </a:lnTo>
                    <a:lnTo>
                      <a:pt x="231" y="609"/>
                    </a:lnTo>
                    <a:lnTo>
                      <a:pt x="229" y="607"/>
                    </a:lnTo>
                    <a:lnTo>
                      <a:pt x="229" y="604"/>
                    </a:lnTo>
                    <a:lnTo>
                      <a:pt x="228" y="602"/>
                    </a:lnTo>
                    <a:lnTo>
                      <a:pt x="229" y="600"/>
                    </a:lnTo>
                    <a:lnTo>
                      <a:pt x="228" y="599"/>
                    </a:lnTo>
                    <a:lnTo>
                      <a:pt x="229" y="599"/>
                    </a:lnTo>
                    <a:lnTo>
                      <a:pt x="226" y="597"/>
                    </a:lnTo>
                    <a:lnTo>
                      <a:pt x="228" y="595"/>
                    </a:lnTo>
                    <a:lnTo>
                      <a:pt x="226" y="595"/>
                    </a:lnTo>
                    <a:lnTo>
                      <a:pt x="228" y="595"/>
                    </a:lnTo>
                    <a:lnTo>
                      <a:pt x="228" y="594"/>
                    </a:lnTo>
                    <a:lnTo>
                      <a:pt x="228" y="588"/>
                    </a:lnTo>
                    <a:lnTo>
                      <a:pt x="229" y="587"/>
                    </a:lnTo>
                    <a:lnTo>
                      <a:pt x="228" y="583"/>
                    </a:lnTo>
                    <a:lnTo>
                      <a:pt x="226" y="583"/>
                    </a:lnTo>
                    <a:lnTo>
                      <a:pt x="226" y="582"/>
                    </a:lnTo>
                    <a:lnTo>
                      <a:pt x="224" y="583"/>
                    </a:lnTo>
                    <a:lnTo>
                      <a:pt x="224" y="582"/>
                    </a:lnTo>
                    <a:lnTo>
                      <a:pt x="223" y="580"/>
                    </a:lnTo>
                    <a:lnTo>
                      <a:pt x="224" y="580"/>
                    </a:lnTo>
                    <a:lnTo>
                      <a:pt x="223" y="580"/>
                    </a:lnTo>
                    <a:lnTo>
                      <a:pt x="223" y="576"/>
                    </a:lnTo>
                    <a:lnTo>
                      <a:pt x="223" y="575"/>
                    </a:lnTo>
                    <a:lnTo>
                      <a:pt x="221" y="575"/>
                    </a:lnTo>
                    <a:lnTo>
                      <a:pt x="221" y="571"/>
                    </a:lnTo>
                    <a:lnTo>
                      <a:pt x="217" y="570"/>
                    </a:lnTo>
                    <a:lnTo>
                      <a:pt x="214" y="571"/>
                    </a:lnTo>
                    <a:lnTo>
                      <a:pt x="211" y="570"/>
                    </a:lnTo>
                    <a:lnTo>
                      <a:pt x="209" y="571"/>
                    </a:lnTo>
                    <a:lnTo>
                      <a:pt x="200" y="571"/>
                    </a:lnTo>
                    <a:lnTo>
                      <a:pt x="183" y="571"/>
                    </a:lnTo>
                    <a:lnTo>
                      <a:pt x="175" y="570"/>
                    </a:lnTo>
                    <a:lnTo>
                      <a:pt x="163" y="571"/>
                    </a:lnTo>
                    <a:lnTo>
                      <a:pt x="151" y="571"/>
                    </a:lnTo>
                    <a:lnTo>
                      <a:pt x="139" y="571"/>
                    </a:lnTo>
                    <a:lnTo>
                      <a:pt x="126" y="571"/>
                    </a:lnTo>
                    <a:lnTo>
                      <a:pt x="122" y="573"/>
                    </a:lnTo>
                    <a:lnTo>
                      <a:pt x="115" y="571"/>
                    </a:lnTo>
                    <a:lnTo>
                      <a:pt x="114" y="573"/>
                    </a:lnTo>
                    <a:lnTo>
                      <a:pt x="109" y="571"/>
                    </a:lnTo>
                    <a:lnTo>
                      <a:pt x="107" y="571"/>
                    </a:lnTo>
                    <a:lnTo>
                      <a:pt x="105" y="570"/>
                    </a:lnTo>
                    <a:lnTo>
                      <a:pt x="104" y="571"/>
                    </a:lnTo>
                    <a:lnTo>
                      <a:pt x="102" y="571"/>
                    </a:lnTo>
                    <a:lnTo>
                      <a:pt x="100" y="570"/>
                    </a:lnTo>
                    <a:lnTo>
                      <a:pt x="97" y="570"/>
                    </a:lnTo>
                    <a:lnTo>
                      <a:pt x="93" y="570"/>
                    </a:lnTo>
                    <a:lnTo>
                      <a:pt x="92" y="570"/>
                    </a:lnTo>
                    <a:lnTo>
                      <a:pt x="88" y="570"/>
                    </a:lnTo>
                    <a:lnTo>
                      <a:pt x="80" y="571"/>
                    </a:lnTo>
                    <a:lnTo>
                      <a:pt x="70" y="571"/>
                    </a:lnTo>
                    <a:lnTo>
                      <a:pt x="68" y="571"/>
                    </a:lnTo>
                    <a:lnTo>
                      <a:pt x="66" y="571"/>
                    </a:lnTo>
                    <a:lnTo>
                      <a:pt x="61" y="570"/>
                    </a:lnTo>
                    <a:lnTo>
                      <a:pt x="59" y="571"/>
                    </a:lnTo>
                    <a:lnTo>
                      <a:pt x="58" y="573"/>
                    </a:lnTo>
                    <a:lnTo>
                      <a:pt x="53" y="571"/>
                    </a:lnTo>
                    <a:lnTo>
                      <a:pt x="47" y="571"/>
                    </a:lnTo>
                    <a:lnTo>
                      <a:pt x="46" y="573"/>
                    </a:lnTo>
                    <a:lnTo>
                      <a:pt x="46" y="571"/>
                    </a:lnTo>
                    <a:lnTo>
                      <a:pt x="44" y="571"/>
                    </a:lnTo>
                    <a:lnTo>
                      <a:pt x="36" y="570"/>
                    </a:lnTo>
                    <a:lnTo>
                      <a:pt x="29" y="571"/>
                    </a:lnTo>
                    <a:lnTo>
                      <a:pt x="27" y="575"/>
                    </a:lnTo>
                    <a:lnTo>
                      <a:pt x="27" y="576"/>
                    </a:lnTo>
                    <a:lnTo>
                      <a:pt x="25" y="578"/>
                    </a:lnTo>
                    <a:lnTo>
                      <a:pt x="20" y="578"/>
                    </a:lnTo>
                    <a:lnTo>
                      <a:pt x="20" y="576"/>
                    </a:lnTo>
                    <a:lnTo>
                      <a:pt x="19" y="578"/>
                    </a:lnTo>
                    <a:lnTo>
                      <a:pt x="17" y="580"/>
                    </a:lnTo>
                    <a:lnTo>
                      <a:pt x="12" y="580"/>
                    </a:lnTo>
                    <a:lnTo>
                      <a:pt x="15" y="578"/>
                    </a:lnTo>
                    <a:lnTo>
                      <a:pt x="13" y="576"/>
                    </a:lnTo>
                    <a:lnTo>
                      <a:pt x="10" y="576"/>
                    </a:lnTo>
                    <a:lnTo>
                      <a:pt x="10" y="578"/>
                    </a:lnTo>
                    <a:lnTo>
                      <a:pt x="7" y="573"/>
                    </a:lnTo>
                    <a:lnTo>
                      <a:pt x="5" y="571"/>
                    </a:lnTo>
                    <a:lnTo>
                      <a:pt x="0" y="566"/>
                    </a:lnTo>
                    <a:lnTo>
                      <a:pt x="0" y="565"/>
                    </a:lnTo>
                    <a:lnTo>
                      <a:pt x="5" y="565"/>
                    </a:lnTo>
                    <a:lnTo>
                      <a:pt x="17" y="565"/>
                    </a:lnTo>
                    <a:lnTo>
                      <a:pt x="17" y="559"/>
                    </a:lnTo>
                    <a:lnTo>
                      <a:pt x="17" y="536"/>
                    </a:lnTo>
                    <a:lnTo>
                      <a:pt x="15" y="536"/>
                    </a:lnTo>
                    <a:lnTo>
                      <a:pt x="17" y="534"/>
                    </a:lnTo>
                    <a:lnTo>
                      <a:pt x="15" y="534"/>
                    </a:lnTo>
                    <a:lnTo>
                      <a:pt x="13" y="532"/>
                    </a:lnTo>
                    <a:lnTo>
                      <a:pt x="15" y="529"/>
                    </a:lnTo>
                    <a:lnTo>
                      <a:pt x="17" y="531"/>
                    </a:lnTo>
                    <a:lnTo>
                      <a:pt x="17" y="529"/>
                    </a:lnTo>
                    <a:lnTo>
                      <a:pt x="19" y="529"/>
                    </a:lnTo>
                    <a:lnTo>
                      <a:pt x="20" y="529"/>
                    </a:lnTo>
                    <a:lnTo>
                      <a:pt x="22" y="524"/>
                    </a:lnTo>
                    <a:lnTo>
                      <a:pt x="24" y="525"/>
                    </a:lnTo>
                    <a:lnTo>
                      <a:pt x="25" y="524"/>
                    </a:lnTo>
                    <a:lnTo>
                      <a:pt x="27" y="522"/>
                    </a:lnTo>
                    <a:lnTo>
                      <a:pt x="29" y="520"/>
                    </a:lnTo>
                    <a:lnTo>
                      <a:pt x="30" y="519"/>
                    </a:lnTo>
                    <a:lnTo>
                      <a:pt x="32" y="514"/>
                    </a:lnTo>
                    <a:lnTo>
                      <a:pt x="34" y="515"/>
                    </a:lnTo>
                    <a:lnTo>
                      <a:pt x="34" y="514"/>
                    </a:lnTo>
                    <a:lnTo>
                      <a:pt x="36" y="514"/>
                    </a:lnTo>
                    <a:lnTo>
                      <a:pt x="37" y="514"/>
                    </a:lnTo>
                    <a:lnTo>
                      <a:pt x="39" y="512"/>
                    </a:lnTo>
                    <a:lnTo>
                      <a:pt x="42" y="512"/>
                    </a:lnTo>
                    <a:lnTo>
                      <a:pt x="42" y="510"/>
                    </a:lnTo>
                    <a:lnTo>
                      <a:pt x="46" y="512"/>
                    </a:lnTo>
                    <a:lnTo>
                      <a:pt x="46" y="510"/>
                    </a:lnTo>
                    <a:lnTo>
                      <a:pt x="46" y="508"/>
                    </a:lnTo>
                    <a:lnTo>
                      <a:pt x="46" y="507"/>
                    </a:lnTo>
                    <a:lnTo>
                      <a:pt x="46" y="505"/>
                    </a:lnTo>
                    <a:lnTo>
                      <a:pt x="47" y="507"/>
                    </a:lnTo>
                    <a:lnTo>
                      <a:pt x="47" y="508"/>
                    </a:lnTo>
                    <a:lnTo>
                      <a:pt x="53" y="512"/>
                    </a:lnTo>
                    <a:lnTo>
                      <a:pt x="53" y="514"/>
                    </a:lnTo>
                    <a:lnTo>
                      <a:pt x="54" y="515"/>
                    </a:lnTo>
                    <a:lnTo>
                      <a:pt x="56" y="515"/>
                    </a:lnTo>
                    <a:lnTo>
                      <a:pt x="58" y="515"/>
                    </a:lnTo>
                    <a:lnTo>
                      <a:pt x="59" y="517"/>
                    </a:lnTo>
                    <a:lnTo>
                      <a:pt x="59" y="520"/>
                    </a:lnTo>
                    <a:lnTo>
                      <a:pt x="61" y="522"/>
                    </a:lnTo>
                    <a:lnTo>
                      <a:pt x="61" y="520"/>
                    </a:lnTo>
                    <a:lnTo>
                      <a:pt x="64" y="520"/>
                    </a:lnTo>
                    <a:lnTo>
                      <a:pt x="66" y="519"/>
                    </a:lnTo>
                    <a:lnTo>
                      <a:pt x="66" y="517"/>
                    </a:lnTo>
                    <a:lnTo>
                      <a:pt x="66" y="515"/>
                    </a:lnTo>
                    <a:lnTo>
                      <a:pt x="68" y="515"/>
                    </a:lnTo>
                    <a:lnTo>
                      <a:pt x="68" y="517"/>
                    </a:lnTo>
                    <a:lnTo>
                      <a:pt x="71" y="517"/>
                    </a:lnTo>
                    <a:lnTo>
                      <a:pt x="71" y="515"/>
                    </a:lnTo>
                    <a:lnTo>
                      <a:pt x="73" y="515"/>
                    </a:lnTo>
                    <a:lnTo>
                      <a:pt x="71" y="514"/>
                    </a:lnTo>
                    <a:lnTo>
                      <a:pt x="73" y="514"/>
                    </a:lnTo>
                    <a:lnTo>
                      <a:pt x="75" y="515"/>
                    </a:lnTo>
                    <a:lnTo>
                      <a:pt x="75" y="514"/>
                    </a:lnTo>
                    <a:lnTo>
                      <a:pt x="75" y="512"/>
                    </a:lnTo>
                    <a:lnTo>
                      <a:pt x="76" y="512"/>
                    </a:lnTo>
                    <a:lnTo>
                      <a:pt x="76" y="508"/>
                    </a:lnTo>
                    <a:lnTo>
                      <a:pt x="78" y="505"/>
                    </a:lnTo>
                    <a:lnTo>
                      <a:pt x="78" y="498"/>
                    </a:lnTo>
                    <a:lnTo>
                      <a:pt x="81" y="498"/>
                    </a:lnTo>
                    <a:lnTo>
                      <a:pt x="83" y="498"/>
                    </a:lnTo>
                    <a:lnTo>
                      <a:pt x="85" y="502"/>
                    </a:lnTo>
                    <a:lnTo>
                      <a:pt x="88" y="502"/>
                    </a:lnTo>
                    <a:lnTo>
                      <a:pt x="90" y="502"/>
                    </a:lnTo>
                    <a:lnTo>
                      <a:pt x="90" y="500"/>
                    </a:lnTo>
                    <a:lnTo>
                      <a:pt x="92" y="498"/>
                    </a:lnTo>
                    <a:lnTo>
                      <a:pt x="95" y="497"/>
                    </a:lnTo>
                    <a:lnTo>
                      <a:pt x="100" y="497"/>
                    </a:lnTo>
                    <a:lnTo>
                      <a:pt x="104" y="495"/>
                    </a:lnTo>
                    <a:lnTo>
                      <a:pt x="105" y="493"/>
                    </a:lnTo>
                    <a:lnTo>
                      <a:pt x="109" y="491"/>
                    </a:lnTo>
                    <a:lnTo>
                      <a:pt x="112" y="490"/>
                    </a:lnTo>
                    <a:lnTo>
                      <a:pt x="110" y="493"/>
                    </a:lnTo>
                    <a:lnTo>
                      <a:pt x="112" y="497"/>
                    </a:lnTo>
                    <a:lnTo>
                      <a:pt x="115" y="498"/>
                    </a:lnTo>
                    <a:lnTo>
                      <a:pt x="112" y="502"/>
                    </a:lnTo>
                    <a:lnTo>
                      <a:pt x="110" y="502"/>
                    </a:lnTo>
                    <a:lnTo>
                      <a:pt x="110" y="503"/>
                    </a:lnTo>
                    <a:lnTo>
                      <a:pt x="110" y="505"/>
                    </a:lnTo>
                    <a:lnTo>
                      <a:pt x="110" y="508"/>
                    </a:lnTo>
                    <a:lnTo>
                      <a:pt x="112" y="512"/>
                    </a:lnTo>
                    <a:lnTo>
                      <a:pt x="110" y="514"/>
                    </a:lnTo>
                    <a:lnTo>
                      <a:pt x="112" y="515"/>
                    </a:lnTo>
                    <a:lnTo>
                      <a:pt x="110" y="517"/>
                    </a:lnTo>
                    <a:lnTo>
                      <a:pt x="110" y="519"/>
                    </a:lnTo>
                    <a:lnTo>
                      <a:pt x="112" y="522"/>
                    </a:lnTo>
                    <a:lnTo>
                      <a:pt x="115" y="519"/>
                    </a:lnTo>
                    <a:lnTo>
                      <a:pt x="119" y="520"/>
                    </a:lnTo>
                    <a:lnTo>
                      <a:pt x="121" y="522"/>
                    </a:lnTo>
                    <a:lnTo>
                      <a:pt x="124" y="524"/>
                    </a:lnTo>
                    <a:lnTo>
                      <a:pt x="126" y="522"/>
                    </a:lnTo>
                    <a:lnTo>
                      <a:pt x="134" y="517"/>
                    </a:lnTo>
                    <a:lnTo>
                      <a:pt x="136" y="512"/>
                    </a:lnTo>
                    <a:lnTo>
                      <a:pt x="143" y="503"/>
                    </a:lnTo>
                    <a:lnTo>
                      <a:pt x="148" y="500"/>
                    </a:lnTo>
                    <a:lnTo>
                      <a:pt x="149" y="497"/>
                    </a:lnTo>
                    <a:lnTo>
                      <a:pt x="151" y="493"/>
                    </a:lnTo>
                    <a:lnTo>
                      <a:pt x="155" y="491"/>
                    </a:lnTo>
                    <a:lnTo>
                      <a:pt x="156" y="490"/>
                    </a:lnTo>
                    <a:lnTo>
                      <a:pt x="161" y="491"/>
                    </a:lnTo>
                    <a:lnTo>
                      <a:pt x="165" y="488"/>
                    </a:lnTo>
                    <a:lnTo>
                      <a:pt x="166" y="486"/>
                    </a:lnTo>
                    <a:lnTo>
                      <a:pt x="166" y="483"/>
                    </a:lnTo>
                    <a:lnTo>
                      <a:pt x="168" y="481"/>
                    </a:lnTo>
                    <a:lnTo>
                      <a:pt x="170" y="478"/>
                    </a:lnTo>
                    <a:lnTo>
                      <a:pt x="177" y="476"/>
                    </a:lnTo>
                    <a:lnTo>
                      <a:pt x="183" y="474"/>
                    </a:lnTo>
                    <a:lnTo>
                      <a:pt x="187" y="473"/>
                    </a:lnTo>
                    <a:lnTo>
                      <a:pt x="194" y="457"/>
                    </a:lnTo>
                    <a:lnTo>
                      <a:pt x="197" y="454"/>
                    </a:lnTo>
                    <a:lnTo>
                      <a:pt x="199" y="449"/>
                    </a:lnTo>
                    <a:lnTo>
                      <a:pt x="202" y="444"/>
                    </a:lnTo>
                    <a:lnTo>
                      <a:pt x="202" y="440"/>
                    </a:lnTo>
                    <a:lnTo>
                      <a:pt x="200" y="439"/>
                    </a:lnTo>
                    <a:lnTo>
                      <a:pt x="202" y="435"/>
                    </a:lnTo>
                    <a:lnTo>
                      <a:pt x="200" y="430"/>
                    </a:lnTo>
                    <a:lnTo>
                      <a:pt x="202" y="427"/>
                    </a:lnTo>
                    <a:lnTo>
                      <a:pt x="200" y="422"/>
                    </a:lnTo>
                    <a:lnTo>
                      <a:pt x="202" y="413"/>
                    </a:lnTo>
                    <a:lnTo>
                      <a:pt x="204" y="410"/>
                    </a:lnTo>
                    <a:lnTo>
                      <a:pt x="204" y="405"/>
                    </a:lnTo>
                    <a:lnTo>
                      <a:pt x="202" y="400"/>
                    </a:lnTo>
                    <a:lnTo>
                      <a:pt x="200" y="391"/>
                    </a:lnTo>
                    <a:lnTo>
                      <a:pt x="202" y="386"/>
                    </a:lnTo>
                    <a:lnTo>
                      <a:pt x="204" y="383"/>
                    </a:lnTo>
                    <a:lnTo>
                      <a:pt x="211" y="376"/>
                    </a:lnTo>
                    <a:lnTo>
                      <a:pt x="212" y="374"/>
                    </a:lnTo>
                    <a:lnTo>
                      <a:pt x="216" y="369"/>
                    </a:lnTo>
                    <a:lnTo>
                      <a:pt x="221" y="367"/>
                    </a:lnTo>
                    <a:lnTo>
                      <a:pt x="221" y="362"/>
                    </a:lnTo>
                    <a:lnTo>
                      <a:pt x="226" y="352"/>
                    </a:lnTo>
                    <a:lnTo>
                      <a:pt x="226" y="349"/>
                    </a:lnTo>
                    <a:lnTo>
                      <a:pt x="231" y="343"/>
                    </a:lnTo>
                    <a:lnTo>
                      <a:pt x="233" y="338"/>
                    </a:lnTo>
                    <a:lnTo>
                      <a:pt x="240" y="333"/>
                    </a:lnTo>
                    <a:lnTo>
                      <a:pt x="243" y="330"/>
                    </a:lnTo>
                    <a:lnTo>
                      <a:pt x="246" y="328"/>
                    </a:lnTo>
                    <a:lnTo>
                      <a:pt x="253" y="326"/>
                    </a:lnTo>
                    <a:lnTo>
                      <a:pt x="262" y="321"/>
                    </a:lnTo>
                    <a:lnTo>
                      <a:pt x="263" y="318"/>
                    </a:lnTo>
                    <a:lnTo>
                      <a:pt x="265" y="316"/>
                    </a:lnTo>
                    <a:lnTo>
                      <a:pt x="268" y="311"/>
                    </a:lnTo>
                    <a:lnTo>
                      <a:pt x="274" y="308"/>
                    </a:lnTo>
                    <a:lnTo>
                      <a:pt x="274" y="304"/>
                    </a:lnTo>
                    <a:lnTo>
                      <a:pt x="279" y="301"/>
                    </a:lnTo>
                    <a:lnTo>
                      <a:pt x="279" y="292"/>
                    </a:lnTo>
                    <a:lnTo>
                      <a:pt x="277" y="289"/>
                    </a:lnTo>
                    <a:lnTo>
                      <a:pt x="277" y="282"/>
                    </a:lnTo>
                    <a:lnTo>
                      <a:pt x="280" y="277"/>
                    </a:lnTo>
                    <a:lnTo>
                      <a:pt x="282" y="265"/>
                    </a:lnTo>
                    <a:lnTo>
                      <a:pt x="285" y="260"/>
                    </a:lnTo>
                    <a:lnTo>
                      <a:pt x="291" y="255"/>
                    </a:lnTo>
                    <a:lnTo>
                      <a:pt x="291" y="250"/>
                    </a:lnTo>
                    <a:lnTo>
                      <a:pt x="291" y="246"/>
                    </a:lnTo>
                    <a:lnTo>
                      <a:pt x="287" y="245"/>
                    </a:lnTo>
                    <a:lnTo>
                      <a:pt x="287" y="243"/>
                    </a:lnTo>
                    <a:lnTo>
                      <a:pt x="287" y="240"/>
                    </a:lnTo>
                    <a:lnTo>
                      <a:pt x="287" y="238"/>
                    </a:lnTo>
                    <a:lnTo>
                      <a:pt x="287" y="236"/>
                    </a:lnTo>
                    <a:lnTo>
                      <a:pt x="287" y="235"/>
                    </a:lnTo>
                    <a:lnTo>
                      <a:pt x="285" y="224"/>
                    </a:lnTo>
                    <a:lnTo>
                      <a:pt x="287" y="219"/>
                    </a:lnTo>
                    <a:lnTo>
                      <a:pt x="291" y="214"/>
                    </a:lnTo>
                    <a:lnTo>
                      <a:pt x="291" y="209"/>
                    </a:lnTo>
                    <a:lnTo>
                      <a:pt x="292" y="204"/>
                    </a:lnTo>
                    <a:lnTo>
                      <a:pt x="297" y="195"/>
                    </a:lnTo>
                    <a:lnTo>
                      <a:pt x="297" y="187"/>
                    </a:lnTo>
                    <a:lnTo>
                      <a:pt x="296" y="180"/>
                    </a:lnTo>
                    <a:lnTo>
                      <a:pt x="297" y="175"/>
                    </a:lnTo>
                    <a:lnTo>
                      <a:pt x="296" y="170"/>
                    </a:lnTo>
                    <a:lnTo>
                      <a:pt x="297" y="167"/>
                    </a:lnTo>
                    <a:lnTo>
                      <a:pt x="297" y="160"/>
                    </a:lnTo>
                    <a:lnTo>
                      <a:pt x="302" y="155"/>
                    </a:lnTo>
                    <a:lnTo>
                      <a:pt x="304" y="150"/>
                    </a:lnTo>
                    <a:lnTo>
                      <a:pt x="306" y="146"/>
                    </a:lnTo>
                    <a:lnTo>
                      <a:pt x="311" y="141"/>
                    </a:lnTo>
                    <a:lnTo>
                      <a:pt x="311" y="139"/>
                    </a:lnTo>
                    <a:lnTo>
                      <a:pt x="314" y="133"/>
                    </a:lnTo>
                    <a:lnTo>
                      <a:pt x="316" y="126"/>
                    </a:lnTo>
                    <a:lnTo>
                      <a:pt x="321" y="117"/>
                    </a:lnTo>
                    <a:lnTo>
                      <a:pt x="323" y="116"/>
                    </a:lnTo>
                    <a:lnTo>
                      <a:pt x="326" y="112"/>
                    </a:lnTo>
                    <a:lnTo>
                      <a:pt x="326" y="105"/>
                    </a:lnTo>
                    <a:lnTo>
                      <a:pt x="325" y="97"/>
                    </a:lnTo>
                    <a:lnTo>
                      <a:pt x="325" y="95"/>
                    </a:lnTo>
                    <a:lnTo>
                      <a:pt x="323" y="83"/>
                    </a:lnTo>
                    <a:lnTo>
                      <a:pt x="325" y="76"/>
                    </a:lnTo>
                    <a:lnTo>
                      <a:pt x="326" y="71"/>
                    </a:lnTo>
                    <a:lnTo>
                      <a:pt x="326" y="70"/>
                    </a:lnTo>
                    <a:lnTo>
                      <a:pt x="325" y="61"/>
                    </a:lnTo>
                    <a:lnTo>
                      <a:pt x="321" y="54"/>
                    </a:lnTo>
                    <a:lnTo>
                      <a:pt x="321" y="53"/>
                    </a:lnTo>
                    <a:lnTo>
                      <a:pt x="323" y="53"/>
                    </a:lnTo>
                    <a:lnTo>
                      <a:pt x="325" y="53"/>
                    </a:lnTo>
                    <a:lnTo>
                      <a:pt x="328" y="53"/>
                    </a:lnTo>
                    <a:lnTo>
                      <a:pt x="331" y="51"/>
                    </a:lnTo>
                    <a:lnTo>
                      <a:pt x="335" y="47"/>
                    </a:lnTo>
                    <a:lnTo>
                      <a:pt x="335" y="41"/>
                    </a:lnTo>
                    <a:lnTo>
                      <a:pt x="338" y="41"/>
                    </a:lnTo>
                    <a:lnTo>
                      <a:pt x="340" y="37"/>
                    </a:lnTo>
                    <a:lnTo>
                      <a:pt x="343" y="32"/>
                    </a:lnTo>
                    <a:lnTo>
                      <a:pt x="345" y="32"/>
                    </a:lnTo>
                    <a:lnTo>
                      <a:pt x="348" y="24"/>
                    </a:lnTo>
                    <a:lnTo>
                      <a:pt x="352" y="24"/>
                    </a:lnTo>
                    <a:lnTo>
                      <a:pt x="353" y="24"/>
                    </a:lnTo>
                    <a:lnTo>
                      <a:pt x="355" y="20"/>
                    </a:lnTo>
                    <a:lnTo>
                      <a:pt x="362" y="17"/>
                    </a:lnTo>
                    <a:lnTo>
                      <a:pt x="364" y="15"/>
                    </a:lnTo>
                    <a:lnTo>
                      <a:pt x="365" y="13"/>
                    </a:lnTo>
                    <a:lnTo>
                      <a:pt x="369" y="13"/>
                    </a:lnTo>
                    <a:lnTo>
                      <a:pt x="372" y="13"/>
                    </a:lnTo>
                    <a:lnTo>
                      <a:pt x="374" y="13"/>
                    </a:lnTo>
                    <a:lnTo>
                      <a:pt x="379" y="13"/>
                    </a:lnTo>
                    <a:lnTo>
                      <a:pt x="386" y="15"/>
                    </a:lnTo>
                    <a:lnTo>
                      <a:pt x="389" y="20"/>
                    </a:lnTo>
                    <a:lnTo>
                      <a:pt x="391" y="22"/>
                    </a:lnTo>
                    <a:lnTo>
                      <a:pt x="394" y="22"/>
                    </a:lnTo>
                    <a:lnTo>
                      <a:pt x="399" y="25"/>
                    </a:lnTo>
                    <a:lnTo>
                      <a:pt x="403" y="25"/>
                    </a:lnTo>
                    <a:lnTo>
                      <a:pt x="403" y="29"/>
                    </a:lnTo>
                    <a:lnTo>
                      <a:pt x="406" y="30"/>
                    </a:lnTo>
                    <a:lnTo>
                      <a:pt x="411" y="32"/>
                    </a:lnTo>
                    <a:lnTo>
                      <a:pt x="413" y="36"/>
                    </a:lnTo>
                    <a:lnTo>
                      <a:pt x="415" y="36"/>
                    </a:lnTo>
                    <a:lnTo>
                      <a:pt x="418" y="39"/>
                    </a:lnTo>
                    <a:lnTo>
                      <a:pt x="418" y="42"/>
                    </a:lnTo>
                    <a:lnTo>
                      <a:pt x="418" y="44"/>
                    </a:lnTo>
                    <a:lnTo>
                      <a:pt x="421" y="47"/>
                    </a:lnTo>
                    <a:lnTo>
                      <a:pt x="425" y="49"/>
                    </a:lnTo>
                    <a:lnTo>
                      <a:pt x="427" y="49"/>
                    </a:lnTo>
                    <a:lnTo>
                      <a:pt x="432" y="49"/>
                    </a:lnTo>
                    <a:lnTo>
                      <a:pt x="435" y="49"/>
                    </a:lnTo>
                    <a:lnTo>
                      <a:pt x="438" y="47"/>
                    </a:lnTo>
                    <a:lnTo>
                      <a:pt x="444" y="49"/>
                    </a:lnTo>
                    <a:lnTo>
                      <a:pt x="450" y="51"/>
                    </a:lnTo>
                    <a:lnTo>
                      <a:pt x="454" y="54"/>
                    </a:lnTo>
                    <a:lnTo>
                      <a:pt x="455" y="56"/>
                    </a:lnTo>
                    <a:lnTo>
                      <a:pt x="457" y="54"/>
                    </a:lnTo>
                    <a:lnTo>
                      <a:pt x="461" y="54"/>
                    </a:lnTo>
                    <a:lnTo>
                      <a:pt x="464" y="56"/>
                    </a:lnTo>
                    <a:lnTo>
                      <a:pt x="467" y="56"/>
                    </a:lnTo>
                    <a:lnTo>
                      <a:pt x="469" y="58"/>
                    </a:lnTo>
                    <a:lnTo>
                      <a:pt x="472" y="58"/>
                    </a:lnTo>
                    <a:lnTo>
                      <a:pt x="478" y="54"/>
                    </a:lnTo>
                    <a:lnTo>
                      <a:pt x="481" y="56"/>
                    </a:lnTo>
                    <a:lnTo>
                      <a:pt x="483" y="56"/>
                    </a:lnTo>
                    <a:lnTo>
                      <a:pt x="488" y="58"/>
                    </a:lnTo>
                    <a:lnTo>
                      <a:pt x="493" y="59"/>
                    </a:lnTo>
                    <a:lnTo>
                      <a:pt x="496" y="58"/>
                    </a:lnTo>
                    <a:lnTo>
                      <a:pt x="498" y="59"/>
                    </a:lnTo>
                    <a:lnTo>
                      <a:pt x="500" y="59"/>
                    </a:lnTo>
                    <a:lnTo>
                      <a:pt x="505" y="63"/>
                    </a:lnTo>
                    <a:lnTo>
                      <a:pt x="508" y="64"/>
                    </a:lnTo>
                    <a:lnTo>
                      <a:pt x="518" y="64"/>
                    </a:lnTo>
                    <a:lnTo>
                      <a:pt x="523" y="59"/>
                    </a:lnTo>
                    <a:lnTo>
                      <a:pt x="523" y="56"/>
                    </a:lnTo>
                    <a:lnTo>
                      <a:pt x="525" y="54"/>
                    </a:lnTo>
                    <a:lnTo>
                      <a:pt x="527" y="53"/>
                    </a:lnTo>
                    <a:lnTo>
                      <a:pt x="525" y="51"/>
                    </a:lnTo>
                    <a:lnTo>
                      <a:pt x="525" y="49"/>
                    </a:lnTo>
                    <a:lnTo>
                      <a:pt x="527" y="47"/>
                    </a:lnTo>
                    <a:lnTo>
                      <a:pt x="527" y="46"/>
                    </a:lnTo>
                    <a:lnTo>
                      <a:pt x="529" y="46"/>
                    </a:lnTo>
                    <a:lnTo>
                      <a:pt x="532" y="46"/>
                    </a:lnTo>
                    <a:lnTo>
                      <a:pt x="532" y="44"/>
                    </a:lnTo>
                    <a:lnTo>
                      <a:pt x="534" y="42"/>
                    </a:lnTo>
                    <a:lnTo>
                      <a:pt x="534" y="39"/>
                    </a:lnTo>
                    <a:lnTo>
                      <a:pt x="535" y="36"/>
                    </a:lnTo>
                    <a:lnTo>
                      <a:pt x="537" y="34"/>
                    </a:lnTo>
                    <a:lnTo>
                      <a:pt x="539" y="36"/>
                    </a:lnTo>
                    <a:lnTo>
                      <a:pt x="540" y="34"/>
                    </a:lnTo>
                    <a:lnTo>
                      <a:pt x="540" y="32"/>
                    </a:lnTo>
                    <a:lnTo>
                      <a:pt x="540" y="30"/>
                    </a:lnTo>
                    <a:lnTo>
                      <a:pt x="542" y="29"/>
                    </a:lnTo>
                    <a:lnTo>
                      <a:pt x="544" y="29"/>
                    </a:lnTo>
                    <a:lnTo>
                      <a:pt x="546" y="29"/>
                    </a:lnTo>
                    <a:lnTo>
                      <a:pt x="547" y="32"/>
                    </a:lnTo>
                    <a:lnTo>
                      <a:pt x="552" y="36"/>
                    </a:lnTo>
                    <a:lnTo>
                      <a:pt x="556" y="34"/>
                    </a:lnTo>
                    <a:lnTo>
                      <a:pt x="557" y="37"/>
                    </a:lnTo>
                    <a:lnTo>
                      <a:pt x="559" y="37"/>
                    </a:lnTo>
                    <a:lnTo>
                      <a:pt x="561" y="39"/>
                    </a:lnTo>
                    <a:lnTo>
                      <a:pt x="563" y="41"/>
                    </a:lnTo>
                    <a:lnTo>
                      <a:pt x="564" y="39"/>
                    </a:lnTo>
                    <a:lnTo>
                      <a:pt x="566" y="41"/>
                    </a:lnTo>
                    <a:lnTo>
                      <a:pt x="568" y="41"/>
                    </a:lnTo>
                    <a:lnTo>
                      <a:pt x="568" y="37"/>
                    </a:lnTo>
                    <a:lnTo>
                      <a:pt x="569" y="37"/>
                    </a:lnTo>
                    <a:lnTo>
                      <a:pt x="571" y="37"/>
                    </a:lnTo>
                    <a:lnTo>
                      <a:pt x="574" y="36"/>
                    </a:lnTo>
                    <a:lnTo>
                      <a:pt x="576" y="32"/>
                    </a:lnTo>
                    <a:lnTo>
                      <a:pt x="581" y="32"/>
                    </a:lnTo>
                    <a:lnTo>
                      <a:pt x="583" y="30"/>
                    </a:lnTo>
                    <a:lnTo>
                      <a:pt x="586" y="30"/>
                    </a:lnTo>
                    <a:lnTo>
                      <a:pt x="588" y="29"/>
                    </a:lnTo>
                    <a:lnTo>
                      <a:pt x="590" y="30"/>
                    </a:lnTo>
                    <a:lnTo>
                      <a:pt x="591" y="29"/>
                    </a:lnTo>
                    <a:lnTo>
                      <a:pt x="595" y="30"/>
                    </a:lnTo>
                    <a:lnTo>
                      <a:pt x="595" y="27"/>
                    </a:lnTo>
                    <a:lnTo>
                      <a:pt x="597" y="27"/>
                    </a:lnTo>
                    <a:lnTo>
                      <a:pt x="598" y="27"/>
                    </a:lnTo>
                    <a:lnTo>
                      <a:pt x="603" y="24"/>
                    </a:lnTo>
                    <a:lnTo>
                      <a:pt x="605" y="25"/>
                    </a:lnTo>
                    <a:lnTo>
                      <a:pt x="607" y="24"/>
                    </a:lnTo>
                    <a:lnTo>
                      <a:pt x="608" y="22"/>
                    </a:lnTo>
                    <a:lnTo>
                      <a:pt x="610" y="22"/>
                    </a:lnTo>
                    <a:lnTo>
                      <a:pt x="610" y="24"/>
                    </a:lnTo>
                    <a:lnTo>
                      <a:pt x="610" y="22"/>
                    </a:lnTo>
                    <a:lnTo>
                      <a:pt x="612" y="20"/>
                    </a:lnTo>
                    <a:lnTo>
                      <a:pt x="615" y="20"/>
                    </a:lnTo>
                    <a:lnTo>
                      <a:pt x="617" y="19"/>
                    </a:lnTo>
                    <a:lnTo>
                      <a:pt x="617" y="17"/>
                    </a:lnTo>
                    <a:lnTo>
                      <a:pt x="615" y="19"/>
                    </a:lnTo>
                    <a:lnTo>
                      <a:pt x="615" y="17"/>
                    </a:lnTo>
                    <a:lnTo>
                      <a:pt x="617" y="15"/>
                    </a:lnTo>
                    <a:lnTo>
                      <a:pt x="619" y="15"/>
                    </a:lnTo>
                    <a:lnTo>
                      <a:pt x="619" y="17"/>
                    </a:lnTo>
                    <a:lnTo>
                      <a:pt x="620" y="17"/>
                    </a:lnTo>
                    <a:lnTo>
                      <a:pt x="620" y="15"/>
                    </a:lnTo>
                    <a:lnTo>
                      <a:pt x="624" y="17"/>
                    </a:lnTo>
                    <a:lnTo>
                      <a:pt x="625" y="19"/>
                    </a:lnTo>
                    <a:lnTo>
                      <a:pt x="629" y="19"/>
                    </a:lnTo>
                    <a:lnTo>
                      <a:pt x="629" y="22"/>
                    </a:lnTo>
                    <a:lnTo>
                      <a:pt x="631" y="22"/>
                    </a:lnTo>
                    <a:lnTo>
                      <a:pt x="631" y="24"/>
                    </a:lnTo>
                    <a:lnTo>
                      <a:pt x="632" y="25"/>
                    </a:lnTo>
                    <a:lnTo>
                      <a:pt x="634" y="25"/>
                    </a:lnTo>
                    <a:lnTo>
                      <a:pt x="636" y="25"/>
                    </a:lnTo>
                    <a:lnTo>
                      <a:pt x="637" y="25"/>
                    </a:lnTo>
                    <a:lnTo>
                      <a:pt x="637" y="24"/>
                    </a:lnTo>
                    <a:lnTo>
                      <a:pt x="641" y="24"/>
                    </a:lnTo>
                    <a:lnTo>
                      <a:pt x="641" y="22"/>
                    </a:lnTo>
                    <a:lnTo>
                      <a:pt x="642" y="22"/>
                    </a:lnTo>
                    <a:lnTo>
                      <a:pt x="644" y="22"/>
                    </a:lnTo>
                    <a:lnTo>
                      <a:pt x="646" y="20"/>
                    </a:lnTo>
                    <a:lnTo>
                      <a:pt x="651" y="24"/>
                    </a:lnTo>
                    <a:lnTo>
                      <a:pt x="653" y="22"/>
                    </a:lnTo>
                    <a:lnTo>
                      <a:pt x="654" y="20"/>
                    </a:lnTo>
                    <a:lnTo>
                      <a:pt x="656" y="19"/>
                    </a:lnTo>
                    <a:lnTo>
                      <a:pt x="656" y="20"/>
                    </a:lnTo>
                    <a:lnTo>
                      <a:pt x="658" y="20"/>
                    </a:lnTo>
                    <a:lnTo>
                      <a:pt x="665" y="19"/>
                    </a:lnTo>
                    <a:lnTo>
                      <a:pt x="665" y="17"/>
                    </a:lnTo>
                    <a:lnTo>
                      <a:pt x="665" y="15"/>
                    </a:lnTo>
                    <a:lnTo>
                      <a:pt x="666" y="12"/>
                    </a:lnTo>
                    <a:lnTo>
                      <a:pt x="665" y="13"/>
                    </a:lnTo>
                    <a:lnTo>
                      <a:pt x="663" y="10"/>
                    </a:lnTo>
                    <a:lnTo>
                      <a:pt x="665" y="10"/>
                    </a:lnTo>
                    <a:lnTo>
                      <a:pt x="665" y="7"/>
                    </a:lnTo>
                    <a:lnTo>
                      <a:pt x="666" y="5"/>
                    </a:lnTo>
                    <a:lnTo>
                      <a:pt x="668" y="5"/>
                    </a:lnTo>
                    <a:lnTo>
                      <a:pt x="668" y="3"/>
                    </a:lnTo>
                    <a:lnTo>
                      <a:pt x="668" y="5"/>
                    </a:lnTo>
                    <a:lnTo>
                      <a:pt x="670" y="5"/>
                    </a:lnTo>
                    <a:lnTo>
                      <a:pt x="670" y="3"/>
                    </a:lnTo>
                    <a:lnTo>
                      <a:pt x="671" y="3"/>
                    </a:lnTo>
                    <a:lnTo>
                      <a:pt x="671" y="2"/>
                    </a:lnTo>
                    <a:lnTo>
                      <a:pt x="673" y="3"/>
                    </a:lnTo>
                    <a:lnTo>
                      <a:pt x="675" y="2"/>
                    </a:lnTo>
                    <a:lnTo>
                      <a:pt x="675" y="0"/>
                    </a:lnTo>
                    <a:lnTo>
                      <a:pt x="676" y="2"/>
                    </a:lnTo>
                    <a:lnTo>
                      <a:pt x="678" y="3"/>
                    </a:lnTo>
                    <a:lnTo>
                      <a:pt x="680" y="3"/>
                    </a:lnTo>
                    <a:lnTo>
                      <a:pt x="678" y="3"/>
                    </a:lnTo>
                    <a:lnTo>
                      <a:pt x="680" y="3"/>
                    </a:lnTo>
                    <a:lnTo>
                      <a:pt x="680" y="5"/>
                    </a:lnTo>
                    <a:lnTo>
                      <a:pt x="680" y="3"/>
                    </a:lnTo>
                    <a:lnTo>
                      <a:pt x="682" y="5"/>
                    </a:lnTo>
                    <a:lnTo>
                      <a:pt x="683" y="5"/>
                    </a:lnTo>
                    <a:lnTo>
                      <a:pt x="683" y="7"/>
                    </a:lnTo>
                    <a:lnTo>
                      <a:pt x="685" y="7"/>
                    </a:lnTo>
                    <a:lnTo>
                      <a:pt x="685" y="8"/>
                    </a:lnTo>
                    <a:lnTo>
                      <a:pt x="687" y="7"/>
                    </a:lnTo>
                    <a:lnTo>
                      <a:pt x="688" y="7"/>
                    </a:lnTo>
                    <a:lnTo>
                      <a:pt x="687" y="8"/>
                    </a:lnTo>
                    <a:lnTo>
                      <a:pt x="688" y="8"/>
                    </a:lnTo>
                    <a:lnTo>
                      <a:pt x="690" y="10"/>
                    </a:lnTo>
                    <a:lnTo>
                      <a:pt x="692" y="8"/>
                    </a:lnTo>
                    <a:lnTo>
                      <a:pt x="692" y="10"/>
                    </a:lnTo>
                    <a:lnTo>
                      <a:pt x="693" y="10"/>
                    </a:lnTo>
                    <a:lnTo>
                      <a:pt x="693" y="12"/>
                    </a:lnTo>
                    <a:lnTo>
                      <a:pt x="693" y="10"/>
                    </a:lnTo>
                    <a:lnTo>
                      <a:pt x="697" y="10"/>
                    </a:lnTo>
                    <a:lnTo>
                      <a:pt x="697" y="8"/>
                    </a:lnTo>
                    <a:lnTo>
                      <a:pt x="699" y="8"/>
                    </a:lnTo>
                    <a:lnTo>
                      <a:pt x="699" y="10"/>
                    </a:lnTo>
                    <a:lnTo>
                      <a:pt x="700" y="10"/>
                    </a:lnTo>
                    <a:lnTo>
                      <a:pt x="700" y="8"/>
                    </a:lnTo>
                    <a:lnTo>
                      <a:pt x="702" y="10"/>
                    </a:lnTo>
                    <a:lnTo>
                      <a:pt x="702" y="8"/>
                    </a:lnTo>
                    <a:lnTo>
                      <a:pt x="704" y="10"/>
                    </a:lnTo>
                    <a:lnTo>
                      <a:pt x="704" y="8"/>
                    </a:lnTo>
                    <a:lnTo>
                      <a:pt x="705" y="7"/>
                    </a:lnTo>
                    <a:lnTo>
                      <a:pt x="707" y="7"/>
                    </a:lnTo>
                    <a:lnTo>
                      <a:pt x="707" y="8"/>
                    </a:lnTo>
                    <a:lnTo>
                      <a:pt x="709" y="8"/>
                    </a:lnTo>
                    <a:lnTo>
                      <a:pt x="709" y="10"/>
                    </a:lnTo>
                    <a:lnTo>
                      <a:pt x="710" y="10"/>
                    </a:lnTo>
                    <a:lnTo>
                      <a:pt x="710" y="12"/>
                    </a:lnTo>
                    <a:lnTo>
                      <a:pt x="712" y="12"/>
                    </a:lnTo>
                    <a:lnTo>
                      <a:pt x="714" y="12"/>
                    </a:lnTo>
                    <a:lnTo>
                      <a:pt x="714" y="13"/>
                    </a:lnTo>
                    <a:lnTo>
                      <a:pt x="714" y="12"/>
                    </a:lnTo>
                    <a:lnTo>
                      <a:pt x="716" y="13"/>
                    </a:lnTo>
                    <a:lnTo>
                      <a:pt x="716" y="12"/>
                    </a:lnTo>
                    <a:lnTo>
                      <a:pt x="716" y="13"/>
                    </a:lnTo>
                    <a:lnTo>
                      <a:pt x="716" y="12"/>
                    </a:lnTo>
                    <a:lnTo>
                      <a:pt x="717" y="13"/>
                    </a:lnTo>
                    <a:lnTo>
                      <a:pt x="717" y="12"/>
                    </a:lnTo>
                    <a:lnTo>
                      <a:pt x="719" y="13"/>
                    </a:lnTo>
                    <a:lnTo>
                      <a:pt x="719" y="15"/>
                    </a:lnTo>
                    <a:lnTo>
                      <a:pt x="721" y="15"/>
                    </a:lnTo>
                    <a:lnTo>
                      <a:pt x="721" y="17"/>
                    </a:lnTo>
                    <a:lnTo>
                      <a:pt x="722" y="17"/>
                    </a:lnTo>
                    <a:lnTo>
                      <a:pt x="722" y="19"/>
                    </a:lnTo>
                    <a:lnTo>
                      <a:pt x="724" y="17"/>
                    </a:lnTo>
                    <a:lnTo>
                      <a:pt x="724" y="19"/>
                    </a:lnTo>
                    <a:lnTo>
                      <a:pt x="726" y="17"/>
                    </a:lnTo>
                    <a:lnTo>
                      <a:pt x="726" y="19"/>
                    </a:lnTo>
                    <a:lnTo>
                      <a:pt x="726" y="17"/>
                    </a:lnTo>
                    <a:lnTo>
                      <a:pt x="727" y="17"/>
                    </a:lnTo>
                    <a:lnTo>
                      <a:pt x="727" y="15"/>
                    </a:lnTo>
                    <a:lnTo>
                      <a:pt x="729" y="17"/>
                    </a:lnTo>
                    <a:lnTo>
                      <a:pt x="729" y="15"/>
                    </a:lnTo>
                    <a:lnTo>
                      <a:pt x="731" y="17"/>
                    </a:lnTo>
                    <a:lnTo>
                      <a:pt x="731" y="15"/>
                    </a:lnTo>
                    <a:lnTo>
                      <a:pt x="731" y="17"/>
                    </a:lnTo>
                    <a:lnTo>
                      <a:pt x="734" y="15"/>
                    </a:lnTo>
                    <a:lnTo>
                      <a:pt x="738" y="15"/>
                    </a:lnTo>
                    <a:lnTo>
                      <a:pt x="739" y="19"/>
                    </a:lnTo>
                    <a:lnTo>
                      <a:pt x="741" y="17"/>
                    </a:lnTo>
                    <a:lnTo>
                      <a:pt x="743" y="19"/>
                    </a:lnTo>
                    <a:lnTo>
                      <a:pt x="746" y="13"/>
                    </a:lnTo>
                    <a:lnTo>
                      <a:pt x="750" y="10"/>
                    </a:lnTo>
                    <a:lnTo>
                      <a:pt x="755" y="10"/>
                    </a:lnTo>
                    <a:lnTo>
                      <a:pt x="758" y="10"/>
                    </a:lnTo>
                    <a:lnTo>
                      <a:pt x="761" y="12"/>
                    </a:lnTo>
                    <a:lnTo>
                      <a:pt x="765" y="13"/>
                    </a:lnTo>
                    <a:lnTo>
                      <a:pt x="772" y="17"/>
                    </a:lnTo>
                    <a:close/>
                    <a:moveTo>
                      <a:pt x="37" y="571"/>
                    </a:moveTo>
                    <a:lnTo>
                      <a:pt x="41" y="571"/>
                    </a:lnTo>
                    <a:lnTo>
                      <a:pt x="37" y="573"/>
                    </a:lnTo>
                    <a:lnTo>
                      <a:pt x="34" y="573"/>
                    </a:lnTo>
                    <a:lnTo>
                      <a:pt x="30" y="576"/>
                    </a:lnTo>
                    <a:lnTo>
                      <a:pt x="27" y="575"/>
                    </a:lnTo>
                    <a:lnTo>
                      <a:pt x="27" y="576"/>
                    </a:lnTo>
                    <a:lnTo>
                      <a:pt x="27" y="575"/>
                    </a:lnTo>
                    <a:lnTo>
                      <a:pt x="30" y="573"/>
                    </a:lnTo>
                    <a:lnTo>
                      <a:pt x="30" y="571"/>
                    </a:lnTo>
                    <a:lnTo>
                      <a:pt x="32" y="571"/>
                    </a:lnTo>
                    <a:lnTo>
                      <a:pt x="34" y="570"/>
                    </a:lnTo>
                    <a:lnTo>
                      <a:pt x="37" y="571"/>
                    </a:lnTo>
                    <a:close/>
                    <a:moveTo>
                      <a:pt x="15" y="576"/>
                    </a:moveTo>
                    <a:lnTo>
                      <a:pt x="12" y="578"/>
                    </a:lnTo>
                    <a:lnTo>
                      <a:pt x="10" y="578"/>
                    </a:lnTo>
                    <a:lnTo>
                      <a:pt x="12" y="576"/>
                    </a:lnTo>
                    <a:lnTo>
                      <a:pt x="13" y="576"/>
                    </a:lnTo>
                    <a:lnTo>
                      <a:pt x="15" y="576"/>
                    </a:lnTo>
                    <a:close/>
                    <a:moveTo>
                      <a:pt x="39" y="570"/>
                    </a:moveTo>
                    <a:lnTo>
                      <a:pt x="37" y="570"/>
                    </a:lnTo>
                    <a:lnTo>
                      <a:pt x="36" y="571"/>
                    </a:lnTo>
                    <a:lnTo>
                      <a:pt x="34" y="570"/>
                    </a:lnTo>
                    <a:lnTo>
                      <a:pt x="36" y="570"/>
                    </a:lnTo>
                    <a:lnTo>
                      <a:pt x="39" y="570"/>
                    </a:lnTo>
                    <a:close/>
                    <a:moveTo>
                      <a:pt x="29" y="571"/>
                    </a:moveTo>
                    <a:lnTo>
                      <a:pt x="30" y="571"/>
                    </a:lnTo>
                    <a:lnTo>
                      <a:pt x="30" y="573"/>
                    </a:lnTo>
                    <a:lnTo>
                      <a:pt x="29" y="573"/>
                    </a:lnTo>
                    <a:lnTo>
                      <a:pt x="29" y="571"/>
                    </a:lnTo>
                    <a:close/>
                    <a:moveTo>
                      <a:pt x="19" y="578"/>
                    </a:moveTo>
                    <a:lnTo>
                      <a:pt x="20" y="578"/>
                    </a:lnTo>
                    <a:lnTo>
                      <a:pt x="19" y="578"/>
                    </a:lnTo>
                    <a:close/>
                    <a:moveTo>
                      <a:pt x="36" y="570"/>
                    </a:moveTo>
                    <a:lnTo>
                      <a:pt x="39" y="570"/>
                    </a:lnTo>
                    <a:lnTo>
                      <a:pt x="39" y="571"/>
                    </a:lnTo>
                    <a:lnTo>
                      <a:pt x="36" y="571"/>
                    </a:lnTo>
                    <a:lnTo>
                      <a:pt x="36" y="570"/>
                    </a:lnTo>
                    <a:close/>
                    <a:moveTo>
                      <a:pt x="32" y="575"/>
                    </a:moveTo>
                    <a:lnTo>
                      <a:pt x="34" y="575"/>
                    </a:lnTo>
                    <a:lnTo>
                      <a:pt x="32" y="575"/>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Freeform 28">
                <a:extLst>
                  <a:ext uri="{FF2B5EF4-FFF2-40B4-BE49-F238E27FC236}">
                    <a16:creationId xmlns:a16="http://schemas.microsoft.com/office/drawing/2014/main" id="{203A74E9-8F9C-489C-885E-8DEB22C6A51E}"/>
                  </a:ext>
                </a:extLst>
              </p:cNvPr>
              <p:cNvSpPr>
                <a:spLocks noEditPoints="1"/>
              </p:cNvSpPr>
              <p:nvPr/>
            </p:nvSpPr>
            <p:spPr bwMode="gray">
              <a:xfrm>
                <a:off x="5825265" y="3827396"/>
                <a:ext cx="364285" cy="394022"/>
              </a:xfrm>
              <a:custGeom>
                <a:avLst/>
                <a:gdLst>
                  <a:gd name="T0" fmla="*/ 228 w 294"/>
                  <a:gd name="T1" fmla="*/ 17 h 318"/>
                  <a:gd name="T2" fmla="*/ 224 w 294"/>
                  <a:gd name="T3" fmla="*/ 31 h 318"/>
                  <a:gd name="T4" fmla="*/ 226 w 294"/>
                  <a:gd name="T5" fmla="*/ 43 h 318"/>
                  <a:gd name="T6" fmla="*/ 224 w 294"/>
                  <a:gd name="T7" fmla="*/ 55 h 318"/>
                  <a:gd name="T8" fmla="*/ 238 w 294"/>
                  <a:gd name="T9" fmla="*/ 51 h 318"/>
                  <a:gd name="T10" fmla="*/ 250 w 294"/>
                  <a:gd name="T11" fmla="*/ 50 h 318"/>
                  <a:gd name="T12" fmla="*/ 269 w 294"/>
                  <a:gd name="T13" fmla="*/ 45 h 318"/>
                  <a:gd name="T14" fmla="*/ 286 w 294"/>
                  <a:gd name="T15" fmla="*/ 60 h 318"/>
                  <a:gd name="T16" fmla="*/ 287 w 294"/>
                  <a:gd name="T17" fmla="*/ 85 h 318"/>
                  <a:gd name="T18" fmla="*/ 272 w 294"/>
                  <a:gd name="T19" fmla="*/ 92 h 318"/>
                  <a:gd name="T20" fmla="*/ 264 w 294"/>
                  <a:gd name="T21" fmla="*/ 114 h 318"/>
                  <a:gd name="T22" fmla="*/ 267 w 294"/>
                  <a:gd name="T23" fmla="*/ 131 h 318"/>
                  <a:gd name="T24" fmla="*/ 277 w 294"/>
                  <a:gd name="T25" fmla="*/ 140 h 318"/>
                  <a:gd name="T26" fmla="*/ 292 w 294"/>
                  <a:gd name="T27" fmla="*/ 147 h 318"/>
                  <a:gd name="T28" fmla="*/ 292 w 294"/>
                  <a:gd name="T29" fmla="*/ 162 h 318"/>
                  <a:gd name="T30" fmla="*/ 294 w 294"/>
                  <a:gd name="T31" fmla="*/ 181 h 318"/>
                  <a:gd name="T32" fmla="*/ 289 w 294"/>
                  <a:gd name="T33" fmla="*/ 198 h 318"/>
                  <a:gd name="T34" fmla="*/ 289 w 294"/>
                  <a:gd name="T35" fmla="*/ 211 h 318"/>
                  <a:gd name="T36" fmla="*/ 282 w 294"/>
                  <a:gd name="T37" fmla="*/ 225 h 318"/>
                  <a:gd name="T38" fmla="*/ 275 w 294"/>
                  <a:gd name="T39" fmla="*/ 240 h 318"/>
                  <a:gd name="T40" fmla="*/ 264 w 294"/>
                  <a:gd name="T41" fmla="*/ 244 h 318"/>
                  <a:gd name="T42" fmla="*/ 257 w 294"/>
                  <a:gd name="T43" fmla="*/ 223 h 318"/>
                  <a:gd name="T44" fmla="*/ 230 w 294"/>
                  <a:gd name="T45" fmla="*/ 238 h 318"/>
                  <a:gd name="T46" fmla="*/ 214 w 294"/>
                  <a:gd name="T47" fmla="*/ 230 h 318"/>
                  <a:gd name="T48" fmla="*/ 207 w 294"/>
                  <a:gd name="T49" fmla="*/ 215 h 318"/>
                  <a:gd name="T50" fmla="*/ 196 w 294"/>
                  <a:gd name="T51" fmla="*/ 210 h 318"/>
                  <a:gd name="T52" fmla="*/ 189 w 294"/>
                  <a:gd name="T53" fmla="*/ 218 h 318"/>
                  <a:gd name="T54" fmla="*/ 190 w 294"/>
                  <a:gd name="T55" fmla="*/ 233 h 318"/>
                  <a:gd name="T56" fmla="*/ 167 w 294"/>
                  <a:gd name="T57" fmla="*/ 237 h 318"/>
                  <a:gd name="T58" fmla="*/ 148 w 294"/>
                  <a:gd name="T59" fmla="*/ 235 h 318"/>
                  <a:gd name="T60" fmla="*/ 145 w 294"/>
                  <a:gd name="T61" fmla="*/ 262 h 318"/>
                  <a:gd name="T62" fmla="*/ 165 w 294"/>
                  <a:gd name="T63" fmla="*/ 283 h 318"/>
                  <a:gd name="T64" fmla="*/ 145 w 294"/>
                  <a:gd name="T65" fmla="*/ 291 h 318"/>
                  <a:gd name="T66" fmla="*/ 117 w 294"/>
                  <a:gd name="T67" fmla="*/ 313 h 318"/>
                  <a:gd name="T68" fmla="*/ 85 w 294"/>
                  <a:gd name="T69" fmla="*/ 273 h 318"/>
                  <a:gd name="T70" fmla="*/ 27 w 294"/>
                  <a:gd name="T71" fmla="*/ 213 h 318"/>
                  <a:gd name="T72" fmla="*/ 9 w 294"/>
                  <a:gd name="T73" fmla="*/ 170 h 318"/>
                  <a:gd name="T74" fmla="*/ 5 w 294"/>
                  <a:gd name="T75" fmla="*/ 157 h 318"/>
                  <a:gd name="T76" fmla="*/ 12 w 294"/>
                  <a:gd name="T77" fmla="*/ 155 h 318"/>
                  <a:gd name="T78" fmla="*/ 22 w 294"/>
                  <a:gd name="T79" fmla="*/ 147 h 318"/>
                  <a:gd name="T80" fmla="*/ 34 w 294"/>
                  <a:gd name="T81" fmla="*/ 102 h 318"/>
                  <a:gd name="T82" fmla="*/ 41 w 294"/>
                  <a:gd name="T83" fmla="*/ 109 h 318"/>
                  <a:gd name="T84" fmla="*/ 56 w 294"/>
                  <a:gd name="T85" fmla="*/ 118 h 318"/>
                  <a:gd name="T86" fmla="*/ 63 w 294"/>
                  <a:gd name="T87" fmla="*/ 109 h 318"/>
                  <a:gd name="T88" fmla="*/ 54 w 294"/>
                  <a:gd name="T89" fmla="*/ 109 h 318"/>
                  <a:gd name="T90" fmla="*/ 41 w 294"/>
                  <a:gd name="T91" fmla="*/ 102 h 318"/>
                  <a:gd name="T92" fmla="*/ 38 w 294"/>
                  <a:gd name="T93" fmla="*/ 85 h 318"/>
                  <a:gd name="T94" fmla="*/ 43 w 294"/>
                  <a:gd name="T95" fmla="*/ 89 h 318"/>
                  <a:gd name="T96" fmla="*/ 46 w 294"/>
                  <a:gd name="T97" fmla="*/ 90 h 318"/>
                  <a:gd name="T98" fmla="*/ 53 w 294"/>
                  <a:gd name="T99" fmla="*/ 63 h 318"/>
                  <a:gd name="T100" fmla="*/ 65 w 294"/>
                  <a:gd name="T101" fmla="*/ 67 h 318"/>
                  <a:gd name="T102" fmla="*/ 134 w 294"/>
                  <a:gd name="T103" fmla="*/ 5 h 318"/>
                  <a:gd name="T104" fmla="*/ 158 w 294"/>
                  <a:gd name="T105" fmla="*/ 2 h 318"/>
                  <a:gd name="T106" fmla="*/ 189 w 294"/>
                  <a:gd name="T107" fmla="*/ 4 h 318"/>
                  <a:gd name="T108" fmla="*/ 213 w 294"/>
                  <a:gd name="T109" fmla="*/ 4 h 318"/>
                  <a:gd name="T110" fmla="*/ 231 w 294"/>
                  <a:gd name="T111" fmla="*/ 4 h 318"/>
                  <a:gd name="T112" fmla="*/ 61 w 294"/>
                  <a:gd name="T113" fmla="*/ 107 h 318"/>
                  <a:gd name="T114" fmla="*/ 60 w 294"/>
                  <a:gd name="T115" fmla="*/ 10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318">
                    <a:moveTo>
                      <a:pt x="233" y="7"/>
                    </a:moveTo>
                    <a:lnTo>
                      <a:pt x="231" y="9"/>
                    </a:lnTo>
                    <a:lnTo>
                      <a:pt x="233" y="9"/>
                    </a:lnTo>
                    <a:lnTo>
                      <a:pt x="231" y="9"/>
                    </a:lnTo>
                    <a:lnTo>
                      <a:pt x="233" y="11"/>
                    </a:lnTo>
                    <a:lnTo>
                      <a:pt x="233" y="12"/>
                    </a:lnTo>
                    <a:lnTo>
                      <a:pt x="231" y="14"/>
                    </a:lnTo>
                    <a:lnTo>
                      <a:pt x="230" y="16"/>
                    </a:lnTo>
                    <a:lnTo>
                      <a:pt x="228" y="17"/>
                    </a:lnTo>
                    <a:lnTo>
                      <a:pt x="228" y="19"/>
                    </a:lnTo>
                    <a:lnTo>
                      <a:pt x="224" y="22"/>
                    </a:lnTo>
                    <a:lnTo>
                      <a:pt x="226" y="22"/>
                    </a:lnTo>
                    <a:lnTo>
                      <a:pt x="228" y="24"/>
                    </a:lnTo>
                    <a:lnTo>
                      <a:pt x="226" y="26"/>
                    </a:lnTo>
                    <a:lnTo>
                      <a:pt x="226" y="28"/>
                    </a:lnTo>
                    <a:lnTo>
                      <a:pt x="226" y="29"/>
                    </a:lnTo>
                    <a:lnTo>
                      <a:pt x="224" y="29"/>
                    </a:lnTo>
                    <a:lnTo>
                      <a:pt x="224" y="31"/>
                    </a:lnTo>
                    <a:lnTo>
                      <a:pt x="224" y="36"/>
                    </a:lnTo>
                    <a:lnTo>
                      <a:pt x="224" y="38"/>
                    </a:lnTo>
                    <a:lnTo>
                      <a:pt x="223" y="38"/>
                    </a:lnTo>
                    <a:lnTo>
                      <a:pt x="224" y="38"/>
                    </a:lnTo>
                    <a:lnTo>
                      <a:pt x="224" y="39"/>
                    </a:lnTo>
                    <a:lnTo>
                      <a:pt x="224" y="41"/>
                    </a:lnTo>
                    <a:lnTo>
                      <a:pt x="226" y="39"/>
                    </a:lnTo>
                    <a:lnTo>
                      <a:pt x="226" y="41"/>
                    </a:lnTo>
                    <a:lnTo>
                      <a:pt x="226" y="43"/>
                    </a:lnTo>
                    <a:lnTo>
                      <a:pt x="228" y="43"/>
                    </a:lnTo>
                    <a:lnTo>
                      <a:pt x="230" y="46"/>
                    </a:lnTo>
                    <a:lnTo>
                      <a:pt x="230" y="48"/>
                    </a:lnTo>
                    <a:lnTo>
                      <a:pt x="230" y="50"/>
                    </a:lnTo>
                    <a:lnTo>
                      <a:pt x="231" y="50"/>
                    </a:lnTo>
                    <a:lnTo>
                      <a:pt x="228" y="53"/>
                    </a:lnTo>
                    <a:lnTo>
                      <a:pt x="226" y="51"/>
                    </a:lnTo>
                    <a:lnTo>
                      <a:pt x="226" y="55"/>
                    </a:lnTo>
                    <a:lnTo>
                      <a:pt x="224" y="55"/>
                    </a:lnTo>
                    <a:lnTo>
                      <a:pt x="226" y="56"/>
                    </a:lnTo>
                    <a:lnTo>
                      <a:pt x="231" y="55"/>
                    </a:lnTo>
                    <a:lnTo>
                      <a:pt x="233" y="56"/>
                    </a:lnTo>
                    <a:lnTo>
                      <a:pt x="233" y="55"/>
                    </a:lnTo>
                    <a:lnTo>
                      <a:pt x="233" y="53"/>
                    </a:lnTo>
                    <a:lnTo>
                      <a:pt x="235" y="55"/>
                    </a:lnTo>
                    <a:lnTo>
                      <a:pt x="236" y="53"/>
                    </a:lnTo>
                    <a:lnTo>
                      <a:pt x="238" y="53"/>
                    </a:lnTo>
                    <a:lnTo>
                      <a:pt x="238" y="51"/>
                    </a:lnTo>
                    <a:lnTo>
                      <a:pt x="240" y="51"/>
                    </a:lnTo>
                    <a:lnTo>
                      <a:pt x="240" y="53"/>
                    </a:lnTo>
                    <a:lnTo>
                      <a:pt x="240" y="51"/>
                    </a:lnTo>
                    <a:lnTo>
                      <a:pt x="241" y="53"/>
                    </a:lnTo>
                    <a:lnTo>
                      <a:pt x="243" y="53"/>
                    </a:lnTo>
                    <a:lnTo>
                      <a:pt x="245" y="53"/>
                    </a:lnTo>
                    <a:lnTo>
                      <a:pt x="247" y="51"/>
                    </a:lnTo>
                    <a:lnTo>
                      <a:pt x="248" y="50"/>
                    </a:lnTo>
                    <a:lnTo>
                      <a:pt x="250" y="50"/>
                    </a:lnTo>
                    <a:lnTo>
                      <a:pt x="253" y="50"/>
                    </a:lnTo>
                    <a:lnTo>
                      <a:pt x="255" y="48"/>
                    </a:lnTo>
                    <a:lnTo>
                      <a:pt x="255" y="50"/>
                    </a:lnTo>
                    <a:lnTo>
                      <a:pt x="257" y="48"/>
                    </a:lnTo>
                    <a:lnTo>
                      <a:pt x="257" y="46"/>
                    </a:lnTo>
                    <a:lnTo>
                      <a:pt x="258" y="46"/>
                    </a:lnTo>
                    <a:lnTo>
                      <a:pt x="258" y="45"/>
                    </a:lnTo>
                    <a:lnTo>
                      <a:pt x="267" y="46"/>
                    </a:lnTo>
                    <a:lnTo>
                      <a:pt x="269" y="45"/>
                    </a:lnTo>
                    <a:lnTo>
                      <a:pt x="272" y="48"/>
                    </a:lnTo>
                    <a:lnTo>
                      <a:pt x="274" y="46"/>
                    </a:lnTo>
                    <a:lnTo>
                      <a:pt x="277" y="46"/>
                    </a:lnTo>
                    <a:lnTo>
                      <a:pt x="277" y="48"/>
                    </a:lnTo>
                    <a:lnTo>
                      <a:pt x="282" y="50"/>
                    </a:lnTo>
                    <a:lnTo>
                      <a:pt x="284" y="51"/>
                    </a:lnTo>
                    <a:lnTo>
                      <a:pt x="282" y="55"/>
                    </a:lnTo>
                    <a:lnTo>
                      <a:pt x="284" y="56"/>
                    </a:lnTo>
                    <a:lnTo>
                      <a:pt x="286" y="60"/>
                    </a:lnTo>
                    <a:lnTo>
                      <a:pt x="287" y="62"/>
                    </a:lnTo>
                    <a:lnTo>
                      <a:pt x="289" y="68"/>
                    </a:lnTo>
                    <a:lnTo>
                      <a:pt x="292" y="70"/>
                    </a:lnTo>
                    <a:lnTo>
                      <a:pt x="292" y="73"/>
                    </a:lnTo>
                    <a:lnTo>
                      <a:pt x="291" y="73"/>
                    </a:lnTo>
                    <a:lnTo>
                      <a:pt x="292" y="75"/>
                    </a:lnTo>
                    <a:lnTo>
                      <a:pt x="286" y="82"/>
                    </a:lnTo>
                    <a:lnTo>
                      <a:pt x="286" y="84"/>
                    </a:lnTo>
                    <a:lnTo>
                      <a:pt x="287" y="85"/>
                    </a:lnTo>
                    <a:lnTo>
                      <a:pt x="282" y="87"/>
                    </a:lnTo>
                    <a:lnTo>
                      <a:pt x="282" y="89"/>
                    </a:lnTo>
                    <a:lnTo>
                      <a:pt x="282" y="90"/>
                    </a:lnTo>
                    <a:lnTo>
                      <a:pt x="279" y="90"/>
                    </a:lnTo>
                    <a:lnTo>
                      <a:pt x="279" y="89"/>
                    </a:lnTo>
                    <a:lnTo>
                      <a:pt x="277" y="90"/>
                    </a:lnTo>
                    <a:lnTo>
                      <a:pt x="275" y="89"/>
                    </a:lnTo>
                    <a:lnTo>
                      <a:pt x="272" y="90"/>
                    </a:lnTo>
                    <a:lnTo>
                      <a:pt x="272" y="92"/>
                    </a:lnTo>
                    <a:lnTo>
                      <a:pt x="272" y="94"/>
                    </a:lnTo>
                    <a:lnTo>
                      <a:pt x="270" y="96"/>
                    </a:lnTo>
                    <a:lnTo>
                      <a:pt x="267" y="99"/>
                    </a:lnTo>
                    <a:lnTo>
                      <a:pt x="265" y="101"/>
                    </a:lnTo>
                    <a:lnTo>
                      <a:pt x="265" y="104"/>
                    </a:lnTo>
                    <a:lnTo>
                      <a:pt x="262" y="106"/>
                    </a:lnTo>
                    <a:lnTo>
                      <a:pt x="262" y="107"/>
                    </a:lnTo>
                    <a:lnTo>
                      <a:pt x="264" y="111"/>
                    </a:lnTo>
                    <a:lnTo>
                      <a:pt x="264" y="114"/>
                    </a:lnTo>
                    <a:lnTo>
                      <a:pt x="265" y="116"/>
                    </a:lnTo>
                    <a:lnTo>
                      <a:pt x="265" y="118"/>
                    </a:lnTo>
                    <a:lnTo>
                      <a:pt x="267" y="118"/>
                    </a:lnTo>
                    <a:lnTo>
                      <a:pt x="269" y="119"/>
                    </a:lnTo>
                    <a:lnTo>
                      <a:pt x="269" y="123"/>
                    </a:lnTo>
                    <a:lnTo>
                      <a:pt x="264" y="125"/>
                    </a:lnTo>
                    <a:lnTo>
                      <a:pt x="264" y="126"/>
                    </a:lnTo>
                    <a:lnTo>
                      <a:pt x="265" y="130"/>
                    </a:lnTo>
                    <a:lnTo>
                      <a:pt x="267" y="131"/>
                    </a:lnTo>
                    <a:lnTo>
                      <a:pt x="267" y="130"/>
                    </a:lnTo>
                    <a:lnTo>
                      <a:pt x="269" y="131"/>
                    </a:lnTo>
                    <a:lnTo>
                      <a:pt x="270" y="130"/>
                    </a:lnTo>
                    <a:lnTo>
                      <a:pt x="270" y="131"/>
                    </a:lnTo>
                    <a:lnTo>
                      <a:pt x="272" y="130"/>
                    </a:lnTo>
                    <a:lnTo>
                      <a:pt x="274" y="131"/>
                    </a:lnTo>
                    <a:lnTo>
                      <a:pt x="275" y="131"/>
                    </a:lnTo>
                    <a:lnTo>
                      <a:pt x="277" y="136"/>
                    </a:lnTo>
                    <a:lnTo>
                      <a:pt x="277" y="140"/>
                    </a:lnTo>
                    <a:lnTo>
                      <a:pt x="279" y="140"/>
                    </a:lnTo>
                    <a:lnTo>
                      <a:pt x="282" y="142"/>
                    </a:lnTo>
                    <a:lnTo>
                      <a:pt x="284" y="140"/>
                    </a:lnTo>
                    <a:lnTo>
                      <a:pt x="287" y="142"/>
                    </a:lnTo>
                    <a:lnTo>
                      <a:pt x="289" y="142"/>
                    </a:lnTo>
                    <a:lnTo>
                      <a:pt x="291" y="143"/>
                    </a:lnTo>
                    <a:lnTo>
                      <a:pt x="289" y="145"/>
                    </a:lnTo>
                    <a:lnTo>
                      <a:pt x="291" y="145"/>
                    </a:lnTo>
                    <a:lnTo>
                      <a:pt x="292" y="147"/>
                    </a:lnTo>
                    <a:lnTo>
                      <a:pt x="292" y="148"/>
                    </a:lnTo>
                    <a:lnTo>
                      <a:pt x="294" y="148"/>
                    </a:lnTo>
                    <a:lnTo>
                      <a:pt x="294" y="150"/>
                    </a:lnTo>
                    <a:lnTo>
                      <a:pt x="294" y="152"/>
                    </a:lnTo>
                    <a:lnTo>
                      <a:pt x="291" y="155"/>
                    </a:lnTo>
                    <a:lnTo>
                      <a:pt x="292" y="157"/>
                    </a:lnTo>
                    <a:lnTo>
                      <a:pt x="291" y="159"/>
                    </a:lnTo>
                    <a:lnTo>
                      <a:pt x="292" y="160"/>
                    </a:lnTo>
                    <a:lnTo>
                      <a:pt x="292" y="162"/>
                    </a:lnTo>
                    <a:lnTo>
                      <a:pt x="289" y="165"/>
                    </a:lnTo>
                    <a:lnTo>
                      <a:pt x="291" y="165"/>
                    </a:lnTo>
                    <a:lnTo>
                      <a:pt x="291" y="167"/>
                    </a:lnTo>
                    <a:lnTo>
                      <a:pt x="289" y="170"/>
                    </a:lnTo>
                    <a:lnTo>
                      <a:pt x="291" y="170"/>
                    </a:lnTo>
                    <a:lnTo>
                      <a:pt x="292" y="174"/>
                    </a:lnTo>
                    <a:lnTo>
                      <a:pt x="291" y="177"/>
                    </a:lnTo>
                    <a:lnTo>
                      <a:pt x="292" y="179"/>
                    </a:lnTo>
                    <a:lnTo>
                      <a:pt x="294" y="181"/>
                    </a:lnTo>
                    <a:lnTo>
                      <a:pt x="292" y="184"/>
                    </a:lnTo>
                    <a:lnTo>
                      <a:pt x="291" y="186"/>
                    </a:lnTo>
                    <a:lnTo>
                      <a:pt x="294" y="189"/>
                    </a:lnTo>
                    <a:lnTo>
                      <a:pt x="292" y="193"/>
                    </a:lnTo>
                    <a:lnTo>
                      <a:pt x="292" y="194"/>
                    </a:lnTo>
                    <a:lnTo>
                      <a:pt x="291" y="194"/>
                    </a:lnTo>
                    <a:lnTo>
                      <a:pt x="292" y="196"/>
                    </a:lnTo>
                    <a:lnTo>
                      <a:pt x="291" y="196"/>
                    </a:lnTo>
                    <a:lnTo>
                      <a:pt x="289" y="198"/>
                    </a:lnTo>
                    <a:lnTo>
                      <a:pt x="287" y="199"/>
                    </a:lnTo>
                    <a:lnTo>
                      <a:pt x="289" y="201"/>
                    </a:lnTo>
                    <a:lnTo>
                      <a:pt x="289" y="203"/>
                    </a:lnTo>
                    <a:lnTo>
                      <a:pt x="291" y="203"/>
                    </a:lnTo>
                    <a:lnTo>
                      <a:pt x="292" y="203"/>
                    </a:lnTo>
                    <a:lnTo>
                      <a:pt x="289" y="206"/>
                    </a:lnTo>
                    <a:lnTo>
                      <a:pt x="289" y="208"/>
                    </a:lnTo>
                    <a:lnTo>
                      <a:pt x="291" y="208"/>
                    </a:lnTo>
                    <a:lnTo>
                      <a:pt x="289" y="211"/>
                    </a:lnTo>
                    <a:lnTo>
                      <a:pt x="289" y="213"/>
                    </a:lnTo>
                    <a:lnTo>
                      <a:pt x="287" y="215"/>
                    </a:lnTo>
                    <a:lnTo>
                      <a:pt x="284" y="216"/>
                    </a:lnTo>
                    <a:lnTo>
                      <a:pt x="282" y="218"/>
                    </a:lnTo>
                    <a:lnTo>
                      <a:pt x="281" y="218"/>
                    </a:lnTo>
                    <a:lnTo>
                      <a:pt x="281" y="220"/>
                    </a:lnTo>
                    <a:lnTo>
                      <a:pt x="282" y="221"/>
                    </a:lnTo>
                    <a:lnTo>
                      <a:pt x="281" y="223"/>
                    </a:lnTo>
                    <a:lnTo>
                      <a:pt x="282" y="225"/>
                    </a:lnTo>
                    <a:lnTo>
                      <a:pt x="279" y="227"/>
                    </a:lnTo>
                    <a:lnTo>
                      <a:pt x="279" y="228"/>
                    </a:lnTo>
                    <a:lnTo>
                      <a:pt x="275" y="230"/>
                    </a:lnTo>
                    <a:lnTo>
                      <a:pt x="277" y="232"/>
                    </a:lnTo>
                    <a:lnTo>
                      <a:pt x="277" y="233"/>
                    </a:lnTo>
                    <a:lnTo>
                      <a:pt x="281" y="237"/>
                    </a:lnTo>
                    <a:lnTo>
                      <a:pt x="279" y="237"/>
                    </a:lnTo>
                    <a:lnTo>
                      <a:pt x="275" y="238"/>
                    </a:lnTo>
                    <a:lnTo>
                      <a:pt x="275" y="240"/>
                    </a:lnTo>
                    <a:lnTo>
                      <a:pt x="275" y="242"/>
                    </a:lnTo>
                    <a:lnTo>
                      <a:pt x="274" y="244"/>
                    </a:lnTo>
                    <a:lnTo>
                      <a:pt x="274" y="245"/>
                    </a:lnTo>
                    <a:lnTo>
                      <a:pt x="272" y="244"/>
                    </a:lnTo>
                    <a:lnTo>
                      <a:pt x="270" y="244"/>
                    </a:lnTo>
                    <a:lnTo>
                      <a:pt x="269" y="244"/>
                    </a:lnTo>
                    <a:lnTo>
                      <a:pt x="267" y="242"/>
                    </a:lnTo>
                    <a:lnTo>
                      <a:pt x="265" y="242"/>
                    </a:lnTo>
                    <a:lnTo>
                      <a:pt x="264" y="244"/>
                    </a:lnTo>
                    <a:lnTo>
                      <a:pt x="262" y="244"/>
                    </a:lnTo>
                    <a:lnTo>
                      <a:pt x="262" y="240"/>
                    </a:lnTo>
                    <a:lnTo>
                      <a:pt x="265" y="237"/>
                    </a:lnTo>
                    <a:lnTo>
                      <a:pt x="262" y="235"/>
                    </a:lnTo>
                    <a:lnTo>
                      <a:pt x="262" y="233"/>
                    </a:lnTo>
                    <a:lnTo>
                      <a:pt x="260" y="232"/>
                    </a:lnTo>
                    <a:lnTo>
                      <a:pt x="258" y="227"/>
                    </a:lnTo>
                    <a:lnTo>
                      <a:pt x="257" y="225"/>
                    </a:lnTo>
                    <a:lnTo>
                      <a:pt x="257" y="223"/>
                    </a:lnTo>
                    <a:lnTo>
                      <a:pt x="255" y="225"/>
                    </a:lnTo>
                    <a:lnTo>
                      <a:pt x="253" y="230"/>
                    </a:lnTo>
                    <a:lnTo>
                      <a:pt x="248" y="235"/>
                    </a:lnTo>
                    <a:lnTo>
                      <a:pt x="247" y="237"/>
                    </a:lnTo>
                    <a:lnTo>
                      <a:pt x="241" y="240"/>
                    </a:lnTo>
                    <a:lnTo>
                      <a:pt x="240" y="240"/>
                    </a:lnTo>
                    <a:lnTo>
                      <a:pt x="236" y="240"/>
                    </a:lnTo>
                    <a:lnTo>
                      <a:pt x="235" y="238"/>
                    </a:lnTo>
                    <a:lnTo>
                      <a:pt x="230" y="238"/>
                    </a:lnTo>
                    <a:lnTo>
                      <a:pt x="228" y="237"/>
                    </a:lnTo>
                    <a:lnTo>
                      <a:pt x="224" y="238"/>
                    </a:lnTo>
                    <a:lnTo>
                      <a:pt x="219" y="235"/>
                    </a:lnTo>
                    <a:lnTo>
                      <a:pt x="218" y="238"/>
                    </a:lnTo>
                    <a:lnTo>
                      <a:pt x="218" y="235"/>
                    </a:lnTo>
                    <a:lnTo>
                      <a:pt x="219" y="233"/>
                    </a:lnTo>
                    <a:lnTo>
                      <a:pt x="218" y="233"/>
                    </a:lnTo>
                    <a:lnTo>
                      <a:pt x="216" y="228"/>
                    </a:lnTo>
                    <a:lnTo>
                      <a:pt x="214" y="230"/>
                    </a:lnTo>
                    <a:lnTo>
                      <a:pt x="214" y="228"/>
                    </a:lnTo>
                    <a:lnTo>
                      <a:pt x="213" y="227"/>
                    </a:lnTo>
                    <a:lnTo>
                      <a:pt x="213" y="225"/>
                    </a:lnTo>
                    <a:lnTo>
                      <a:pt x="211" y="223"/>
                    </a:lnTo>
                    <a:lnTo>
                      <a:pt x="213" y="223"/>
                    </a:lnTo>
                    <a:lnTo>
                      <a:pt x="211" y="221"/>
                    </a:lnTo>
                    <a:lnTo>
                      <a:pt x="209" y="218"/>
                    </a:lnTo>
                    <a:lnTo>
                      <a:pt x="209" y="216"/>
                    </a:lnTo>
                    <a:lnTo>
                      <a:pt x="207" y="215"/>
                    </a:lnTo>
                    <a:lnTo>
                      <a:pt x="209" y="215"/>
                    </a:lnTo>
                    <a:lnTo>
                      <a:pt x="207" y="215"/>
                    </a:lnTo>
                    <a:lnTo>
                      <a:pt x="206" y="213"/>
                    </a:lnTo>
                    <a:lnTo>
                      <a:pt x="204" y="215"/>
                    </a:lnTo>
                    <a:lnTo>
                      <a:pt x="202" y="211"/>
                    </a:lnTo>
                    <a:lnTo>
                      <a:pt x="201" y="211"/>
                    </a:lnTo>
                    <a:lnTo>
                      <a:pt x="199" y="210"/>
                    </a:lnTo>
                    <a:lnTo>
                      <a:pt x="197" y="210"/>
                    </a:lnTo>
                    <a:lnTo>
                      <a:pt x="196" y="210"/>
                    </a:lnTo>
                    <a:lnTo>
                      <a:pt x="196" y="211"/>
                    </a:lnTo>
                    <a:lnTo>
                      <a:pt x="194" y="213"/>
                    </a:lnTo>
                    <a:lnTo>
                      <a:pt x="194" y="215"/>
                    </a:lnTo>
                    <a:lnTo>
                      <a:pt x="192" y="215"/>
                    </a:lnTo>
                    <a:lnTo>
                      <a:pt x="190" y="213"/>
                    </a:lnTo>
                    <a:lnTo>
                      <a:pt x="189" y="213"/>
                    </a:lnTo>
                    <a:lnTo>
                      <a:pt x="189" y="215"/>
                    </a:lnTo>
                    <a:lnTo>
                      <a:pt x="190" y="216"/>
                    </a:lnTo>
                    <a:lnTo>
                      <a:pt x="189" y="218"/>
                    </a:lnTo>
                    <a:lnTo>
                      <a:pt x="190" y="220"/>
                    </a:lnTo>
                    <a:lnTo>
                      <a:pt x="189" y="221"/>
                    </a:lnTo>
                    <a:lnTo>
                      <a:pt x="192" y="225"/>
                    </a:lnTo>
                    <a:lnTo>
                      <a:pt x="190" y="227"/>
                    </a:lnTo>
                    <a:lnTo>
                      <a:pt x="192" y="228"/>
                    </a:lnTo>
                    <a:lnTo>
                      <a:pt x="190" y="230"/>
                    </a:lnTo>
                    <a:lnTo>
                      <a:pt x="192" y="230"/>
                    </a:lnTo>
                    <a:lnTo>
                      <a:pt x="190" y="232"/>
                    </a:lnTo>
                    <a:lnTo>
                      <a:pt x="190" y="233"/>
                    </a:lnTo>
                    <a:lnTo>
                      <a:pt x="190" y="235"/>
                    </a:lnTo>
                    <a:lnTo>
                      <a:pt x="190" y="237"/>
                    </a:lnTo>
                    <a:lnTo>
                      <a:pt x="192" y="235"/>
                    </a:lnTo>
                    <a:lnTo>
                      <a:pt x="192" y="237"/>
                    </a:lnTo>
                    <a:lnTo>
                      <a:pt x="192" y="238"/>
                    </a:lnTo>
                    <a:lnTo>
                      <a:pt x="192" y="240"/>
                    </a:lnTo>
                    <a:lnTo>
                      <a:pt x="173" y="240"/>
                    </a:lnTo>
                    <a:lnTo>
                      <a:pt x="168" y="240"/>
                    </a:lnTo>
                    <a:lnTo>
                      <a:pt x="167" y="237"/>
                    </a:lnTo>
                    <a:lnTo>
                      <a:pt x="165" y="235"/>
                    </a:lnTo>
                    <a:lnTo>
                      <a:pt x="162" y="237"/>
                    </a:lnTo>
                    <a:lnTo>
                      <a:pt x="156" y="238"/>
                    </a:lnTo>
                    <a:lnTo>
                      <a:pt x="153" y="242"/>
                    </a:lnTo>
                    <a:lnTo>
                      <a:pt x="153" y="240"/>
                    </a:lnTo>
                    <a:lnTo>
                      <a:pt x="151" y="240"/>
                    </a:lnTo>
                    <a:lnTo>
                      <a:pt x="150" y="237"/>
                    </a:lnTo>
                    <a:lnTo>
                      <a:pt x="148" y="237"/>
                    </a:lnTo>
                    <a:lnTo>
                      <a:pt x="148" y="235"/>
                    </a:lnTo>
                    <a:lnTo>
                      <a:pt x="146" y="237"/>
                    </a:lnTo>
                    <a:lnTo>
                      <a:pt x="145" y="237"/>
                    </a:lnTo>
                    <a:lnTo>
                      <a:pt x="146" y="238"/>
                    </a:lnTo>
                    <a:lnTo>
                      <a:pt x="146" y="245"/>
                    </a:lnTo>
                    <a:lnTo>
                      <a:pt x="150" y="250"/>
                    </a:lnTo>
                    <a:lnTo>
                      <a:pt x="148" y="255"/>
                    </a:lnTo>
                    <a:lnTo>
                      <a:pt x="145" y="261"/>
                    </a:lnTo>
                    <a:lnTo>
                      <a:pt x="143" y="262"/>
                    </a:lnTo>
                    <a:lnTo>
                      <a:pt x="145" y="262"/>
                    </a:lnTo>
                    <a:lnTo>
                      <a:pt x="146" y="264"/>
                    </a:lnTo>
                    <a:lnTo>
                      <a:pt x="148" y="259"/>
                    </a:lnTo>
                    <a:lnTo>
                      <a:pt x="150" y="261"/>
                    </a:lnTo>
                    <a:lnTo>
                      <a:pt x="153" y="266"/>
                    </a:lnTo>
                    <a:lnTo>
                      <a:pt x="156" y="271"/>
                    </a:lnTo>
                    <a:lnTo>
                      <a:pt x="153" y="273"/>
                    </a:lnTo>
                    <a:lnTo>
                      <a:pt x="153" y="276"/>
                    </a:lnTo>
                    <a:lnTo>
                      <a:pt x="160" y="281"/>
                    </a:lnTo>
                    <a:lnTo>
                      <a:pt x="165" y="283"/>
                    </a:lnTo>
                    <a:lnTo>
                      <a:pt x="165" y="291"/>
                    </a:lnTo>
                    <a:lnTo>
                      <a:pt x="163" y="295"/>
                    </a:lnTo>
                    <a:lnTo>
                      <a:pt x="160" y="295"/>
                    </a:lnTo>
                    <a:lnTo>
                      <a:pt x="160" y="298"/>
                    </a:lnTo>
                    <a:lnTo>
                      <a:pt x="163" y="303"/>
                    </a:lnTo>
                    <a:lnTo>
                      <a:pt x="158" y="307"/>
                    </a:lnTo>
                    <a:lnTo>
                      <a:pt x="153" y="303"/>
                    </a:lnTo>
                    <a:lnTo>
                      <a:pt x="150" y="296"/>
                    </a:lnTo>
                    <a:lnTo>
                      <a:pt x="145" y="291"/>
                    </a:lnTo>
                    <a:lnTo>
                      <a:pt x="141" y="291"/>
                    </a:lnTo>
                    <a:lnTo>
                      <a:pt x="139" y="298"/>
                    </a:lnTo>
                    <a:lnTo>
                      <a:pt x="138" y="300"/>
                    </a:lnTo>
                    <a:lnTo>
                      <a:pt x="133" y="300"/>
                    </a:lnTo>
                    <a:lnTo>
                      <a:pt x="128" y="305"/>
                    </a:lnTo>
                    <a:lnTo>
                      <a:pt x="126" y="308"/>
                    </a:lnTo>
                    <a:lnTo>
                      <a:pt x="128" y="312"/>
                    </a:lnTo>
                    <a:lnTo>
                      <a:pt x="122" y="318"/>
                    </a:lnTo>
                    <a:lnTo>
                      <a:pt x="117" y="313"/>
                    </a:lnTo>
                    <a:lnTo>
                      <a:pt x="116" y="312"/>
                    </a:lnTo>
                    <a:lnTo>
                      <a:pt x="117" y="310"/>
                    </a:lnTo>
                    <a:lnTo>
                      <a:pt x="112" y="303"/>
                    </a:lnTo>
                    <a:lnTo>
                      <a:pt x="97" y="291"/>
                    </a:lnTo>
                    <a:lnTo>
                      <a:pt x="99" y="290"/>
                    </a:lnTo>
                    <a:lnTo>
                      <a:pt x="99" y="286"/>
                    </a:lnTo>
                    <a:lnTo>
                      <a:pt x="94" y="283"/>
                    </a:lnTo>
                    <a:lnTo>
                      <a:pt x="92" y="281"/>
                    </a:lnTo>
                    <a:lnTo>
                      <a:pt x="85" y="273"/>
                    </a:lnTo>
                    <a:lnTo>
                      <a:pt x="78" y="267"/>
                    </a:lnTo>
                    <a:lnTo>
                      <a:pt x="73" y="264"/>
                    </a:lnTo>
                    <a:lnTo>
                      <a:pt x="60" y="254"/>
                    </a:lnTo>
                    <a:lnTo>
                      <a:pt x="58" y="252"/>
                    </a:lnTo>
                    <a:lnTo>
                      <a:pt x="46" y="240"/>
                    </a:lnTo>
                    <a:lnTo>
                      <a:pt x="44" y="237"/>
                    </a:lnTo>
                    <a:lnTo>
                      <a:pt x="44" y="230"/>
                    </a:lnTo>
                    <a:lnTo>
                      <a:pt x="29" y="215"/>
                    </a:lnTo>
                    <a:lnTo>
                      <a:pt x="27" y="213"/>
                    </a:lnTo>
                    <a:lnTo>
                      <a:pt x="27" y="210"/>
                    </a:lnTo>
                    <a:lnTo>
                      <a:pt x="29" y="208"/>
                    </a:lnTo>
                    <a:lnTo>
                      <a:pt x="26" y="199"/>
                    </a:lnTo>
                    <a:lnTo>
                      <a:pt x="15" y="186"/>
                    </a:lnTo>
                    <a:lnTo>
                      <a:pt x="14" y="182"/>
                    </a:lnTo>
                    <a:lnTo>
                      <a:pt x="14" y="181"/>
                    </a:lnTo>
                    <a:lnTo>
                      <a:pt x="14" y="179"/>
                    </a:lnTo>
                    <a:lnTo>
                      <a:pt x="7" y="169"/>
                    </a:lnTo>
                    <a:lnTo>
                      <a:pt x="9" y="170"/>
                    </a:lnTo>
                    <a:lnTo>
                      <a:pt x="9" y="169"/>
                    </a:lnTo>
                    <a:lnTo>
                      <a:pt x="0" y="152"/>
                    </a:lnTo>
                    <a:lnTo>
                      <a:pt x="0" y="148"/>
                    </a:lnTo>
                    <a:lnTo>
                      <a:pt x="0" y="150"/>
                    </a:lnTo>
                    <a:lnTo>
                      <a:pt x="2" y="150"/>
                    </a:lnTo>
                    <a:lnTo>
                      <a:pt x="2" y="152"/>
                    </a:lnTo>
                    <a:lnTo>
                      <a:pt x="4" y="152"/>
                    </a:lnTo>
                    <a:lnTo>
                      <a:pt x="4" y="153"/>
                    </a:lnTo>
                    <a:lnTo>
                      <a:pt x="5" y="157"/>
                    </a:lnTo>
                    <a:lnTo>
                      <a:pt x="7" y="160"/>
                    </a:lnTo>
                    <a:lnTo>
                      <a:pt x="9" y="160"/>
                    </a:lnTo>
                    <a:lnTo>
                      <a:pt x="7" y="160"/>
                    </a:lnTo>
                    <a:lnTo>
                      <a:pt x="9" y="155"/>
                    </a:lnTo>
                    <a:lnTo>
                      <a:pt x="10" y="157"/>
                    </a:lnTo>
                    <a:lnTo>
                      <a:pt x="9" y="155"/>
                    </a:lnTo>
                    <a:lnTo>
                      <a:pt x="9" y="153"/>
                    </a:lnTo>
                    <a:lnTo>
                      <a:pt x="10" y="155"/>
                    </a:lnTo>
                    <a:lnTo>
                      <a:pt x="12" y="155"/>
                    </a:lnTo>
                    <a:lnTo>
                      <a:pt x="12" y="152"/>
                    </a:lnTo>
                    <a:lnTo>
                      <a:pt x="15" y="150"/>
                    </a:lnTo>
                    <a:lnTo>
                      <a:pt x="17" y="153"/>
                    </a:lnTo>
                    <a:lnTo>
                      <a:pt x="19" y="153"/>
                    </a:lnTo>
                    <a:lnTo>
                      <a:pt x="19" y="157"/>
                    </a:lnTo>
                    <a:lnTo>
                      <a:pt x="21" y="153"/>
                    </a:lnTo>
                    <a:lnTo>
                      <a:pt x="21" y="150"/>
                    </a:lnTo>
                    <a:lnTo>
                      <a:pt x="22" y="148"/>
                    </a:lnTo>
                    <a:lnTo>
                      <a:pt x="22" y="147"/>
                    </a:lnTo>
                    <a:lnTo>
                      <a:pt x="27" y="142"/>
                    </a:lnTo>
                    <a:lnTo>
                      <a:pt x="29" y="136"/>
                    </a:lnTo>
                    <a:lnTo>
                      <a:pt x="31" y="128"/>
                    </a:lnTo>
                    <a:lnTo>
                      <a:pt x="31" y="125"/>
                    </a:lnTo>
                    <a:lnTo>
                      <a:pt x="31" y="119"/>
                    </a:lnTo>
                    <a:lnTo>
                      <a:pt x="32" y="118"/>
                    </a:lnTo>
                    <a:lnTo>
                      <a:pt x="29" y="102"/>
                    </a:lnTo>
                    <a:lnTo>
                      <a:pt x="32" y="99"/>
                    </a:lnTo>
                    <a:lnTo>
                      <a:pt x="34" y="102"/>
                    </a:lnTo>
                    <a:lnTo>
                      <a:pt x="32" y="102"/>
                    </a:lnTo>
                    <a:lnTo>
                      <a:pt x="34" y="106"/>
                    </a:lnTo>
                    <a:lnTo>
                      <a:pt x="34" y="107"/>
                    </a:lnTo>
                    <a:lnTo>
                      <a:pt x="36" y="107"/>
                    </a:lnTo>
                    <a:lnTo>
                      <a:pt x="38" y="109"/>
                    </a:lnTo>
                    <a:lnTo>
                      <a:pt x="39" y="111"/>
                    </a:lnTo>
                    <a:lnTo>
                      <a:pt x="39" y="113"/>
                    </a:lnTo>
                    <a:lnTo>
                      <a:pt x="39" y="109"/>
                    </a:lnTo>
                    <a:lnTo>
                      <a:pt x="41" y="109"/>
                    </a:lnTo>
                    <a:lnTo>
                      <a:pt x="44" y="109"/>
                    </a:lnTo>
                    <a:lnTo>
                      <a:pt x="44" y="114"/>
                    </a:lnTo>
                    <a:lnTo>
                      <a:pt x="44" y="111"/>
                    </a:lnTo>
                    <a:lnTo>
                      <a:pt x="46" y="109"/>
                    </a:lnTo>
                    <a:lnTo>
                      <a:pt x="48" y="111"/>
                    </a:lnTo>
                    <a:lnTo>
                      <a:pt x="49" y="111"/>
                    </a:lnTo>
                    <a:lnTo>
                      <a:pt x="53" y="111"/>
                    </a:lnTo>
                    <a:lnTo>
                      <a:pt x="54" y="116"/>
                    </a:lnTo>
                    <a:lnTo>
                      <a:pt x="56" y="118"/>
                    </a:lnTo>
                    <a:lnTo>
                      <a:pt x="58" y="116"/>
                    </a:lnTo>
                    <a:lnTo>
                      <a:pt x="56" y="118"/>
                    </a:lnTo>
                    <a:lnTo>
                      <a:pt x="56" y="116"/>
                    </a:lnTo>
                    <a:lnTo>
                      <a:pt x="54" y="113"/>
                    </a:lnTo>
                    <a:lnTo>
                      <a:pt x="53" y="111"/>
                    </a:lnTo>
                    <a:lnTo>
                      <a:pt x="56" y="111"/>
                    </a:lnTo>
                    <a:lnTo>
                      <a:pt x="60" y="109"/>
                    </a:lnTo>
                    <a:lnTo>
                      <a:pt x="61" y="107"/>
                    </a:lnTo>
                    <a:lnTo>
                      <a:pt x="63" y="109"/>
                    </a:lnTo>
                    <a:lnTo>
                      <a:pt x="65" y="109"/>
                    </a:lnTo>
                    <a:lnTo>
                      <a:pt x="66" y="107"/>
                    </a:lnTo>
                    <a:lnTo>
                      <a:pt x="70" y="109"/>
                    </a:lnTo>
                    <a:lnTo>
                      <a:pt x="66" y="107"/>
                    </a:lnTo>
                    <a:lnTo>
                      <a:pt x="63" y="109"/>
                    </a:lnTo>
                    <a:lnTo>
                      <a:pt x="61" y="107"/>
                    </a:lnTo>
                    <a:lnTo>
                      <a:pt x="60" y="109"/>
                    </a:lnTo>
                    <a:lnTo>
                      <a:pt x="56" y="109"/>
                    </a:lnTo>
                    <a:lnTo>
                      <a:pt x="54" y="109"/>
                    </a:lnTo>
                    <a:lnTo>
                      <a:pt x="51" y="107"/>
                    </a:lnTo>
                    <a:lnTo>
                      <a:pt x="51" y="106"/>
                    </a:lnTo>
                    <a:lnTo>
                      <a:pt x="49" y="107"/>
                    </a:lnTo>
                    <a:lnTo>
                      <a:pt x="43" y="102"/>
                    </a:lnTo>
                    <a:lnTo>
                      <a:pt x="44" y="101"/>
                    </a:lnTo>
                    <a:lnTo>
                      <a:pt x="44" y="99"/>
                    </a:lnTo>
                    <a:lnTo>
                      <a:pt x="44" y="101"/>
                    </a:lnTo>
                    <a:lnTo>
                      <a:pt x="43" y="102"/>
                    </a:lnTo>
                    <a:lnTo>
                      <a:pt x="41" y="102"/>
                    </a:lnTo>
                    <a:lnTo>
                      <a:pt x="39" y="102"/>
                    </a:lnTo>
                    <a:lnTo>
                      <a:pt x="39" y="99"/>
                    </a:lnTo>
                    <a:lnTo>
                      <a:pt x="34" y="92"/>
                    </a:lnTo>
                    <a:lnTo>
                      <a:pt x="32" y="90"/>
                    </a:lnTo>
                    <a:lnTo>
                      <a:pt x="31" y="92"/>
                    </a:lnTo>
                    <a:lnTo>
                      <a:pt x="31" y="87"/>
                    </a:lnTo>
                    <a:lnTo>
                      <a:pt x="31" y="85"/>
                    </a:lnTo>
                    <a:lnTo>
                      <a:pt x="34" y="85"/>
                    </a:lnTo>
                    <a:lnTo>
                      <a:pt x="38" y="85"/>
                    </a:lnTo>
                    <a:lnTo>
                      <a:pt x="39" y="84"/>
                    </a:lnTo>
                    <a:lnTo>
                      <a:pt x="41" y="85"/>
                    </a:lnTo>
                    <a:lnTo>
                      <a:pt x="41" y="87"/>
                    </a:lnTo>
                    <a:lnTo>
                      <a:pt x="39" y="87"/>
                    </a:lnTo>
                    <a:lnTo>
                      <a:pt x="38" y="89"/>
                    </a:lnTo>
                    <a:lnTo>
                      <a:pt x="39" y="87"/>
                    </a:lnTo>
                    <a:lnTo>
                      <a:pt x="41" y="89"/>
                    </a:lnTo>
                    <a:lnTo>
                      <a:pt x="43" y="87"/>
                    </a:lnTo>
                    <a:lnTo>
                      <a:pt x="43" y="89"/>
                    </a:lnTo>
                    <a:lnTo>
                      <a:pt x="43" y="90"/>
                    </a:lnTo>
                    <a:lnTo>
                      <a:pt x="44" y="92"/>
                    </a:lnTo>
                    <a:lnTo>
                      <a:pt x="43" y="92"/>
                    </a:lnTo>
                    <a:lnTo>
                      <a:pt x="44" y="92"/>
                    </a:lnTo>
                    <a:lnTo>
                      <a:pt x="44" y="94"/>
                    </a:lnTo>
                    <a:lnTo>
                      <a:pt x="46" y="96"/>
                    </a:lnTo>
                    <a:lnTo>
                      <a:pt x="44" y="92"/>
                    </a:lnTo>
                    <a:lnTo>
                      <a:pt x="49" y="94"/>
                    </a:lnTo>
                    <a:lnTo>
                      <a:pt x="46" y="90"/>
                    </a:lnTo>
                    <a:lnTo>
                      <a:pt x="46" y="89"/>
                    </a:lnTo>
                    <a:lnTo>
                      <a:pt x="46" y="87"/>
                    </a:lnTo>
                    <a:lnTo>
                      <a:pt x="46" y="80"/>
                    </a:lnTo>
                    <a:lnTo>
                      <a:pt x="43" y="70"/>
                    </a:lnTo>
                    <a:lnTo>
                      <a:pt x="44" y="67"/>
                    </a:lnTo>
                    <a:lnTo>
                      <a:pt x="48" y="67"/>
                    </a:lnTo>
                    <a:lnTo>
                      <a:pt x="48" y="63"/>
                    </a:lnTo>
                    <a:lnTo>
                      <a:pt x="51" y="65"/>
                    </a:lnTo>
                    <a:lnTo>
                      <a:pt x="53" y="63"/>
                    </a:lnTo>
                    <a:lnTo>
                      <a:pt x="54" y="65"/>
                    </a:lnTo>
                    <a:lnTo>
                      <a:pt x="54" y="67"/>
                    </a:lnTo>
                    <a:lnTo>
                      <a:pt x="58" y="67"/>
                    </a:lnTo>
                    <a:lnTo>
                      <a:pt x="60" y="67"/>
                    </a:lnTo>
                    <a:lnTo>
                      <a:pt x="60" y="70"/>
                    </a:lnTo>
                    <a:lnTo>
                      <a:pt x="63" y="70"/>
                    </a:lnTo>
                    <a:lnTo>
                      <a:pt x="65" y="70"/>
                    </a:lnTo>
                    <a:lnTo>
                      <a:pt x="65" y="68"/>
                    </a:lnTo>
                    <a:lnTo>
                      <a:pt x="65" y="67"/>
                    </a:lnTo>
                    <a:lnTo>
                      <a:pt x="87" y="67"/>
                    </a:lnTo>
                    <a:lnTo>
                      <a:pt x="104" y="67"/>
                    </a:lnTo>
                    <a:lnTo>
                      <a:pt x="114" y="67"/>
                    </a:lnTo>
                    <a:lnTo>
                      <a:pt x="133" y="67"/>
                    </a:lnTo>
                    <a:lnTo>
                      <a:pt x="133" y="43"/>
                    </a:lnTo>
                    <a:lnTo>
                      <a:pt x="133" y="29"/>
                    </a:lnTo>
                    <a:lnTo>
                      <a:pt x="133" y="11"/>
                    </a:lnTo>
                    <a:lnTo>
                      <a:pt x="134" y="7"/>
                    </a:lnTo>
                    <a:lnTo>
                      <a:pt x="134" y="5"/>
                    </a:lnTo>
                    <a:lnTo>
                      <a:pt x="134" y="4"/>
                    </a:lnTo>
                    <a:lnTo>
                      <a:pt x="134" y="2"/>
                    </a:lnTo>
                    <a:lnTo>
                      <a:pt x="143" y="2"/>
                    </a:lnTo>
                    <a:lnTo>
                      <a:pt x="146" y="0"/>
                    </a:lnTo>
                    <a:lnTo>
                      <a:pt x="146" y="2"/>
                    </a:lnTo>
                    <a:lnTo>
                      <a:pt x="150" y="0"/>
                    </a:lnTo>
                    <a:lnTo>
                      <a:pt x="153" y="2"/>
                    </a:lnTo>
                    <a:lnTo>
                      <a:pt x="155" y="2"/>
                    </a:lnTo>
                    <a:lnTo>
                      <a:pt x="158" y="2"/>
                    </a:lnTo>
                    <a:lnTo>
                      <a:pt x="160" y="2"/>
                    </a:lnTo>
                    <a:lnTo>
                      <a:pt x="165" y="2"/>
                    </a:lnTo>
                    <a:lnTo>
                      <a:pt x="172" y="2"/>
                    </a:lnTo>
                    <a:lnTo>
                      <a:pt x="173" y="2"/>
                    </a:lnTo>
                    <a:lnTo>
                      <a:pt x="177" y="2"/>
                    </a:lnTo>
                    <a:lnTo>
                      <a:pt x="179" y="4"/>
                    </a:lnTo>
                    <a:lnTo>
                      <a:pt x="180" y="4"/>
                    </a:lnTo>
                    <a:lnTo>
                      <a:pt x="182" y="2"/>
                    </a:lnTo>
                    <a:lnTo>
                      <a:pt x="189" y="4"/>
                    </a:lnTo>
                    <a:lnTo>
                      <a:pt x="194" y="4"/>
                    </a:lnTo>
                    <a:lnTo>
                      <a:pt x="196" y="2"/>
                    </a:lnTo>
                    <a:lnTo>
                      <a:pt x="197" y="4"/>
                    </a:lnTo>
                    <a:lnTo>
                      <a:pt x="201" y="4"/>
                    </a:lnTo>
                    <a:lnTo>
                      <a:pt x="204" y="5"/>
                    </a:lnTo>
                    <a:lnTo>
                      <a:pt x="207" y="4"/>
                    </a:lnTo>
                    <a:lnTo>
                      <a:pt x="209" y="5"/>
                    </a:lnTo>
                    <a:lnTo>
                      <a:pt x="211" y="4"/>
                    </a:lnTo>
                    <a:lnTo>
                      <a:pt x="213" y="4"/>
                    </a:lnTo>
                    <a:lnTo>
                      <a:pt x="216" y="4"/>
                    </a:lnTo>
                    <a:lnTo>
                      <a:pt x="219" y="4"/>
                    </a:lnTo>
                    <a:lnTo>
                      <a:pt x="221" y="4"/>
                    </a:lnTo>
                    <a:lnTo>
                      <a:pt x="224" y="2"/>
                    </a:lnTo>
                    <a:lnTo>
                      <a:pt x="226" y="2"/>
                    </a:lnTo>
                    <a:lnTo>
                      <a:pt x="226" y="4"/>
                    </a:lnTo>
                    <a:lnTo>
                      <a:pt x="228" y="4"/>
                    </a:lnTo>
                    <a:lnTo>
                      <a:pt x="230" y="2"/>
                    </a:lnTo>
                    <a:lnTo>
                      <a:pt x="231" y="4"/>
                    </a:lnTo>
                    <a:lnTo>
                      <a:pt x="233" y="5"/>
                    </a:lnTo>
                    <a:lnTo>
                      <a:pt x="231" y="7"/>
                    </a:lnTo>
                    <a:lnTo>
                      <a:pt x="233" y="7"/>
                    </a:lnTo>
                    <a:close/>
                    <a:moveTo>
                      <a:pt x="43" y="90"/>
                    </a:moveTo>
                    <a:lnTo>
                      <a:pt x="44" y="90"/>
                    </a:lnTo>
                    <a:lnTo>
                      <a:pt x="44" y="92"/>
                    </a:lnTo>
                    <a:lnTo>
                      <a:pt x="43" y="92"/>
                    </a:lnTo>
                    <a:lnTo>
                      <a:pt x="43" y="90"/>
                    </a:lnTo>
                    <a:close/>
                    <a:moveTo>
                      <a:pt x="61" y="107"/>
                    </a:moveTo>
                    <a:lnTo>
                      <a:pt x="63" y="107"/>
                    </a:lnTo>
                    <a:lnTo>
                      <a:pt x="63" y="109"/>
                    </a:lnTo>
                    <a:lnTo>
                      <a:pt x="61" y="109"/>
                    </a:lnTo>
                    <a:lnTo>
                      <a:pt x="61" y="107"/>
                    </a:lnTo>
                    <a:close/>
                    <a:moveTo>
                      <a:pt x="60" y="107"/>
                    </a:moveTo>
                    <a:lnTo>
                      <a:pt x="61" y="107"/>
                    </a:lnTo>
                    <a:lnTo>
                      <a:pt x="61" y="109"/>
                    </a:lnTo>
                    <a:lnTo>
                      <a:pt x="60" y="109"/>
                    </a:lnTo>
                    <a:lnTo>
                      <a:pt x="60" y="107"/>
                    </a:lnTo>
                    <a:close/>
                    <a:moveTo>
                      <a:pt x="19" y="152"/>
                    </a:moveTo>
                    <a:lnTo>
                      <a:pt x="19" y="153"/>
                    </a:lnTo>
                    <a:lnTo>
                      <a:pt x="19" y="152"/>
                    </a:lnTo>
                    <a:close/>
                    <a:moveTo>
                      <a:pt x="43" y="87"/>
                    </a:moveTo>
                    <a:lnTo>
                      <a:pt x="43" y="89"/>
                    </a:lnTo>
                    <a:lnTo>
                      <a:pt x="43" y="87"/>
                    </a:lnTo>
                    <a:close/>
                  </a:path>
                </a:pathLst>
              </a:custGeom>
              <a:grpFill/>
              <a:ln w="3175">
                <a:solidFill>
                  <a:schemeClr val="bg1"/>
                </a:solidFill>
              </a:ln>
            </p:spPr>
            <p:txBody>
              <a:bodyPr vert="horz" wrap="square" lIns="91440" tIns="45720" rIns="91440" bIns="45720" numCol="1" anchor="b"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77" name="TextBox 76">
            <a:extLst>
              <a:ext uri="{FF2B5EF4-FFF2-40B4-BE49-F238E27FC236}">
                <a16:creationId xmlns:a16="http://schemas.microsoft.com/office/drawing/2014/main" id="{13DA90EE-D538-4A1A-A547-7F8EFB56127F}"/>
              </a:ext>
            </a:extLst>
          </p:cNvPr>
          <p:cNvSpPr txBox="1">
            <a:spLocks/>
          </p:cNvSpPr>
          <p:nvPr/>
        </p:nvSpPr>
        <p:spPr>
          <a:xfrm>
            <a:off x="6640385" y="1721829"/>
            <a:ext cx="1266700" cy="19585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égion du Centre</a:t>
            </a:r>
          </a:p>
        </p:txBody>
      </p:sp>
      <p:cxnSp>
        <p:nvCxnSpPr>
          <p:cNvPr id="92" name="LineBasicDefault 19">
            <a:extLst>
              <a:ext uri="{FF2B5EF4-FFF2-40B4-BE49-F238E27FC236}">
                <a16:creationId xmlns:a16="http://schemas.microsoft.com/office/drawing/2014/main" id="{05205DD6-3F49-436D-B97D-1ADC22A7D880}"/>
              </a:ext>
            </a:extLst>
          </p:cNvPr>
          <p:cNvCxnSpPr>
            <a:cxnSpLocks/>
          </p:cNvCxnSpPr>
          <p:nvPr>
            <p:custDataLst>
              <p:tags r:id="rId4"/>
            </p:custDataLst>
          </p:nvPr>
        </p:nvCxnSpPr>
        <p:spPr>
          <a:xfrm>
            <a:off x="554736" y="2588520"/>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50C3500-1974-4D03-A79F-E2E4CCD80A45}"/>
              </a:ext>
            </a:extLst>
          </p:cNvPr>
          <p:cNvSpPr>
            <a:spLocks/>
          </p:cNvSpPr>
          <p:nvPr/>
        </p:nvSpPr>
        <p:spPr>
          <a:xfrm>
            <a:off x="2910204" y="2007120"/>
            <a:ext cx="8727060" cy="24309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400" dirty="0">
              <a:solidFill>
                <a:schemeClr val="bg1"/>
              </a:solidFill>
            </a:endParaRPr>
          </a:p>
        </p:txBody>
      </p:sp>
      <p:sp>
        <p:nvSpPr>
          <p:cNvPr id="93" name="TextBox 92">
            <a:extLst>
              <a:ext uri="{FF2B5EF4-FFF2-40B4-BE49-F238E27FC236}">
                <a16:creationId xmlns:a16="http://schemas.microsoft.com/office/drawing/2014/main" id="{E5409C62-0D22-4734-BE79-2B1CFC3D372B}"/>
              </a:ext>
            </a:extLst>
          </p:cNvPr>
          <p:cNvSpPr txBox="1">
            <a:spLocks/>
          </p:cNvSpPr>
          <p:nvPr/>
        </p:nvSpPr>
        <p:spPr>
          <a:xfrm>
            <a:off x="1066799" y="2007120"/>
            <a:ext cx="1784556" cy="50783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rtl="0">
              <a:spcBef>
                <a:spcPts val="0"/>
              </a:spcBef>
              <a:spcAft>
                <a:spcPts val="0"/>
              </a:spcAft>
              <a:buNone/>
              <a:defRPr/>
            </a:pPr>
            <a:r>
              <a:rPr lang="en-US" sz="1100" b="1" dirty="0">
                <a:solidFill>
                  <a:srgbClr val="000000"/>
                </a:solidFill>
              </a:rPr>
              <a:t>Approvisionnement et logistique vers l'entrepôt médical central (PLCMW)</a:t>
            </a:r>
            <a:endParaRPr kumimoji="0" lang="en-US" sz="1100" b="0" i="0" u="none" strike="sngStrike" kern="1200" cap="none" spc="0" normalizeH="0" noProof="0" dirty="0">
              <a:ln>
                <a:noFill/>
              </a:ln>
              <a:solidFill>
                <a:srgbClr val="FF0000"/>
              </a:solidFill>
              <a:effectLst/>
              <a:uLnTx/>
              <a:uFillTx/>
            </a:endParaRPr>
          </a:p>
        </p:txBody>
      </p:sp>
      <p:sp>
        <p:nvSpPr>
          <p:cNvPr id="95" name="TextBox 94">
            <a:extLst>
              <a:ext uri="{FF2B5EF4-FFF2-40B4-BE49-F238E27FC236}">
                <a16:creationId xmlns:a16="http://schemas.microsoft.com/office/drawing/2014/main" id="{06ECE293-4155-4835-A932-8E2319E5FB55}"/>
              </a:ext>
            </a:extLst>
          </p:cNvPr>
          <p:cNvSpPr txBox="1">
            <a:spLocks/>
          </p:cNvSpPr>
          <p:nvPr/>
        </p:nvSpPr>
        <p:spPr>
          <a:xfrm>
            <a:off x="5889856" y="2036336"/>
            <a:ext cx="3477248" cy="169277"/>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rtl="0">
              <a:spcBef>
                <a:spcPts val="0"/>
              </a:spcBef>
              <a:spcAft>
                <a:spcPts val="0"/>
              </a:spcAft>
              <a:buNone/>
              <a:defRPr/>
            </a:pPr>
            <a:r>
              <a:rPr lang="en-US" sz="1100" dirty="0">
                <a:solidFill>
                  <a:srgbClr val="000000"/>
                </a:solidFill>
              </a:rPr>
              <a:t>UNICEF (vaccins, auxiliaires, autres)</a:t>
            </a:r>
            <a:endParaRPr kumimoji="0" lang="en-US" sz="1100" i="0" u="none" strike="sngStrike" kern="1200" cap="none" spc="0" normalizeH="0" noProof="0" dirty="0">
              <a:ln>
                <a:noFill/>
              </a:ln>
              <a:solidFill>
                <a:srgbClr val="FF0000"/>
              </a:solidFill>
              <a:effectLst/>
              <a:uLnTx/>
              <a:uFillTx/>
            </a:endParaRPr>
          </a:p>
        </p:txBody>
      </p:sp>
      <p:sp>
        <p:nvSpPr>
          <p:cNvPr id="96" name="TrackerNumBlue 23">
            <a:extLst>
              <a:ext uri="{FF2B5EF4-FFF2-40B4-BE49-F238E27FC236}">
                <a16:creationId xmlns:a16="http://schemas.microsoft.com/office/drawing/2014/main" id="{38407930-1514-4B45-8B06-D2BBF1BC7036}"/>
              </a:ext>
            </a:extLst>
          </p:cNvPr>
          <p:cNvSpPr/>
          <p:nvPr>
            <p:custDataLst>
              <p:tags r:id="rId5"/>
            </p:custDataLst>
          </p:nvPr>
        </p:nvSpPr>
        <p:spPr>
          <a:xfrm>
            <a:off x="5523264" y="2013240"/>
            <a:ext cx="230859" cy="2308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1</a:t>
            </a:r>
          </a:p>
        </p:txBody>
      </p:sp>
      <p:sp>
        <p:nvSpPr>
          <p:cNvPr id="6" name="Rectangle 5">
            <a:extLst>
              <a:ext uri="{FF2B5EF4-FFF2-40B4-BE49-F238E27FC236}">
                <a16:creationId xmlns:a16="http://schemas.microsoft.com/office/drawing/2014/main" id="{2D556406-4B38-4BB8-A6D4-99A5B91F6D21}"/>
              </a:ext>
            </a:extLst>
          </p:cNvPr>
          <p:cNvSpPr>
            <a:spLocks/>
          </p:cNvSpPr>
          <p:nvPr/>
        </p:nvSpPr>
        <p:spPr>
          <a:xfrm>
            <a:off x="2910204" y="2297820"/>
            <a:ext cx="8727060" cy="24309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400" dirty="0">
              <a:solidFill>
                <a:schemeClr val="bg1"/>
              </a:solidFill>
            </a:endParaRPr>
          </a:p>
        </p:txBody>
      </p:sp>
      <p:sp>
        <p:nvSpPr>
          <p:cNvPr id="97" name="TextBox 96">
            <a:extLst>
              <a:ext uri="{FF2B5EF4-FFF2-40B4-BE49-F238E27FC236}">
                <a16:creationId xmlns:a16="http://schemas.microsoft.com/office/drawing/2014/main" id="{E6E85B87-1516-4703-B6C7-A1A9C0985F93}"/>
              </a:ext>
            </a:extLst>
          </p:cNvPr>
          <p:cNvSpPr txBox="1">
            <a:spLocks/>
          </p:cNvSpPr>
          <p:nvPr/>
        </p:nvSpPr>
        <p:spPr>
          <a:xfrm>
            <a:off x="5889856" y="2327036"/>
            <a:ext cx="3477248" cy="169277"/>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rtl="0">
              <a:spcBef>
                <a:spcPts val="0"/>
              </a:spcBef>
              <a:spcAft>
                <a:spcPts val="0"/>
              </a:spcAft>
              <a:buNone/>
              <a:defRPr/>
            </a:pPr>
            <a:r>
              <a:rPr lang="en-US" sz="1100" dirty="0">
                <a:solidFill>
                  <a:srgbClr val="000000"/>
                </a:solidFill>
              </a:rPr>
              <a:t>AMSP (EPI)</a:t>
            </a:r>
            <a:endParaRPr kumimoji="0" lang="en-US" sz="1100" i="0" u="none" strike="sngStrike" kern="1200" cap="none" spc="0" normalizeH="0" noProof="0" dirty="0">
              <a:ln>
                <a:noFill/>
              </a:ln>
              <a:solidFill>
                <a:srgbClr val="FF0000"/>
              </a:solidFill>
              <a:effectLst/>
              <a:uLnTx/>
              <a:uFillTx/>
            </a:endParaRPr>
          </a:p>
        </p:txBody>
      </p:sp>
      <p:sp>
        <p:nvSpPr>
          <p:cNvPr id="98" name="TrackerNumBlue 23">
            <a:extLst>
              <a:ext uri="{FF2B5EF4-FFF2-40B4-BE49-F238E27FC236}">
                <a16:creationId xmlns:a16="http://schemas.microsoft.com/office/drawing/2014/main" id="{8ED48562-0E4E-49B0-B688-BA0F5C96C084}"/>
              </a:ext>
            </a:extLst>
          </p:cNvPr>
          <p:cNvSpPr/>
          <p:nvPr>
            <p:custDataLst>
              <p:tags r:id="rId6"/>
            </p:custDataLst>
          </p:nvPr>
        </p:nvSpPr>
        <p:spPr>
          <a:xfrm>
            <a:off x="5523264" y="2303940"/>
            <a:ext cx="230859" cy="2308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1</a:t>
            </a:r>
          </a:p>
        </p:txBody>
      </p:sp>
      <p:cxnSp>
        <p:nvCxnSpPr>
          <p:cNvPr id="101" name="LineBasicDefault 19">
            <a:extLst>
              <a:ext uri="{FF2B5EF4-FFF2-40B4-BE49-F238E27FC236}">
                <a16:creationId xmlns:a16="http://schemas.microsoft.com/office/drawing/2014/main" id="{49763592-AC01-4CB3-AEC8-4DC7918B2A22}"/>
              </a:ext>
            </a:extLst>
          </p:cNvPr>
          <p:cNvCxnSpPr>
            <a:cxnSpLocks/>
          </p:cNvCxnSpPr>
          <p:nvPr>
            <p:custDataLst>
              <p:tags r:id="rId7"/>
            </p:custDataLst>
          </p:nvPr>
        </p:nvCxnSpPr>
        <p:spPr>
          <a:xfrm>
            <a:off x="554736" y="3751414"/>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2" name="LineBasicDefault 19">
            <a:extLst>
              <a:ext uri="{FF2B5EF4-FFF2-40B4-BE49-F238E27FC236}">
                <a16:creationId xmlns:a16="http://schemas.microsoft.com/office/drawing/2014/main" id="{A33194E7-40CF-4D7B-A659-75C82E70FE94}"/>
              </a:ext>
            </a:extLst>
          </p:cNvPr>
          <p:cNvCxnSpPr>
            <a:cxnSpLocks/>
          </p:cNvCxnSpPr>
          <p:nvPr>
            <p:custDataLst>
              <p:tags r:id="rId8"/>
            </p:custDataLst>
          </p:nvPr>
        </p:nvCxnSpPr>
        <p:spPr>
          <a:xfrm>
            <a:off x="554736" y="4341706"/>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LineBasicDefault 19">
            <a:extLst>
              <a:ext uri="{FF2B5EF4-FFF2-40B4-BE49-F238E27FC236}">
                <a16:creationId xmlns:a16="http://schemas.microsoft.com/office/drawing/2014/main" id="{446E29FF-6719-460A-813F-A312A03CC2DC}"/>
              </a:ext>
            </a:extLst>
          </p:cNvPr>
          <p:cNvCxnSpPr>
            <a:cxnSpLocks/>
          </p:cNvCxnSpPr>
          <p:nvPr>
            <p:custDataLst>
              <p:tags r:id="rId9"/>
            </p:custDataLst>
          </p:nvPr>
        </p:nvCxnSpPr>
        <p:spPr>
          <a:xfrm>
            <a:off x="554736" y="4765146"/>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4" name="LineBasicDefault 19">
            <a:extLst>
              <a:ext uri="{FF2B5EF4-FFF2-40B4-BE49-F238E27FC236}">
                <a16:creationId xmlns:a16="http://schemas.microsoft.com/office/drawing/2014/main" id="{3527073B-553E-439A-B68C-9C16069177A8}"/>
              </a:ext>
            </a:extLst>
          </p:cNvPr>
          <p:cNvCxnSpPr>
            <a:cxnSpLocks/>
          </p:cNvCxnSpPr>
          <p:nvPr>
            <p:custDataLst>
              <p:tags r:id="rId10"/>
            </p:custDataLst>
          </p:nvPr>
        </p:nvCxnSpPr>
        <p:spPr>
          <a:xfrm>
            <a:off x="554736" y="5207060"/>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42847A2-577D-4F4A-98FD-7C493EDB7BD3}"/>
              </a:ext>
            </a:extLst>
          </p:cNvPr>
          <p:cNvSpPr>
            <a:spLocks/>
          </p:cNvSpPr>
          <p:nvPr/>
        </p:nvSpPr>
        <p:spPr>
          <a:xfrm>
            <a:off x="2910204" y="4825644"/>
            <a:ext cx="8727060" cy="33575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400" dirty="0">
              <a:solidFill>
                <a:schemeClr val="bg1"/>
              </a:solidFill>
            </a:endParaRPr>
          </a:p>
        </p:txBody>
      </p:sp>
      <p:sp>
        <p:nvSpPr>
          <p:cNvPr id="120" name="TextBox 119">
            <a:extLst>
              <a:ext uri="{FF2B5EF4-FFF2-40B4-BE49-F238E27FC236}">
                <a16:creationId xmlns:a16="http://schemas.microsoft.com/office/drawing/2014/main" id="{19FE1F1C-7A52-4F58-A699-E2B01AD3755B}"/>
              </a:ext>
            </a:extLst>
          </p:cNvPr>
          <p:cNvSpPr txBox="1">
            <a:spLocks/>
          </p:cNvSpPr>
          <p:nvPr/>
        </p:nvSpPr>
        <p:spPr>
          <a:xfrm>
            <a:off x="1066799" y="4904001"/>
            <a:ext cx="1784556" cy="169277"/>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équençage génomique (GS)</a:t>
            </a:r>
          </a:p>
        </p:txBody>
      </p:sp>
      <p:sp>
        <p:nvSpPr>
          <p:cNvPr id="121" name="TextBox 120">
            <a:extLst>
              <a:ext uri="{FF2B5EF4-FFF2-40B4-BE49-F238E27FC236}">
                <a16:creationId xmlns:a16="http://schemas.microsoft.com/office/drawing/2014/main" id="{3C1356DC-E39A-448C-B2F0-1F4432AF66AA}"/>
              </a:ext>
            </a:extLst>
          </p:cNvPr>
          <p:cNvSpPr txBox="1">
            <a:spLocks/>
          </p:cNvSpPr>
          <p:nvPr/>
        </p:nvSpPr>
        <p:spPr>
          <a:xfrm>
            <a:off x="5889856" y="4901189"/>
            <a:ext cx="3477248" cy="169277"/>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00000"/>
              </a:buClr>
              <a:buSzPct val="100000"/>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LM</a:t>
            </a:r>
          </a:p>
        </p:txBody>
      </p:sp>
      <p:sp>
        <p:nvSpPr>
          <p:cNvPr id="122" name="TrackerNumBlue 23">
            <a:extLst>
              <a:ext uri="{FF2B5EF4-FFF2-40B4-BE49-F238E27FC236}">
                <a16:creationId xmlns:a16="http://schemas.microsoft.com/office/drawing/2014/main" id="{C4B0A908-8C57-4D37-8741-61344871A940}"/>
              </a:ext>
            </a:extLst>
          </p:cNvPr>
          <p:cNvSpPr/>
          <p:nvPr>
            <p:custDataLst>
              <p:tags r:id="rId11"/>
            </p:custDataLst>
          </p:nvPr>
        </p:nvSpPr>
        <p:spPr>
          <a:xfrm>
            <a:off x="5523264" y="4878093"/>
            <a:ext cx="230859" cy="2308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1</a:t>
            </a:r>
          </a:p>
        </p:txBody>
      </p:sp>
      <p:sp>
        <p:nvSpPr>
          <p:cNvPr id="127" name="TextBox 126">
            <a:extLst>
              <a:ext uri="{FF2B5EF4-FFF2-40B4-BE49-F238E27FC236}">
                <a16:creationId xmlns:a16="http://schemas.microsoft.com/office/drawing/2014/main" id="{F580E525-CA83-4538-B1F4-205F469D03D4}"/>
              </a:ext>
            </a:extLst>
          </p:cNvPr>
          <p:cNvSpPr txBox="1">
            <a:spLocks/>
          </p:cNvSpPr>
          <p:nvPr/>
        </p:nvSpPr>
        <p:spPr>
          <a:xfrm>
            <a:off x="1066799" y="3102904"/>
            <a:ext cx="1784556" cy="507831"/>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mmunication des risques</a:t>
            </a:r>
            <a:b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t l'engagement communautaire (RCCE)</a:t>
            </a:r>
          </a:p>
        </p:txBody>
      </p:sp>
      <p:sp>
        <p:nvSpPr>
          <p:cNvPr id="123" name="TextBox 122">
            <a:extLst>
              <a:ext uri="{FF2B5EF4-FFF2-40B4-BE49-F238E27FC236}">
                <a16:creationId xmlns:a16="http://schemas.microsoft.com/office/drawing/2014/main" id="{E43BEDD9-F800-4311-AE22-91EF736042BB}"/>
              </a:ext>
            </a:extLst>
          </p:cNvPr>
          <p:cNvSpPr txBox="1">
            <a:spLocks/>
          </p:cNvSpPr>
          <p:nvPr/>
        </p:nvSpPr>
        <p:spPr>
          <a:xfrm>
            <a:off x="6899503" y="3097086"/>
            <a:ext cx="1070917" cy="58477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meroun</a:t>
            </a:r>
            <a:b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roix Rouge</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9" name="TextBox 128">
            <a:extLst>
              <a:ext uri="{FF2B5EF4-FFF2-40B4-BE49-F238E27FC236}">
                <a16:creationId xmlns:a16="http://schemas.microsoft.com/office/drawing/2014/main" id="{20580603-D589-43A7-B56A-D4EE93E622A4}"/>
              </a:ext>
            </a:extLst>
          </p:cNvPr>
          <p:cNvSpPr txBox="1">
            <a:spLocks/>
          </p:cNvSpPr>
          <p:nvPr/>
        </p:nvSpPr>
        <p:spPr>
          <a:xfrm>
            <a:off x="5066080" y="3103340"/>
            <a:ext cx="113886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ts val="0"/>
              </a:spcBef>
              <a:spcAft>
                <a:spcPts val="0"/>
              </a:spcAft>
              <a:buClr>
                <a:srgbClr val="000000"/>
              </a:buClr>
              <a:buNone/>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nya</a:t>
            </a:r>
            <a:b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roix Rouge</a:t>
            </a:r>
          </a:p>
        </p:txBody>
      </p:sp>
      <p:sp>
        <p:nvSpPr>
          <p:cNvPr id="130" name="TextBox 129">
            <a:extLst>
              <a:ext uri="{FF2B5EF4-FFF2-40B4-BE49-F238E27FC236}">
                <a16:creationId xmlns:a16="http://schemas.microsoft.com/office/drawing/2014/main" id="{23CF3FAE-B1C9-4EC6-B94D-F22E8AF26ECF}"/>
              </a:ext>
            </a:extLst>
          </p:cNvPr>
          <p:cNvSpPr txBox="1">
            <a:spLocks/>
          </p:cNvSpPr>
          <p:nvPr/>
        </p:nvSpPr>
        <p:spPr>
          <a:xfrm>
            <a:off x="8732926" y="3103340"/>
            <a:ext cx="1070917"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00000"/>
              </a:buClr>
              <a:buSzPct val="100000"/>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ICR (Nigéria)</a:t>
            </a:r>
          </a:p>
        </p:txBody>
      </p:sp>
      <p:sp>
        <p:nvSpPr>
          <p:cNvPr id="131" name="TextBox 130">
            <a:extLst>
              <a:ext uri="{FF2B5EF4-FFF2-40B4-BE49-F238E27FC236}">
                <a16:creationId xmlns:a16="http://schemas.microsoft.com/office/drawing/2014/main" id="{3AD5577D-C302-48B4-AD67-A428E40EDDC9}"/>
              </a:ext>
            </a:extLst>
          </p:cNvPr>
          <p:cNvSpPr txBox="1">
            <a:spLocks/>
          </p:cNvSpPr>
          <p:nvPr/>
        </p:nvSpPr>
        <p:spPr>
          <a:xfrm>
            <a:off x="10542703" y="3103340"/>
            <a:ext cx="1070917"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00000"/>
              </a:buClr>
              <a:buSzPct val="100000"/>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Botswana</a:t>
            </a:r>
            <a:b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roix Rouge</a:t>
            </a:r>
          </a:p>
        </p:txBody>
      </p:sp>
      <p:sp>
        <p:nvSpPr>
          <p:cNvPr id="132" name="TextBox 131">
            <a:extLst>
              <a:ext uri="{FF2B5EF4-FFF2-40B4-BE49-F238E27FC236}">
                <a16:creationId xmlns:a16="http://schemas.microsoft.com/office/drawing/2014/main" id="{AD8C4A4A-60DD-40CA-A730-6DC4A0309E0F}"/>
              </a:ext>
            </a:extLst>
          </p:cNvPr>
          <p:cNvSpPr txBox="1">
            <a:spLocks/>
          </p:cNvSpPr>
          <p:nvPr/>
        </p:nvSpPr>
        <p:spPr>
          <a:xfrm>
            <a:off x="3232657" y="3103340"/>
            <a:ext cx="1070917"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ts val="0"/>
              </a:spcBef>
              <a:spcAft>
                <a:spcPts val="0"/>
              </a:spcAft>
              <a:buClr>
                <a:srgbClr val="000000"/>
              </a:buClr>
              <a:buNone/>
              <a:defRPr/>
            </a:pPr>
            <a:r>
              <a:rPr kumimoji="0" lang="en-US" sz="11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édération internationale des Sociétés de la Croix-Rouge et du Croissant-Rouge</a:t>
            </a:r>
          </a:p>
        </p:txBody>
      </p:sp>
      <p:sp>
        <p:nvSpPr>
          <p:cNvPr id="133" name="TrackerNumBlue 23">
            <a:extLst>
              <a:ext uri="{FF2B5EF4-FFF2-40B4-BE49-F238E27FC236}">
                <a16:creationId xmlns:a16="http://schemas.microsoft.com/office/drawing/2014/main" id="{1E1CD398-E5A9-42CD-987C-2DF58BE386DE}"/>
              </a:ext>
            </a:extLst>
          </p:cNvPr>
          <p:cNvSpPr/>
          <p:nvPr>
            <p:custDataLst>
              <p:tags r:id="rId12"/>
            </p:custDataLst>
          </p:nvPr>
        </p:nvSpPr>
        <p:spPr>
          <a:xfrm>
            <a:off x="2910204" y="3103340"/>
            <a:ext cx="230859" cy="2308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1</a:t>
            </a:r>
          </a:p>
        </p:txBody>
      </p:sp>
      <p:sp>
        <p:nvSpPr>
          <p:cNvPr id="134" name="TrackerNumBlue 23">
            <a:extLst>
              <a:ext uri="{FF2B5EF4-FFF2-40B4-BE49-F238E27FC236}">
                <a16:creationId xmlns:a16="http://schemas.microsoft.com/office/drawing/2014/main" id="{0FC2F83F-2F9A-4953-9985-F525D718BFB9}"/>
              </a:ext>
            </a:extLst>
          </p:cNvPr>
          <p:cNvSpPr/>
          <p:nvPr>
            <p:custDataLst>
              <p:tags r:id="rId13"/>
            </p:custDataLst>
          </p:nvPr>
        </p:nvSpPr>
        <p:spPr>
          <a:xfrm>
            <a:off x="4743627" y="3103340"/>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sp>
        <p:nvSpPr>
          <p:cNvPr id="135" name="TrackerNumBlue 23">
            <a:extLst>
              <a:ext uri="{FF2B5EF4-FFF2-40B4-BE49-F238E27FC236}">
                <a16:creationId xmlns:a16="http://schemas.microsoft.com/office/drawing/2014/main" id="{68119143-4C68-41BA-8285-969C7FD40A9C}"/>
              </a:ext>
            </a:extLst>
          </p:cNvPr>
          <p:cNvSpPr/>
          <p:nvPr>
            <p:custDataLst>
              <p:tags r:id="rId14"/>
            </p:custDataLst>
          </p:nvPr>
        </p:nvSpPr>
        <p:spPr>
          <a:xfrm>
            <a:off x="6577050" y="3103340"/>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sp>
        <p:nvSpPr>
          <p:cNvPr id="136" name="TrackerNumBlue 23">
            <a:extLst>
              <a:ext uri="{FF2B5EF4-FFF2-40B4-BE49-F238E27FC236}">
                <a16:creationId xmlns:a16="http://schemas.microsoft.com/office/drawing/2014/main" id="{CFEAEEBA-B350-4D2D-B613-16412130C50F}"/>
              </a:ext>
            </a:extLst>
          </p:cNvPr>
          <p:cNvSpPr/>
          <p:nvPr>
            <p:custDataLst>
              <p:tags r:id="rId15"/>
            </p:custDataLst>
          </p:nvPr>
        </p:nvSpPr>
        <p:spPr>
          <a:xfrm>
            <a:off x="10243894" y="3103340"/>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sp>
        <p:nvSpPr>
          <p:cNvPr id="137" name="TrackerNumBlue 23">
            <a:extLst>
              <a:ext uri="{FF2B5EF4-FFF2-40B4-BE49-F238E27FC236}">
                <a16:creationId xmlns:a16="http://schemas.microsoft.com/office/drawing/2014/main" id="{814F0F1C-FC03-44E7-AC79-F14AB122ED9C}"/>
              </a:ext>
            </a:extLst>
          </p:cNvPr>
          <p:cNvSpPr/>
          <p:nvPr>
            <p:custDataLst>
              <p:tags r:id="rId16"/>
            </p:custDataLst>
          </p:nvPr>
        </p:nvSpPr>
        <p:spPr>
          <a:xfrm>
            <a:off x="8410473" y="3103340"/>
            <a:ext cx="230859" cy="2308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1</a:t>
            </a:r>
          </a:p>
        </p:txBody>
      </p:sp>
      <p:sp>
        <p:nvSpPr>
          <p:cNvPr id="139" name="TrackerNumBlue 23">
            <a:extLst>
              <a:ext uri="{FF2B5EF4-FFF2-40B4-BE49-F238E27FC236}">
                <a16:creationId xmlns:a16="http://schemas.microsoft.com/office/drawing/2014/main" id="{9E1A0CD9-F2F4-4ABF-B85F-C81EF3991BD1}"/>
              </a:ext>
            </a:extLst>
          </p:cNvPr>
          <p:cNvSpPr/>
          <p:nvPr>
            <p:custDataLst>
              <p:tags r:id="rId17"/>
            </p:custDataLst>
          </p:nvPr>
        </p:nvSpPr>
        <p:spPr>
          <a:xfrm>
            <a:off x="8410473" y="3385782"/>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sp>
        <p:nvSpPr>
          <p:cNvPr id="140" name="TextBox 139">
            <a:extLst>
              <a:ext uri="{FF2B5EF4-FFF2-40B4-BE49-F238E27FC236}">
                <a16:creationId xmlns:a16="http://schemas.microsoft.com/office/drawing/2014/main" id="{496B7FEB-71B1-4257-AD33-553FF5EFDE63}"/>
              </a:ext>
            </a:extLst>
          </p:cNvPr>
          <p:cNvSpPr txBox="1">
            <a:spLocks/>
          </p:cNvSpPr>
          <p:nvPr/>
        </p:nvSpPr>
        <p:spPr>
          <a:xfrm>
            <a:off x="8732926" y="3385782"/>
            <a:ext cx="1501918"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00000"/>
              </a:buClr>
              <a:buSzPct val="100000"/>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roix-Rouge de Côte d'Ivoire (tous les autres pays)</a:t>
            </a:r>
          </a:p>
        </p:txBody>
      </p:sp>
      <p:cxnSp>
        <p:nvCxnSpPr>
          <p:cNvPr id="161" name="LineBasicDefault 19">
            <a:extLst>
              <a:ext uri="{FF2B5EF4-FFF2-40B4-BE49-F238E27FC236}">
                <a16:creationId xmlns:a16="http://schemas.microsoft.com/office/drawing/2014/main" id="{8EEA645A-92B2-4FFD-8AF7-40FF5A529BCC}"/>
              </a:ext>
            </a:extLst>
          </p:cNvPr>
          <p:cNvCxnSpPr>
            <a:cxnSpLocks/>
          </p:cNvCxnSpPr>
          <p:nvPr>
            <p:custDataLst>
              <p:tags r:id="rId18"/>
            </p:custDataLst>
          </p:nvPr>
        </p:nvCxnSpPr>
        <p:spPr>
          <a:xfrm>
            <a:off x="554736" y="3049484"/>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4A52ADAE-99BA-417D-84F1-C975EDCA86A0}"/>
              </a:ext>
            </a:extLst>
          </p:cNvPr>
          <p:cNvSpPr txBox="1">
            <a:spLocks/>
          </p:cNvSpPr>
          <p:nvPr/>
        </p:nvSpPr>
        <p:spPr>
          <a:xfrm>
            <a:off x="1066799" y="4488121"/>
            <a:ext cx="1784556" cy="169277"/>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rveillance de sécurité (SS)</a:t>
            </a:r>
          </a:p>
        </p:txBody>
      </p:sp>
      <p:sp>
        <p:nvSpPr>
          <p:cNvPr id="142" name="TextBox 141">
            <a:extLst>
              <a:ext uri="{FF2B5EF4-FFF2-40B4-BE49-F238E27FC236}">
                <a16:creationId xmlns:a16="http://schemas.microsoft.com/office/drawing/2014/main" id="{2CC4D6BC-6335-4C60-AE3F-0FAACA8C383F}"/>
              </a:ext>
            </a:extLst>
          </p:cNvPr>
          <p:cNvSpPr txBox="1">
            <a:spLocks/>
          </p:cNvSpPr>
          <p:nvPr/>
        </p:nvSpPr>
        <p:spPr>
          <a:xfrm>
            <a:off x="5066080" y="4483170"/>
            <a:ext cx="1070917"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cherche Akros</a:t>
            </a:r>
          </a:p>
        </p:txBody>
      </p:sp>
      <p:sp>
        <p:nvSpPr>
          <p:cNvPr id="146" name="TextBox 145">
            <a:extLst>
              <a:ext uri="{FF2B5EF4-FFF2-40B4-BE49-F238E27FC236}">
                <a16:creationId xmlns:a16="http://schemas.microsoft.com/office/drawing/2014/main" id="{64E62932-F7A6-46FD-B72E-30B5B2472012}"/>
              </a:ext>
            </a:extLst>
          </p:cNvPr>
          <p:cNvSpPr txBox="1">
            <a:spLocks/>
          </p:cNvSpPr>
          <p:nvPr/>
        </p:nvSpPr>
        <p:spPr>
          <a:xfrm>
            <a:off x="10542703" y="4483170"/>
            <a:ext cx="1070917"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cherche Akros</a:t>
            </a:r>
          </a:p>
        </p:txBody>
      </p:sp>
      <p:sp>
        <p:nvSpPr>
          <p:cNvPr id="148" name="TrackerNumBlue 23">
            <a:extLst>
              <a:ext uri="{FF2B5EF4-FFF2-40B4-BE49-F238E27FC236}">
                <a16:creationId xmlns:a16="http://schemas.microsoft.com/office/drawing/2014/main" id="{9C3A9AE5-5183-443A-826B-3E0172E48961}"/>
              </a:ext>
            </a:extLst>
          </p:cNvPr>
          <p:cNvSpPr/>
          <p:nvPr>
            <p:custDataLst>
              <p:tags r:id="rId19"/>
            </p:custDataLst>
          </p:nvPr>
        </p:nvSpPr>
        <p:spPr>
          <a:xfrm>
            <a:off x="4743627" y="4452379"/>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sp>
        <p:nvSpPr>
          <p:cNvPr id="151" name="TrackerNumBlue 23">
            <a:extLst>
              <a:ext uri="{FF2B5EF4-FFF2-40B4-BE49-F238E27FC236}">
                <a16:creationId xmlns:a16="http://schemas.microsoft.com/office/drawing/2014/main" id="{0E0A8DF5-E626-4C58-90B9-82886838FDCF}"/>
              </a:ext>
            </a:extLst>
          </p:cNvPr>
          <p:cNvSpPr/>
          <p:nvPr>
            <p:custDataLst>
              <p:tags r:id="rId20"/>
            </p:custDataLst>
          </p:nvPr>
        </p:nvSpPr>
        <p:spPr>
          <a:xfrm>
            <a:off x="10243894" y="4452379"/>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sp>
        <p:nvSpPr>
          <p:cNvPr id="105" name="TextBox 104">
            <a:extLst>
              <a:ext uri="{FF2B5EF4-FFF2-40B4-BE49-F238E27FC236}">
                <a16:creationId xmlns:a16="http://schemas.microsoft.com/office/drawing/2014/main" id="{EDEB4FC4-23FA-4E80-A125-61996A0CA143}"/>
              </a:ext>
            </a:extLst>
          </p:cNvPr>
          <p:cNvSpPr txBox="1">
            <a:spLocks/>
          </p:cNvSpPr>
          <p:nvPr/>
        </p:nvSpPr>
        <p:spPr>
          <a:xfrm>
            <a:off x="1066799" y="3814172"/>
            <a:ext cx="1784556" cy="338554"/>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lang="en-US" sz="1100" b="1" dirty="0">
                <a:solidFill>
                  <a:srgbClr val="000000"/>
                </a:solidFill>
                <a:latin typeface="Arial"/>
              </a:rPr>
              <a:t>Centres de vaccination contre la COVID-19 (CVC)</a:t>
            </a:r>
            <a:endPar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7" name="TextBox 106">
            <a:extLst>
              <a:ext uri="{FF2B5EF4-FFF2-40B4-BE49-F238E27FC236}">
                <a16:creationId xmlns:a16="http://schemas.microsoft.com/office/drawing/2014/main" id="{72B03451-8CB1-457D-A7C8-E5E8CB145F7C}"/>
              </a:ext>
            </a:extLst>
          </p:cNvPr>
          <p:cNvSpPr txBox="1">
            <a:spLocks/>
          </p:cNvSpPr>
          <p:nvPr/>
        </p:nvSpPr>
        <p:spPr>
          <a:xfrm>
            <a:off x="5066080" y="3891116"/>
            <a:ext cx="1070917"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mref</a:t>
            </a:r>
          </a:p>
        </p:txBody>
      </p:sp>
      <p:sp>
        <p:nvSpPr>
          <p:cNvPr id="108" name="TextBox 107">
            <a:extLst>
              <a:ext uri="{FF2B5EF4-FFF2-40B4-BE49-F238E27FC236}">
                <a16:creationId xmlns:a16="http://schemas.microsoft.com/office/drawing/2014/main" id="{CE7CDBC0-E320-4062-B9D4-D29CD99433E9}"/>
              </a:ext>
            </a:extLst>
          </p:cNvPr>
          <p:cNvSpPr txBox="1">
            <a:spLocks/>
          </p:cNvSpPr>
          <p:nvPr/>
        </p:nvSpPr>
        <p:spPr>
          <a:xfrm>
            <a:off x="3232657" y="3798783"/>
            <a:ext cx="1070917" cy="338554"/>
          </a:xfrm>
          <a:prstGeom prst="rect">
            <a:avLst/>
          </a:prstGeom>
        </p:spPr>
        <p:txBody>
          <a:bodyPr vert="horz" wrap="square" lIns="0" tIns="0" rIns="0" bIns="0" rtlCol="0">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None/>
              <a:tabLst/>
              <a:defRPr kumimoji="0" sz="1200" b="0" i="0" u="none" strike="noStrike" cap="none" spc="0" normalizeH="0" baseline="0">
                <a:ln>
                  <a:noFill/>
                </a:ln>
                <a:solidFill>
                  <a:srgbClr val="000000"/>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sz="1600"/>
            </a:lvl2pPr>
            <a:lvl3pPr marL="438912" lvl="2" indent="-210312">
              <a:lnSpc>
                <a:spcPct val="100000"/>
              </a:lnSpc>
              <a:spcBef>
                <a:spcPts val="0"/>
              </a:spcBef>
              <a:spcAft>
                <a:spcPts val="300"/>
              </a:spcAft>
              <a:buClrTx/>
              <a:buSzPct val="110000"/>
              <a:buFont typeface="Arial" panose="020B0604020202020204" pitchFamily="34" charset="0"/>
              <a:buChar char="‒"/>
              <a:defRPr sz="1600"/>
            </a:lvl3pPr>
            <a:lvl4pPr marL="594360" lvl="3" indent="-155448">
              <a:lnSpc>
                <a:spcPct val="100000"/>
              </a:lnSpc>
              <a:spcBef>
                <a:spcPts val="0"/>
              </a:spcBef>
              <a:spcAft>
                <a:spcPts val="300"/>
              </a:spcAft>
              <a:buClrTx/>
              <a:buSzPct val="100000"/>
              <a:buFont typeface="Arial" panose="020B0604020202020204" pitchFamily="34" charset="0"/>
              <a:buChar char="•"/>
              <a:defRPr sz="1600"/>
            </a:lvl4pPr>
            <a:lvl5pPr marL="813816" lvl="4" indent="-146304">
              <a:lnSpc>
                <a:spcPct val="100000"/>
              </a:lnSpc>
              <a:spcBef>
                <a:spcPts val="0"/>
              </a:spcBef>
              <a:spcAft>
                <a:spcPts val="300"/>
              </a:spcAft>
              <a:buClrTx/>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en-US" sz="1100" dirty="0"/>
              <a:t>Projet HOPE Namibie</a:t>
            </a:r>
          </a:p>
        </p:txBody>
      </p:sp>
      <p:sp>
        <p:nvSpPr>
          <p:cNvPr id="110" name="TextBox 109">
            <a:extLst>
              <a:ext uri="{FF2B5EF4-FFF2-40B4-BE49-F238E27FC236}">
                <a16:creationId xmlns:a16="http://schemas.microsoft.com/office/drawing/2014/main" id="{CA2038C5-1A05-4DC6-816C-987088134E3F}"/>
              </a:ext>
            </a:extLst>
          </p:cNvPr>
          <p:cNvSpPr txBox="1">
            <a:spLocks/>
          </p:cNvSpPr>
          <p:nvPr/>
        </p:nvSpPr>
        <p:spPr>
          <a:xfrm>
            <a:off x="6899503" y="3891116"/>
            <a:ext cx="1070917"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HSS</a:t>
            </a:r>
          </a:p>
        </p:txBody>
      </p:sp>
      <p:sp>
        <p:nvSpPr>
          <p:cNvPr id="112" name="TrackerNumBlue 23">
            <a:extLst>
              <a:ext uri="{FF2B5EF4-FFF2-40B4-BE49-F238E27FC236}">
                <a16:creationId xmlns:a16="http://schemas.microsoft.com/office/drawing/2014/main" id="{1941A2BF-28AB-42DA-B631-04A02A09D7B3}"/>
              </a:ext>
            </a:extLst>
          </p:cNvPr>
          <p:cNvSpPr/>
          <p:nvPr>
            <p:custDataLst>
              <p:tags r:id="rId21"/>
            </p:custDataLst>
          </p:nvPr>
        </p:nvSpPr>
        <p:spPr>
          <a:xfrm>
            <a:off x="2910204" y="3868020"/>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sp>
        <p:nvSpPr>
          <p:cNvPr id="113" name="TrackerNumBlue 23">
            <a:extLst>
              <a:ext uri="{FF2B5EF4-FFF2-40B4-BE49-F238E27FC236}">
                <a16:creationId xmlns:a16="http://schemas.microsoft.com/office/drawing/2014/main" id="{01037AEC-9055-46F4-9749-F9408655CE56}"/>
              </a:ext>
            </a:extLst>
          </p:cNvPr>
          <p:cNvSpPr/>
          <p:nvPr>
            <p:custDataLst>
              <p:tags r:id="rId22"/>
            </p:custDataLst>
          </p:nvPr>
        </p:nvSpPr>
        <p:spPr>
          <a:xfrm>
            <a:off x="4743627" y="3868020"/>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sp>
        <p:nvSpPr>
          <p:cNvPr id="114" name="TrackerNumBlue 23">
            <a:extLst>
              <a:ext uri="{FF2B5EF4-FFF2-40B4-BE49-F238E27FC236}">
                <a16:creationId xmlns:a16="http://schemas.microsoft.com/office/drawing/2014/main" id="{487462B1-04C5-457F-B6C4-F77C240510A1}"/>
              </a:ext>
            </a:extLst>
          </p:cNvPr>
          <p:cNvSpPr/>
          <p:nvPr>
            <p:custDataLst>
              <p:tags r:id="rId23"/>
            </p:custDataLst>
          </p:nvPr>
        </p:nvSpPr>
        <p:spPr>
          <a:xfrm>
            <a:off x="6577050" y="3868020"/>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sp>
        <p:nvSpPr>
          <p:cNvPr id="109" name="TextBox 108">
            <a:extLst>
              <a:ext uri="{FF2B5EF4-FFF2-40B4-BE49-F238E27FC236}">
                <a16:creationId xmlns:a16="http://schemas.microsoft.com/office/drawing/2014/main" id="{E8DB3436-E220-4F5E-BADE-126F644CEE61}"/>
              </a:ext>
            </a:extLst>
          </p:cNvPr>
          <p:cNvSpPr txBox="1">
            <a:spLocks/>
          </p:cNvSpPr>
          <p:nvPr/>
        </p:nvSpPr>
        <p:spPr>
          <a:xfrm>
            <a:off x="8732926" y="3806647"/>
            <a:ext cx="1070917" cy="169277"/>
          </a:xfrm>
          <a:prstGeom prst="rect">
            <a:avLst/>
          </a:prstGeom>
        </p:spPr>
        <p:txBody>
          <a:bodyPr vert="horz" wrap="square" lIns="0" tIns="0" rIns="0" bIns="0" rtlCol="0">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None/>
              <a:tabLst/>
              <a:defRPr kumimoji="0" sz="1200" b="0" i="0" u="none" strike="noStrike" cap="none" spc="0" normalizeH="0" baseline="0">
                <a:ln>
                  <a:noFill/>
                </a:ln>
                <a:solidFill>
                  <a:srgbClr val="000000"/>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sz="1600"/>
            </a:lvl2pPr>
            <a:lvl3pPr marL="438912" lvl="2" indent="-210312">
              <a:lnSpc>
                <a:spcPct val="100000"/>
              </a:lnSpc>
              <a:spcBef>
                <a:spcPts val="0"/>
              </a:spcBef>
              <a:spcAft>
                <a:spcPts val="300"/>
              </a:spcAft>
              <a:buClrTx/>
              <a:buSzPct val="110000"/>
              <a:buFont typeface="Arial" panose="020B0604020202020204" pitchFamily="34" charset="0"/>
              <a:buChar char="‒"/>
              <a:defRPr sz="1600"/>
            </a:lvl3pPr>
            <a:lvl4pPr marL="594360" lvl="3" indent="-155448">
              <a:lnSpc>
                <a:spcPct val="100000"/>
              </a:lnSpc>
              <a:spcBef>
                <a:spcPts val="0"/>
              </a:spcBef>
              <a:spcAft>
                <a:spcPts val="300"/>
              </a:spcAft>
              <a:buClrTx/>
              <a:buSzPct val="100000"/>
              <a:buFont typeface="Arial" panose="020B0604020202020204" pitchFamily="34" charset="0"/>
              <a:buChar char="•"/>
              <a:defRPr sz="1600"/>
            </a:lvl4pPr>
            <a:lvl5pPr marL="813816" lvl="4" indent="-146304">
              <a:lnSpc>
                <a:spcPct val="100000"/>
              </a:lnSpc>
              <a:spcBef>
                <a:spcPts val="0"/>
              </a:spcBef>
              <a:spcAft>
                <a:spcPts val="300"/>
              </a:spcAft>
              <a:buClrTx/>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en-US" sz="1100" dirty="0"/>
              <a:t>IRESSEF</a:t>
            </a:r>
          </a:p>
        </p:txBody>
      </p:sp>
      <p:sp>
        <p:nvSpPr>
          <p:cNvPr id="115" name="TrackerNumBlue 23">
            <a:extLst>
              <a:ext uri="{FF2B5EF4-FFF2-40B4-BE49-F238E27FC236}">
                <a16:creationId xmlns:a16="http://schemas.microsoft.com/office/drawing/2014/main" id="{729F2D71-F4DB-4F69-B67B-6469C00B071C}"/>
              </a:ext>
            </a:extLst>
          </p:cNvPr>
          <p:cNvSpPr/>
          <p:nvPr>
            <p:custDataLst>
              <p:tags r:id="rId24"/>
            </p:custDataLst>
          </p:nvPr>
        </p:nvSpPr>
        <p:spPr>
          <a:xfrm>
            <a:off x="8410473" y="3806647"/>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grpSp>
        <p:nvGrpSpPr>
          <p:cNvPr id="28" name="Group 27">
            <a:extLst>
              <a:ext uri="{FF2B5EF4-FFF2-40B4-BE49-F238E27FC236}">
                <a16:creationId xmlns:a16="http://schemas.microsoft.com/office/drawing/2014/main" id="{6D33D58F-886F-3720-547F-469E5C432460}"/>
              </a:ext>
            </a:extLst>
          </p:cNvPr>
          <p:cNvGrpSpPr/>
          <p:nvPr/>
        </p:nvGrpSpPr>
        <p:grpSpPr>
          <a:xfrm>
            <a:off x="10243894" y="3806647"/>
            <a:ext cx="1369726" cy="230859"/>
            <a:chOff x="10243894" y="3868020"/>
            <a:chExt cx="1369726" cy="230859"/>
          </a:xfrm>
        </p:grpSpPr>
        <p:sp>
          <p:nvSpPr>
            <p:cNvPr id="111" name="TextBox 110">
              <a:extLst>
                <a:ext uri="{FF2B5EF4-FFF2-40B4-BE49-F238E27FC236}">
                  <a16:creationId xmlns:a16="http://schemas.microsoft.com/office/drawing/2014/main" id="{7CFF2C88-9D4D-4A0D-8407-D8C7BB1AED39}"/>
                </a:ext>
              </a:extLst>
            </p:cNvPr>
            <p:cNvSpPr txBox="1">
              <a:spLocks/>
            </p:cNvSpPr>
            <p:nvPr/>
          </p:nvSpPr>
          <p:spPr>
            <a:xfrm>
              <a:off x="10542703" y="3891116"/>
              <a:ext cx="1070917"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mref</a:t>
              </a:r>
            </a:p>
          </p:txBody>
        </p:sp>
        <p:sp>
          <p:nvSpPr>
            <p:cNvPr id="116" name="TrackerNumBlue 23">
              <a:extLst>
                <a:ext uri="{FF2B5EF4-FFF2-40B4-BE49-F238E27FC236}">
                  <a16:creationId xmlns:a16="http://schemas.microsoft.com/office/drawing/2014/main" id="{A57FFED9-FAB5-4A0C-838C-3FB0F495E5B9}"/>
                </a:ext>
              </a:extLst>
            </p:cNvPr>
            <p:cNvSpPr/>
            <p:nvPr>
              <p:custDataLst>
                <p:tags r:id="rId33"/>
              </p:custDataLst>
            </p:nvPr>
          </p:nvSpPr>
          <p:spPr>
            <a:xfrm>
              <a:off x="10243894" y="3868020"/>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grpSp>
      <p:sp>
        <p:nvSpPr>
          <p:cNvPr id="9" name="Rectangle 8">
            <a:extLst>
              <a:ext uri="{FF2B5EF4-FFF2-40B4-BE49-F238E27FC236}">
                <a16:creationId xmlns:a16="http://schemas.microsoft.com/office/drawing/2014/main" id="{867335B3-1314-46F1-B3F8-662B7AE6DA93}"/>
              </a:ext>
            </a:extLst>
          </p:cNvPr>
          <p:cNvSpPr>
            <a:spLocks/>
          </p:cNvSpPr>
          <p:nvPr/>
        </p:nvSpPr>
        <p:spPr>
          <a:xfrm>
            <a:off x="2910204" y="5259760"/>
            <a:ext cx="8727060" cy="33575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400" dirty="0">
              <a:solidFill>
                <a:schemeClr val="bg1"/>
              </a:solidFill>
            </a:endParaRPr>
          </a:p>
        </p:txBody>
      </p:sp>
      <p:sp>
        <p:nvSpPr>
          <p:cNvPr id="162" name="TextBox 161">
            <a:extLst>
              <a:ext uri="{FF2B5EF4-FFF2-40B4-BE49-F238E27FC236}">
                <a16:creationId xmlns:a16="http://schemas.microsoft.com/office/drawing/2014/main" id="{8A05F0D2-E9DA-4C13-B461-A7DBF050A9FD}"/>
              </a:ext>
            </a:extLst>
          </p:cNvPr>
          <p:cNvSpPr txBox="1">
            <a:spLocks/>
          </p:cNvSpPr>
          <p:nvPr/>
        </p:nvSpPr>
        <p:spPr>
          <a:xfrm>
            <a:off x="1066799" y="5253479"/>
            <a:ext cx="1784556" cy="338554"/>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cience de la mise en œuvre (SI)</a:t>
            </a:r>
          </a:p>
        </p:txBody>
      </p:sp>
      <p:sp>
        <p:nvSpPr>
          <p:cNvPr id="163" name="TextBox 162">
            <a:extLst>
              <a:ext uri="{FF2B5EF4-FFF2-40B4-BE49-F238E27FC236}">
                <a16:creationId xmlns:a16="http://schemas.microsoft.com/office/drawing/2014/main" id="{7A23111F-4157-4907-A5C1-525CDB2ED5CE}"/>
              </a:ext>
            </a:extLst>
          </p:cNvPr>
          <p:cNvSpPr txBox="1">
            <a:spLocks/>
          </p:cNvSpPr>
          <p:nvPr/>
        </p:nvSpPr>
        <p:spPr>
          <a:xfrm>
            <a:off x="5889856" y="5335305"/>
            <a:ext cx="3173562" cy="169277"/>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00000"/>
              </a:buClr>
              <a:buSzPct val="100000"/>
              <a:buNone/>
              <a:tabLst/>
              <a:defRPr/>
            </a:pPr>
            <a:r>
              <a:rPr lang="en-US" sz="1100" dirty="0">
                <a:solidFill>
                  <a:srgbClr val="000000"/>
                </a:solidFill>
                <a:latin typeface="Arial"/>
              </a:rPr>
              <a:t>IDI</a:t>
            </a: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4" name="TrackerNumBlue 23">
            <a:extLst>
              <a:ext uri="{FF2B5EF4-FFF2-40B4-BE49-F238E27FC236}">
                <a16:creationId xmlns:a16="http://schemas.microsoft.com/office/drawing/2014/main" id="{81409AFA-615A-406C-AB70-787321212F2F}"/>
              </a:ext>
            </a:extLst>
          </p:cNvPr>
          <p:cNvSpPr/>
          <p:nvPr>
            <p:custDataLst>
              <p:tags r:id="rId25"/>
            </p:custDataLst>
          </p:nvPr>
        </p:nvSpPr>
        <p:spPr>
          <a:xfrm>
            <a:off x="5523264" y="5312209"/>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sp>
        <p:nvSpPr>
          <p:cNvPr id="8" name="Rectangle 7">
            <a:extLst>
              <a:ext uri="{FF2B5EF4-FFF2-40B4-BE49-F238E27FC236}">
                <a16:creationId xmlns:a16="http://schemas.microsoft.com/office/drawing/2014/main" id="{C5643283-9A6F-495B-9EEA-68570B57630C}"/>
              </a:ext>
            </a:extLst>
          </p:cNvPr>
          <p:cNvSpPr>
            <a:spLocks/>
          </p:cNvSpPr>
          <p:nvPr/>
        </p:nvSpPr>
        <p:spPr>
          <a:xfrm>
            <a:off x="2910204" y="2644385"/>
            <a:ext cx="8727060" cy="34697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400" dirty="0">
              <a:solidFill>
                <a:schemeClr val="bg1"/>
              </a:solidFill>
            </a:endParaRPr>
          </a:p>
        </p:txBody>
      </p:sp>
      <p:sp>
        <p:nvSpPr>
          <p:cNvPr id="94" name="TextBox 93">
            <a:extLst>
              <a:ext uri="{FF2B5EF4-FFF2-40B4-BE49-F238E27FC236}">
                <a16:creationId xmlns:a16="http://schemas.microsoft.com/office/drawing/2014/main" id="{8D11E62D-88D4-4DFC-A2A9-3AC7474BA323}"/>
              </a:ext>
            </a:extLst>
          </p:cNvPr>
          <p:cNvSpPr txBox="1">
            <a:spLocks/>
          </p:cNvSpPr>
          <p:nvPr/>
        </p:nvSpPr>
        <p:spPr>
          <a:xfrm>
            <a:off x="1066799" y="2629842"/>
            <a:ext cx="1784556" cy="33855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rtl="0">
              <a:spcBef>
                <a:spcPts val="0"/>
              </a:spcBef>
              <a:spcAft>
                <a:spcPts val="0"/>
              </a:spcAft>
              <a:buNone/>
              <a:defRPr/>
            </a:pPr>
            <a:r>
              <a:rPr lang="en-US" sz="1100" b="1" dirty="0">
                <a:solidFill>
                  <a:srgbClr val="000000"/>
                </a:solidFill>
              </a:rPr>
              <a:t>Logistique sur place</a:t>
            </a:r>
            <a:br>
              <a:rPr lang="en-US" sz="1100" b="1" dirty="0">
                <a:solidFill>
                  <a:srgbClr val="000000"/>
                </a:solidFill>
              </a:rPr>
            </a:br>
            <a:r>
              <a:rPr lang="en-US" sz="1100" b="1" dirty="0">
                <a:solidFill>
                  <a:srgbClr val="000000"/>
                </a:solidFill>
              </a:rPr>
              <a:t>(ICL)</a:t>
            </a:r>
            <a:endParaRPr kumimoji="0" lang="en-US" sz="1100" b="0" i="0" u="none" strike="sngStrike" kern="1200" cap="none" spc="0" normalizeH="0" noProof="0" dirty="0">
              <a:ln>
                <a:noFill/>
              </a:ln>
              <a:solidFill>
                <a:srgbClr val="FF0000"/>
              </a:solidFill>
              <a:effectLst/>
              <a:uLnTx/>
              <a:uFillTx/>
            </a:endParaRPr>
          </a:p>
        </p:txBody>
      </p:sp>
      <p:sp>
        <p:nvSpPr>
          <p:cNvPr id="99" name="TextBox 98">
            <a:extLst>
              <a:ext uri="{FF2B5EF4-FFF2-40B4-BE49-F238E27FC236}">
                <a16:creationId xmlns:a16="http://schemas.microsoft.com/office/drawing/2014/main" id="{822FC046-2418-4C5C-9474-FA7647E33C33}"/>
              </a:ext>
            </a:extLst>
          </p:cNvPr>
          <p:cNvSpPr txBox="1">
            <a:spLocks/>
          </p:cNvSpPr>
          <p:nvPr/>
        </p:nvSpPr>
        <p:spPr>
          <a:xfrm>
            <a:off x="5889856" y="2716837"/>
            <a:ext cx="3477248" cy="169277"/>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rtl="0">
              <a:spcBef>
                <a:spcPts val="0"/>
              </a:spcBef>
              <a:spcAft>
                <a:spcPts val="0"/>
              </a:spcAft>
              <a:buNone/>
              <a:defRPr/>
            </a:pPr>
            <a:r>
              <a:rPr lang="en-US" sz="1100" dirty="0">
                <a:solidFill>
                  <a:srgbClr val="000000"/>
                </a:solidFill>
              </a:rPr>
              <a:t>PAM</a:t>
            </a:r>
            <a:endParaRPr kumimoji="0" lang="en-US" sz="1100" i="0" u="none" strike="sngStrike" kern="1200" cap="none" spc="0" normalizeH="0" noProof="0" dirty="0">
              <a:ln>
                <a:noFill/>
              </a:ln>
              <a:solidFill>
                <a:srgbClr val="FF0000"/>
              </a:solidFill>
              <a:effectLst/>
              <a:uLnTx/>
              <a:uFillTx/>
            </a:endParaRPr>
          </a:p>
        </p:txBody>
      </p:sp>
      <p:sp>
        <p:nvSpPr>
          <p:cNvPr id="100" name="TrackerNumBlue 23">
            <a:extLst>
              <a:ext uri="{FF2B5EF4-FFF2-40B4-BE49-F238E27FC236}">
                <a16:creationId xmlns:a16="http://schemas.microsoft.com/office/drawing/2014/main" id="{74841023-88A9-466E-908E-60A2E5E61A05}"/>
              </a:ext>
            </a:extLst>
          </p:cNvPr>
          <p:cNvSpPr/>
          <p:nvPr>
            <p:custDataLst>
              <p:tags r:id="rId26"/>
            </p:custDataLst>
          </p:nvPr>
        </p:nvSpPr>
        <p:spPr>
          <a:xfrm>
            <a:off x="5523264" y="2693741"/>
            <a:ext cx="230859" cy="2308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1</a:t>
            </a:r>
          </a:p>
        </p:txBody>
      </p:sp>
      <p:cxnSp>
        <p:nvCxnSpPr>
          <p:cNvPr id="224" name="LineBasicDefault 19">
            <a:extLst>
              <a:ext uri="{FF2B5EF4-FFF2-40B4-BE49-F238E27FC236}">
                <a16:creationId xmlns:a16="http://schemas.microsoft.com/office/drawing/2014/main" id="{0E572152-5C5B-449B-9A42-6D3511237057}"/>
              </a:ext>
            </a:extLst>
          </p:cNvPr>
          <p:cNvCxnSpPr>
            <a:cxnSpLocks/>
          </p:cNvCxnSpPr>
          <p:nvPr>
            <p:custDataLst>
              <p:tags r:id="rId27"/>
            </p:custDataLst>
          </p:nvPr>
        </p:nvCxnSpPr>
        <p:spPr>
          <a:xfrm>
            <a:off x="554736" y="5645825"/>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5" name="TextBox 224">
            <a:extLst>
              <a:ext uri="{FF2B5EF4-FFF2-40B4-BE49-F238E27FC236}">
                <a16:creationId xmlns:a16="http://schemas.microsoft.com/office/drawing/2014/main" id="{A455FDF5-7917-4EA1-B735-779744D9B97B}"/>
              </a:ext>
            </a:extLst>
          </p:cNvPr>
          <p:cNvSpPr txBox="1">
            <a:spLocks/>
          </p:cNvSpPr>
          <p:nvPr/>
        </p:nvSpPr>
        <p:spPr>
          <a:xfrm>
            <a:off x="1066799" y="5776342"/>
            <a:ext cx="1784556" cy="169277"/>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mbauche</a:t>
            </a:r>
          </a:p>
        </p:txBody>
      </p:sp>
      <p:sp>
        <p:nvSpPr>
          <p:cNvPr id="226" name="Rectangle 225">
            <a:extLst>
              <a:ext uri="{FF2B5EF4-FFF2-40B4-BE49-F238E27FC236}">
                <a16:creationId xmlns:a16="http://schemas.microsoft.com/office/drawing/2014/main" id="{0E114D78-9B24-4059-B6A8-33EB545BD8E8}"/>
              </a:ext>
            </a:extLst>
          </p:cNvPr>
          <p:cNvSpPr>
            <a:spLocks/>
          </p:cNvSpPr>
          <p:nvPr/>
        </p:nvSpPr>
        <p:spPr>
          <a:xfrm>
            <a:off x="2910204" y="5697985"/>
            <a:ext cx="8727060" cy="33575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400" dirty="0">
              <a:solidFill>
                <a:schemeClr val="bg1"/>
              </a:solidFill>
            </a:endParaRPr>
          </a:p>
        </p:txBody>
      </p:sp>
      <p:sp>
        <p:nvSpPr>
          <p:cNvPr id="227" name="TextBox 226">
            <a:extLst>
              <a:ext uri="{FF2B5EF4-FFF2-40B4-BE49-F238E27FC236}">
                <a16:creationId xmlns:a16="http://schemas.microsoft.com/office/drawing/2014/main" id="{0CC17713-9C7E-4194-B698-A9A84F16F3BF}"/>
              </a:ext>
            </a:extLst>
          </p:cNvPr>
          <p:cNvSpPr txBox="1">
            <a:spLocks/>
          </p:cNvSpPr>
          <p:nvPr/>
        </p:nvSpPr>
        <p:spPr>
          <a:xfrm>
            <a:off x="5889856" y="5773530"/>
            <a:ext cx="3173562" cy="169277"/>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00000"/>
              </a:buClr>
              <a:buSzPct val="100000"/>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éseau Afenet</a:t>
            </a:r>
          </a:p>
        </p:txBody>
      </p:sp>
      <p:sp>
        <p:nvSpPr>
          <p:cNvPr id="228" name="TrackerNumBlue 23">
            <a:extLst>
              <a:ext uri="{FF2B5EF4-FFF2-40B4-BE49-F238E27FC236}">
                <a16:creationId xmlns:a16="http://schemas.microsoft.com/office/drawing/2014/main" id="{15A490A9-BE04-42AA-8714-536A020572D6}"/>
              </a:ext>
            </a:extLst>
          </p:cNvPr>
          <p:cNvSpPr/>
          <p:nvPr>
            <p:custDataLst>
              <p:tags r:id="rId28"/>
            </p:custDataLst>
          </p:nvPr>
        </p:nvSpPr>
        <p:spPr>
          <a:xfrm>
            <a:off x="5523264" y="5750434"/>
            <a:ext cx="230859" cy="2308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1</a:t>
            </a:r>
          </a:p>
        </p:txBody>
      </p:sp>
      <p:grpSp>
        <p:nvGrpSpPr>
          <p:cNvPr id="165" name="Group 164">
            <a:extLst>
              <a:ext uri="{FF2B5EF4-FFF2-40B4-BE49-F238E27FC236}">
                <a16:creationId xmlns:a16="http://schemas.microsoft.com/office/drawing/2014/main" id="{66978F00-DF6D-45F9-AC53-E1FAA5BC5E2A}"/>
              </a:ext>
            </a:extLst>
          </p:cNvPr>
          <p:cNvGrpSpPr/>
          <p:nvPr/>
        </p:nvGrpSpPr>
        <p:grpSpPr>
          <a:xfrm>
            <a:off x="554735" y="2653492"/>
            <a:ext cx="320295" cy="320295"/>
            <a:chOff x="12580609" y="2790952"/>
            <a:chExt cx="2792729" cy="2792729"/>
          </a:xfrm>
        </p:grpSpPr>
        <p:sp>
          <p:nvSpPr>
            <p:cNvPr id="166" name="Freeform: Shape 165">
              <a:extLst>
                <a:ext uri="{FF2B5EF4-FFF2-40B4-BE49-F238E27FC236}">
                  <a16:creationId xmlns:a16="http://schemas.microsoft.com/office/drawing/2014/main" id="{C39357C3-C0BF-495E-AC4E-9788075C8E61}"/>
                </a:ext>
              </a:extLst>
            </p:cNvPr>
            <p:cNvSpPr/>
            <p:nvPr/>
          </p:nvSpPr>
          <p:spPr>
            <a:xfrm rot="17625599">
              <a:off x="12580609" y="2790952"/>
              <a:ext cx="2792729" cy="2792729"/>
            </a:xfrm>
            <a:custGeom>
              <a:avLst/>
              <a:gdLst>
                <a:gd name="connsiteX0" fmla="*/ 2792729 w 2792729"/>
                <a:gd name="connsiteY0" fmla="*/ 1396365 h 2792729"/>
                <a:gd name="connsiteX1" fmla="*/ 1396365 w 2792729"/>
                <a:gd name="connsiteY1" fmla="*/ 2792729 h 2792729"/>
                <a:gd name="connsiteX2" fmla="*/ 0 w 2792729"/>
                <a:gd name="connsiteY2" fmla="*/ 1396365 h 2792729"/>
                <a:gd name="connsiteX3" fmla="*/ 1396365 w 2792729"/>
                <a:gd name="connsiteY3" fmla="*/ 0 h 2792729"/>
                <a:gd name="connsiteX4" fmla="*/ 2792729 w 2792729"/>
                <a:gd name="connsiteY4" fmla="*/ 1396365 h 2792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2729" h="2792729">
                  <a:moveTo>
                    <a:pt x="2792729" y="1396365"/>
                  </a:moveTo>
                  <a:cubicBezTo>
                    <a:pt x="2792729" y="2167556"/>
                    <a:pt x="2167556" y="2792729"/>
                    <a:pt x="1396365" y="2792729"/>
                  </a:cubicBezTo>
                  <a:cubicBezTo>
                    <a:pt x="625174" y="2792729"/>
                    <a:pt x="0" y="2167556"/>
                    <a:pt x="0" y="1396365"/>
                  </a:cubicBezTo>
                  <a:cubicBezTo>
                    <a:pt x="0" y="625174"/>
                    <a:pt x="625174" y="0"/>
                    <a:pt x="1396365" y="0"/>
                  </a:cubicBezTo>
                  <a:cubicBezTo>
                    <a:pt x="2167556" y="0"/>
                    <a:pt x="2792729" y="625174"/>
                    <a:pt x="2792729" y="1396365"/>
                  </a:cubicBezTo>
                  <a:close/>
                </a:path>
              </a:pathLst>
            </a:custGeom>
            <a:solidFill>
              <a:schemeClr val="accent2"/>
            </a:solidFill>
            <a:ln w="9525" cap="flat">
              <a:noFill/>
              <a:prstDash val="solid"/>
              <a:miter/>
            </a:ln>
          </p:spPr>
          <p:txBody>
            <a:bodyPr rtlCol="0" anchor="ctr"/>
            <a:lstStyle/>
            <a:p>
              <a:pPr algn="l" rtl="0"/>
              <a:endParaRPr lang="en-US" dirty="0"/>
            </a:p>
          </p:txBody>
        </p:sp>
        <p:grpSp>
          <p:nvGrpSpPr>
            <p:cNvPr id="167" name="Group 166">
              <a:extLst>
                <a:ext uri="{FF2B5EF4-FFF2-40B4-BE49-F238E27FC236}">
                  <a16:creationId xmlns:a16="http://schemas.microsoft.com/office/drawing/2014/main" id="{3D45662F-2C88-4E2E-BC7D-C64FF36A44B7}"/>
                </a:ext>
              </a:extLst>
            </p:cNvPr>
            <p:cNvGrpSpPr/>
            <p:nvPr/>
          </p:nvGrpSpPr>
          <p:grpSpPr>
            <a:xfrm>
              <a:off x="12604894" y="2973339"/>
              <a:ext cx="2757773" cy="2603850"/>
              <a:chOff x="12604894" y="2973339"/>
              <a:chExt cx="2757773" cy="2603850"/>
            </a:xfrm>
          </p:grpSpPr>
          <p:sp>
            <p:nvSpPr>
              <p:cNvPr id="172" name="Freeform: Shape 171">
                <a:extLst>
                  <a:ext uri="{FF2B5EF4-FFF2-40B4-BE49-F238E27FC236}">
                    <a16:creationId xmlns:a16="http://schemas.microsoft.com/office/drawing/2014/main" id="{C4EF3FB0-2684-4419-8434-60D5952D5FE1}"/>
                  </a:ext>
                </a:extLst>
              </p:cNvPr>
              <p:cNvSpPr/>
              <p:nvPr/>
            </p:nvSpPr>
            <p:spPr>
              <a:xfrm>
                <a:off x="12711384" y="4776136"/>
                <a:ext cx="285" cy="666"/>
              </a:xfrm>
              <a:custGeom>
                <a:avLst/>
                <a:gdLst>
                  <a:gd name="connsiteX0" fmla="*/ 286 w 285"/>
                  <a:gd name="connsiteY0" fmla="*/ 667 h 666"/>
                  <a:gd name="connsiteX1" fmla="*/ 191 w 285"/>
                  <a:gd name="connsiteY1" fmla="*/ 476 h 666"/>
                  <a:gd name="connsiteX2" fmla="*/ 0 w 285"/>
                  <a:gd name="connsiteY2" fmla="*/ 0 h 666"/>
                  <a:gd name="connsiteX3" fmla="*/ 286 w 285"/>
                  <a:gd name="connsiteY3" fmla="*/ 667 h 666"/>
                </a:gdLst>
                <a:ahLst/>
                <a:cxnLst>
                  <a:cxn ang="0">
                    <a:pos x="connsiteX0" y="connsiteY0"/>
                  </a:cxn>
                  <a:cxn ang="0">
                    <a:pos x="connsiteX1" y="connsiteY1"/>
                  </a:cxn>
                  <a:cxn ang="0">
                    <a:pos x="connsiteX2" y="connsiteY2"/>
                  </a:cxn>
                  <a:cxn ang="0">
                    <a:pos x="connsiteX3" y="connsiteY3"/>
                  </a:cxn>
                </a:cxnLst>
                <a:rect l="l" t="t" r="r" b="b"/>
                <a:pathLst>
                  <a:path w="285" h="666">
                    <a:moveTo>
                      <a:pt x="286" y="667"/>
                    </a:moveTo>
                    <a:lnTo>
                      <a:pt x="191" y="476"/>
                    </a:lnTo>
                    <a:lnTo>
                      <a:pt x="0" y="0"/>
                    </a:lnTo>
                    <a:lnTo>
                      <a:pt x="286" y="66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73" name="Freeform: Shape 172">
                <a:extLst>
                  <a:ext uri="{FF2B5EF4-FFF2-40B4-BE49-F238E27FC236}">
                    <a16:creationId xmlns:a16="http://schemas.microsoft.com/office/drawing/2014/main" id="{581D0283-8B57-4DFB-815D-FDB5118AB66D}"/>
                  </a:ext>
                </a:extLst>
              </p:cNvPr>
              <p:cNvSpPr/>
              <p:nvPr/>
            </p:nvSpPr>
            <p:spPr>
              <a:xfrm>
                <a:off x="12724719" y="4804045"/>
                <a:ext cx="571" cy="1142"/>
              </a:xfrm>
              <a:custGeom>
                <a:avLst/>
                <a:gdLst>
                  <a:gd name="connsiteX0" fmla="*/ 476 w 571"/>
                  <a:gd name="connsiteY0" fmla="*/ 953 h 1142"/>
                  <a:gd name="connsiteX1" fmla="*/ 571 w 571"/>
                  <a:gd name="connsiteY1" fmla="*/ 1143 h 1142"/>
                  <a:gd name="connsiteX2" fmla="*/ 0 w 571"/>
                  <a:gd name="connsiteY2" fmla="*/ 0 h 1142"/>
                  <a:gd name="connsiteX3" fmla="*/ 476 w 571"/>
                  <a:gd name="connsiteY3" fmla="*/ 953 h 1142"/>
                </a:gdLst>
                <a:ahLst/>
                <a:cxnLst>
                  <a:cxn ang="0">
                    <a:pos x="connsiteX0" y="connsiteY0"/>
                  </a:cxn>
                  <a:cxn ang="0">
                    <a:pos x="connsiteX1" y="connsiteY1"/>
                  </a:cxn>
                  <a:cxn ang="0">
                    <a:pos x="connsiteX2" y="connsiteY2"/>
                  </a:cxn>
                  <a:cxn ang="0">
                    <a:pos x="connsiteX3" y="connsiteY3"/>
                  </a:cxn>
                </a:cxnLst>
                <a:rect l="l" t="t" r="r" b="b"/>
                <a:pathLst>
                  <a:path w="571" h="1142">
                    <a:moveTo>
                      <a:pt x="476" y="953"/>
                    </a:moveTo>
                    <a:lnTo>
                      <a:pt x="571" y="1143"/>
                    </a:lnTo>
                    <a:lnTo>
                      <a:pt x="0" y="0"/>
                    </a:lnTo>
                    <a:lnTo>
                      <a:pt x="476" y="95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74" name="Freeform: Shape 173">
                <a:extLst>
                  <a:ext uri="{FF2B5EF4-FFF2-40B4-BE49-F238E27FC236}">
                    <a16:creationId xmlns:a16="http://schemas.microsoft.com/office/drawing/2014/main" id="{73F14D17-9FC7-40BB-9409-A16C2E531C06}"/>
                  </a:ext>
                </a:extLst>
              </p:cNvPr>
              <p:cNvSpPr/>
              <p:nvPr/>
            </p:nvSpPr>
            <p:spPr>
              <a:xfrm>
                <a:off x="12684904" y="4715367"/>
                <a:ext cx="1047" cy="2666"/>
              </a:xfrm>
              <a:custGeom>
                <a:avLst/>
                <a:gdLst>
                  <a:gd name="connsiteX0" fmla="*/ 476 w 1047"/>
                  <a:gd name="connsiteY0" fmla="*/ 1143 h 2666"/>
                  <a:gd name="connsiteX1" fmla="*/ 1048 w 1047"/>
                  <a:gd name="connsiteY1" fmla="*/ 2667 h 2666"/>
                  <a:gd name="connsiteX2" fmla="*/ 0 w 1047"/>
                  <a:gd name="connsiteY2" fmla="*/ 0 h 2666"/>
                  <a:gd name="connsiteX3" fmla="*/ 476 w 1047"/>
                  <a:gd name="connsiteY3" fmla="*/ 1143 h 2666"/>
                </a:gdLst>
                <a:ahLst/>
                <a:cxnLst>
                  <a:cxn ang="0">
                    <a:pos x="connsiteX0" y="connsiteY0"/>
                  </a:cxn>
                  <a:cxn ang="0">
                    <a:pos x="connsiteX1" y="connsiteY1"/>
                  </a:cxn>
                  <a:cxn ang="0">
                    <a:pos x="connsiteX2" y="connsiteY2"/>
                  </a:cxn>
                  <a:cxn ang="0">
                    <a:pos x="connsiteX3" y="connsiteY3"/>
                  </a:cxn>
                </a:cxnLst>
                <a:rect l="l" t="t" r="r" b="b"/>
                <a:pathLst>
                  <a:path w="1047" h="2666">
                    <a:moveTo>
                      <a:pt x="476" y="1143"/>
                    </a:moveTo>
                    <a:lnTo>
                      <a:pt x="1048" y="2667"/>
                    </a:lnTo>
                    <a:lnTo>
                      <a:pt x="0" y="0"/>
                    </a:lnTo>
                    <a:lnTo>
                      <a:pt x="476" y="114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75" name="Freeform: Shape 174">
                <a:extLst>
                  <a:ext uri="{FF2B5EF4-FFF2-40B4-BE49-F238E27FC236}">
                    <a16:creationId xmlns:a16="http://schemas.microsoft.com/office/drawing/2014/main" id="{FC40E001-6072-4B4F-AB0F-3B9D9A7EFEDB}"/>
                  </a:ext>
                </a:extLst>
              </p:cNvPr>
              <p:cNvSpPr/>
              <p:nvPr/>
            </p:nvSpPr>
            <p:spPr>
              <a:xfrm>
                <a:off x="12801871" y="4940919"/>
                <a:ext cx="1809" cy="2762"/>
              </a:xfrm>
              <a:custGeom>
                <a:avLst/>
                <a:gdLst>
                  <a:gd name="connsiteX0" fmla="*/ 1810 w 1809"/>
                  <a:gd name="connsiteY0" fmla="*/ 2762 h 2762"/>
                  <a:gd name="connsiteX1" fmla="*/ 1429 w 1809"/>
                  <a:gd name="connsiteY1" fmla="*/ 2191 h 2762"/>
                  <a:gd name="connsiteX2" fmla="*/ 0 w 1809"/>
                  <a:gd name="connsiteY2" fmla="*/ 0 h 2762"/>
                  <a:gd name="connsiteX3" fmla="*/ 1810 w 1809"/>
                  <a:gd name="connsiteY3" fmla="*/ 2762 h 2762"/>
                </a:gdLst>
                <a:ahLst/>
                <a:cxnLst>
                  <a:cxn ang="0">
                    <a:pos x="connsiteX0" y="connsiteY0"/>
                  </a:cxn>
                  <a:cxn ang="0">
                    <a:pos x="connsiteX1" y="connsiteY1"/>
                  </a:cxn>
                  <a:cxn ang="0">
                    <a:pos x="connsiteX2" y="connsiteY2"/>
                  </a:cxn>
                  <a:cxn ang="0">
                    <a:pos x="connsiteX3" y="connsiteY3"/>
                  </a:cxn>
                </a:cxnLst>
                <a:rect l="l" t="t" r="r" b="b"/>
                <a:pathLst>
                  <a:path w="1809" h="2762">
                    <a:moveTo>
                      <a:pt x="1810" y="2762"/>
                    </a:moveTo>
                    <a:lnTo>
                      <a:pt x="1429" y="2191"/>
                    </a:lnTo>
                    <a:lnTo>
                      <a:pt x="0" y="0"/>
                    </a:lnTo>
                    <a:lnTo>
                      <a:pt x="1810" y="276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76" name="Freeform: Shape 175">
                <a:extLst>
                  <a:ext uri="{FF2B5EF4-FFF2-40B4-BE49-F238E27FC236}">
                    <a16:creationId xmlns:a16="http://schemas.microsoft.com/office/drawing/2014/main" id="{9FDAE0A1-6971-4E48-A138-F74B91EB9636}"/>
                  </a:ext>
                </a:extLst>
              </p:cNvPr>
              <p:cNvSpPr/>
              <p:nvPr/>
            </p:nvSpPr>
            <p:spPr>
              <a:xfrm>
                <a:off x="12725290" y="4805187"/>
                <a:ext cx="3238" cy="6572"/>
              </a:xfrm>
              <a:custGeom>
                <a:avLst/>
                <a:gdLst>
                  <a:gd name="connsiteX0" fmla="*/ 0 w 3238"/>
                  <a:gd name="connsiteY0" fmla="*/ 95 h 6572"/>
                  <a:gd name="connsiteX1" fmla="*/ 3239 w 3238"/>
                  <a:gd name="connsiteY1" fmla="*/ 6572 h 6572"/>
                  <a:gd name="connsiteX2" fmla="*/ 1524 w 3238"/>
                  <a:gd name="connsiteY2" fmla="*/ 3048 h 6572"/>
                  <a:gd name="connsiteX3" fmla="*/ 0 w 3238"/>
                  <a:gd name="connsiteY3" fmla="*/ 0 h 6572"/>
                  <a:gd name="connsiteX4" fmla="*/ 0 w 3238"/>
                  <a:gd name="connsiteY4" fmla="*/ 95 h 6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6572">
                    <a:moveTo>
                      <a:pt x="0" y="95"/>
                    </a:moveTo>
                    <a:lnTo>
                      <a:pt x="3239" y="6572"/>
                    </a:lnTo>
                    <a:lnTo>
                      <a:pt x="1524" y="3048"/>
                    </a:lnTo>
                    <a:lnTo>
                      <a:pt x="0" y="0"/>
                    </a:lnTo>
                    <a:lnTo>
                      <a:pt x="0" y="9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78" name="Freeform: Shape 177">
                <a:extLst>
                  <a:ext uri="{FF2B5EF4-FFF2-40B4-BE49-F238E27FC236}">
                    <a16:creationId xmlns:a16="http://schemas.microsoft.com/office/drawing/2014/main" id="{75338D41-F38C-418F-AED9-B5E7ADEF29EA}"/>
                  </a:ext>
                </a:extLst>
              </p:cNvPr>
              <p:cNvSpPr/>
              <p:nvPr/>
            </p:nvSpPr>
            <p:spPr>
              <a:xfrm>
                <a:off x="12711003" y="4775279"/>
                <a:ext cx="380" cy="857"/>
              </a:xfrm>
              <a:custGeom>
                <a:avLst/>
                <a:gdLst>
                  <a:gd name="connsiteX0" fmla="*/ 0 w 380"/>
                  <a:gd name="connsiteY0" fmla="*/ 0 h 857"/>
                  <a:gd name="connsiteX1" fmla="*/ 381 w 380"/>
                  <a:gd name="connsiteY1" fmla="*/ 857 h 857"/>
                  <a:gd name="connsiteX2" fmla="*/ 286 w 380"/>
                  <a:gd name="connsiteY2" fmla="*/ 667 h 857"/>
                  <a:gd name="connsiteX3" fmla="*/ 0 w 380"/>
                  <a:gd name="connsiteY3" fmla="*/ 0 h 857"/>
                </a:gdLst>
                <a:ahLst/>
                <a:cxnLst>
                  <a:cxn ang="0">
                    <a:pos x="connsiteX0" y="connsiteY0"/>
                  </a:cxn>
                  <a:cxn ang="0">
                    <a:pos x="connsiteX1" y="connsiteY1"/>
                  </a:cxn>
                  <a:cxn ang="0">
                    <a:pos x="connsiteX2" y="connsiteY2"/>
                  </a:cxn>
                  <a:cxn ang="0">
                    <a:pos x="connsiteX3" y="connsiteY3"/>
                  </a:cxn>
                </a:cxnLst>
                <a:rect l="l" t="t" r="r" b="b"/>
                <a:pathLst>
                  <a:path w="380" h="857">
                    <a:moveTo>
                      <a:pt x="0" y="0"/>
                    </a:moveTo>
                    <a:lnTo>
                      <a:pt x="381" y="857"/>
                    </a:lnTo>
                    <a:lnTo>
                      <a:pt x="286" y="667"/>
                    </a:lnTo>
                    <a:lnTo>
                      <a:pt x="0"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79" name="Freeform: Shape 178">
                <a:extLst>
                  <a:ext uri="{FF2B5EF4-FFF2-40B4-BE49-F238E27FC236}">
                    <a16:creationId xmlns:a16="http://schemas.microsoft.com/office/drawing/2014/main" id="{0D467D18-90B7-405C-90DA-5D9528C854A1}"/>
                  </a:ext>
                </a:extLst>
              </p:cNvPr>
              <p:cNvSpPr/>
              <p:nvPr/>
            </p:nvSpPr>
            <p:spPr>
              <a:xfrm>
                <a:off x="12750532" y="4426092"/>
                <a:ext cx="9143" cy="25146"/>
              </a:xfrm>
              <a:custGeom>
                <a:avLst/>
                <a:gdLst>
                  <a:gd name="connsiteX0" fmla="*/ 9144 w 9143"/>
                  <a:gd name="connsiteY0" fmla="*/ 23908 h 25146"/>
                  <a:gd name="connsiteX1" fmla="*/ 6572 w 9143"/>
                  <a:gd name="connsiteY1" fmla="*/ 9811 h 25146"/>
                  <a:gd name="connsiteX2" fmla="*/ 3715 w 9143"/>
                  <a:gd name="connsiteY2" fmla="*/ 0 h 25146"/>
                  <a:gd name="connsiteX3" fmla="*/ 0 w 9143"/>
                  <a:gd name="connsiteY3" fmla="*/ 2286 h 25146"/>
                  <a:gd name="connsiteX4" fmla="*/ 6572 w 9143"/>
                  <a:gd name="connsiteY4" fmla="*/ 25146 h 25146"/>
                  <a:gd name="connsiteX5" fmla="*/ 9144 w 9143"/>
                  <a:gd name="connsiteY5" fmla="*/ 23908 h 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3" h="25146">
                    <a:moveTo>
                      <a:pt x="9144" y="23908"/>
                    </a:moveTo>
                    <a:lnTo>
                      <a:pt x="6572" y="9811"/>
                    </a:lnTo>
                    <a:lnTo>
                      <a:pt x="3715" y="0"/>
                    </a:lnTo>
                    <a:lnTo>
                      <a:pt x="0" y="2286"/>
                    </a:lnTo>
                    <a:lnTo>
                      <a:pt x="6572" y="25146"/>
                    </a:lnTo>
                    <a:lnTo>
                      <a:pt x="9144" y="2390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80" name="Freeform: Shape 179">
                <a:extLst>
                  <a:ext uri="{FF2B5EF4-FFF2-40B4-BE49-F238E27FC236}">
                    <a16:creationId xmlns:a16="http://schemas.microsoft.com/office/drawing/2014/main" id="{8BFBB65E-E190-444F-8F58-D1C654F39F93}"/>
                  </a:ext>
                </a:extLst>
              </p:cNvPr>
              <p:cNvSpPr/>
              <p:nvPr/>
            </p:nvSpPr>
            <p:spPr>
              <a:xfrm>
                <a:off x="12728243" y="4442952"/>
                <a:ext cx="13811" cy="20669"/>
              </a:xfrm>
              <a:custGeom>
                <a:avLst/>
                <a:gdLst>
                  <a:gd name="connsiteX0" fmla="*/ 7239 w 13811"/>
                  <a:gd name="connsiteY0" fmla="*/ 19336 h 20669"/>
                  <a:gd name="connsiteX1" fmla="*/ 13811 w 13811"/>
                  <a:gd name="connsiteY1" fmla="*/ 10001 h 20669"/>
                  <a:gd name="connsiteX2" fmla="*/ 12859 w 13811"/>
                  <a:gd name="connsiteY2" fmla="*/ 3429 h 20669"/>
                  <a:gd name="connsiteX3" fmla="*/ 5524 w 13811"/>
                  <a:gd name="connsiteY3" fmla="*/ 0 h 20669"/>
                  <a:gd name="connsiteX4" fmla="*/ 4382 w 13811"/>
                  <a:gd name="connsiteY4" fmla="*/ 8763 h 20669"/>
                  <a:gd name="connsiteX5" fmla="*/ 0 w 13811"/>
                  <a:gd name="connsiteY5" fmla="*/ 15431 h 20669"/>
                  <a:gd name="connsiteX6" fmla="*/ 1619 w 13811"/>
                  <a:gd name="connsiteY6" fmla="*/ 20669 h 20669"/>
                  <a:gd name="connsiteX7" fmla="*/ 7239 w 13811"/>
                  <a:gd name="connsiteY7" fmla="*/ 19336 h 2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11" h="20669">
                    <a:moveTo>
                      <a:pt x="7239" y="19336"/>
                    </a:moveTo>
                    <a:lnTo>
                      <a:pt x="13811" y="10001"/>
                    </a:lnTo>
                    <a:lnTo>
                      <a:pt x="12859" y="3429"/>
                    </a:lnTo>
                    <a:lnTo>
                      <a:pt x="5524" y="0"/>
                    </a:lnTo>
                    <a:lnTo>
                      <a:pt x="4382" y="8763"/>
                    </a:lnTo>
                    <a:lnTo>
                      <a:pt x="0" y="15431"/>
                    </a:lnTo>
                    <a:lnTo>
                      <a:pt x="1619" y="20669"/>
                    </a:lnTo>
                    <a:lnTo>
                      <a:pt x="7239" y="1933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81" name="Freeform: Shape 180">
                <a:extLst>
                  <a:ext uri="{FF2B5EF4-FFF2-40B4-BE49-F238E27FC236}">
                    <a16:creationId xmlns:a16="http://schemas.microsoft.com/office/drawing/2014/main" id="{2DC36545-E700-43A4-993D-3B4921D26270}"/>
                  </a:ext>
                </a:extLst>
              </p:cNvPr>
              <p:cNvSpPr/>
              <p:nvPr/>
            </p:nvSpPr>
            <p:spPr>
              <a:xfrm>
                <a:off x="12752722" y="4450857"/>
                <a:ext cx="9429" cy="17811"/>
              </a:xfrm>
              <a:custGeom>
                <a:avLst/>
                <a:gdLst>
                  <a:gd name="connsiteX0" fmla="*/ 9430 w 9429"/>
                  <a:gd name="connsiteY0" fmla="*/ 0 h 17811"/>
                  <a:gd name="connsiteX1" fmla="*/ 8192 w 9429"/>
                  <a:gd name="connsiteY1" fmla="*/ 286 h 17811"/>
                  <a:gd name="connsiteX2" fmla="*/ 6096 w 9429"/>
                  <a:gd name="connsiteY2" fmla="*/ 10763 h 17811"/>
                  <a:gd name="connsiteX3" fmla="*/ 476 w 9429"/>
                  <a:gd name="connsiteY3" fmla="*/ 11621 h 17811"/>
                  <a:gd name="connsiteX4" fmla="*/ 0 w 9429"/>
                  <a:gd name="connsiteY4" fmla="*/ 15907 h 17811"/>
                  <a:gd name="connsiteX5" fmla="*/ 8382 w 9429"/>
                  <a:gd name="connsiteY5" fmla="*/ 17812 h 17811"/>
                  <a:gd name="connsiteX6" fmla="*/ 9430 w 9429"/>
                  <a:gd name="connsiteY6" fmla="*/ 0 h 1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29" h="17811">
                    <a:moveTo>
                      <a:pt x="9430" y="0"/>
                    </a:moveTo>
                    <a:lnTo>
                      <a:pt x="8192" y="286"/>
                    </a:lnTo>
                    <a:lnTo>
                      <a:pt x="6096" y="10763"/>
                    </a:lnTo>
                    <a:lnTo>
                      <a:pt x="476" y="11621"/>
                    </a:lnTo>
                    <a:lnTo>
                      <a:pt x="0" y="15907"/>
                    </a:lnTo>
                    <a:lnTo>
                      <a:pt x="8382" y="17812"/>
                    </a:lnTo>
                    <a:lnTo>
                      <a:pt x="9430"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82" name="Freeform: Shape 181">
                <a:extLst>
                  <a:ext uri="{FF2B5EF4-FFF2-40B4-BE49-F238E27FC236}">
                    <a16:creationId xmlns:a16="http://schemas.microsoft.com/office/drawing/2014/main" id="{DCA5CE8F-6258-4C3D-AF38-E5632E21F3BA}"/>
                  </a:ext>
                </a:extLst>
              </p:cNvPr>
              <p:cNvSpPr/>
              <p:nvPr/>
            </p:nvSpPr>
            <p:spPr>
              <a:xfrm>
                <a:off x="13107910" y="5280199"/>
                <a:ext cx="1047" cy="857"/>
              </a:xfrm>
              <a:custGeom>
                <a:avLst/>
                <a:gdLst>
                  <a:gd name="connsiteX0" fmla="*/ 1048 w 1047"/>
                  <a:gd name="connsiteY0" fmla="*/ 857 h 857"/>
                  <a:gd name="connsiteX1" fmla="*/ 0 w 1047"/>
                  <a:gd name="connsiteY1" fmla="*/ 0 h 857"/>
                  <a:gd name="connsiteX2" fmla="*/ 571 w 1047"/>
                  <a:gd name="connsiteY2" fmla="*/ 381 h 857"/>
                  <a:gd name="connsiteX3" fmla="*/ 1048 w 1047"/>
                  <a:gd name="connsiteY3" fmla="*/ 857 h 857"/>
                </a:gdLst>
                <a:ahLst/>
                <a:cxnLst>
                  <a:cxn ang="0">
                    <a:pos x="connsiteX0" y="connsiteY0"/>
                  </a:cxn>
                  <a:cxn ang="0">
                    <a:pos x="connsiteX1" y="connsiteY1"/>
                  </a:cxn>
                  <a:cxn ang="0">
                    <a:pos x="connsiteX2" y="connsiteY2"/>
                  </a:cxn>
                  <a:cxn ang="0">
                    <a:pos x="connsiteX3" y="connsiteY3"/>
                  </a:cxn>
                </a:cxnLst>
                <a:rect l="l" t="t" r="r" b="b"/>
                <a:pathLst>
                  <a:path w="1047" h="857">
                    <a:moveTo>
                      <a:pt x="1048" y="857"/>
                    </a:moveTo>
                    <a:lnTo>
                      <a:pt x="0" y="0"/>
                    </a:lnTo>
                    <a:lnTo>
                      <a:pt x="571" y="381"/>
                    </a:lnTo>
                    <a:lnTo>
                      <a:pt x="1048" y="85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83" name="Freeform: Shape 182">
                <a:extLst>
                  <a:ext uri="{FF2B5EF4-FFF2-40B4-BE49-F238E27FC236}">
                    <a16:creationId xmlns:a16="http://schemas.microsoft.com/office/drawing/2014/main" id="{4737AF26-FCB4-4C44-84F1-9F2316481DF5}"/>
                  </a:ext>
                </a:extLst>
              </p:cNvPr>
              <p:cNvSpPr/>
              <p:nvPr/>
            </p:nvSpPr>
            <p:spPr>
              <a:xfrm>
                <a:off x="13099813" y="5273722"/>
                <a:ext cx="1428" cy="1047"/>
              </a:xfrm>
              <a:custGeom>
                <a:avLst/>
                <a:gdLst>
                  <a:gd name="connsiteX0" fmla="*/ 1429 w 1428"/>
                  <a:gd name="connsiteY0" fmla="*/ 1048 h 1047"/>
                  <a:gd name="connsiteX1" fmla="*/ 667 w 1428"/>
                  <a:gd name="connsiteY1" fmla="*/ 476 h 1047"/>
                  <a:gd name="connsiteX2" fmla="*/ 0 w 1428"/>
                  <a:gd name="connsiteY2" fmla="*/ 0 h 1047"/>
                  <a:gd name="connsiteX3" fmla="*/ 1429 w 1428"/>
                  <a:gd name="connsiteY3" fmla="*/ 1048 h 1047"/>
                </a:gdLst>
                <a:ahLst/>
                <a:cxnLst>
                  <a:cxn ang="0">
                    <a:pos x="connsiteX0" y="connsiteY0"/>
                  </a:cxn>
                  <a:cxn ang="0">
                    <a:pos x="connsiteX1" y="connsiteY1"/>
                  </a:cxn>
                  <a:cxn ang="0">
                    <a:pos x="connsiteX2" y="connsiteY2"/>
                  </a:cxn>
                  <a:cxn ang="0">
                    <a:pos x="connsiteX3" y="connsiteY3"/>
                  </a:cxn>
                </a:cxnLst>
                <a:rect l="l" t="t" r="r" b="b"/>
                <a:pathLst>
                  <a:path w="1428" h="1047">
                    <a:moveTo>
                      <a:pt x="1429" y="1048"/>
                    </a:moveTo>
                    <a:lnTo>
                      <a:pt x="667" y="476"/>
                    </a:lnTo>
                    <a:lnTo>
                      <a:pt x="0" y="0"/>
                    </a:lnTo>
                    <a:lnTo>
                      <a:pt x="1429" y="104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84" name="Freeform: Shape 183">
                <a:extLst>
                  <a:ext uri="{FF2B5EF4-FFF2-40B4-BE49-F238E27FC236}">
                    <a16:creationId xmlns:a16="http://schemas.microsoft.com/office/drawing/2014/main" id="{089E2A86-46A4-4D19-9642-72A4DE162680}"/>
                  </a:ext>
                </a:extLst>
              </p:cNvPr>
              <p:cNvSpPr/>
              <p:nvPr/>
            </p:nvSpPr>
            <p:spPr>
              <a:xfrm>
                <a:off x="13051807" y="5233050"/>
                <a:ext cx="3238" cy="2762"/>
              </a:xfrm>
              <a:custGeom>
                <a:avLst/>
                <a:gdLst>
                  <a:gd name="connsiteX0" fmla="*/ 3239 w 3238"/>
                  <a:gd name="connsiteY0" fmla="*/ 2762 h 2762"/>
                  <a:gd name="connsiteX1" fmla="*/ 0 w 3238"/>
                  <a:gd name="connsiteY1" fmla="*/ 0 h 2762"/>
                  <a:gd name="connsiteX2" fmla="*/ 1143 w 3238"/>
                  <a:gd name="connsiteY2" fmla="*/ 1048 h 2762"/>
                  <a:gd name="connsiteX3" fmla="*/ 3239 w 3238"/>
                  <a:gd name="connsiteY3" fmla="*/ 2762 h 2762"/>
                </a:gdLst>
                <a:ahLst/>
                <a:cxnLst>
                  <a:cxn ang="0">
                    <a:pos x="connsiteX0" y="connsiteY0"/>
                  </a:cxn>
                  <a:cxn ang="0">
                    <a:pos x="connsiteX1" y="connsiteY1"/>
                  </a:cxn>
                  <a:cxn ang="0">
                    <a:pos x="connsiteX2" y="connsiteY2"/>
                  </a:cxn>
                  <a:cxn ang="0">
                    <a:pos x="connsiteX3" y="connsiteY3"/>
                  </a:cxn>
                </a:cxnLst>
                <a:rect l="l" t="t" r="r" b="b"/>
                <a:pathLst>
                  <a:path w="3238" h="2762">
                    <a:moveTo>
                      <a:pt x="3239" y="2762"/>
                    </a:moveTo>
                    <a:lnTo>
                      <a:pt x="0" y="0"/>
                    </a:lnTo>
                    <a:lnTo>
                      <a:pt x="1143" y="1048"/>
                    </a:lnTo>
                    <a:lnTo>
                      <a:pt x="3239" y="276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85" name="Freeform: Shape 184">
                <a:extLst>
                  <a:ext uri="{FF2B5EF4-FFF2-40B4-BE49-F238E27FC236}">
                    <a16:creationId xmlns:a16="http://schemas.microsoft.com/office/drawing/2014/main" id="{EDA40960-0202-4FAC-8736-8EC5D9B068A5}"/>
                  </a:ext>
                </a:extLst>
              </p:cNvPr>
              <p:cNvSpPr/>
              <p:nvPr/>
            </p:nvSpPr>
            <p:spPr>
              <a:xfrm>
                <a:off x="13055046" y="5235813"/>
                <a:ext cx="22193" cy="19145"/>
              </a:xfrm>
              <a:custGeom>
                <a:avLst/>
                <a:gdLst>
                  <a:gd name="connsiteX0" fmla="*/ 10763 w 22193"/>
                  <a:gd name="connsiteY0" fmla="*/ 9430 h 19145"/>
                  <a:gd name="connsiteX1" fmla="*/ 22193 w 22193"/>
                  <a:gd name="connsiteY1" fmla="*/ 19145 h 19145"/>
                  <a:gd name="connsiteX2" fmla="*/ 0 w 22193"/>
                  <a:gd name="connsiteY2" fmla="*/ 0 h 19145"/>
                  <a:gd name="connsiteX3" fmla="*/ 7620 w 22193"/>
                  <a:gd name="connsiteY3" fmla="*/ 6763 h 19145"/>
                  <a:gd name="connsiteX4" fmla="*/ 10763 w 22193"/>
                  <a:gd name="connsiteY4" fmla="*/ 9430 h 1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93" h="19145">
                    <a:moveTo>
                      <a:pt x="10763" y="9430"/>
                    </a:moveTo>
                    <a:lnTo>
                      <a:pt x="22193" y="19145"/>
                    </a:lnTo>
                    <a:lnTo>
                      <a:pt x="0" y="0"/>
                    </a:lnTo>
                    <a:lnTo>
                      <a:pt x="7620" y="6763"/>
                    </a:lnTo>
                    <a:lnTo>
                      <a:pt x="10763" y="943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86" name="Freeform: Shape 185">
                <a:extLst>
                  <a:ext uri="{FF2B5EF4-FFF2-40B4-BE49-F238E27FC236}">
                    <a16:creationId xmlns:a16="http://schemas.microsoft.com/office/drawing/2014/main" id="{587F4162-6B50-43C5-803A-4A5FED779334}"/>
                  </a:ext>
                </a:extLst>
              </p:cNvPr>
              <p:cNvSpPr/>
              <p:nvPr/>
            </p:nvSpPr>
            <p:spPr>
              <a:xfrm>
                <a:off x="13082097" y="5259054"/>
                <a:ext cx="25812" cy="21145"/>
              </a:xfrm>
              <a:custGeom>
                <a:avLst/>
                <a:gdLst>
                  <a:gd name="connsiteX0" fmla="*/ 5905 w 25812"/>
                  <a:gd name="connsiteY0" fmla="*/ 4953 h 21145"/>
                  <a:gd name="connsiteX1" fmla="*/ 11811 w 25812"/>
                  <a:gd name="connsiteY1" fmla="*/ 9811 h 21145"/>
                  <a:gd name="connsiteX2" fmla="*/ 13811 w 25812"/>
                  <a:gd name="connsiteY2" fmla="*/ 11430 h 21145"/>
                  <a:gd name="connsiteX3" fmla="*/ 18383 w 25812"/>
                  <a:gd name="connsiteY3" fmla="*/ 15145 h 21145"/>
                  <a:gd name="connsiteX4" fmla="*/ 23050 w 25812"/>
                  <a:gd name="connsiteY4" fmla="*/ 18955 h 21145"/>
                  <a:gd name="connsiteX5" fmla="*/ 25813 w 25812"/>
                  <a:gd name="connsiteY5" fmla="*/ 21146 h 21145"/>
                  <a:gd name="connsiteX6" fmla="*/ 0 w 25812"/>
                  <a:gd name="connsiteY6" fmla="*/ 0 h 21145"/>
                  <a:gd name="connsiteX7" fmla="*/ 2572 w 25812"/>
                  <a:gd name="connsiteY7" fmla="*/ 2191 h 21145"/>
                  <a:gd name="connsiteX8" fmla="*/ 5905 w 25812"/>
                  <a:gd name="connsiteY8" fmla="*/ 4953 h 2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12" h="21145">
                    <a:moveTo>
                      <a:pt x="5905" y="4953"/>
                    </a:moveTo>
                    <a:lnTo>
                      <a:pt x="11811" y="9811"/>
                    </a:lnTo>
                    <a:lnTo>
                      <a:pt x="13811" y="11430"/>
                    </a:lnTo>
                    <a:lnTo>
                      <a:pt x="18383" y="15145"/>
                    </a:lnTo>
                    <a:lnTo>
                      <a:pt x="23050" y="18955"/>
                    </a:lnTo>
                    <a:lnTo>
                      <a:pt x="25813" y="21146"/>
                    </a:lnTo>
                    <a:lnTo>
                      <a:pt x="0" y="0"/>
                    </a:lnTo>
                    <a:lnTo>
                      <a:pt x="2572" y="2191"/>
                    </a:lnTo>
                    <a:lnTo>
                      <a:pt x="5905" y="495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87" name="Freeform: Shape 186">
                <a:extLst>
                  <a:ext uri="{FF2B5EF4-FFF2-40B4-BE49-F238E27FC236}">
                    <a16:creationId xmlns:a16="http://schemas.microsoft.com/office/drawing/2014/main" id="{4BC58664-A8C1-4BE7-8B31-9617F245AA19}"/>
                  </a:ext>
                </a:extLst>
              </p:cNvPr>
              <p:cNvSpPr/>
              <p:nvPr/>
            </p:nvSpPr>
            <p:spPr>
              <a:xfrm>
                <a:off x="13108957" y="5281057"/>
                <a:ext cx="22955" cy="17716"/>
              </a:xfrm>
              <a:custGeom>
                <a:avLst/>
                <a:gdLst>
                  <a:gd name="connsiteX0" fmla="*/ 15145 w 22955"/>
                  <a:gd name="connsiteY0" fmla="*/ 11811 h 17716"/>
                  <a:gd name="connsiteX1" fmla="*/ 22955 w 22955"/>
                  <a:gd name="connsiteY1" fmla="*/ 17716 h 17716"/>
                  <a:gd name="connsiteX2" fmla="*/ 0 w 22955"/>
                  <a:gd name="connsiteY2" fmla="*/ 0 h 17716"/>
                  <a:gd name="connsiteX3" fmla="*/ 952 w 22955"/>
                  <a:gd name="connsiteY3" fmla="*/ 667 h 17716"/>
                  <a:gd name="connsiteX4" fmla="*/ 15145 w 22955"/>
                  <a:gd name="connsiteY4" fmla="*/ 11811 h 17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55" h="17716">
                    <a:moveTo>
                      <a:pt x="15145" y="11811"/>
                    </a:moveTo>
                    <a:lnTo>
                      <a:pt x="22955" y="17716"/>
                    </a:lnTo>
                    <a:lnTo>
                      <a:pt x="0" y="0"/>
                    </a:lnTo>
                    <a:lnTo>
                      <a:pt x="952" y="667"/>
                    </a:lnTo>
                    <a:lnTo>
                      <a:pt x="15145" y="1181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88" name="Freeform: Shape 187">
                <a:extLst>
                  <a:ext uri="{FF2B5EF4-FFF2-40B4-BE49-F238E27FC236}">
                    <a16:creationId xmlns:a16="http://schemas.microsoft.com/office/drawing/2014/main" id="{BCB2470F-7DAD-4933-BF76-EA23A2FF977B}"/>
                  </a:ext>
                </a:extLst>
              </p:cNvPr>
              <p:cNvSpPr/>
              <p:nvPr/>
            </p:nvSpPr>
            <p:spPr>
              <a:xfrm>
                <a:off x="13163821" y="5322395"/>
                <a:ext cx="476" cy="381"/>
              </a:xfrm>
              <a:custGeom>
                <a:avLst/>
                <a:gdLst>
                  <a:gd name="connsiteX0" fmla="*/ 476 w 476"/>
                  <a:gd name="connsiteY0" fmla="*/ 381 h 381"/>
                  <a:gd name="connsiteX1" fmla="*/ 0 w 476"/>
                  <a:gd name="connsiteY1" fmla="*/ 0 h 381"/>
                  <a:gd name="connsiteX2" fmla="*/ 286 w 476"/>
                  <a:gd name="connsiteY2" fmla="*/ 286 h 381"/>
                  <a:gd name="connsiteX3" fmla="*/ 476 w 476"/>
                  <a:gd name="connsiteY3" fmla="*/ 381 h 381"/>
                </a:gdLst>
                <a:ahLst/>
                <a:cxnLst>
                  <a:cxn ang="0">
                    <a:pos x="connsiteX0" y="connsiteY0"/>
                  </a:cxn>
                  <a:cxn ang="0">
                    <a:pos x="connsiteX1" y="connsiteY1"/>
                  </a:cxn>
                  <a:cxn ang="0">
                    <a:pos x="connsiteX2" y="connsiteY2"/>
                  </a:cxn>
                  <a:cxn ang="0">
                    <a:pos x="connsiteX3" y="connsiteY3"/>
                  </a:cxn>
                </a:cxnLst>
                <a:rect l="l" t="t" r="r" b="b"/>
                <a:pathLst>
                  <a:path w="476" h="381">
                    <a:moveTo>
                      <a:pt x="476" y="381"/>
                    </a:moveTo>
                    <a:lnTo>
                      <a:pt x="0" y="0"/>
                    </a:lnTo>
                    <a:lnTo>
                      <a:pt x="286" y="286"/>
                    </a:lnTo>
                    <a:lnTo>
                      <a:pt x="476" y="38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89" name="Freeform: Shape 188">
                <a:extLst>
                  <a:ext uri="{FF2B5EF4-FFF2-40B4-BE49-F238E27FC236}">
                    <a16:creationId xmlns:a16="http://schemas.microsoft.com/office/drawing/2014/main" id="{21159E44-2259-425F-907E-1FF8A83FD336}"/>
                  </a:ext>
                </a:extLst>
              </p:cNvPr>
              <p:cNvSpPr/>
              <p:nvPr/>
            </p:nvSpPr>
            <p:spPr>
              <a:xfrm>
                <a:off x="13020661" y="5204475"/>
                <a:ext cx="31146" cy="28575"/>
              </a:xfrm>
              <a:custGeom>
                <a:avLst/>
                <a:gdLst>
                  <a:gd name="connsiteX0" fmla="*/ 22955 w 31146"/>
                  <a:gd name="connsiteY0" fmla="*/ 21241 h 28575"/>
                  <a:gd name="connsiteX1" fmla="*/ 27146 w 31146"/>
                  <a:gd name="connsiteY1" fmla="*/ 25051 h 28575"/>
                  <a:gd name="connsiteX2" fmla="*/ 31147 w 31146"/>
                  <a:gd name="connsiteY2" fmla="*/ 28575 h 28575"/>
                  <a:gd name="connsiteX3" fmla="*/ 0 w 31146"/>
                  <a:gd name="connsiteY3" fmla="*/ 0 h 28575"/>
                  <a:gd name="connsiteX4" fmla="*/ 3429 w 31146"/>
                  <a:gd name="connsiteY4" fmla="*/ 3334 h 28575"/>
                  <a:gd name="connsiteX5" fmla="*/ 22955 w 31146"/>
                  <a:gd name="connsiteY5" fmla="*/ 2124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46" h="28575">
                    <a:moveTo>
                      <a:pt x="22955" y="21241"/>
                    </a:moveTo>
                    <a:lnTo>
                      <a:pt x="27146" y="25051"/>
                    </a:lnTo>
                    <a:lnTo>
                      <a:pt x="31147" y="28575"/>
                    </a:lnTo>
                    <a:lnTo>
                      <a:pt x="0" y="0"/>
                    </a:lnTo>
                    <a:lnTo>
                      <a:pt x="3429" y="3334"/>
                    </a:lnTo>
                    <a:lnTo>
                      <a:pt x="22955" y="2124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90" name="Freeform: Shape 189">
                <a:extLst>
                  <a:ext uri="{FF2B5EF4-FFF2-40B4-BE49-F238E27FC236}">
                    <a16:creationId xmlns:a16="http://schemas.microsoft.com/office/drawing/2014/main" id="{765CC128-73BA-4866-9303-70F8A2FD233B}"/>
                  </a:ext>
                </a:extLst>
              </p:cNvPr>
              <p:cNvSpPr/>
              <p:nvPr/>
            </p:nvSpPr>
            <p:spPr>
              <a:xfrm>
                <a:off x="13173727" y="5329443"/>
                <a:ext cx="3238" cy="2286"/>
              </a:xfrm>
              <a:custGeom>
                <a:avLst/>
                <a:gdLst>
                  <a:gd name="connsiteX0" fmla="*/ 3239 w 3238"/>
                  <a:gd name="connsiteY0" fmla="*/ 2286 h 2286"/>
                  <a:gd name="connsiteX1" fmla="*/ 0 w 3238"/>
                  <a:gd name="connsiteY1" fmla="*/ 0 h 2286"/>
                  <a:gd name="connsiteX2" fmla="*/ 572 w 3238"/>
                  <a:gd name="connsiteY2" fmla="*/ 381 h 2286"/>
                  <a:gd name="connsiteX3" fmla="*/ 3239 w 3238"/>
                  <a:gd name="connsiteY3" fmla="*/ 2286 h 2286"/>
                </a:gdLst>
                <a:ahLst/>
                <a:cxnLst>
                  <a:cxn ang="0">
                    <a:pos x="connsiteX0" y="connsiteY0"/>
                  </a:cxn>
                  <a:cxn ang="0">
                    <a:pos x="connsiteX1" y="connsiteY1"/>
                  </a:cxn>
                  <a:cxn ang="0">
                    <a:pos x="connsiteX2" y="connsiteY2"/>
                  </a:cxn>
                  <a:cxn ang="0">
                    <a:pos x="connsiteX3" y="connsiteY3"/>
                  </a:cxn>
                </a:cxnLst>
                <a:rect l="l" t="t" r="r" b="b"/>
                <a:pathLst>
                  <a:path w="3238" h="2286">
                    <a:moveTo>
                      <a:pt x="3239" y="2286"/>
                    </a:moveTo>
                    <a:lnTo>
                      <a:pt x="0" y="0"/>
                    </a:lnTo>
                    <a:lnTo>
                      <a:pt x="572" y="381"/>
                    </a:lnTo>
                    <a:lnTo>
                      <a:pt x="3239" y="228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91" name="Freeform: Shape 190">
                <a:extLst>
                  <a:ext uri="{FF2B5EF4-FFF2-40B4-BE49-F238E27FC236}">
                    <a16:creationId xmlns:a16="http://schemas.microsoft.com/office/drawing/2014/main" id="{0163CA75-A9B8-4BB8-9697-FB91E10B527B}"/>
                  </a:ext>
                </a:extLst>
              </p:cNvPr>
              <p:cNvSpPr/>
              <p:nvPr/>
            </p:nvSpPr>
            <p:spPr>
              <a:xfrm>
                <a:off x="13176966" y="5331730"/>
                <a:ext cx="5238" cy="3714"/>
              </a:xfrm>
              <a:custGeom>
                <a:avLst/>
                <a:gdLst>
                  <a:gd name="connsiteX0" fmla="*/ 5239 w 5238"/>
                  <a:gd name="connsiteY0" fmla="*/ 3715 h 3714"/>
                  <a:gd name="connsiteX1" fmla="*/ 0 w 5238"/>
                  <a:gd name="connsiteY1" fmla="*/ 0 h 3714"/>
                  <a:gd name="connsiteX2" fmla="*/ 1905 w 5238"/>
                  <a:gd name="connsiteY2" fmla="*/ 1333 h 3714"/>
                  <a:gd name="connsiteX3" fmla="*/ 5239 w 5238"/>
                  <a:gd name="connsiteY3" fmla="*/ 3715 h 3714"/>
                </a:gdLst>
                <a:ahLst/>
                <a:cxnLst>
                  <a:cxn ang="0">
                    <a:pos x="connsiteX0" y="connsiteY0"/>
                  </a:cxn>
                  <a:cxn ang="0">
                    <a:pos x="connsiteX1" y="connsiteY1"/>
                  </a:cxn>
                  <a:cxn ang="0">
                    <a:pos x="connsiteX2" y="connsiteY2"/>
                  </a:cxn>
                  <a:cxn ang="0">
                    <a:pos x="connsiteX3" y="connsiteY3"/>
                  </a:cxn>
                </a:cxnLst>
                <a:rect l="l" t="t" r="r" b="b"/>
                <a:pathLst>
                  <a:path w="5238" h="3714">
                    <a:moveTo>
                      <a:pt x="5239" y="3715"/>
                    </a:moveTo>
                    <a:lnTo>
                      <a:pt x="0" y="0"/>
                    </a:lnTo>
                    <a:lnTo>
                      <a:pt x="1905" y="1333"/>
                    </a:lnTo>
                    <a:lnTo>
                      <a:pt x="5239" y="371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92" name="Freeform: Shape 191">
                <a:extLst>
                  <a:ext uri="{FF2B5EF4-FFF2-40B4-BE49-F238E27FC236}">
                    <a16:creationId xmlns:a16="http://schemas.microsoft.com/office/drawing/2014/main" id="{D242F4F3-4C85-4620-B2E2-B985B7039245}"/>
                  </a:ext>
                </a:extLst>
              </p:cNvPr>
              <p:cNvSpPr/>
              <p:nvPr/>
            </p:nvSpPr>
            <p:spPr>
              <a:xfrm>
                <a:off x="13164297" y="5322776"/>
                <a:ext cx="9429" cy="6667"/>
              </a:xfrm>
              <a:custGeom>
                <a:avLst/>
                <a:gdLst>
                  <a:gd name="connsiteX0" fmla="*/ 7810 w 9429"/>
                  <a:gd name="connsiteY0" fmla="*/ 5524 h 6667"/>
                  <a:gd name="connsiteX1" fmla="*/ 9430 w 9429"/>
                  <a:gd name="connsiteY1" fmla="*/ 6667 h 6667"/>
                  <a:gd name="connsiteX2" fmla="*/ 0 w 9429"/>
                  <a:gd name="connsiteY2" fmla="*/ 0 h 6667"/>
                  <a:gd name="connsiteX3" fmla="*/ 667 w 9429"/>
                  <a:gd name="connsiteY3" fmla="*/ 476 h 6667"/>
                  <a:gd name="connsiteX4" fmla="*/ 7810 w 9429"/>
                  <a:gd name="connsiteY4" fmla="*/ 5524 h 6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9" h="6667">
                    <a:moveTo>
                      <a:pt x="7810" y="5524"/>
                    </a:moveTo>
                    <a:lnTo>
                      <a:pt x="9430" y="6667"/>
                    </a:lnTo>
                    <a:lnTo>
                      <a:pt x="0" y="0"/>
                    </a:lnTo>
                    <a:lnTo>
                      <a:pt x="667" y="476"/>
                    </a:lnTo>
                    <a:lnTo>
                      <a:pt x="7810" y="552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93" name="Freeform: Shape 192">
                <a:extLst>
                  <a:ext uri="{FF2B5EF4-FFF2-40B4-BE49-F238E27FC236}">
                    <a16:creationId xmlns:a16="http://schemas.microsoft.com/office/drawing/2014/main" id="{6E1125F2-010B-4C0A-9E37-2CD46DCB5E57}"/>
                  </a:ext>
                </a:extLst>
              </p:cNvPr>
              <p:cNvSpPr/>
              <p:nvPr/>
            </p:nvSpPr>
            <p:spPr>
              <a:xfrm>
                <a:off x="13138580" y="5303916"/>
                <a:ext cx="25241" cy="18478"/>
              </a:xfrm>
              <a:custGeom>
                <a:avLst/>
                <a:gdLst>
                  <a:gd name="connsiteX0" fmla="*/ 25241 w 25241"/>
                  <a:gd name="connsiteY0" fmla="*/ 18479 h 18478"/>
                  <a:gd name="connsiteX1" fmla="*/ 0 w 25241"/>
                  <a:gd name="connsiteY1" fmla="*/ 0 h 18478"/>
                  <a:gd name="connsiteX2" fmla="*/ 9525 w 25241"/>
                  <a:gd name="connsiteY2" fmla="*/ 7048 h 18478"/>
                  <a:gd name="connsiteX3" fmla="*/ 25241 w 25241"/>
                  <a:gd name="connsiteY3" fmla="*/ 18479 h 18478"/>
                </a:gdLst>
                <a:ahLst/>
                <a:cxnLst>
                  <a:cxn ang="0">
                    <a:pos x="connsiteX0" y="connsiteY0"/>
                  </a:cxn>
                  <a:cxn ang="0">
                    <a:pos x="connsiteX1" y="connsiteY1"/>
                  </a:cxn>
                  <a:cxn ang="0">
                    <a:pos x="connsiteX2" y="connsiteY2"/>
                  </a:cxn>
                  <a:cxn ang="0">
                    <a:pos x="connsiteX3" y="connsiteY3"/>
                  </a:cxn>
                </a:cxnLst>
                <a:rect l="l" t="t" r="r" b="b"/>
                <a:pathLst>
                  <a:path w="25241" h="18478">
                    <a:moveTo>
                      <a:pt x="25241" y="18479"/>
                    </a:moveTo>
                    <a:lnTo>
                      <a:pt x="0" y="0"/>
                    </a:lnTo>
                    <a:lnTo>
                      <a:pt x="9525" y="7048"/>
                    </a:lnTo>
                    <a:lnTo>
                      <a:pt x="25241" y="1847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94" name="Freeform: Shape 193">
                <a:extLst>
                  <a:ext uri="{FF2B5EF4-FFF2-40B4-BE49-F238E27FC236}">
                    <a16:creationId xmlns:a16="http://schemas.microsoft.com/office/drawing/2014/main" id="{F07FC1BF-751F-43B3-86EE-EC474C65B529}"/>
                  </a:ext>
                </a:extLst>
              </p:cNvPr>
              <p:cNvSpPr/>
              <p:nvPr/>
            </p:nvSpPr>
            <p:spPr>
              <a:xfrm>
                <a:off x="13131913" y="5298773"/>
                <a:ext cx="2285" cy="1809"/>
              </a:xfrm>
              <a:custGeom>
                <a:avLst/>
                <a:gdLst>
                  <a:gd name="connsiteX0" fmla="*/ 2286 w 2285"/>
                  <a:gd name="connsiteY0" fmla="*/ 1810 h 1809"/>
                  <a:gd name="connsiteX1" fmla="*/ 0 w 2285"/>
                  <a:gd name="connsiteY1" fmla="*/ 0 h 1809"/>
                  <a:gd name="connsiteX2" fmla="*/ 1143 w 2285"/>
                  <a:gd name="connsiteY2" fmla="*/ 953 h 1809"/>
                  <a:gd name="connsiteX3" fmla="*/ 2286 w 2285"/>
                  <a:gd name="connsiteY3" fmla="*/ 1810 h 1809"/>
                </a:gdLst>
                <a:ahLst/>
                <a:cxnLst>
                  <a:cxn ang="0">
                    <a:pos x="connsiteX0" y="connsiteY0"/>
                  </a:cxn>
                  <a:cxn ang="0">
                    <a:pos x="connsiteX1" y="connsiteY1"/>
                  </a:cxn>
                  <a:cxn ang="0">
                    <a:pos x="connsiteX2" y="connsiteY2"/>
                  </a:cxn>
                  <a:cxn ang="0">
                    <a:pos x="connsiteX3" y="connsiteY3"/>
                  </a:cxn>
                </a:cxnLst>
                <a:rect l="l" t="t" r="r" b="b"/>
                <a:pathLst>
                  <a:path w="2285" h="1809">
                    <a:moveTo>
                      <a:pt x="2286" y="1810"/>
                    </a:moveTo>
                    <a:lnTo>
                      <a:pt x="0" y="0"/>
                    </a:lnTo>
                    <a:lnTo>
                      <a:pt x="1143" y="953"/>
                    </a:lnTo>
                    <a:lnTo>
                      <a:pt x="2286" y="181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95" name="Freeform: Shape 194">
                <a:extLst>
                  <a:ext uri="{FF2B5EF4-FFF2-40B4-BE49-F238E27FC236}">
                    <a16:creationId xmlns:a16="http://schemas.microsoft.com/office/drawing/2014/main" id="{08AD2FA0-D252-4444-A456-7AB804BEBAB4}"/>
                  </a:ext>
                </a:extLst>
              </p:cNvPr>
              <p:cNvSpPr/>
              <p:nvPr/>
            </p:nvSpPr>
            <p:spPr>
              <a:xfrm>
                <a:off x="13134198" y="5300583"/>
                <a:ext cx="4381" cy="3333"/>
              </a:xfrm>
              <a:custGeom>
                <a:avLst/>
                <a:gdLst>
                  <a:gd name="connsiteX0" fmla="*/ 4382 w 4381"/>
                  <a:gd name="connsiteY0" fmla="*/ 3334 h 3333"/>
                  <a:gd name="connsiteX1" fmla="*/ 0 w 4381"/>
                  <a:gd name="connsiteY1" fmla="*/ 0 h 3333"/>
                  <a:gd name="connsiteX2" fmla="*/ 2286 w 4381"/>
                  <a:gd name="connsiteY2" fmla="*/ 1715 h 3333"/>
                  <a:gd name="connsiteX3" fmla="*/ 4382 w 4381"/>
                  <a:gd name="connsiteY3" fmla="*/ 3334 h 3333"/>
                </a:gdLst>
                <a:ahLst/>
                <a:cxnLst>
                  <a:cxn ang="0">
                    <a:pos x="connsiteX0" y="connsiteY0"/>
                  </a:cxn>
                  <a:cxn ang="0">
                    <a:pos x="connsiteX1" y="connsiteY1"/>
                  </a:cxn>
                  <a:cxn ang="0">
                    <a:pos x="connsiteX2" y="connsiteY2"/>
                  </a:cxn>
                  <a:cxn ang="0">
                    <a:pos x="connsiteX3" y="connsiteY3"/>
                  </a:cxn>
                </a:cxnLst>
                <a:rect l="l" t="t" r="r" b="b"/>
                <a:pathLst>
                  <a:path w="4381" h="3333">
                    <a:moveTo>
                      <a:pt x="4382" y="3334"/>
                    </a:moveTo>
                    <a:lnTo>
                      <a:pt x="0" y="0"/>
                    </a:lnTo>
                    <a:lnTo>
                      <a:pt x="2286" y="1715"/>
                    </a:lnTo>
                    <a:lnTo>
                      <a:pt x="4382" y="333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96" name="Freeform: Shape 195">
                <a:extLst>
                  <a:ext uri="{FF2B5EF4-FFF2-40B4-BE49-F238E27FC236}">
                    <a16:creationId xmlns:a16="http://schemas.microsoft.com/office/drawing/2014/main" id="{513FB379-6626-4FE7-9B68-6683F1C50DA2}"/>
                  </a:ext>
                </a:extLst>
              </p:cNvPr>
              <p:cNvSpPr/>
              <p:nvPr/>
            </p:nvSpPr>
            <p:spPr>
              <a:xfrm>
                <a:off x="13077239" y="5254958"/>
                <a:ext cx="4857" cy="4095"/>
              </a:xfrm>
              <a:custGeom>
                <a:avLst/>
                <a:gdLst>
                  <a:gd name="connsiteX0" fmla="*/ 4858 w 4857"/>
                  <a:gd name="connsiteY0" fmla="*/ 4096 h 4095"/>
                  <a:gd name="connsiteX1" fmla="*/ 0 w 4857"/>
                  <a:gd name="connsiteY1" fmla="*/ 0 h 4095"/>
                  <a:gd name="connsiteX2" fmla="*/ 3334 w 4857"/>
                  <a:gd name="connsiteY2" fmla="*/ 2857 h 4095"/>
                  <a:gd name="connsiteX3" fmla="*/ 4858 w 4857"/>
                  <a:gd name="connsiteY3" fmla="*/ 4096 h 4095"/>
                </a:gdLst>
                <a:ahLst/>
                <a:cxnLst>
                  <a:cxn ang="0">
                    <a:pos x="connsiteX0" y="connsiteY0"/>
                  </a:cxn>
                  <a:cxn ang="0">
                    <a:pos x="connsiteX1" y="connsiteY1"/>
                  </a:cxn>
                  <a:cxn ang="0">
                    <a:pos x="connsiteX2" y="connsiteY2"/>
                  </a:cxn>
                  <a:cxn ang="0">
                    <a:pos x="connsiteX3" y="connsiteY3"/>
                  </a:cxn>
                </a:cxnLst>
                <a:rect l="l" t="t" r="r" b="b"/>
                <a:pathLst>
                  <a:path w="4857" h="4095">
                    <a:moveTo>
                      <a:pt x="4858" y="4096"/>
                    </a:moveTo>
                    <a:lnTo>
                      <a:pt x="0" y="0"/>
                    </a:lnTo>
                    <a:lnTo>
                      <a:pt x="3334" y="2857"/>
                    </a:lnTo>
                    <a:lnTo>
                      <a:pt x="4858" y="409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97" name="Freeform: Shape 196">
                <a:extLst>
                  <a:ext uri="{FF2B5EF4-FFF2-40B4-BE49-F238E27FC236}">
                    <a16:creationId xmlns:a16="http://schemas.microsoft.com/office/drawing/2014/main" id="{1D82AF80-C53D-43E5-9CBA-8AB6C1A4FC1C}"/>
                  </a:ext>
                </a:extLst>
              </p:cNvPr>
              <p:cNvSpPr/>
              <p:nvPr/>
            </p:nvSpPr>
            <p:spPr>
              <a:xfrm>
                <a:off x="12930840" y="5111797"/>
                <a:ext cx="3619" cy="4095"/>
              </a:xfrm>
              <a:custGeom>
                <a:avLst/>
                <a:gdLst>
                  <a:gd name="connsiteX0" fmla="*/ 1143 w 3619"/>
                  <a:gd name="connsiteY0" fmla="*/ 1333 h 4095"/>
                  <a:gd name="connsiteX1" fmla="*/ 3620 w 3619"/>
                  <a:gd name="connsiteY1" fmla="*/ 4096 h 4095"/>
                  <a:gd name="connsiteX2" fmla="*/ 0 w 3619"/>
                  <a:gd name="connsiteY2" fmla="*/ 0 h 4095"/>
                  <a:gd name="connsiteX3" fmla="*/ 286 w 3619"/>
                  <a:gd name="connsiteY3" fmla="*/ 286 h 4095"/>
                  <a:gd name="connsiteX4" fmla="*/ 1143 w 3619"/>
                  <a:gd name="connsiteY4" fmla="*/ 1333 h 4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 h="4095">
                    <a:moveTo>
                      <a:pt x="1143" y="1333"/>
                    </a:moveTo>
                    <a:lnTo>
                      <a:pt x="3620" y="4096"/>
                    </a:lnTo>
                    <a:lnTo>
                      <a:pt x="0" y="0"/>
                    </a:lnTo>
                    <a:lnTo>
                      <a:pt x="286" y="286"/>
                    </a:lnTo>
                    <a:lnTo>
                      <a:pt x="1143" y="133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98" name="Freeform: Shape 197">
                <a:extLst>
                  <a:ext uri="{FF2B5EF4-FFF2-40B4-BE49-F238E27FC236}">
                    <a16:creationId xmlns:a16="http://schemas.microsoft.com/office/drawing/2014/main" id="{A918A9AA-D3A8-42EA-9EF9-676FC0745075}"/>
                  </a:ext>
                </a:extLst>
              </p:cNvPr>
              <p:cNvSpPr/>
              <p:nvPr/>
            </p:nvSpPr>
            <p:spPr>
              <a:xfrm>
                <a:off x="12904837" y="5081412"/>
                <a:ext cx="25431" cy="29813"/>
              </a:xfrm>
              <a:custGeom>
                <a:avLst/>
                <a:gdLst>
                  <a:gd name="connsiteX0" fmla="*/ 20860 w 25431"/>
                  <a:gd name="connsiteY0" fmla="*/ 24575 h 29813"/>
                  <a:gd name="connsiteX1" fmla="*/ 24479 w 25431"/>
                  <a:gd name="connsiteY1" fmla="*/ 28670 h 29813"/>
                  <a:gd name="connsiteX2" fmla="*/ 25432 w 25431"/>
                  <a:gd name="connsiteY2" fmla="*/ 29813 h 29813"/>
                  <a:gd name="connsiteX3" fmla="*/ 25146 w 25431"/>
                  <a:gd name="connsiteY3" fmla="*/ 29432 h 29813"/>
                  <a:gd name="connsiteX4" fmla="*/ 0 w 25431"/>
                  <a:gd name="connsiteY4" fmla="*/ 0 h 29813"/>
                  <a:gd name="connsiteX5" fmla="*/ 9716 w 25431"/>
                  <a:gd name="connsiteY5" fmla="*/ 11621 h 29813"/>
                  <a:gd name="connsiteX6" fmla="*/ 20860 w 25431"/>
                  <a:gd name="connsiteY6" fmla="*/ 24575 h 2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1" h="29813">
                    <a:moveTo>
                      <a:pt x="20860" y="24575"/>
                    </a:moveTo>
                    <a:lnTo>
                      <a:pt x="24479" y="28670"/>
                    </a:lnTo>
                    <a:lnTo>
                      <a:pt x="25432" y="29813"/>
                    </a:lnTo>
                    <a:lnTo>
                      <a:pt x="25146" y="29432"/>
                    </a:lnTo>
                    <a:lnTo>
                      <a:pt x="0" y="0"/>
                    </a:lnTo>
                    <a:lnTo>
                      <a:pt x="9716" y="11621"/>
                    </a:lnTo>
                    <a:lnTo>
                      <a:pt x="20860" y="2457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199" name="Freeform: Shape 198">
                <a:extLst>
                  <a:ext uri="{FF2B5EF4-FFF2-40B4-BE49-F238E27FC236}">
                    <a16:creationId xmlns:a16="http://schemas.microsoft.com/office/drawing/2014/main" id="{486B01E2-916E-4595-A001-0F76F4D0FCC5}"/>
                  </a:ext>
                </a:extLst>
              </p:cNvPr>
              <p:cNvSpPr/>
              <p:nvPr/>
            </p:nvSpPr>
            <p:spPr>
              <a:xfrm>
                <a:off x="12929601" y="5110464"/>
                <a:ext cx="2762" cy="3048"/>
              </a:xfrm>
              <a:custGeom>
                <a:avLst/>
                <a:gdLst>
                  <a:gd name="connsiteX0" fmla="*/ 0 w 2762"/>
                  <a:gd name="connsiteY0" fmla="*/ 0 h 3048"/>
                  <a:gd name="connsiteX1" fmla="*/ 857 w 2762"/>
                  <a:gd name="connsiteY1" fmla="*/ 953 h 3048"/>
                  <a:gd name="connsiteX2" fmla="*/ 953 w 2762"/>
                  <a:gd name="connsiteY2" fmla="*/ 1048 h 3048"/>
                  <a:gd name="connsiteX3" fmla="*/ 1048 w 2762"/>
                  <a:gd name="connsiteY3" fmla="*/ 1143 h 3048"/>
                  <a:gd name="connsiteX4" fmla="*/ 2762 w 2762"/>
                  <a:gd name="connsiteY4" fmla="*/ 3048 h 3048"/>
                  <a:gd name="connsiteX5" fmla="*/ 1524 w 2762"/>
                  <a:gd name="connsiteY5" fmla="*/ 1619 h 3048"/>
                  <a:gd name="connsiteX6" fmla="*/ 1143 w 2762"/>
                  <a:gd name="connsiteY6" fmla="*/ 1238 h 3048"/>
                  <a:gd name="connsiteX7" fmla="*/ 1238 w 2762"/>
                  <a:gd name="connsiteY7" fmla="*/ 1333 h 3048"/>
                  <a:gd name="connsiteX8" fmla="*/ 667 w 2762"/>
                  <a:gd name="connsiteY8" fmla="*/ 762 h 3048"/>
                  <a:gd name="connsiteX9" fmla="*/ 857 w 2762"/>
                  <a:gd name="connsiteY9" fmla="*/ 857 h 3048"/>
                  <a:gd name="connsiteX10" fmla="*/ 0 w 2762"/>
                  <a:gd name="connsiteY10" fmla="*/ 0 h 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2" h="3048">
                    <a:moveTo>
                      <a:pt x="0" y="0"/>
                    </a:moveTo>
                    <a:lnTo>
                      <a:pt x="857" y="953"/>
                    </a:lnTo>
                    <a:lnTo>
                      <a:pt x="953" y="1048"/>
                    </a:lnTo>
                    <a:lnTo>
                      <a:pt x="1048" y="1143"/>
                    </a:lnTo>
                    <a:lnTo>
                      <a:pt x="2762" y="3048"/>
                    </a:lnTo>
                    <a:lnTo>
                      <a:pt x="1524" y="1619"/>
                    </a:lnTo>
                    <a:lnTo>
                      <a:pt x="1143" y="1238"/>
                    </a:lnTo>
                    <a:lnTo>
                      <a:pt x="1238" y="1333"/>
                    </a:lnTo>
                    <a:lnTo>
                      <a:pt x="667" y="762"/>
                    </a:lnTo>
                    <a:lnTo>
                      <a:pt x="857" y="857"/>
                    </a:lnTo>
                    <a:lnTo>
                      <a:pt x="0"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00" name="Freeform: Shape 199">
                <a:extLst>
                  <a:ext uri="{FF2B5EF4-FFF2-40B4-BE49-F238E27FC236}">
                    <a16:creationId xmlns:a16="http://schemas.microsoft.com/office/drawing/2014/main" id="{5831B12A-EA52-48AB-BFDD-8DC2CCBF2450}"/>
                  </a:ext>
                </a:extLst>
              </p:cNvPr>
              <p:cNvSpPr/>
              <p:nvPr/>
            </p:nvSpPr>
            <p:spPr>
              <a:xfrm>
                <a:off x="12897883" y="5073126"/>
                <a:ext cx="6953" cy="8286"/>
              </a:xfrm>
              <a:custGeom>
                <a:avLst/>
                <a:gdLst>
                  <a:gd name="connsiteX0" fmla="*/ 6953 w 6953"/>
                  <a:gd name="connsiteY0" fmla="*/ 8287 h 8286"/>
                  <a:gd name="connsiteX1" fmla="*/ 0 w 6953"/>
                  <a:gd name="connsiteY1" fmla="*/ 0 h 8286"/>
                  <a:gd name="connsiteX2" fmla="*/ 4096 w 6953"/>
                  <a:gd name="connsiteY2" fmla="*/ 4953 h 8286"/>
                  <a:gd name="connsiteX3" fmla="*/ 6953 w 6953"/>
                  <a:gd name="connsiteY3" fmla="*/ 8287 h 8286"/>
                </a:gdLst>
                <a:ahLst/>
                <a:cxnLst>
                  <a:cxn ang="0">
                    <a:pos x="connsiteX0" y="connsiteY0"/>
                  </a:cxn>
                  <a:cxn ang="0">
                    <a:pos x="connsiteX1" y="connsiteY1"/>
                  </a:cxn>
                  <a:cxn ang="0">
                    <a:pos x="connsiteX2" y="connsiteY2"/>
                  </a:cxn>
                  <a:cxn ang="0">
                    <a:pos x="connsiteX3" y="connsiteY3"/>
                  </a:cxn>
                </a:cxnLst>
                <a:rect l="l" t="t" r="r" b="b"/>
                <a:pathLst>
                  <a:path w="6953" h="8286">
                    <a:moveTo>
                      <a:pt x="6953" y="8287"/>
                    </a:moveTo>
                    <a:lnTo>
                      <a:pt x="0" y="0"/>
                    </a:lnTo>
                    <a:lnTo>
                      <a:pt x="4096" y="4953"/>
                    </a:lnTo>
                    <a:lnTo>
                      <a:pt x="6953" y="828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01" name="Freeform: Shape 200">
                <a:extLst>
                  <a:ext uri="{FF2B5EF4-FFF2-40B4-BE49-F238E27FC236}">
                    <a16:creationId xmlns:a16="http://schemas.microsoft.com/office/drawing/2014/main" id="{CC18B522-EF3F-4155-8788-24317B514578}"/>
                  </a:ext>
                </a:extLst>
              </p:cNvPr>
              <p:cNvSpPr/>
              <p:nvPr/>
            </p:nvSpPr>
            <p:spPr>
              <a:xfrm>
                <a:off x="12934459" y="5115893"/>
                <a:ext cx="9905" cy="10953"/>
              </a:xfrm>
              <a:custGeom>
                <a:avLst/>
                <a:gdLst>
                  <a:gd name="connsiteX0" fmla="*/ 9906 w 9905"/>
                  <a:gd name="connsiteY0" fmla="*/ 10954 h 10953"/>
                  <a:gd name="connsiteX1" fmla="*/ 0 w 9905"/>
                  <a:gd name="connsiteY1" fmla="*/ 0 h 10953"/>
                  <a:gd name="connsiteX2" fmla="*/ 8477 w 9905"/>
                  <a:gd name="connsiteY2" fmla="*/ 9430 h 10953"/>
                  <a:gd name="connsiteX3" fmla="*/ 9906 w 9905"/>
                  <a:gd name="connsiteY3" fmla="*/ 10954 h 10953"/>
                </a:gdLst>
                <a:ahLst/>
                <a:cxnLst>
                  <a:cxn ang="0">
                    <a:pos x="connsiteX0" y="connsiteY0"/>
                  </a:cxn>
                  <a:cxn ang="0">
                    <a:pos x="connsiteX1" y="connsiteY1"/>
                  </a:cxn>
                  <a:cxn ang="0">
                    <a:pos x="connsiteX2" y="connsiteY2"/>
                  </a:cxn>
                  <a:cxn ang="0">
                    <a:pos x="connsiteX3" y="connsiteY3"/>
                  </a:cxn>
                </a:cxnLst>
                <a:rect l="l" t="t" r="r" b="b"/>
                <a:pathLst>
                  <a:path w="9905" h="10953">
                    <a:moveTo>
                      <a:pt x="9906" y="10954"/>
                    </a:moveTo>
                    <a:lnTo>
                      <a:pt x="0" y="0"/>
                    </a:lnTo>
                    <a:lnTo>
                      <a:pt x="8477" y="9430"/>
                    </a:lnTo>
                    <a:lnTo>
                      <a:pt x="9906" y="1095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02" name="Freeform: Shape 201">
                <a:extLst>
                  <a:ext uri="{FF2B5EF4-FFF2-40B4-BE49-F238E27FC236}">
                    <a16:creationId xmlns:a16="http://schemas.microsoft.com/office/drawing/2014/main" id="{66F335FC-B6EE-490F-A88C-B18DE4C7D165}"/>
                  </a:ext>
                </a:extLst>
              </p:cNvPr>
              <p:cNvSpPr/>
              <p:nvPr/>
            </p:nvSpPr>
            <p:spPr>
              <a:xfrm>
                <a:off x="12640804" y="4590780"/>
                <a:ext cx="571" cy="1904"/>
              </a:xfrm>
              <a:custGeom>
                <a:avLst/>
                <a:gdLst>
                  <a:gd name="connsiteX0" fmla="*/ 0 w 571"/>
                  <a:gd name="connsiteY0" fmla="*/ 0 h 1904"/>
                  <a:gd name="connsiteX1" fmla="*/ 571 w 571"/>
                  <a:gd name="connsiteY1" fmla="*/ 1905 h 1904"/>
                  <a:gd name="connsiteX2" fmla="*/ 286 w 571"/>
                  <a:gd name="connsiteY2" fmla="*/ 1048 h 1904"/>
                  <a:gd name="connsiteX3" fmla="*/ 0 w 571"/>
                  <a:gd name="connsiteY3" fmla="*/ 0 h 1904"/>
                </a:gdLst>
                <a:ahLst/>
                <a:cxnLst>
                  <a:cxn ang="0">
                    <a:pos x="connsiteX0" y="connsiteY0"/>
                  </a:cxn>
                  <a:cxn ang="0">
                    <a:pos x="connsiteX1" y="connsiteY1"/>
                  </a:cxn>
                  <a:cxn ang="0">
                    <a:pos x="connsiteX2" y="connsiteY2"/>
                  </a:cxn>
                  <a:cxn ang="0">
                    <a:pos x="connsiteX3" y="connsiteY3"/>
                  </a:cxn>
                </a:cxnLst>
                <a:rect l="l" t="t" r="r" b="b"/>
                <a:pathLst>
                  <a:path w="571" h="1904">
                    <a:moveTo>
                      <a:pt x="0" y="0"/>
                    </a:moveTo>
                    <a:lnTo>
                      <a:pt x="571" y="1905"/>
                    </a:lnTo>
                    <a:lnTo>
                      <a:pt x="286" y="1048"/>
                    </a:lnTo>
                    <a:lnTo>
                      <a:pt x="0"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03" name="Freeform: Shape 202">
                <a:extLst>
                  <a:ext uri="{FF2B5EF4-FFF2-40B4-BE49-F238E27FC236}">
                    <a16:creationId xmlns:a16="http://schemas.microsoft.com/office/drawing/2014/main" id="{109217BA-DBFB-43CD-B3D8-993B96D5A3F5}"/>
                  </a:ext>
                </a:extLst>
              </p:cNvPr>
              <p:cNvSpPr/>
              <p:nvPr/>
            </p:nvSpPr>
            <p:spPr>
              <a:xfrm>
                <a:off x="12641375" y="4592685"/>
                <a:ext cx="190" cy="571"/>
              </a:xfrm>
              <a:custGeom>
                <a:avLst/>
                <a:gdLst>
                  <a:gd name="connsiteX0" fmla="*/ 190 w 190"/>
                  <a:gd name="connsiteY0" fmla="*/ 571 h 571"/>
                  <a:gd name="connsiteX1" fmla="*/ 0 w 190"/>
                  <a:gd name="connsiteY1" fmla="*/ 191 h 571"/>
                  <a:gd name="connsiteX2" fmla="*/ 0 w 190"/>
                  <a:gd name="connsiteY2" fmla="*/ 0 h 571"/>
                  <a:gd name="connsiteX3" fmla="*/ 190 w 190"/>
                  <a:gd name="connsiteY3" fmla="*/ 571 h 571"/>
                </a:gdLst>
                <a:ahLst/>
                <a:cxnLst>
                  <a:cxn ang="0">
                    <a:pos x="connsiteX0" y="connsiteY0"/>
                  </a:cxn>
                  <a:cxn ang="0">
                    <a:pos x="connsiteX1" y="connsiteY1"/>
                  </a:cxn>
                  <a:cxn ang="0">
                    <a:pos x="connsiteX2" y="connsiteY2"/>
                  </a:cxn>
                  <a:cxn ang="0">
                    <a:pos x="connsiteX3" y="connsiteY3"/>
                  </a:cxn>
                </a:cxnLst>
                <a:rect l="l" t="t" r="r" b="b"/>
                <a:pathLst>
                  <a:path w="190" h="571">
                    <a:moveTo>
                      <a:pt x="190" y="571"/>
                    </a:moveTo>
                    <a:lnTo>
                      <a:pt x="0" y="191"/>
                    </a:lnTo>
                    <a:lnTo>
                      <a:pt x="0" y="0"/>
                    </a:lnTo>
                    <a:lnTo>
                      <a:pt x="190" y="57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04" name="Freeform: Shape 203">
                <a:extLst>
                  <a:ext uri="{FF2B5EF4-FFF2-40B4-BE49-F238E27FC236}">
                    <a16:creationId xmlns:a16="http://schemas.microsoft.com/office/drawing/2014/main" id="{C1BDF464-D167-4774-9899-376DFEEB2340}"/>
                  </a:ext>
                </a:extLst>
              </p:cNvPr>
              <p:cNvSpPr/>
              <p:nvPr/>
            </p:nvSpPr>
            <p:spPr>
              <a:xfrm>
                <a:off x="12964463" y="5148564"/>
                <a:ext cx="26289" cy="26955"/>
              </a:xfrm>
              <a:custGeom>
                <a:avLst/>
                <a:gdLst>
                  <a:gd name="connsiteX0" fmla="*/ 19812 w 26289"/>
                  <a:gd name="connsiteY0" fmla="*/ 20574 h 26955"/>
                  <a:gd name="connsiteX1" fmla="*/ 26289 w 26289"/>
                  <a:gd name="connsiteY1" fmla="*/ 26956 h 26955"/>
                  <a:gd name="connsiteX2" fmla="*/ 0 w 26289"/>
                  <a:gd name="connsiteY2" fmla="*/ 0 h 26955"/>
                  <a:gd name="connsiteX3" fmla="*/ 857 w 26289"/>
                  <a:gd name="connsiteY3" fmla="*/ 953 h 26955"/>
                  <a:gd name="connsiteX4" fmla="*/ 19812 w 26289"/>
                  <a:gd name="connsiteY4" fmla="*/ 20574 h 2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9" h="26955">
                    <a:moveTo>
                      <a:pt x="19812" y="20574"/>
                    </a:moveTo>
                    <a:lnTo>
                      <a:pt x="26289" y="26956"/>
                    </a:lnTo>
                    <a:lnTo>
                      <a:pt x="0" y="0"/>
                    </a:lnTo>
                    <a:lnTo>
                      <a:pt x="857" y="953"/>
                    </a:lnTo>
                    <a:lnTo>
                      <a:pt x="19812" y="2057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14" name="Freeform: Shape 213">
                <a:extLst>
                  <a:ext uri="{FF2B5EF4-FFF2-40B4-BE49-F238E27FC236}">
                    <a16:creationId xmlns:a16="http://schemas.microsoft.com/office/drawing/2014/main" id="{F56EB893-CC23-4F49-8433-430E7DE94FE9}"/>
                  </a:ext>
                </a:extLst>
              </p:cNvPr>
              <p:cNvSpPr/>
              <p:nvPr/>
            </p:nvSpPr>
            <p:spPr>
              <a:xfrm>
                <a:off x="12994657" y="5179425"/>
                <a:ext cx="2571" cy="2571"/>
              </a:xfrm>
              <a:custGeom>
                <a:avLst/>
                <a:gdLst>
                  <a:gd name="connsiteX0" fmla="*/ 2572 w 2571"/>
                  <a:gd name="connsiteY0" fmla="*/ 2572 h 2571"/>
                  <a:gd name="connsiteX1" fmla="*/ 0 w 2571"/>
                  <a:gd name="connsiteY1" fmla="*/ 0 h 2571"/>
                  <a:gd name="connsiteX2" fmla="*/ 1810 w 2571"/>
                  <a:gd name="connsiteY2" fmla="*/ 1810 h 2571"/>
                  <a:gd name="connsiteX3" fmla="*/ 2572 w 2571"/>
                  <a:gd name="connsiteY3" fmla="*/ 2572 h 2571"/>
                </a:gdLst>
                <a:ahLst/>
                <a:cxnLst>
                  <a:cxn ang="0">
                    <a:pos x="connsiteX0" y="connsiteY0"/>
                  </a:cxn>
                  <a:cxn ang="0">
                    <a:pos x="connsiteX1" y="connsiteY1"/>
                  </a:cxn>
                  <a:cxn ang="0">
                    <a:pos x="connsiteX2" y="connsiteY2"/>
                  </a:cxn>
                  <a:cxn ang="0">
                    <a:pos x="connsiteX3" y="connsiteY3"/>
                  </a:cxn>
                </a:cxnLst>
                <a:rect l="l" t="t" r="r" b="b"/>
                <a:pathLst>
                  <a:path w="2571" h="2571">
                    <a:moveTo>
                      <a:pt x="2572" y="2572"/>
                    </a:moveTo>
                    <a:lnTo>
                      <a:pt x="0" y="0"/>
                    </a:lnTo>
                    <a:lnTo>
                      <a:pt x="1810" y="1810"/>
                    </a:lnTo>
                    <a:lnTo>
                      <a:pt x="2572" y="257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15" name="Freeform: Shape 214">
                <a:extLst>
                  <a:ext uri="{FF2B5EF4-FFF2-40B4-BE49-F238E27FC236}">
                    <a16:creationId xmlns:a16="http://schemas.microsoft.com/office/drawing/2014/main" id="{0AD520B8-83FE-4EF1-8D61-AEFE28E22575}"/>
                  </a:ext>
                </a:extLst>
              </p:cNvPr>
              <p:cNvSpPr/>
              <p:nvPr/>
            </p:nvSpPr>
            <p:spPr>
              <a:xfrm>
                <a:off x="12997610" y="5182378"/>
                <a:ext cx="2857" cy="2762"/>
              </a:xfrm>
              <a:custGeom>
                <a:avLst/>
                <a:gdLst>
                  <a:gd name="connsiteX0" fmla="*/ 2858 w 2857"/>
                  <a:gd name="connsiteY0" fmla="*/ 2762 h 2762"/>
                  <a:gd name="connsiteX1" fmla="*/ 667 w 2857"/>
                  <a:gd name="connsiteY1" fmla="*/ 667 h 2762"/>
                  <a:gd name="connsiteX2" fmla="*/ 0 w 2857"/>
                  <a:gd name="connsiteY2" fmla="*/ 0 h 2762"/>
                  <a:gd name="connsiteX3" fmla="*/ 2858 w 2857"/>
                  <a:gd name="connsiteY3" fmla="*/ 2762 h 2762"/>
                </a:gdLst>
                <a:ahLst/>
                <a:cxnLst>
                  <a:cxn ang="0">
                    <a:pos x="connsiteX0" y="connsiteY0"/>
                  </a:cxn>
                  <a:cxn ang="0">
                    <a:pos x="connsiteX1" y="connsiteY1"/>
                  </a:cxn>
                  <a:cxn ang="0">
                    <a:pos x="connsiteX2" y="connsiteY2"/>
                  </a:cxn>
                  <a:cxn ang="0">
                    <a:pos x="connsiteX3" y="connsiteY3"/>
                  </a:cxn>
                </a:cxnLst>
                <a:rect l="l" t="t" r="r" b="b"/>
                <a:pathLst>
                  <a:path w="2857" h="2762">
                    <a:moveTo>
                      <a:pt x="2858" y="2762"/>
                    </a:moveTo>
                    <a:lnTo>
                      <a:pt x="667" y="667"/>
                    </a:lnTo>
                    <a:lnTo>
                      <a:pt x="0" y="0"/>
                    </a:lnTo>
                    <a:lnTo>
                      <a:pt x="2858" y="276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16" name="Freeform: Shape 215">
                <a:extLst>
                  <a:ext uri="{FF2B5EF4-FFF2-40B4-BE49-F238E27FC236}">
                    <a16:creationId xmlns:a16="http://schemas.microsoft.com/office/drawing/2014/main" id="{DFDB37C8-815C-409A-8AE9-368A8D853643}"/>
                  </a:ext>
                </a:extLst>
              </p:cNvPr>
              <p:cNvSpPr/>
              <p:nvPr/>
            </p:nvSpPr>
            <p:spPr>
              <a:xfrm>
                <a:off x="12997229" y="5181996"/>
                <a:ext cx="23431" cy="22479"/>
              </a:xfrm>
              <a:custGeom>
                <a:avLst/>
                <a:gdLst>
                  <a:gd name="connsiteX0" fmla="*/ 20764 w 23431"/>
                  <a:gd name="connsiteY0" fmla="*/ 20098 h 22479"/>
                  <a:gd name="connsiteX1" fmla="*/ 23431 w 23431"/>
                  <a:gd name="connsiteY1" fmla="*/ 22479 h 22479"/>
                  <a:gd name="connsiteX2" fmla="*/ 0 w 23431"/>
                  <a:gd name="connsiteY2" fmla="*/ 0 h 22479"/>
                  <a:gd name="connsiteX3" fmla="*/ 1048 w 23431"/>
                  <a:gd name="connsiteY3" fmla="*/ 1048 h 22479"/>
                  <a:gd name="connsiteX4" fmla="*/ 20764 w 23431"/>
                  <a:gd name="connsiteY4" fmla="*/ 20098 h 22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31" h="22479">
                    <a:moveTo>
                      <a:pt x="20764" y="20098"/>
                    </a:moveTo>
                    <a:lnTo>
                      <a:pt x="23431" y="22479"/>
                    </a:lnTo>
                    <a:lnTo>
                      <a:pt x="0" y="0"/>
                    </a:lnTo>
                    <a:lnTo>
                      <a:pt x="1048" y="1048"/>
                    </a:lnTo>
                    <a:lnTo>
                      <a:pt x="20764" y="2009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17" name="Freeform: Shape 216">
                <a:extLst>
                  <a:ext uri="{FF2B5EF4-FFF2-40B4-BE49-F238E27FC236}">
                    <a16:creationId xmlns:a16="http://schemas.microsoft.com/office/drawing/2014/main" id="{6D41E976-3F7C-4662-9ECF-8011D2A4B971}"/>
                  </a:ext>
                </a:extLst>
              </p:cNvPr>
              <p:cNvSpPr/>
              <p:nvPr/>
            </p:nvSpPr>
            <p:spPr>
              <a:xfrm>
                <a:off x="12990752" y="5175520"/>
                <a:ext cx="3905" cy="3905"/>
              </a:xfrm>
              <a:custGeom>
                <a:avLst/>
                <a:gdLst>
                  <a:gd name="connsiteX0" fmla="*/ 3905 w 3905"/>
                  <a:gd name="connsiteY0" fmla="*/ 3905 h 3905"/>
                  <a:gd name="connsiteX1" fmla="*/ 0 w 3905"/>
                  <a:gd name="connsiteY1" fmla="*/ 0 h 3905"/>
                  <a:gd name="connsiteX2" fmla="*/ 1238 w 3905"/>
                  <a:gd name="connsiteY2" fmla="*/ 1333 h 3905"/>
                  <a:gd name="connsiteX3" fmla="*/ 3905 w 3905"/>
                  <a:gd name="connsiteY3" fmla="*/ 3905 h 3905"/>
                </a:gdLst>
                <a:ahLst/>
                <a:cxnLst>
                  <a:cxn ang="0">
                    <a:pos x="connsiteX0" y="connsiteY0"/>
                  </a:cxn>
                  <a:cxn ang="0">
                    <a:pos x="connsiteX1" y="connsiteY1"/>
                  </a:cxn>
                  <a:cxn ang="0">
                    <a:pos x="connsiteX2" y="connsiteY2"/>
                  </a:cxn>
                  <a:cxn ang="0">
                    <a:pos x="connsiteX3" y="connsiteY3"/>
                  </a:cxn>
                </a:cxnLst>
                <a:rect l="l" t="t" r="r" b="b"/>
                <a:pathLst>
                  <a:path w="3905" h="3905">
                    <a:moveTo>
                      <a:pt x="3905" y="3905"/>
                    </a:moveTo>
                    <a:lnTo>
                      <a:pt x="0" y="0"/>
                    </a:lnTo>
                    <a:lnTo>
                      <a:pt x="1238" y="1333"/>
                    </a:lnTo>
                    <a:lnTo>
                      <a:pt x="3905" y="390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18" name="Freeform: Shape 217">
                <a:extLst>
                  <a:ext uri="{FF2B5EF4-FFF2-40B4-BE49-F238E27FC236}">
                    <a16:creationId xmlns:a16="http://schemas.microsoft.com/office/drawing/2014/main" id="{64687703-4101-424C-BF65-E424EBB10351}"/>
                  </a:ext>
                </a:extLst>
              </p:cNvPr>
              <p:cNvSpPr/>
              <p:nvPr/>
            </p:nvSpPr>
            <p:spPr>
              <a:xfrm>
                <a:off x="12956367" y="5139801"/>
                <a:ext cx="8096" cy="8762"/>
              </a:xfrm>
              <a:custGeom>
                <a:avLst/>
                <a:gdLst>
                  <a:gd name="connsiteX0" fmla="*/ 8096 w 8096"/>
                  <a:gd name="connsiteY0" fmla="*/ 8763 h 8762"/>
                  <a:gd name="connsiteX1" fmla="*/ 0 w 8096"/>
                  <a:gd name="connsiteY1" fmla="*/ 0 h 8762"/>
                  <a:gd name="connsiteX2" fmla="*/ 7334 w 8096"/>
                  <a:gd name="connsiteY2" fmla="*/ 8001 h 8762"/>
                  <a:gd name="connsiteX3" fmla="*/ 8096 w 8096"/>
                  <a:gd name="connsiteY3" fmla="*/ 8763 h 8762"/>
                </a:gdLst>
                <a:ahLst/>
                <a:cxnLst>
                  <a:cxn ang="0">
                    <a:pos x="connsiteX0" y="connsiteY0"/>
                  </a:cxn>
                  <a:cxn ang="0">
                    <a:pos x="connsiteX1" y="connsiteY1"/>
                  </a:cxn>
                  <a:cxn ang="0">
                    <a:pos x="connsiteX2" y="connsiteY2"/>
                  </a:cxn>
                  <a:cxn ang="0">
                    <a:pos x="connsiteX3" y="connsiteY3"/>
                  </a:cxn>
                </a:cxnLst>
                <a:rect l="l" t="t" r="r" b="b"/>
                <a:pathLst>
                  <a:path w="8096" h="8762">
                    <a:moveTo>
                      <a:pt x="8096" y="8763"/>
                    </a:moveTo>
                    <a:lnTo>
                      <a:pt x="0" y="0"/>
                    </a:lnTo>
                    <a:lnTo>
                      <a:pt x="7334" y="8001"/>
                    </a:lnTo>
                    <a:lnTo>
                      <a:pt x="8096" y="876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19" name="Freeform: Shape 218">
                <a:extLst>
                  <a:ext uri="{FF2B5EF4-FFF2-40B4-BE49-F238E27FC236}">
                    <a16:creationId xmlns:a16="http://schemas.microsoft.com/office/drawing/2014/main" id="{45DBABB5-EB53-4BA9-82CC-571622C09D9A}"/>
                  </a:ext>
                </a:extLst>
              </p:cNvPr>
              <p:cNvSpPr/>
              <p:nvPr/>
            </p:nvSpPr>
            <p:spPr>
              <a:xfrm>
                <a:off x="12944365" y="5126847"/>
                <a:ext cx="12001" cy="12954"/>
              </a:xfrm>
              <a:custGeom>
                <a:avLst/>
                <a:gdLst>
                  <a:gd name="connsiteX0" fmla="*/ 12002 w 12001"/>
                  <a:gd name="connsiteY0" fmla="*/ 12954 h 12954"/>
                  <a:gd name="connsiteX1" fmla="*/ 0 w 12001"/>
                  <a:gd name="connsiteY1" fmla="*/ 0 h 12954"/>
                  <a:gd name="connsiteX2" fmla="*/ 1429 w 12001"/>
                  <a:gd name="connsiteY2" fmla="*/ 1619 h 12954"/>
                  <a:gd name="connsiteX3" fmla="*/ 12002 w 12001"/>
                  <a:gd name="connsiteY3" fmla="*/ 12954 h 12954"/>
                </a:gdLst>
                <a:ahLst/>
                <a:cxnLst>
                  <a:cxn ang="0">
                    <a:pos x="connsiteX0" y="connsiteY0"/>
                  </a:cxn>
                  <a:cxn ang="0">
                    <a:pos x="connsiteX1" y="connsiteY1"/>
                  </a:cxn>
                  <a:cxn ang="0">
                    <a:pos x="connsiteX2" y="connsiteY2"/>
                  </a:cxn>
                  <a:cxn ang="0">
                    <a:pos x="connsiteX3" y="connsiteY3"/>
                  </a:cxn>
                </a:cxnLst>
                <a:rect l="l" t="t" r="r" b="b"/>
                <a:pathLst>
                  <a:path w="12001" h="12954">
                    <a:moveTo>
                      <a:pt x="12002" y="12954"/>
                    </a:moveTo>
                    <a:lnTo>
                      <a:pt x="0" y="0"/>
                    </a:lnTo>
                    <a:lnTo>
                      <a:pt x="1429" y="1619"/>
                    </a:lnTo>
                    <a:lnTo>
                      <a:pt x="12002" y="1295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20" name="Freeform: Shape 219">
                <a:extLst>
                  <a:ext uri="{FF2B5EF4-FFF2-40B4-BE49-F238E27FC236}">
                    <a16:creationId xmlns:a16="http://schemas.microsoft.com/office/drawing/2014/main" id="{A27C4A8D-D206-4C81-9293-14CD3A87AC34}"/>
                  </a:ext>
                </a:extLst>
              </p:cNvPr>
              <p:cNvSpPr/>
              <p:nvPr/>
            </p:nvSpPr>
            <p:spPr>
              <a:xfrm>
                <a:off x="12765105" y="4880245"/>
                <a:ext cx="285" cy="476"/>
              </a:xfrm>
              <a:custGeom>
                <a:avLst/>
                <a:gdLst>
                  <a:gd name="connsiteX0" fmla="*/ 0 w 285"/>
                  <a:gd name="connsiteY0" fmla="*/ 0 h 476"/>
                  <a:gd name="connsiteX1" fmla="*/ 286 w 285"/>
                  <a:gd name="connsiteY1" fmla="*/ 476 h 476"/>
                  <a:gd name="connsiteX2" fmla="*/ 190 w 285"/>
                  <a:gd name="connsiteY2" fmla="*/ 191 h 476"/>
                  <a:gd name="connsiteX3" fmla="*/ 95 w 285"/>
                  <a:gd name="connsiteY3" fmla="*/ 95 h 476"/>
                  <a:gd name="connsiteX4" fmla="*/ 0 w 285"/>
                  <a:gd name="connsiteY4" fmla="*/ 0 h 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76">
                    <a:moveTo>
                      <a:pt x="0" y="0"/>
                    </a:moveTo>
                    <a:lnTo>
                      <a:pt x="286" y="476"/>
                    </a:lnTo>
                    <a:lnTo>
                      <a:pt x="190" y="191"/>
                    </a:lnTo>
                    <a:lnTo>
                      <a:pt x="95" y="95"/>
                    </a:lnTo>
                    <a:lnTo>
                      <a:pt x="0"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21" name="Freeform: Shape 220">
                <a:extLst>
                  <a:ext uri="{FF2B5EF4-FFF2-40B4-BE49-F238E27FC236}">
                    <a16:creationId xmlns:a16="http://schemas.microsoft.com/office/drawing/2014/main" id="{F5D9F208-919D-4BD2-AF23-26D7DCA80367}"/>
                  </a:ext>
                </a:extLst>
              </p:cNvPr>
              <p:cNvSpPr/>
              <p:nvPr/>
            </p:nvSpPr>
            <p:spPr>
              <a:xfrm>
                <a:off x="12761962" y="4874625"/>
                <a:ext cx="3143" cy="5619"/>
              </a:xfrm>
              <a:custGeom>
                <a:avLst/>
                <a:gdLst>
                  <a:gd name="connsiteX0" fmla="*/ 381 w 3143"/>
                  <a:gd name="connsiteY0" fmla="*/ 667 h 5619"/>
                  <a:gd name="connsiteX1" fmla="*/ 952 w 3143"/>
                  <a:gd name="connsiteY1" fmla="*/ 1619 h 5619"/>
                  <a:gd name="connsiteX2" fmla="*/ 3143 w 3143"/>
                  <a:gd name="connsiteY2" fmla="*/ 5620 h 5619"/>
                  <a:gd name="connsiteX3" fmla="*/ 0 w 3143"/>
                  <a:gd name="connsiteY3" fmla="*/ 0 h 5619"/>
                  <a:gd name="connsiteX4" fmla="*/ 381 w 3143"/>
                  <a:gd name="connsiteY4" fmla="*/ 667 h 5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3" h="5619">
                    <a:moveTo>
                      <a:pt x="381" y="667"/>
                    </a:moveTo>
                    <a:lnTo>
                      <a:pt x="952" y="1619"/>
                    </a:lnTo>
                    <a:lnTo>
                      <a:pt x="3143" y="5620"/>
                    </a:lnTo>
                    <a:lnTo>
                      <a:pt x="0" y="0"/>
                    </a:lnTo>
                    <a:lnTo>
                      <a:pt x="381" y="66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22" name="Freeform: Shape 221">
                <a:extLst>
                  <a:ext uri="{FF2B5EF4-FFF2-40B4-BE49-F238E27FC236}">
                    <a16:creationId xmlns:a16="http://schemas.microsoft.com/office/drawing/2014/main" id="{FB046CB2-40E3-4C26-A962-7C596C6F2BC8}"/>
                  </a:ext>
                </a:extLst>
              </p:cNvPr>
              <p:cNvSpPr/>
              <p:nvPr/>
            </p:nvSpPr>
            <p:spPr>
              <a:xfrm>
                <a:off x="12761866" y="4874529"/>
                <a:ext cx="95" cy="95"/>
              </a:xfrm>
              <a:custGeom>
                <a:avLst/>
                <a:gdLst>
                  <a:gd name="connsiteX0" fmla="*/ 0 w 95"/>
                  <a:gd name="connsiteY0" fmla="*/ 0 h 95"/>
                  <a:gd name="connsiteX1" fmla="*/ 95 w 95"/>
                  <a:gd name="connsiteY1" fmla="*/ 95 h 95"/>
                  <a:gd name="connsiteX2" fmla="*/ 95 w 95"/>
                  <a:gd name="connsiteY2" fmla="*/ 95 h 95"/>
                  <a:gd name="connsiteX3" fmla="*/ 0 w 95"/>
                  <a:gd name="connsiteY3" fmla="*/ 0 h 95"/>
                </a:gdLst>
                <a:ahLst/>
                <a:cxnLst>
                  <a:cxn ang="0">
                    <a:pos x="connsiteX0" y="connsiteY0"/>
                  </a:cxn>
                  <a:cxn ang="0">
                    <a:pos x="connsiteX1" y="connsiteY1"/>
                  </a:cxn>
                  <a:cxn ang="0">
                    <a:pos x="connsiteX2" y="connsiteY2"/>
                  </a:cxn>
                  <a:cxn ang="0">
                    <a:pos x="connsiteX3" y="connsiteY3"/>
                  </a:cxn>
                </a:cxnLst>
                <a:rect l="l" t="t" r="r" b="b"/>
                <a:pathLst>
                  <a:path w="95" h="95">
                    <a:moveTo>
                      <a:pt x="0" y="0"/>
                    </a:moveTo>
                    <a:lnTo>
                      <a:pt x="95" y="95"/>
                    </a:lnTo>
                    <a:lnTo>
                      <a:pt x="95" y="95"/>
                    </a:lnTo>
                    <a:lnTo>
                      <a:pt x="0"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23" name="Freeform: Shape 222">
                <a:extLst>
                  <a:ext uri="{FF2B5EF4-FFF2-40B4-BE49-F238E27FC236}">
                    <a16:creationId xmlns:a16="http://schemas.microsoft.com/office/drawing/2014/main" id="{03971B7D-5583-4631-908A-932140C7015D}"/>
                  </a:ext>
                </a:extLst>
              </p:cNvPr>
              <p:cNvSpPr/>
              <p:nvPr/>
            </p:nvSpPr>
            <p:spPr>
              <a:xfrm>
                <a:off x="12604894" y="3403870"/>
                <a:ext cx="1254442" cy="1682115"/>
              </a:xfrm>
              <a:custGeom>
                <a:avLst/>
                <a:gdLst>
                  <a:gd name="connsiteX0" fmla="*/ 748379 w 1254442"/>
                  <a:gd name="connsiteY0" fmla="*/ 975932 h 1682115"/>
                  <a:gd name="connsiteX1" fmla="*/ 752380 w 1254442"/>
                  <a:gd name="connsiteY1" fmla="*/ 963739 h 1682115"/>
                  <a:gd name="connsiteX2" fmla="*/ 744379 w 1254442"/>
                  <a:gd name="connsiteY2" fmla="*/ 956215 h 1682115"/>
                  <a:gd name="connsiteX3" fmla="*/ 743426 w 1254442"/>
                  <a:gd name="connsiteY3" fmla="*/ 944404 h 1682115"/>
                  <a:gd name="connsiteX4" fmla="*/ 744665 w 1254442"/>
                  <a:gd name="connsiteY4" fmla="*/ 924211 h 1682115"/>
                  <a:gd name="connsiteX5" fmla="*/ 738092 w 1254442"/>
                  <a:gd name="connsiteY5" fmla="*/ 917543 h 1682115"/>
                  <a:gd name="connsiteX6" fmla="*/ 706184 w 1254442"/>
                  <a:gd name="connsiteY6" fmla="*/ 928307 h 1682115"/>
                  <a:gd name="connsiteX7" fmla="*/ 688562 w 1254442"/>
                  <a:gd name="connsiteY7" fmla="*/ 937546 h 1682115"/>
                  <a:gd name="connsiteX8" fmla="*/ 663988 w 1254442"/>
                  <a:gd name="connsiteY8" fmla="*/ 927830 h 1682115"/>
                  <a:gd name="connsiteX9" fmla="*/ 651986 w 1254442"/>
                  <a:gd name="connsiteY9" fmla="*/ 946213 h 1682115"/>
                  <a:gd name="connsiteX10" fmla="*/ 636937 w 1254442"/>
                  <a:gd name="connsiteY10" fmla="*/ 958787 h 1682115"/>
                  <a:gd name="connsiteX11" fmla="*/ 623888 w 1254442"/>
                  <a:gd name="connsiteY11" fmla="*/ 962978 h 1682115"/>
                  <a:gd name="connsiteX12" fmla="*/ 608457 w 1254442"/>
                  <a:gd name="connsiteY12" fmla="*/ 958882 h 1682115"/>
                  <a:gd name="connsiteX13" fmla="*/ 591407 w 1254442"/>
                  <a:gd name="connsiteY13" fmla="*/ 946595 h 1682115"/>
                  <a:gd name="connsiteX14" fmla="*/ 577977 w 1254442"/>
                  <a:gd name="connsiteY14" fmla="*/ 926306 h 1682115"/>
                  <a:gd name="connsiteX15" fmla="*/ 569595 w 1254442"/>
                  <a:gd name="connsiteY15" fmla="*/ 938022 h 1682115"/>
                  <a:gd name="connsiteX16" fmla="*/ 540734 w 1254442"/>
                  <a:gd name="connsiteY16" fmla="*/ 951452 h 1682115"/>
                  <a:gd name="connsiteX17" fmla="*/ 519779 w 1254442"/>
                  <a:gd name="connsiteY17" fmla="*/ 947357 h 1682115"/>
                  <a:gd name="connsiteX18" fmla="*/ 511588 w 1254442"/>
                  <a:gd name="connsiteY18" fmla="*/ 936974 h 1682115"/>
                  <a:gd name="connsiteX19" fmla="*/ 525875 w 1254442"/>
                  <a:gd name="connsiteY19" fmla="*/ 911828 h 1682115"/>
                  <a:gd name="connsiteX20" fmla="*/ 545783 w 1254442"/>
                  <a:gd name="connsiteY20" fmla="*/ 898112 h 1682115"/>
                  <a:gd name="connsiteX21" fmla="*/ 564737 w 1254442"/>
                  <a:gd name="connsiteY21" fmla="*/ 891064 h 1682115"/>
                  <a:gd name="connsiteX22" fmla="*/ 582168 w 1254442"/>
                  <a:gd name="connsiteY22" fmla="*/ 891064 h 1682115"/>
                  <a:gd name="connsiteX23" fmla="*/ 582168 w 1254442"/>
                  <a:gd name="connsiteY23" fmla="*/ 875824 h 1682115"/>
                  <a:gd name="connsiteX24" fmla="*/ 581025 w 1254442"/>
                  <a:gd name="connsiteY24" fmla="*/ 852868 h 1682115"/>
                  <a:gd name="connsiteX25" fmla="*/ 588359 w 1254442"/>
                  <a:gd name="connsiteY25" fmla="*/ 837629 h 1682115"/>
                  <a:gd name="connsiteX26" fmla="*/ 592931 w 1254442"/>
                  <a:gd name="connsiteY26" fmla="*/ 820198 h 1682115"/>
                  <a:gd name="connsiteX27" fmla="*/ 602075 w 1254442"/>
                  <a:gd name="connsiteY27" fmla="*/ 810101 h 1682115"/>
                  <a:gd name="connsiteX28" fmla="*/ 609505 w 1254442"/>
                  <a:gd name="connsiteY28" fmla="*/ 796480 h 1682115"/>
                  <a:gd name="connsiteX29" fmla="*/ 618363 w 1254442"/>
                  <a:gd name="connsiteY29" fmla="*/ 771906 h 1682115"/>
                  <a:gd name="connsiteX30" fmla="*/ 614839 w 1254442"/>
                  <a:gd name="connsiteY30" fmla="*/ 753332 h 1682115"/>
                  <a:gd name="connsiteX31" fmla="*/ 630650 w 1254442"/>
                  <a:gd name="connsiteY31" fmla="*/ 747903 h 1682115"/>
                  <a:gd name="connsiteX32" fmla="*/ 650367 w 1254442"/>
                  <a:gd name="connsiteY32" fmla="*/ 743141 h 1682115"/>
                  <a:gd name="connsiteX33" fmla="*/ 655130 w 1254442"/>
                  <a:gd name="connsiteY33" fmla="*/ 724948 h 1682115"/>
                  <a:gd name="connsiteX34" fmla="*/ 679418 w 1254442"/>
                  <a:gd name="connsiteY34" fmla="*/ 727615 h 1682115"/>
                  <a:gd name="connsiteX35" fmla="*/ 695706 w 1254442"/>
                  <a:gd name="connsiteY35" fmla="*/ 733520 h 1682115"/>
                  <a:gd name="connsiteX36" fmla="*/ 718947 w 1254442"/>
                  <a:gd name="connsiteY36" fmla="*/ 747713 h 1682115"/>
                  <a:gd name="connsiteX37" fmla="*/ 735806 w 1254442"/>
                  <a:gd name="connsiteY37" fmla="*/ 762286 h 1682115"/>
                  <a:gd name="connsiteX38" fmla="*/ 738188 w 1254442"/>
                  <a:gd name="connsiteY38" fmla="*/ 775240 h 1682115"/>
                  <a:gd name="connsiteX39" fmla="*/ 752285 w 1254442"/>
                  <a:gd name="connsiteY39" fmla="*/ 776097 h 1682115"/>
                  <a:gd name="connsiteX40" fmla="*/ 761429 w 1254442"/>
                  <a:gd name="connsiteY40" fmla="*/ 784670 h 1682115"/>
                  <a:gd name="connsiteX41" fmla="*/ 763048 w 1254442"/>
                  <a:gd name="connsiteY41" fmla="*/ 799909 h 1682115"/>
                  <a:gd name="connsiteX42" fmla="*/ 778383 w 1254442"/>
                  <a:gd name="connsiteY42" fmla="*/ 811530 h 1682115"/>
                  <a:gd name="connsiteX43" fmla="*/ 788194 w 1254442"/>
                  <a:gd name="connsiteY43" fmla="*/ 814102 h 1682115"/>
                  <a:gd name="connsiteX44" fmla="*/ 807434 w 1254442"/>
                  <a:gd name="connsiteY44" fmla="*/ 822674 h 1682115"/>
                  <a:gd name="connsiteX45" fmla="*/ 818864 w 1254442"/>
                  <a:gd name="connsiteY45" fmla="*/ 824770 h 1682115"/>
                  <a:gd name="connsiteX46" fmla="*/ 812959 w 1254442"/>
                  <a:gd name="connsiteY46" fmla="*/ 835343 h 1682115"/>
                  <a:gd name="connsiteX47" fmla="*/ 817817 w 1254442"/>
                  <a:gd name="connsiteY47" fmla="*/ 848487 h 1682115"/>
                  <a:gd name="connsiteX48" fmla="*/ 835819 w 1254442"/>
                  <a:gd name="connsiteY48" fmla="*/ 865060 h 1682115"/>
                  <a:gd name="connsiteX49" fmla="*/ 846773 w 1254442"/>
                  <a:gd name="connsiteY49" fmla="*/ 864584 h 1682115"/>
                  <a:gd name="connsiteX50" fmla="*/ 857822 w 1254442"/>
                  <a:gd name="connsiteY50" fmla="*/ 856393 h 1682115"/>
                  <a:gd name="connsiteX51" fmla="*/ 870776 w 1254442"/>
                  <a:gd name="connsiteY51" fmla="*/ 861251 h 1682115"/>
                  <a:gd name="connsiteX52" fmla="*/ 881825 w 1254442"/>
                  <a:gd name="connsiteY52" fmla="*/ 858964 h 1682115"/>
                  <a:gd name="connsiteX53" fmla="*/ 891445 w 1254442"/>
                  <a:gd name="connsiteY53" fmla="*/ 846010 h 1682115"/>
                  <a:gd name="connsiteX54" fmla="*/ 893350 w 1254442"/>
                  <a:gd name="connsiteY54" fmla="*/ 833247 h 1682115"/>
                  <a:gd name="connsiteX55" fmla="*/ 894017 w 1254442"/>
                  <a:gd name="connsiteY55" fmla="*/ 821246 h 1682115"/>
                  <a:gd name="connsiteX56" fmla="*/ 869061 w 1254442"/>
                  <a:gd name="connsiteY56" fmla="*/ 822770 h 1682115"/>
                  <a:gd name="connsiteX57" fmla="*/ 849059 w 1254442"/>
                  <a:gd name="connsiteY57" fmla="*/ 817626 h 1682115"/>
                  <a:gd name="connsiteX58" fmla="*/ 832295 w 1254442"/>
                  <a:gd name="connsiteY58" fmla="*/ 808863 h 1682115"/>
                  <a:gd name="connsiteX59" fmla="*/ 847154 w 1254442"/>
                  <a:gd name="connsiteY59" fmla="*/ 799338 h 1682115"/>
                  <a:gd name="connsiteX60" fmla="*/ 864013 w 1254442"/>
                  <a:gd name="connsiteY60" fmla="*/ 801529 h 1682115"/>
                  <a:gd name="connsiteX61" fmla="*/ 878395 w 1254442"/>
                  <a:gd name="connsiteY61" fmla="*/ 790670 h 1682115"/>
                  <a:gd name="connsiteX62" fmla="*/ 860584 w 1254442"/>
                  <a:gd name="connsiteY62" fmla="*/ 778955 h 1682115"/>
                  <a:gd name="connsiteX63" fmla="*/ 883825 w 1254442"/>
                  <a:gd name="connsiteY63" fmla="*/ 779240 h 1682115"/>
                  <a:gd name="connsiteX64" fmla="*/ 888873 w 1254442"/>
                  <a:gd name="connsiteY64" fmla="*/ 763619 h 1682115"/>
                  <a:gd name="connsiteX65" fmla="*/ 899827 w 1254442"/>
                  <a:gd name="connsiteY65" fmla="*/ 771430 h 1682115"/>
                  <a:gd name="connsiteX66" fmla="*/ 926211 w 1254442"/>
                  <a:gd name="connsiteY66" fmla="*/ 761524 h 1682115"/>
                  <a:gd name="connsiteX67" fmla="*/ 936879 w 1254442"/>
                  <a:gd name="connsiteY67" fmla="*/ 754380 h 1682115"/>
                  <a:gd name="connsiteX68" fmla="*/ 941356 w 1254442"/>
                  <a:gd name="connsiteY68" fmla="*/ 744664 h 1682115"/>
                  <a:gd name="connsiteX69" fmla="*/ 925544 w 1254442"/>
                  <a:gd name="connsiteY69" fmla="*/ 733901 h 1682115"/>
                  <a:gd name="connsiteX70" fmla="*/ 900398 w 1254442"/>
                  <a:gd name="connsiteY70" fmla="*/ 730377 h 1682115"/>
                  <a:gd name="connsiteX71" fmla="*/ 890207 w 1254442"/>
                  <a:gd name="connsiteY71" fmla="*/ 739140 h 1682115"/>
                  <a:gd name="connsiteX72" fmla="*/ 875443 w 1254442"/>
                  <a:gd name="connsiteY72" fmla="*/ 747141 h 1682115"/>
                  <a:gd name="connsiteX73" fmla="*/ 853059 w 1254442"/>
                  <a:gd name="connsiteY73" fmla="*/ 741331 h 1682115"/>
                  <a:gd name="connsiteX74" fmla="*/ 854297 w 1254442"/>
                  <a:gd name="connsiteY74" fmla="*/ 734092 h 1682115"/>
                  <a:gd name="connsiteX75" fmla="*/ 836962 w 1254442"/>
                  <a:gd name="connsiteY75" fmla="*/ 726376 h 1682115"/>
                  <a:gd name="connsiteX76" fmla="*/ 858203 w 1254442"/>
                  <a:gd name="connsiteY76" fmla="*/ 728758 h 1682115"/>
                  <a:gd name="connsiteX77" fmla="*/ 867537 w 1254442"/>
                  <a:gd name="connsiteY77" fmla="*/ 715899 h 1682115"/>
                  <a:gd name="connsiteX78" fmla="*/ 864775 w 1254442"/>
                  <a:gd name="connsiteY78" fmla="*/ 707517 h 1682115"/>
                  <a:gd name="connsiteX79" fmla="*/ 850678 w 1254442"/>
                  <a:gd name="connsiteY79" fmla="*/ 706469 h 1682115"/>
                  <a:gd name="connsiteX80" fmla="*/ 853345 w 1254442"/>
                  <a:gd name="connsiteY80" fmla="*/ 693325 h 1682115"/>
                  <a:gd name="connsiteX81" fmla="*/ 852488 w 1254442"/>
                  <a:gd name="connsiteY81" fmla="*/ 678561 h 1682115"/>
                  <a:gd name="connsiteX82" fmla="*/ 865918 w 1254442"/>
                  <a:gd name="connsiteY82" fmla="*/ 664940 h 1682115"/>
                  <a:gd name="connsiteX83" fmla="*/ 866585 w 1254442"/>
                  <a:gd name="connsiteY83" fmla="*/ 654653 h 1682115"/>
                  <a:gd name="connsiteX84" fmla="*/ 880777 w 1254442"/>
                  <a:gd name="connsiteY84" fmla="*/ 649034 h 1682115"/>
                  <a:gd name="connsiteX85" fmla="*/ 887920 w 1254442"/>
                  <a:gd name="connsiteY85" fmla="*/ 643604 h 1682115"/>
                  <a:gd name="connsiteX86" fmla="*/ 887730 w 1254442"/>
                  <a:gd name="connsiteY86" fmla="*/ 636175 h 1682115"/>
                  <a:gd name="connsiteX87" fmla="*/ 890016 w 1254442"/>
                  <a:gd name="connsiteY87" fmla="*/ 625602 h 1682115"/>
                  <a:gd name="connsiteX88" fmla="*/ 884492 w 1254442"/>
                  <a:gd name="connsiteY88" fmla="*/ 617696 h 1682115"/>
                  <a:gd name="connsiteX89" fmla="*/ 872490 w 1254442"/>
                  <a:gd name="connsiteY89" fmla="*/ 623507 h 1682115"/>
                  <a:gd name="connsiteX90" fmla="*/ 864870 w 1254442"/>
                  <a:gd name="connsiteY90" fmla="*/ 610362 h 1682115"/>
                  <a:gd name="connsiteX91" fmla="*/ 880872 w 1254442"/>
                  <a:gd name="connsiteY91" fmla="*/ 605600 h 1682115"/>
                  <a:gd name="connsiteX92" fmla="*/ 879920 w 1254442"/>
                  <a:gd name="connsiteY92" fmla="*/ 596932 h 1682115"/>
                  <a:gd name="connsiteX93" fmla="*/ 886873 w 1254442"/>
                  <a:gd name="connsiteY93" fmla="*/ 572834 h 1682115"/>
                  <a:gd name="connsiteX94" fmla="*/ 898112 w 1254442"/>
                  <a:gd name="connsiteY94" fmla="*/ 559689 h 1682115"/>
                  <a:gd name="connsiteX95" fmla="*/ 902970 w 1254442"/>
                  <a:gd name="connsiteY95" fmla="*/ 575977 h 1682115"/>
                  <a:gd name="connsiteX96" fmla="*/ 918401 w 1254442"/>
                  <a:gd name="connsiteY96" fmla="*/ 569881 h 1682115"/>
                  <a:gd name="connsiteX97" fmla="*/ 920782 w 1254442"/>
                  <a:gd name="connsiteY97" fmla="*/ 561499 h 1682115"/>
                  <a:gd name="connsiteX98" fmla="*/ 929640 w 1254442"/>
                  <a:gd name="connsiteY98" fmla="*/ 552450 h 1682115"/>
                  <a:gd name="connsiteX99" fmla="*/ 946690 w 1254442"/>
                  <a:gd name="connsiteY99" fmla="*/ 538734 h 1682115"/>
                  <a:gd name="connsiteX100" fmla="*/ 961549 w 1254442"/>
                  <a:gd name="connsiteY100" fmla="*/ 532448 h 1682115"/>
                  <a:gd name="connsiteX101" fmla="*/ 968026 w 1254442"/>
                  <a:gd name="connsiteY101" fmla="*/ 524542 h 1682115"/>
                  <a:gd name="connsiteX102" fmla="*/ 964120 w 1254442"/>
                  <a:gd name="connsiteY102" fmla="*/ 518255 h 1682115"/>
                  <a:gd name="connsiteX103" fmla="*/ 966788 w 1254442"/>
                  <a:gd name="connsiteY103" fmla="*/ 507492 h 1682115"/>
                  <a:gd name="connsiteX104" fmla="*/ 981742 w 1254442"/>
                  <a:gd name="connsiteY104" fmla="*/ 516350 h 1682115"/>
                  <a:gd name="connsiteX105" fmla="*/ 975455 w 1254442"/>
                  <a:gd name="connsiteY105" fmla="*/ 498253 h 1682115"/>
                  <a:gd name="connsiteX106" fmla="*/ 1000316 w 1254442"/>
                  <a:gd name="connsiteY106" fmla="*/ 499110 h 1682115"/>
                  <a:gd name="connsiteX107" fmla="*/ 1005745 w 1254442"/>
                  <a:gd name="connsiteY107" fmla="*/ 496157 h 1682115"/>
                  <a:gd name="connsiteX108" fmla="*/ 998411 w 1254442"/>
                  <a:gd name="connsiteY108" fmla="*/ 488061 h 1682115"/>
                  <a:gd name="connsiteX109" fmla="*/ 998125 w 1254442"/>
                  <a:gd name="connsiteY109" fmla="*/ 479869 h 1682115"/>
                  <a:gd name="connsiteX110" fmla="*/ 1009079 w 1254442"/>
                  <a:gd name="connsiteY110" fmla="*/ 481489 h 1682115"/>
                  <a:gd name="connsiteX111" fmla="*/ 1013555 w 1254442"/>
                  <a:gd name="connsiteY111" fmla="*/ 467487 h 1682115"/>
                  <a:gd name="connsiteX112" fmla="*/ 1014603 w 1254442"/>
                  <a:gd name="connsiteY112" fmla="*/ 451390 h 1682115"/>
                  <a:gd name="connsiteX113" fmla="*/ 1025366 w 1254442"/>
                  <a:gd name="connsiteY113" fmla="*/ 444151 h 1682115"/>
                  <a:gd name="connsiteX114" fmla="*/ 1027652 w 1254442"/>
                  <a:gd name="connsiteY114" fmla="*/ 431768 h 1682115"/>
                  <a:gd name="connsiteX115" fmla="*/ 1026509 w 1254442"/>
                  <a:gd name="connsiteY115" fmla="*/ 419671 h 1682115"/>
                  <a:gd name="connsiteX116" fmla="*/ 1034606 w 1254442"/>
                  <a:gd name="connsiteY116" fmla="*/ 415004 h 1682115"/>
                  <a:gd name="connsiteX117" fmla="*/ 1052036 w 1254442"/>
                  <a:gd name="connsiteY117" fmla="*/ 414147 h 1682115"/>
                  <a:gd name="connsiteX118" fmla="*/ 1067753 w 1254442"/>
                  <a:gd name="connsiteY118" fmla="*/ 408146 h 1682115"/>
                  <a:gd name="connsiteX119" fmla="*/ 1076897 w 1254442"/>
                  <a:gd name="connsiteY119" fmla="*/ 405003 h 1682115"/>
                  <a:gd name="connsiteX120" fmla="*/ 1091184 w 1254442"/>
                  <a:gd name="connsiteY120" fmla="*/ 402812 h 1682115"/>
                  <a:gd name="connsiteX121" fmla="*/ 1097947 w 1254442"/>
                  <a:gd name="connsiteY121" fmla="*/ 393383 h 1682115"/>
                  <a:gd name="connsiteX122" fmla="*/ 1104900 w 1254442"/>
                  <a:gd name="connsiteY122" fmla="*/ 392144 h 1682115"/>
                  <a:gd name="connsiteX123" fmla="*/ 1119378 w 1254442"/>
                  <a:gd name="connsiteY123" fmla="*/ 385191 h 1682115"/>
                  <a:gd name="connsiteX124" fmla="*/ 1137857 w 1254442"/>
                  <a:gd name="connsiteY124" fmla="*/ 382429 h 1682115"/>
                  <a:gd name="connsiteX125" fmla="*/ 1143953 w 1254442"/>
                  <a:gd name="connsiteY125" fmla="*/ 376333 h 1682115"/>
                  <a:gd name="connsiteX126" fmla="*/ 1156716 w 1254442"/>
                  <a:gd name="connsiteY126" fmla="*/ 373856 h 1682115"/>
                  <a:gd name="connsiteX127" fmla="*/ 1158716 w 1254442"/>
                  <a:gd name="connsiteY127" fmla="*/ 378809 h 1682115"/>
                  <a:gd name="connsiteX128" fmla="*/ 1171385 w 1254442"/>
                  <a:gd name="connsiteY128" fmla="*/ 373952 h 1682115"/>
                  <a:gd name="connsiteX129" fmla="*/ 1172623 w 1254442"/>
                  <a:gd name="connsiteY129" fmla="*/ 368427 h 1682115"/>
                  <a:gd name="connsiteX130" fmla="*/ 1182243 w 1254442"/>
                  <a:gd name="connsiteY130" fmla="*/ 375380 h 1682115"/>
                  <a:gd name="connsiteX131" fmla="*/ 1195007 w 1254442"/>
                  <a:gd name="connsiteY131" fmla="*/ 374904 h 1682115"/>
                  <a:gd name="connsiteX132" fmla="*/ 1201484 w 1254442"/>
                  <a:gd name="connsiteY132" fmla="*/ 358902 h 1682115"/>
                  <a:gd name="connsiteX133" fmla="*/ 1208913 w 1254442"/>
                  <a:gd name="connsiteY133" fmla="*/ 357664 h 1682115"/>
                  <a:gd name="connsiteX134" fmla="*/ 1219772 w 1254442"/>
                  <a:gd name="connsiteY134" fmla="*/ 342805 h 1682115"/>
                  <a:gd name="connsiteX135" fmla="*/ 1226439 w 1254442"/>
                  <a:gd name="connsiteY135" fmla="*/ 337757 h 1682115"/>
                  <a:gd name="connsiteX136" fmla="*/ 1231202 w 1254442"/>
                  <a:gd name="connsiteY136" fmla="*/ 324803 h 1682115"/>
                  <a:gd name="connsiteX137" fmla="*/ 1229868 w 1254442"/>
                  <a:gd name="connsiteY137" fmla="*/ 313563 h 1682115"/>
                  <a:gd name="connsiteX138" fmla="*/ 1237488 w 1254442"/>
                  <a:gd name="connsiteY138" fmla="*/ 300514 h 1682115"/>
                  <a:gd name="connsiteX139" fmla="*/ 1252347 w 1254442"/>
                  <a:gd name="connsiteY139" fmla="*/ 295846 h 1682115"/>
                  <a:gd name="connsiteX140" fmla="*/ 1254443 w 1254442"/>
                  <a:gd name="connsiteY140" fmla="*/ 283083 h 1682115"/>
                  <a:gd name="connsiteX141" fmla="*/ 1240631 w 1254442"/>
                  <a:gd name="connsiteY141" fmla="*/ 279083 h 1682115"/>
                  <a:gd name="connsiteX142" fmla="*/ 1229582 w 1254442"/>
                  <a:gd name="connsiteY142" fmla="*/ 272129 h 1682115"/>
                  <a:gd name="connsiteX143" fmla="*/ 1220057 w 1254442"/>
                  <a:gd name="connsiteY143" fmla="*/ 263176 h 1682115"/>
                  <a:gd name="connsiteX144" fmla="*/ 1206341 w 1254442"/>
                  <a:gd name="connsiteY144" fmla="*/ 258413 h 1682115"/>
                  <a:gd name="connsiteX145" fmla="*/ 1194530 w 1254442"/>
                  <a:gd name="connsiteY145" fmla="*/ 247650 h 1682115"/>
                  <a:gd name="connsiteX146" fmla="*/ 1214152 w 1254442"/>
                  <a:gd name="connsiteY146" fmla="*/ 240602 h 1682115"/>
                  <a:gd name="connsiteX147" fmla="*/ 1215962 w 1254442"/>
                  <a:gd name="connsiteY147" fmla="*/ 251650 h 1682115"/>
                  <a:gd name="connsiteX148" fmla="*/ 1223582 w 1254442"/>
                  <a:gd name="connsiteY148" fmla="*/ 249460 h 1682115"/>
                  <a:gd name="connsiteX149" fmla="*/ 1241965 w 1254442"/>
                  <a:gd name="connsiteY149" fmla="*/ 233458 h 1682115"/>
                  <a:gd name="connsiteX150" fmla="*/ 1253585 w 1254442"/>
                  <a:gd name="connsiteY150" fmla="*/ 221361 h 1682115"/>
                  <a:gd name="connsiteX151" fmla="*/ 1238250 w 1254442"/>
                  <a:gd name="connsiteY151" fmla="*/ 211550 h 1682115"/>
                  <a:gd name="connsiteX152" fmla="*/ 1231964 w 1254442"/>
                  <a:gd name="connsiteY152" fmla="*/ 203930 h 1682115"/>
                  <a:gd name="connsiteX153" fmla="*/ 1215771 w 1254442"/>
                  <a:gd name="connsiteY153" fmla="*/ 202597 h 1682115"/>
                  <a:gd name="connsiteX154" fmla="*/ 1202150 w 1254442"/>
                  <a:gd name="connsiteY154" fmla="*/ 208979 h 1682115"/>
                  <a:gd name="connsiteX155" fmla="*/ 1192816 w 1254442"/>
                  <a:gd name="connsiteY155" fmla="*/ 206692 h 1682115"/>
                  <a:gd name="connsiteX156" fmla="*/ 1191197 w 1254442"/>
                  <a:gd name="connsiteY156" fmla="*/ 212312 h 1682115"/>
                  <a:gd name="connsiteX157" fmla="*/ 1182148 w 1254442"/>
                  <a:gd name="connsiteY157" fmla="*/ 220313 h 1682115"/>
                  <a:gd name="connsiteX158" fmla="*/ 1176242 w 1254442"/>
                  <a:gd name="connsiteY158" fmla="*/ 222599 h 1682115"/>
                  <a:gd name="connsiteX159" fmla="*/ 1180814 w 1254442"/>
                  <a:gd name="connsiteY159" fmla="*/ 212027 h 1682115"/>
                  <a:gd name="connsiteX160" fmla="*/ 1173956 w 1254442"/>
                  <a:gd name="connsiteY160" fmla="*/ 210217 h 1682115"/>
                  <a:gd name="connsiteX161" fmla="*/ 1168813 w 1254442"/>
                  <a:gd name="connsiteY161" fmla="*/ 201454 h 1682115"/>
                  <a:gd name="connsiteX162" fmla="*/ 1174433 w 1254442"/>
                  <a:gd name="connsiteY162" fmla="*/ 192405 h 1682115"/>
                  <a:gd name="connsiteX163" fmla="*/ 1182529 w 1254442"/>
                  <a:gd name="connsiteY163" fmla="*/ 191738 h 1682115"/>
                  <a:gd name="connsiteX164" fmla="*/ 1187863 w 1254442"/>
                  <a:gd name="connsiteY164" fmla="*/ 179070 h 1682115"/>
                  <a:gd name="connsiteX165" fmla="*/ 1196150 w 1254442"/>
                  <a:gd name="connsiteY165" fmla="*/ 180213 h 1682115"/>
                  <a:gd name="connsiteX166" fmla="*/ 1204246 w 1254442"/>
                  <a:gd name="connsiteY166" fmla="*/ 176213 h 1682115"/>
                  <a:gd name="connsiteX167" fmla="*/ 1205103 w 1254442"/>
                  <a:gd name="connsiteY167" fmla="*/ 164402 h 1682115"/>
                  <a:gd name="connsiteX168" fmla="*/ 1211009 w 1254442"/>
                  <a:gd name="connsiteY168" fmla="*/ 150400 h 1682115"/>
                  <a:gd name="connsiteX169" fmla="*/ 1212342 w 1254442"/>
                  <a:gd name="connsiteY169" fmla="*/ 137350 h 1682115"/>
                  <a:gd name="connsiteX170" fmla="*/ 1201388 w 1254442"/>
                  <a:gd name="connsiteY170" fmla="*/ 130778 h 1682115"/>
                  <a:gd name="connsiteX171" fmla="*/ 1198245 w 1254442"/>
                  <a:gd name="connsiteY171" fmla="*/ 119158 h 1682115"/>
                  <a:gd name="connsiteX172" fmla="*/ 1189006 w 1254442"/>
                  <a:gd name="connsiteY172" fmla="*/ 116396 h 1682115"/>
                  <a:gd name="connsiteX173" fmla="*/ 1176433 w 1254442"/>
                  <a:gd name="connsiteY173" fmla="*/ 109633 h 1682115"/>
                  <a:gd name="connsiteX174" fmla="*/ 1162431 w 1254442"/>
                  <a:gd name="connsiteY174" fmla="*/ 118110 h 1682115"/>
                  <a:gd name="connsiteX175" fmla="*/ 1152620 w 1254442"/>
                  <a:gd name="connsiteY175" fmla="*/ 113348 h 1682115"/>
                  <a:gd name="connsiteX176" fmla="*/ 1152335 w 1254442"/>
                  <a:gd name="connsiteY176" fmla="*/ 105346 h 1682115"/>
                  <a:gd name="connsiteX177" fmla="*/ 1147477 w 1254442"/>
                  <a:gd name="connsiteY177" fmla="*/ 93821 h 1682115"/>
                  <a:gd name="connsiteX178" fmla="*/ 1140047 w 1254442"/>
                  <a:gd name="connsiteY178" fmla="*/ 96298 h 1682115"/>
                  <a:gd name="connsiteX179" fmla="*/ 1130903 w 1254442"/>
                  <a:gd name="connsiteY179" fmla="*/ 108299 h 1682115"/>
                  <a:gd name="connsiteX180" fmla="*/ 1122902 w 1254442"/>
                  <a:gd name="connsiteY180" fmla="*/ 100108 h 1682115"/>
                  <a:gd name="connsiteX181" fmla="*/ 1122236 w 1254442"/>
                  <a:gd name="connsiteY181" fmla="*/ 108299 h 1682115"/>
                  <a:gd name="connsiteX182" fmla="*/ 1110806 w 1254442"/>
                  <a:gd name="connsiteY182" fmla="*/ 101346 h 1682115"/>
                  <a:gd name="connsiteX183" fmla="*/ 1107091 w 1254442"/>
                  <a:gd name="connsiteY183" fmla="*/ 110871 h 1682115"/>
                  <a:gd name="connsiteX184" fmla="*/ 1101947 w 1254442"/>
                  <a:gd name="connsiteY184" fmla="*/ 109061 h 1682115"/>
                  <a:gd name="connsiteX185" fmla="*/ 1090898 w 1254442"/>
                  <a:gd name="connsiteY185" fmla="*/ 120491 h 1682115"/>
                  <a:gd name="connsiteX186" fmla="*/ 1092137 w 1254442"/>
                  <a:gd name="connsiteY186" fmla="*/ 106680 h 1682115"/>
                  <a:gd name="connsiteX187" fmla="*/ 1088231 w 1254442"/>
                  <a:gd name="connsiteY187" fmla="*/ 91345 h 1682115"/>
                  <a:gd name="connsiteX188" fmla="*/ 1094518 w 1254442"/>
                  <a:gd name="connsiteY188" fmla="*/ 80963 h 1682115"/>
                  <a:gd name="connsiteX189" fmla="*/ 1095756 w 1254442"/>
                  <a:gd name="connsiteY189" fmla="*/ 76105 h 1682115"/>
                  <a:gd name="connsiteX190" fmla="*/ 1108805 w 1254442"/>
                  <a:gd name="connsiteY190" fmla="*/ 58198 h 1682115"/>
                  <a:gd name="connsiteX191" fmla="*/ 1112330 w 1254442"/>
                  <a:gd name="connsiteY191" fmla="*/ 48101 h 1682115"/>
                  <a:gd name="connsiteX192" fmla="*/ 1127570 w 1254442"/>
                  <a:gd name="connsiteY192" fmla="*/ 40481 h 1682115"/>
                  <a:gd name="connsiteX193" fmla="*/ 1138238 w 1254442"/>
                  <a:gd name="connsiteY193" fmla="*/ 25527 h 1682115"/>
                  <a:gd name="connsiteX194" fmla="*/ 1149477 w 1254442"/>
                  <a:gd name="connsiteY194" fmla="*/ 15716 h 1682115"/>
                  <a:gd name="connsiteX195" fmla="*/ 1161764 w 1254442"/>
                  <a:gd name="connsiteY195" fmla="*/ 2667 h 1682115"/>
                  <a:gd name="connsiteX196" fmla="*/ 1158716 w 1254442"/>
                  <a:gd name="connsiteY196" fmla="*/ 0 h 1682115"/>
                  <a:gd name="connsiteX197" fmla="*/ 1136999 w 1254442"/>
                  <a:gd name="connsiteY197" fmla="*/ 12192 h 1682115"/>
                  <a:gd name="connsiteX198" fmla="*/ 1127855 w 1254442"/>
                  <a:gd name="connsiteY198" fmla="*/ 22003 h 1682115"/>
                  <a:gd name="connsiteX199" fmla="*/ 1116616 w 1254442"/>
                  <a:gd name="connsiteY199" fmla="*/ 32861 h 1682115"/>
                  <a:gd name="connsiteX200" fmla="*/ 1106329 w 1254442"/>
                  <a:gd name="connsiteY200" fmla="*/ 42386 h 1682115"/>
                  <a:gd name="connsiteX201" fmla="*/ 1096899 w 1254442"/>
                  <a:gd name="connsiteY201" fmla="*/ 44196 h 1682115"/>
                  <a:gd name="connsiteX202" fmla="*/ 1084993 w 1254442"/>
                  <a:gd name="connsiteY202" fmla="*/ 58007 h 1682115"/>
                  <a:gd name="connsiteX203" fmla="*/ 1084517 w 1254442"/>
                  <a:gd name="connsiteY203" fmla="*/ 68390 h 1682115"/>
                  <a:gd name="connsiteX204" fmla="*/ 1069277 w 1254442"/>
                  <a:gd name="connsiteY204" fmla="*/ 86106 h 1682115"/>
                  <a:gd name="connsiteX205" fmla="*/ 1069943 w 1254442"/>
                  <a:gd name="connsiteY205" fmla="*/ 95726 h 1682115"/>
                  <a:gd name="connsiteX206" fmla="*/ 1060609 w 1254442"/>
                  <a:gd name="connsiteY206" fmla="*/ 106775 h 1682115"/>
                  <a:gd name="connsiteX207" fmla="*/ 1051751 w 1254442"/>
                  <a:gd name="connsiteY207" fmla="*/ 120491 h 1682115"/>
                  <a:gd name="connsiteX208" fmla="*/ 1047560 w 1254442"/>
                  <a:gd name="connsiteY208" fmla="*/ 139160 h 1682115"/>
                  <a:gd name="connsiteX209" fmla="*/ 1060228 w 1254442"/>
                  <a:gd name="connsiteY209" fmla="*/ 144209 h 1682115"/>
                  <a:gd name="connsiteX210" fmla="*/ 1051084 w 1254442"/>
                  <a:gd name="connsiteY210" fmla="*/ 165544 h 1682115"/>
                  <a:gd name="connsiteX211" fmla="*/ 1050417 w 1254442"/>
                  <a:gd name="connsiteY211" fmla="*/ 181832 h 1682115"/>
                  <a:gd name="connsiteX212" fmla="*/ 1042892 w 1254442"/>
                  <a:gd name="connsiteY212" fmla="*/ 199454 h 1682115"/>
                  <a:gd name="connsiteX213" fmla="*/ 1037463 w 1254442"/>
                  <a:gd name="connsiteY213" fmla="*/ 196406 h 1682115"/>
                  <a:gd name="connsiteX214" fmla="*/ 1045274 w 1254442"/>
                  <a:gd name="connsiteY214" fmla="*/ 184499 h 1682115"/>
                  <a:gd name="connsiteX215" fmla="*/ 1040225 w 1254442"/>
                  <a:gd name="connsiteY215" fmla="*/ 163640 h 1682115"/>
                  <a:gd name="connsiteX216" fmla="*/ 1032796 w 1254442"/>
                  <a:gd name="connsiteY216" fmla="*/ 153543 h 1682115"/>
                  <a:gd name="connsiteX217" fmla="*/ 1022890 w 1254442"/>
                  <a:gd name="connsiteY217" fmla="*/ 164116 h 1682115"/>
                  <a:gd name="connsiteX218" fmla="*/ 1016984 w 1254442"/>
                  <a:gd name="connsiteY218" fmla="*/ 175641 h 1682115"/>
                  <a:gd name="connsiteX219" fmla="*/ 1007078 w 1254442"/>
                  <a:gd name="connsiteY219" fmla="*/ 186690 h 1682115"/>
                  <a:gd name="connsiteX220" fmla="*/ 1002030 w 1254442"/>
                  <a:gd name="connsiteY220" fmla="*/ 191357 h 1682115"/>
                  <a:gd name="connsiteX221" fmla="*/ 1011936 w 1254442"/>
                  <a:gd name="connsiteY221" fmla="*/ 202502 h 1682115"/>
                  <a:gd name="connsiteX222" fmla="*/ 1003173 w 1254442"/>
                  <a:gd name="connsiteY222" fmla="*/ 213360 h 1682115"/>
                  <a:gd name="connsiteX223" fmla="*/ 986314 w 1254442"/>
                  <a:gd name="connsiteY223" fmla="*/ 213646 h 1682115"/>
                  <a:gd name="connsiteX224" fmla="*/ 961263 w 1254442"/>
                  <a:gd name="connsiteY224" fmla="*/ 219361 h 1682115"/>
                  <a:gd name="connsiteX225" fmla="*/ 948881 w 1254442"/>
                  <a:gd name="connsiteY225" fmla="*/ 230886 h 1682115"/>
                  <a:gd name="connsiteX226" fmla="*/ 927449 w 1254442"/>
                  <a:gd name="connsiteY226" fmla="*/ 238220 h 1682115"/>
                  <a:gd name="connsiteX227" fmla="*/ 915829 w 1254442"/>
                  <a:gd name="connsiteY227" fmla="*/ 242697 h 1682115"/>
                  <a:gd name="connsiteX228" fmla="*/ 882015 w 1254442"/>
                  <a:gd name="connsiteY228" fmla="*/ 243459 h 1682115"/>
                  <a:gd name="connsiteX229" fmla="*/ 866966 w 1254442"/>
                  <a:gd name="connsiteY229" fmla="*/ 249269 h 1682115"/>
                  <a:gd name="connsiteX230" fmla="*/ 851916 w 1254442"/>
                  <a:gd name="connsiteY230" fmla="*/ 263176 h 1682115"/>
                  <a:gd name="connsiteX231" fmla="*/ 842296 w 1254442"/>
                  <a:gd name="connsiteY231" fmla="*/ 271082 h 1682115"/>
                  <a:gd name="connsiteX232" fmla="*/ 823436 w 1254442"/>
                  <a:gd name="connsiteY232" fmla="*/ 262700 h 1682115"/>
                  <a:gd name="connsiteX233" fmla="*/ 799624 w 1254442"/>
                  <a:gd name="connsiteY233" fmla="*/ 264128 h 1682115"/>
                  <a:gd name="connsiteX234" fmla="*/ 784003 w 1254442"/>
                  <a:gd name="connsiteY234" fmla="*/ 255175 h 1682115"/>
                  <a:gd name="connsiteX235" fmla="*/ 771144 w 1254442"/>
                  <a:gd name="connsiteY235" fmla="*/ 260033 h 1682115"/>
                  <a:gd name="connsiteX236" fmla="*/ 760476 w 1254442"/>
                  <a:gd name="connsiteY236" fmla="*/ 260985 h 1682115"/>
                  <a:gd name="connsiteX237" fmla="*/ 752475 w 1254442"/>
                  <a:gd name="connsiteY237" fmla="*/ 254603 h 1682115"/>
                  <a:gd name="connsiteX238" fmla="*/ 730377 w 1254442"/>
                  <a:gd name="connsiteY238" fmla="*/ 258794 h 1682115"/>
                  <a:gd name="connsiteX239" fmla="*/ 716566 w 1254442"/>
                  <a:gd name="connsiteY239" fmla="*/ 250793 h 1682115"/>
                  <a:gd name="connsiteX240" fmla="*/ 698278 w 1254442"/>
                  <a:gd name="connsiteY240" fmla="*/ 260509 h 1682115"/>
                  <a:gd name="connsiteX241" fmla="*/ 690277 w 1254442"/>
                  <a:gd name="connsiteY241" fmla="*/ 251555 h 1682115"/>
                  <a:gd name="connsiteX242" fmla="*/ 671798 w 1254442"/>
                  <a:gd name="connsiteY242" fmla="*/ 247936 h 1682115"/>
                  <a:gd name="connsiteX243" fmla="*/ 648843 w 1254442"/>
                  <a:gd name="connsiteY243" fmla="*/ 265843 h 1682115"/>
                  <a:gd name="connsiteX244" fmla="*/ 635794 w 1254442"/>
                  <a:gd name="connsiteY244" fmla="*/ 270224 h 1682115"/>
                  <a:gd name="connsiteX245" fmla="*/ 603599 w 1254442"/>
                  <a:gd name="connsiteY245" fmla="*/ 285464 h 1682115"/>
                  <a:gd name="connsiteX246" fmla="*/ 602361 w 1254442"/>
                  <a:gd name="connsiteY246" fmla="*/ 287274 h 1682115"/>
                  <a:gd name="connsiteX247" fmla="*/ 586835 w 1254442"/>
                  <a:gd name="connsiteY247" fmla="*/ 283750 h 1682115"/>
                  <a:gd name="connsiteX248" fmla="*/ 572929 w 1254442"/>
                  <a:gd name="connsiteY248" fmla="*/ 278035 h 1682115"/>
                  <a:gd name="connsiteX249" fmla="*/ 571119 w 1254442"/>
                  <a:gd name="connsiteY249" fmla="*/ 272034 h 1682115"/>
                  <a:gd name="connsiteX250" fmla="*/ 590169 w 1254442"/>
                  <a:gd name="connsiteY250" fmla="*/ 273939 h 1682115"/>
                  <a:gd name="connsiteX251" fmla="*/ 608362 w 1254442"/>
                  <a:gd name="connsiteY251" fmla="*/ 257842 h 1682115"/>
                  <a:gd name="connsiteX252" fmla="*/ 606552 w 1254442"/>
                  <a:gd name="connsiteY252" fmla="*/ 254222 h 1682115"/>
                  <a:gd name="connsiteX253" fmla="*/ 596932 w 1254442"/>
                  <a:gd name="connsiteY253" fmla="*/ 253365 h 1682115"/>
                  <a:gd name="connsiteX254" fmla="*/ 581311 w 1254442"/>
                  <a:gd name="connsiteY254" fmla="*/ 249079 h 1682115"/>
                  <a:gd name="connsiteX255" fmla="*/ 560070 w 1254442"/>
                  <a:gd name="connsiteY255" fmla="*/ 238411 h 1682115"/>
                  <a:gd name="connsiteX256" fmla="*/ 548259 w 1254442"/>
                  <a:gd name="connsiteY256" fmla="*/ 227933 h 1682115"/>
                  <a:gd name="connsiteX257" fmla="*/ 536734 w 1254442"/>
                  <a:gd name="connsiteY257" fmla="*/ 217551 h 1682115"/>
                  <a:gd name="connsiteX258" fmla="*/ 527685 w 1254442"/>
                  <a:gd name="connsiteY258" fmla="*/ 202978 h 1682115"/>
                  <a:gd name="connsiteX259" fmla="*/ 514064 w 1254442"/>
                  <a:gd name="connsiteY259" fmla="*/ 200596 h 1682115"/>
                  <a:gd name="connsiteX260" fmla="*/ 502253 w 1254442"/>
                  <a:gd name="connsiteY260" fmla="*/ 193358 h 1682115"/>
                  <a:gd name="connsiteX261" fmla="*/ 493681 w 1254442"/>
                  <a:gd name="connsiteY261" fmla="*/ 182594 h 1682115"/>
                  <a:gd name="connsiteX262" fmla="*/ 481013 w 1254442"/>
                  <a:gd name="connsiteY262" fmla="*/ 186023 h 1682115"/>
                  <a:gd name="connsiteX263" fmla="*/ 469106 w 1254442"/>
                  <a:gd name="connsiteY263" fmla="*/ 181165 h 1682115"/>
                  <a:gd name="connsiteX264" fmla="*/ 450342 w 1254442"/>
                  <a:gd name="connsiteY264" fmla="*/ 186500 h 1682115"/>
                  <a:gd name="connsiteX265" fmla="*/ 441579 w 1254442"/>
                  <a:gd name="connsiteY265" fmla="*/ 190976 h 1682115"/>
                  <a:gd name="connsiteX266" fmla="*/ 439007 w 1254442"/>
                  <a:gd name="connsiteY266" fmla="*/ 188500 h 1682115"/>
                  <a:gd name="connsiteX267" fmla="*/ 413195 w 1254442"/>
                  <a:gd name="connsiteY267" fmla="*/ 191452 h 1682115"/>
                  <a:gd name="connsiteX268" fmla="*/ 391001 w 1254442"/>
                  <a:gd name="connsiteY268" fmla="*/ 200501 h 1682115"/>
                  <a:gd name="connsiteX269" fmla="*/ 383191 w 1254442"/>
                  <a:gd name="connsiteY269" fmla="*/ 198692 h 1682115"/>
                  <a:gd name="connsiteX270" fmla="*/ 378714 w 1254442"/>
                  <a:gd name="connsiteY270" fmla="*/ 201930 h 1682115"/>
                  <a:gd name="connsiteX271" fmla="*/ 368237 w 1254442"/>
                  <a:gd name="connsiteY271" fmla="*/ 217456 h 1682115"/>
                  <a:gd name="connsiteX272" fmla="*/ 361474 w 1254442"/>
                  <a:gd name="connsiteY272" fmla="*/ 221933 h 1682115"/>
                  <a:gd name="connsiteX273" fmla="*/ 355378 w 1254442"/>
                  <a:gd name="connsiteY273" fmla="*/ 231553 h 1682115"/>
                  <a:gd name="connsiteX274" fmla="*/ 350901 w 1254442"/>
                  <a:gd name="connsiteY274" fmla="*/ 231553 h 1682115"/>
                  <a:gd name="connsiteX275" fmla="*/ 344996 w 1254442"/>
                  <a:gd name="connsiteY275" fmla="*/ 239173 h 1682115"/>
                  <a:gd name="connsiteX276" fmla="*/ 332042 w 1254442"/>
                  <a:gd name="connsiteY276" fmla="*/ 247269 h 1682115"/>
                  <a:gd name="connsiteX277" fmla="*/ 324422 w 1254442"/>
                  <a:gd name="connsiteY277" fmla="*/ 247269 h 1682115"/>
                  <a:gd name="connsiteX278" fmla="*/ 310229 w 1254442"/>
                  <a:gd name="connsiteY278" fmla="*/ 249460 h 1682115"/>
                  <a:gd name="connsiteX279" fmla="*/ 296894 w 1254442"/>
                  <a:gd name="connsiteY279" fmla="*/ 253556 h 1682115"/>
                  <a:gd name="connsiteX280" fmla="*/ 286226 w 1254442"/>
                  <a:gd name="connsiteY280" fmla="*/ 256984 h 1682115"/>
                  <a:gd name="connsiteX281" fmla="*/ 276035 w 1254442"/>
                  <a:gd name="connsiteY281" fmla="*/ 260699 h 1682115"/>
                  <a:gd name="connsiteX282" fmla="*/ 267748 w 1254442"/>
                  <a:gd name="connsiteY282" fmla="*/ 270510 h 1682115"/>
                  <a:gd name="connsiteX283" fmla="*/ 253270 w 1254442"/>
                  <a:gd name="connsiteY283" fmla="*/ 281940 h 1682115"/>
                  <a:gd name="connsiteX284" fmla="*/ 248793 w 1254442"/>
                  <a:gd name="connsiteY284" fmla="*/ 279083 h 1682115"/>
                  <a:gd name="connsiteX285" fmla="*/ 248222 w 1254442"/>
                  <a:gd name="connsiteY285" fmla="*/ 270034 h 1682115"/>
                  <a:gd name="connsiteX286" fmla="*/ 252508 w 1254442"/>
                  <a:gd name="connsiteY286" fmla="*/ 262223 h 1682115"/>
                  <a:gd name="connsiteX287" fmla="*/ 252508 w 1254442"/>
                  <a:gd name="connsiteY287" fmla="*/ 260413 h 1682115"/>
                  <a:gd name="connsiteX288" fmla="*/ 241173 w 1254442"/>
                  <a:gd name="connsiteY288" fmla="*/ 269272 h 1682115"/>
                  <a:gd name="connsiteX289" fmla="*/ 233267 w 1254442"/>
                  <a:gd name="connsiteY289" fmla="*/ 280416 h 1682115"/>
                  <a:gd name="connsiteX290" fmla="*/ 228410 w 1254442"/>
                  <a:gd name="connsiteY290" fmla="*/ 284321 h 1682115"/>
                  <a:gd name="connsiteX291" fmla="*/ 228410 w 1254442"/>
                  <a:gd name="connsiteY291" fmla="*/ 287560 h 1682115"/>
                  <a:gd name="connsiteX292" fmla="*/ 218218 w 1254442"/>
                  <a:gd name="connsiteY292" fmla="*/ 299466 h 1682115"/>
                  <a:gd name="connsiteX293" fmla="*/ 211169 w 1254442"/>
                  <a:gd name="connsiteY293" fmla="*/ 307848 h 1682115"/>
                  <a:gd name="connsiteX294" fmla="*/ 204597 w 1254442"/>
                  <a:gd name="connsiteY294" fmla="*/ 308800 h 1682115"/>
                  <a:gd name="connsiteX295" fmla="*/ 197834 w 1254442"/>
                  <a:gd name="connsiteY295" fmla="*/ 305276 h 1682115"/>
                  <a:gd name="connsiteX296" fmla="*/ 191167 w 1254442"/>
                  <a:gd name="connsiteY296" fmla="*/ 314801 h 1682115"/>
                  <a:gd name="connsiteX297" fmla="*/ 180880 w 1254442"/>
                  <a:gd name="connsiteY297" fmla="*/ 327946 h 1682115"/>
                  <a:gd name="connsiteX298" fmla="*/ 170498 w 1254442"/>
                  <a:gd name="connsiteY298" fmla="*/ 339661 h 1682115"/>
                  <a:gd name="connsiteX299" fmla="*/ 162973 w 1254442"/>
                  <a:gd name="connsiteY299" fmla="*/ 343186 h 1682115"/>
                  <a:gd name="connsiteX300" fmla="*/ 161544 w 1254442"/>
                  <a:gd name="connsiteY300" fmla="*/ 346900 h 1682115"/>
                  <a:gd name="connsiteX301" fmla="*/ 161544 w 1254442"/>
                  <a:gd name="connsiteY301" fmla="*/ 356997 h 1682115"/>
                  <a:gd name="connsiteX302" fmla="*/ 163163 w 1254442"/>
                  <a:gd name="connsiteY302" fmla="*/ 358045 h 1682115"/>
                  <a:gd name="connsiteX303" fmla="*/ 170021 w 1254442"/>
                  <a:gd name="connsiteY303" fmla="*/ 351854 h 1682115"/>
                  <a:gd name="connsiteX304" fmla="*/ 177260 w 1254442"/>
                  <a:gd name="connsiteY304" fmla="*/ 344996 h 1682115"/>
                  <a:gd name="connsiteX305" fmla="*/ 181356 w 1254442"/>
                  <a:gd name="connsiteY305" fmla="*/ 335090 h 1682115"/>
                  <a:gd name="connsiteX306" fmla="*/ 186785 w 1254442"/>
                  <a:gd name="connsiteY306" fmla="*/ 335852 h 1682115"/>
                  <a:gd name="connsiteX307" fmla="*/ 193453 w 1254442"/>
                  <a:gd name="connsiteY307" fmla="*/ 331851 h 1682115"/>
                  <a:gd name="connsiteX308" fmla="*/ 200120 w 1254442"/>
                  <a:gd name="connsiteY308" fmla="*/ 327469 h 1682115"/>
                  <a:gd name="connsiteX309" fmla="*/ 212122 w 1254442"/>
                  <a:gd name="connsiteY309" fmla="*/ 324326 h 1682115"/>
                  <a:gd name="connsiteX310" fmla="*/ 222409 w 1254442"/>
                  <a:gd name="connsiteY310" fmla="*/ 313754 h 1682115"/>
                  <a:gd name="connsiteX311" fmla="*/ 227838 w 1254442"/>
                  <a:gd name="connsiteY311" fmla="*/ 310991 h 1682115"/>
                  <a:gd name="connsiteX312" fmla="*/ 232982 w 1254442"/>
                  <a:gd name="connsiteY312" fmla="*/ 306038 h 1682115"/>
                  <a:gd name="connsiteX313" fmla="*/ 241459 w 1254442"/>
                  <a:gd name="connsiteY313" fmla="*/ 304895 h 1682115"/>
                  <a:gd name="connsiteX314" fmla="*/ 242792 w 1254442"/>
                  <a:gd name="connsiteY314" fmla="*/ 301371 h 1682115"/>
                  <a:gd name="connsiteX315" fmla="*/ 247555 w 1254442"/>
                  <a:gd name="connsiteY315" fmla="*/ 300323 h 1682115"/>
                  <a:gd name="connsiteX316" fmla="*/ 249650 w 1254442"/>
                  <a:gd name="connsiteY316" fmla="*/ 297656 h 1682115"/>
                  <a:gd name="connsiteX317" fmla="*/ 253556 w 1254442"/>
                  <a:gd name="connsiteY317" fmla="*/ 295561 h 1682115"/>
                  <a:gd name="connsiteX318" fmla="*/ 267462 w 1254442"/>
                  <a:gd name="connsiteY318" fmla="*/ 284512 h 1682115"/>
                  <a:gd name="connsiteX319" fmla="*/ 274987 w 1254442"/>
                  <a:gd name="connsiteY319" fmla="*/ 280035 h 1682115"/>
                  <a:gd name="connsiteX320" fmla="*/ 284321 w 1254442"/>
                  <a:gd name="connsiteY320" fmla="*/ 282035 h 1682115"/>
                  <a:gd name="connsiteX321" fmla="*/ 291275 w 1254442"/>
                  <a:gd name="connsiteY321" fmla="*/ 281464 h 1682115"/>
                  <a:gd name="connsiteX322" fmla="*/ 294608 w 1254442"/>
                  <a:gd name="connsiteY322" fmla="*/ 286703 h 1682115"/>
                  <a:gd name="connsiteX323" fmla="*/ 286512 w 1254442"/>
                  <a:gd name="connsiteY323" fmla="*/ 296037 h 1682115"/>
                  <a:gd name="connsiteX324" fmla="*/ 284226 w 1254442"/>
                  <a:gd name="connsiteY324" fmla="*/ 302609 h 1682115"/>
                  <a:gd name="connsiteX325" fmla="*/ 273653 w 1254442"/>
                  <a:gd name="connsiteY325" fmla="*/ 314420 h 1682115"/>
                  <a:gd name="connsiteX326" fmla="*/ 269367 w 1254442"/>
                  <a:gd name="connsiteY326" fmla="*/ 312230 h 1682115"/>
                  <a:gd name="connsiteX327" fmla="*/ 257747 w 1254442"/>
                  <a:gd name="connsiteY327" fmla="*/ 315373 h 1682115"/>
                  <a:gd name="connsiteX328" fmla="*/ 244983 w 1254442"/>
                  <a:gd name="connsiteY328" fmla="*/ 322421 h 1682115"/>
                  <a:gd name="connsiteX329" fmla="*/ 241173 w 1254442"/>
                  <a:gd name="connsiteY329" fmla="*/ 321850 h 1682115"/>
                  <a:gd name="connsiteX330" fmla="*/ 232124 w 1254442"/>
                  <a:gd name="connsiteY330" fmla="*/ 328994 h 1682115"/>
                  <a:gd name="connsiteX331" fmla="*/ 221933 w 1254442"/>
                  <a:gd name="connsiteY331" fmla="*/ 338423 h 1682115"/>
                  <a:gd name="connsiteX332" fmla="*/ 216980 w 1254442"/>
                  <a:gd name="connsiteY332" fmla="*/ 348901 h 1682115"/>
                  <a:gd name="connsiteX333" fmla="*/ 207740 w 1254442"/>
                  <a:gd name="connsiteY333" fmla="*/ 351187 h 1682115"/>
                  <a:gd name="connsiteX334" fmla="*/ 198311 w 1254442"/>
                  <a:gd name="connsiteY334" fmla="*/ 361379 h 1682115"/>
                  <a:gd name="connsiteX335" fmla="*/ 192215 w 1254442"/>
                  <a:gd name="connsiteY335" fmla="*/ 370999 h 1682115"/>
                  <a:gd name="connsiteX336" fmla="*/ 187071 w 1254442"/>
                  <a:gd name="connsiteY336" fmla="*/ 365665 h 1682115"/>
                  <a:gd name="connsiteX337" fmla="*/ 183261 w 1254442"/>
                  <a:gd name="connsiteY337" fmla="*/ 368617 h 1682115"/>
                  <a:gd name="connsiteX338" fmla="*/ 173165 w 1254442"/>
                  <a:gd name="connsiteY338" fmla="*/ 385096 h 1682115"/>
                  <a:gd name="connsiteX339" fmla="*/ 163735 w 1254442"/>
                  <a:gd name="connsiteY339" fmla="*/ 393287 h 1682115"/>
                  <a:gd name="connsiteX340" fmla="*/ 149638 w 1254442"/>
                  <a:gd name="connsiteY340" fmla="*/ 412337 h 1682115"/>
                  <a:gd name="connsiteX341" fmla="*/ 134874 w 1254442"/>
                  <a:gd name="connsiteY341" fmla="*/ 428530 h 1682115"/>
                  <a:gd name="connsiteX342" fmla="*/ 128302 w 1254442"/>
                  <a:gd name="connsiteY342" fmla="*/ 434531 h 1682115"/>
                  <a:gd name="connsiteX343" fmla="*/ 124206 w 1254442"/>
                  <a:gd name="connsiteY343" fmla="*/ 435483 h 1682115"/>
                  <a:gd name="connsiteX344" fmla="*/ 118301 w 1254442"/>
                  <a:gd name="connsiteY344" fmla="*/ 441769 h 1682115"/>
                  <a:gd name="connsiteX345" fmla="*/ 115348 w 1254442"/>
                  <a:gd name="connsiteY345" fmla="*/ 440817 h 1682115"/>
                  <a:gd name="connsiteX346" fmla="*/ 114586 w 1254442"/>
                  <a:gd name="connsiteY346" fmla="*/ 435197 h 1682115"/>
                  <a:gd name="connsiteX347" fmla="*/ 111633 w 1254442"/>
                  <a:gd name="connsiteY347" fmla="*/ 436817 h 1682115"/>
                  <a:gd name="connsiteX348" fmla="*/ 112871 w 1254442"/>
                  <a:gd name="connsiteY348" fmla="*/ 429292 h 1682115"/>
                  <a:gd name="connsiteX349" fmla="*/ 107442 w 1254442"/>
                  <a:gd name="connsiteY349" fmla="*/ 433483 h 1682115"/>
                  <a:gd name="connsiteX350" fmla="*/ 99441 w 1254442"/>
                  <a:gd name="connsiteY350" fmla="*/ 443198 h 1682115"/>
                  <a:gd name="connsiteX351" fmla="*/ 88868 w 1254442"/>
                  <a:gd name="connsiteY351" fmla="*/ 466058 h 1682115"/>
                  <a:gd name="connsiteX352" fmla="*/ 83153 w 1254442"/>
                  <a:gd name="connsiteY352" fmla="*/ 474536 h 1682115"/>
                  <a:gd name="connsiteX353" fmla="*/ 75533 w 1254442"/>
                  <a:gd name="connsiteY353" fmla="*/ 497110 h 1682115"/>
                  <a:gd name="connsiteX354" fmla="*/ 72390 w 1254442"/>
                  <a:gd name="connsiteY354" fmla="*/ 509683 h 1682115"/>
                  <a:gd name="connsiteX355" fmla="*/ 69247 w 1254442"/>
                  <a:gd name="connsiteY355" fmla="*/ 515017 h 1682115"/>
                  <a:gd name="connsiteX356" fmla="*/ 62008 w 1254442"/>
                  <a:gd name="connsiteY356" fmla="*/ 533400 h 1682115"/>
                  <a:gd name="connsiteX357" fmla="*/ 54102 w 1254442"/>
                  <a:gd name="connsiteY357" fmla="*/ 558832 h 1682115"/>
                  <a:gd name="connsiteX358" fmla="*/ 50292 w 1254442"/>
                  <a:gd name="connsiteY358" fmla="*/ 575977 h 1682115"/>
                  <a:gd name="connsiteX359" fmla="*/ 44006 w 1254442"/>
                  <a:gd name="connsiteY359" fmla="*/ 597122 h 1682115"/>
                  <a:gd name="connsiteX360" fmla="*/ 40386 w 1254442"/>
                  <a:gd name="connsiteY360" fmla="*/ 614363 h 1682115"/>
                  <a:gd name="connsiteX361" fmla="*/ 36671 w 1254442"/>
                  <a:gd name="connsiteY361" fmla="*/ 630555 h 1682115"/>
                  <a:gd name="connsiteX362" fmla="*/ 36005 w 1254442"/>
                  <a:gd name="connsiteY362" fmla="*/ 642366 h 1682115"/>
                  <a:gd name="connsiteX363" fmla="*/ 36671 w 1254442"/>
                  <a:gd name="connsiteY363" fmla="*/ 661321 h 1682115"/>
                  <a:gd name="connsiteX364" fmla="*/ 36005 w 1254442"/>
                  <a:gd name="connsiteY364" fmla="*/ 674370 h 1682115"/>
                  <a:gd name="connsiteX365" fmla="*/ 32861 w 1254442"/>
                  <a:gd name="connsiteY365" fmla="*/ 693325 h 1682115"/>
                  <a:gd name="connsiteX366" fmla="*/ 29909 w 1254442"/>
                  <a:gd name="connsiteY366" fmla="*/ 705231 h 1682115"/>
                  <a:gd name="connsiteX367" fmla="*/ 21812 w 1254442"/>
                  <a:gd name="connsiteY367" fmla="*/ 731520 h 1682115"/>
                  <a:gd name="connsiteX368" fmla="*/ 18860 w 1254442"/>
                  <a:gd name="connsiteY368" fmla="*/ 744093 h 1682115"/>
                  <a:gd name="connsiteX369" fmla="*/ 17431 w 1254442"/>
                  <a:gd name="connsiteY369" fmla="*/ 754856 h 1682115"/>
                  <a:gd name="connsiteX370" fmla="*/ 17050 w 1254442"/>
                  <a:gd name="connsiteY370" fmla="*/ 769620 h 1682115"/>
                  <a:gd name="connsiteX371" fmla="*/ 16002 w 1254442"/>
                  <a:gd name="connsiteY371" fmla="*/ 781717 h 1682115"/>
                  <a:gd name="connsiteX372" fmla="*/ 14764 w 1254442"/>
                  <a:gd name="connsiteY372" fmla="*/ 788384 h 1682115"/>
                  <a:gd name="connsiteX373" fmla="*/ 14478 w 1254442"/>
                  <a:gd name="connsiteY373" fmla="*/ 801529 h 1682115"/>
                  <a:gd name="connsiteX374" fmla="*/ 13526 w 1254442"/>
                  <a:gd name="connsiteY374" fmla="*/ 811339 h 1682115"/>
                  <a:gd name="connsiteX375" fmla="*/ 13145 w 1254442"/>
                  <a:gd name="connsiteY375" fmla="*/ 819912 h 1682115"/>
                  <a:gd name="connsiteX376" fmla="*/ 13526 w 1254442"/>
                  <a:gd name="connsiteY376" fmla="*/ 833628 h 1682115"/>
                  <a:gd name="connsiteX377" fmla="*/ 14954 w 1254442"/>
                  <a:gd name="connsiteY377" fmla="*/ 836200 h 1682115"/>
                  <a:gd name="connsiteX378" fmla="*/ 14764 w 1254442"/>
                  <a:gd name="connsiteY378" fmla="*/ 843439 h 1682115"/>
                  <a:gd name="connsiteX379" fmla="*/ 13240 w 1254442"/>
                  <a:gd name="connsiteY379" fmla="*/ 847630 h 1682115"/>
                  <a:gd name="connsiteX380" fmla="*/ 12764 w 1254442"/>
                  <a:gd name="connsiteY380" fmla="*/ 845820 h 1682115"/>
                  <a:gd name="connsiteX381" fmla="*/ 13430 w 1254442"/>
                  <a:gd name="connsiteY381" fmla="*/ 841820 h 1682115"/>
                  <a:gd name="connsiteX382" fmla="*/ 12478 w 1254442"/>
                  <a:gd name="connsiteY382" fmla="*/ 839248 h 1682115"/>
                  <a:gd name="connsiteX383" fmla="*/ 10573 w 1254442"/>
                  <a:gd name="connsiteY383" fmla="*/ 851249 h 1682115"/>
                  <a:gd name="connsiteX384" fmla="*/ 9430 w 1254442"/>
                  <a:gd name="connsiteY384" fmla="*/ 861346 h 1682115"/>
                  <a:gd name="connsiteX385" fmla="*/ 8001 w 1254442"/>
                  <a:gd name="connsiteY385" fmla="*/ 866680 h 1682115"/>
                  <a:gd name="connsiteX386" fmla="*/ 6763 w 1254442"/>
                  <a:gd name="connsiteY386" fmla="*/ 877919 h 1682115"/>
                  <a:gd name="connsiteX387" fmla="*/ 5906 w 1254442"/>
                  <a:gd name="connsiteY387" fmla="*/ 886301 h 1682115"/>
                  <a:gd name="connsiteX388" fmla="*/ 4572 w 1254442"/>
                  <a:gd name="connsiteY388" fmla="*/ 880872 h 1682115"/>
                  <a:gd name="connsiteX389" fmla="*/ 4382 w 1254442"/>
                  <a:gd name="connsiteY389" fmla="*/ 887635 h 1682115"/>
                  <a:gd name="connsiteX390" fmla="*/ 2762 w 1254442"/>
                  <a:gd name="connsiteY390" fmla="*/ 884587 h 1682115"/>
                  <a:gd name="connsiteX391" fmla="*/ 1429 w 1254442"/>
                  <a:gd name="connsiteY391" fmla="*/ 884587 h 1682115"/>
                  <a:gd name="connsiteX392" fmla="*/ 857 w 1254442"/>
                  <a:gd name="connsiteY392" fmla="*/ 887921 h 1682115"/>
                  <a:gd name="connsiteX393" fmla="*/ 1048 w 1254442"/>
                  <a:gd name="connsiteY393" fmla="*/ 895636 h 1682115"/>
                  <a:gd name="connsiteX394" fmla="*/ 381 w 1254442"/>
                  <a:gd name="connsiteY394" fmla="*/ 901160 h 1682115"/>
                  <a:gd name="connsiteX395" fmla="*/ 1810 w 1254442"/>
                  <a:gd name="connsiteY395" fmla="*/ 905828 h 1682115"/>
                  <a:gd name="connsiteX396" fmla="*/ 2857 w 1254442"/>
                  <a:gd name="connsiteY396" fmla="*/ 904208 h 1682115"/>
                  <a:gd name="connsiteX397" fmla="*/ 2667 w 1254442"/>
                  <a:gd name="connsiteY397" fmla="*/ 910590 h 1682115"/>
                  <a:gd name="connsiteX398" fmla="*/ 1619 w 1254442"/>
                  <a:gd name="connsiteY398" fmla="*/ 912305 h 1682115"/>
                  <a:gd name="connsiteX399" fmla="*/ 1905 w 1254442"/>
                  <a:gd name="connsiteY399" fmla="*/ 920591 h 1682115"/>
                  <a:gd name="connsiteX400" fmla="*/ 2096 w 1254442"/>
                  <a:gd name="connsiteY400" fmla="*/ 930116 h 1682115"/>
                  <a:gd name="connsiteX401" fmla="*/ 1905 w 1254442"/>
                  <a:gd name="connsiteY401" fmla="*/ 936879 h 1682115"/>
                  <a:gd name="connsiteX402" fmla="*/ 1143 w 1254442"/>
                  <a:gd name="connsiteY402" fmla="*/ 937832 h 1682115"/>
                  <a:gd name="connsiteX403" fmla="*/ 190 w 1254442"/>
                  <a:gd name="connsiteY403" fmla="*/ 935164 h 1682115"/>
                  <a:gd name="connsiteX404" fmla="*/ 0 w 1254442"/>
                  <a:gd name="connsiteY404" fmla="*/ 940118 h 1682115"/>
                  <a:gd name="connsiteX405" fmla="*/ 762 w 1254442"/>
                  <a:gd name="connsiteY405" fmla="*/ 953167 h 1682115"/>
                  <a:gd name="connsiteX406" fmla="*/ 571 w 1254442"/>
                  <a:gd name="connsiteY406" fmla="*/ 956024 h 1682115"/>
                  <a:gd name="connsiteX407" fmla="*/ 1429 w 1254442"/>
                  <a:gd name="connsiteY407" fmla="*/ 956691 h 1682115"/>
                  <a:gd name="connsiteX408" fmla="*/ 2762 w 1254442"/>
                  <a:gd name="connsiteY408" fmla="*/ 966978 h 1682115"/>
                  <a:gd name="connsiteX409" fmla="*/ 3239 w 1254442"/>
                  <a:gd name="connsiteY409" fmla="*/ 973264 h 1682115"/>
                  <a:gd name="connsiteX410" fmla="*/ 4382 w 1254442"/>
                  <a:gd name="connsiteY410" fmla="*/ 983075 h 1682115"/>
                  <a:gd name="connsiteX411" fmla="*/ 3715 w 1254442"/>
                  <a:gd name="connsiteY411" fmla="*/ 988124 h 1682115"/>
                  <a:gd name="connsiteX412" fmla="*/ 4763 w 1254442"/>
                  <a:gd name="connsiteY412" fmla="*/ 996029 h 1682115"/>
                  <a:gd name="connsiteX413" fmla="*/ 5810 w 1254442"/>
                  <a:gd name="connsiteY413" fmla="*/ 999077 h 1682115"/>
                  <a:gd name="connsiteX414" fmla="*/ 4572 w 1254442"/>
                  <a:gd name="connsiteY414" fmla="*/ 1003554 h 1682115"/>
                  <a:gd name="connsiteX415" fmla="*/ 6572 w 1254442"/>
                  <a:gd name="connsiteY415" fmla="*/ 1014603 h 1682115"/>
                  <a:gd name="connsiteX416" fmla="*/ 7620 w 1254442"/>
                  <a:gd name="connsiteY416" fmla="*/ 1017937 h 1682115"/>
                  <a:gd name="connsiteX417" fmla="*/ 9144 w 1254442"/>
                  <a:gd name="connsiteY417" fmla="*/ 1024318 h 1682115"/>
                  <a:gd name="connsiteX418" fmla="*/ 8954 w 1254442"/>
                  <a:gd name="connsiteY418" fmla="*/ 1012698 h 1682115"/>
                  <a:gd name="connsiteX419" fmla="*/ 10096 w 1254442"/>
                  <a:gd name="connsiteY419" fmla="*/ 1014889 h 1682115"/>
                  <a:gd name="connsiteX420" fmla="*/ 11144 w 1254442"/>
                  <a:gd name="connsiteY420" fmla="*/ 1020032 h 1682115"/>
                  <a:gd name="connsiteX421" fmla="*/ 13716 w 1254442"/>
                  <a:gd name="connsiteY421" fmla="*/ 1029462 h 1682115"/>
                  <a:gd name="connsiteX422" fmla="*/ 15907 w 1254442"/>
                  <a:gd name="connsiteY422" fmla="*/ 1034034 h 1682115"/>
                  <a:gd name="connsiteX423" fmla="*/ 18097 w 1254442"/>
                  <a:gd name="connsiteY423" fmla="*/ 1044321 h 1682115"/>
                  <a:gd name="connsiteX424" fmla="*/ 19431 w 1254442"/>
                  <a:gd name="connsiteY424" fmla="*/ 1056323 h 1682115"/>
                  <a:gd name="connsiteX425" fmla="*/ 19145 w 1254442"/>
                  <a:gd name="connsiteY425" fmla="*/ 1060990 h 1682115"/>
                  <a:gd name="connsiteX426" fmla="*/ 20193 w 1254442"/>
                  <a:gd name="connsiteY426" fmla="*/ 1066991 h 1682115"/>
                  <a:gd name="connsiteX427" fmla="*/ 18097 w 1254442"/>
                  <a:gd name="connsiteY427" fmla="*/ 1061371 h 1682115"/>
                  <a:gd name="connsiteX428" fmla="*/ 17431 w 1254442"/>
                  <a:gd name="connsiteY428" fmla="*/ 1066800 h 1682115"/>
                  <a:gd name="connsiteX429" fmla="*/ 18193 w 1254442"/>
                  <a:gd name="connsiteY429" fmla="*/ 1074896 h 1682115"/>
                  <a:gd name="connsiteX430" fmla="*/ 18764 w 1254442"/>
                  <a:gd name="connsiteY430" fmla="*/ 1084802 h 1682115"/>
                  <a:gd name="connsiteX431" fmla="*/ 17431 w 1254442"/>
                  <a:gd name="connsiteY431" fmla="*/ 1088993 h 1682115"/>
                  <a:gd name="connsiteX432" fmla="*/ 15716 w 1254442"/>
                  <a:gd name="connsiteY432" fmla="*/ 1084040 h 1682115"/>
                  <a:gd name="connsiteX433" fmla="*/ 14954 w 1254442"/>
                  <a:gd name="connsiteY433" fmla="*/ 1089851 h 1682115"/>
                  <a:gd name="connsiteX434" fmla="*/ 12859 w 1254442"/>
                  <a:gd name="connsiteY434" fmla="*/ 1085564 h 1682115"/>
                  <a:gd name="connsiteX435" fmla="*/ 14478 w 1254442"/>
                  <a:gd name="connsiteY435" fmla="*/ 1094423 h 1682115"/>
                  <a:gd name="connsiteX436" fmla="*/ 11621 w 1254442"/>
                  <a:gd name="connsiteY436" fmla="*/ 1085564 h 1682115"/>
                  <a:gd name="connsiteX437" fmla="*/ 8668 w 1254442"/>
                  <a:gd name="connsiteY437" fmla="*/ 1075754 h 1682115"/>
                  <a:gd name="connsiteX438" fmla="*/ 6096 w 1254442"/>
                  <a:gd name="connsiteY438" fmla="*/ 1063943 h 1682115"/>
                  <a:gd name="connsiteX439" fmla="*/ 4572 w 1254442"/>
                  <a:gd name="connsiteY439" fmla="*/ 1058418 h 1682115"/>
                  <a:gd name="connsiteX440" fmla="*/ 4382 w 1254442"/>
                  <a:gd name="connsiteY440" fmla="*/ 1059561 h 1682115"/>
                  <a:gd name="connsiteX441" fmla="*/ 2572 w 1254442"/>
                  <a:gd name="connsiteY441" fmla="*/ 1050608 h 1682115"/>
                  <a:gd name="connsiteX442" fmla="*/ 3048 w 1254442"/>
                  <a:gd name="connsiteY442" fmla="*/ 1053846 h 1682115"/>
                  <a:gd name="connsiteX443" fmla="*/ 7715 w 1254442"/>
                  <a:gd name="connsiteY443" fmla="*/ 1077754 h 1682115"/>
                  <a:gd name="connsiteX444" fmla="*/ 8668 w 1254442"/>
                  <a:gd name="connsiteY444" fmla="*/ 1082231 h 1682115"/>
                  <a:gd name="connsiteX445" fmla="*/ 9811 w 1254442"/>
                  <a:gd name="connsiteY445" fmla="*/ 1088041 h 1682115"/>
                  <a:gd name="connsiteX446" fmla="*/ 14478 w 1254442"/>
                  <a:gd name="connsiteY446" fmla="*/ 1108234 h 1682115"/>
                  <a:gd name="connsiteX447" fmla="*/ 16097 w 1254442"/>
                  <a:gd name="connsiteY447" fmla="*/ 1114997 h 1682115"/>
                  <a:gd name="connsiteX448" fmla="*/ 18955 w 1254442"/>
                  <a:gd name="connsiteY448" fmla="*/ 1126617 h 1682115"/>
                  <a:gd name="connsiteX449" fmla="*/ 20098 w 1254442"/>
                  <a:gd name="connsiteY449" fmla="*/ 1130903 h 1682115"/>
                  <a:gd name="connsiteX450" fmla="*/ 19907 w 1254442"/>
                  <a:gd name="connsiteY450" fmla="*/ 1130332 h 1682115"/>
                  <a:gd name="connsiteX451" fmla="*/ 20193 w 1254442"/>
                  <a:gd name="connsiteY451" fmla="*/ 1131380 h 1682115"/>
                  <a:gd name="connsiteX452" fmla="*/ 21336 w 1254442"/>
                  <a:gd name="connsiteY452" fmla="*/ 1135666 h 1682115"/>
                  <a:gd name="connsiteX453" fmla="*/ 20193 w 1254442"/>
                  <a:gd name="connsiteY453" fmla="*/ 1131189 h 1682115"/>
                  <a:gd name="connsiteX454" fmla="*/ 20955 w 1254442"/>
                  <a:gd name="connsiteY454" fmla="*/ 1134237 h 1682115"/>
                  <a:gd name="connsiteX455" fmla="*/ 21527 w 1254442"/>
                  <a:gd name="connsiteY455" fmla="*/ 1136428 h 1682115"/>
                  <a:gd name="connsiteX456" fmla="*/ 21527 w 1254442"/>
                  <a:gd name="connsiteY456" fmla="*/ 1136714 h 1682115"/>
                  <a:gd name="connsiteX457" fmla="*/ 21908 w 1254442"/>
                  <a:gd name="connsiteY457" fmla="*/ 1137857 h 1682115"/>
                  <a:gd name="connsiteX458" fmla="*/ 22384 w 1254442"/>
                  <a:gd name="connsiteY458" fmla="*/ 1139762 h 1682115"/>
                  <a:gd name="connsiteX459" fmla="*/ 22384 w 1254442"/>
                  <a:gd name="connsiteY459" fmla="*/ 1139476 h 1682115"/>
                  <a:gd name="connsiteX460" fmla="*/ 22384 w 1254442"/>
                  <a:gd name="connsiteY460" fmla="*/ 1139857 h 1682115"/>
                  <a:gd name="connsiteX461" fmla="*/ 22765 w 1254442"/>
                  <a:gd name="connsiteY461" fmla="*/ 1141285 h 1682115"/>
                  <a:gd name="connsiteX462" fmla="*/ 22955 w 1254442"/>
                  <a:gd name="connsiteY462" fmla="*/ 1141952 h 1682115"/>
                  <a:gd name="connsiteX463" fmla="*/ 24098 w 1254442"/>
                  <a:gd name="connsiteY463" fmla="*/ 1146143 h 1682115"/>
                  <a:gd name="connsiteX464" fmla="*/ 23336 w 1254442"/>
                  <a:gd name="connsiteY464" fmla="*/ 1143381 h 1682115"/>
                  <a:gd name="connsiteX465" fmla="*/ 23336 w 1254442"/>
                  <a:gd name="connsiteY465" fmla="*/ 1143381 h 1682115"/>
                  <a:gd name="connsiteX466" fmla="*/ 24194 w 1254442"/>
                  <a:gd name="connsiteY466" fmla="*/ 1146905 h 1682115"/>
                  <a:gd name="connsiteX467" fmla="*/ 24765 w 1254442"/>
                  <a:gd name="connsiteY467" fmla="*/ 1149001 h 1682115"/>
                  <a:gd name="connsiteX468" fmla="*/ 24765 w 1254442"/>
                  <a:gd name="connsiteY468" fmla="*/ 1148810 h 1682115"/>
                  <a:gd name="connsiteX469" fmla="*/ 24765 w 1254442"/>
                  <a:gd name="connsiteY469" fmla="*/ 1149096 h 1682115"/>
                  <a:gd name="connsiteX470" fmla="*/ 24765 w 1254442"/>
                  <a:gd name="connsiteY470" fmla="*/ 1148906 h 1682115"/>
                  <a:gd name="connsiteX471" fmla="*/ 25718 w 1254442"/>
                  <a:gd name="connsiteY471" fmla="*/ 1152811 h 1682115"/>
                  <a:gd name="connsiteX472" fmla="*/ 27051 w 1254442"/>
                  <a:gd name="connsiteY472" fmla="*/ 1157478 h 1682115"/>
                  <a:gd name="connsiteX473" fmla="*/ 27432 w 1254442"/>
                  <a:gd name="connsiteY473" fmla="*/ 1158716 h 1682115"/>
                  <a:gd name="connsiteX474" fmla="*/ 28670 w 1254442"/>
                  <a:gd name="connsiteY474" fmla="*/ 1163193 h 1682115"/>
                  <a:gd name="connsiteX475" fmla="*/ 28099 w 1254442"/>
                  <a:gd name="connsiteY475" fmla="*/ 1161288 h 1682115"/>
                  <a:gd name="connsiteX476" fmla="*/ 29147 w 1254442"/>
                  <a:gd name="connsiteY476" fmla="*/ 1165098 h 1682115"/>
                  <a:gd name="connsiteX477" fmla="*/ 29432 w 1254442"/>
                  <a:gd name="connsiteY477" fmla="*/ 1166146 h 1682115"/>
                  <a:gd name="connsiteX478" fmla="*/ 29623 w 1254442"/>
                  <a:gd name="connsiteY478" fmla="*/ 1166717 h 1682115"/>
                  <a:gd name="connsiteX479" fmla="*/ 30099 w 1254442"/>
                  <a:gd name="connsiteY479" fmla="*/ 1168527 h 1682115"/>
                  <a:gd name="connsiteX480" fmla="*/ 30671 w 1254442"/>
                  <a:gd name="connsiteY480" fmla="*/ 1170623 h 1682115"/>
                  <a:gd name="connsiteX481" fmla="*/ 30290 w 1254442"/>
                  <a:gd name="connsiteY481" fmla="*/ 1169289 h 1682115"/>
                  <a:gd name="connsiteX482" fmla="*/ 31147 w 1254442"/>
                  <a:gd name="connsiteY482" fmla="*/ 1172242 h 1682115"/>
                  <a:gd name="connsiteX483" fmla="*/ 31337 w 1254442"/>
                  <a:gd name="connsiteY483" fmla="*/ 1172813 h 1682115"/>
                  <a:gd name="connsiteX484" fmla="*/ 31337 w 1254442"/>
                  <a:gd name="connsiteY484" fmla="*/ 1173099 h 1682115"/>
                  <a:gd name="connsiteX485" fmla="*/ 32099 w 1254442"/>
                  <a:gd name="connsiteY485" fmla="*/ 1175480 h 1682115"/>
                  <a:gd name="connsiteX486" fmla="*/ 32099 w 1254442"/>
                  <a:gd name="connsiteY486" fmla="*/ 1175480 h 1682115"/>
                  <a:gd name="connsiteX487" fmla="*/ 32099 w 1254442"/>
                  <a:gd name="connsiteY487" fmla="*/ 1175766 h 1682115"/>
                  <a:gd name="connsiteX488" fmla="*/ 32099 w 1254442"/>
                  <a:gd name="connsiteY488" fmla="*/ 1175957 h 1682115"/>
                  <a:gd name="connsiteX489" fmla="*/ 32099 w 1254442"/>
                  <a:gd name="connsiteY489" fmla="*/ 1176052 h 1682115"/>
                  <a:gd name="connsiteX490" fmla="*/ 32099 w 1254442"/>
                  <a:gd name="connsiteY490" fmla="*/ 1176528 h 1682115"/>
                  <a:gd name="connsiteX491" fmla="*/ 32099 w 1254442"/>
                  <a:gd name="connsiteY491" fmla="*/ 1176242 h 1682115"/>
                  <a:gd name="connsiteX492" fmla="*/ 32099 w 1254442"/>
                  <a:gd name="connsiteY492" fmla="*/ 1176242 h 1682115"/>
                  <a:gd name="connsiteX493" fmla="*/ 32099 w 1254442"/>
                  <a:gd name="connsiteY493" fmla="*/ 1176528 h 1682115"/>
                  <a:gd name="connsiteX494" fmla="*/ 32099 w 1254442"/>
                  <a:gd name="connsiteY494" fmla="*/ 1176528 h 1682115"/>
                  <a:gd name="connsiteX495" fmla="*/ 32099 w 1254442"/>
                  <a:gd name="connsiteY495" fmla="*/ 1176528 h 1682115"/>
                  <a:gd name="connsiteX496" fmla="*/ 32099 w 1254442"/>
                  <a:gd name="connsiteY496" fmla="*/ 1176528 h 1682115"/>
                  <a:gd name="connsiteX497" fmla="*/ 32194 w 1254442"/>
                  <a:gd name="connsiteY497" fmla="*/ 1176909 h 1682115"/>
                  <a:gd name="connsiteX498" fmla="*/ 32385 w 1254442"/>
                  <a:gd name="connsiteY498" fmla="*/ 1177671 h 1682115"/>
                  <a:gd name="connsiteX499" fmla="*/ 32766 w 1254442"/>
                  <a:gd name="connsiteY499" fmla="*/ 1178909 h 1682115"/>
                  <a:gd name="connsiteX500" fmla="*/ 32766 w 1254442"/>
                  <a:gd name="connsiteY500" fmla="*/ 1178624 h 1682115"/>
                  <a:gd name="connsiteX501" fmla="*/ 33242 w 1254442"/>
                  <a:gd name="connsiteY501" fmla="*/ 1180529 h 1682115"/>
                  <a:gd name="connsiteX502" fmla="*/ 33623 w 1254442"/>
                  <a:gd name="connsiteY502" fmla="*/ 1181767 h 1682115"/>
                  <a:gd name="connsiteX503" fmla="*/ 33909 w 1254442"/>
                  <a:gd name="connsiteY503" fmla="*/ 1182910 h 1682115"/>
                  <a:gd name="connsiteX504" fmla="*/ 33909 w 1254442"/>
                  <a:gd name="connsiteY504" fmla="*/ 1182719 h 1682115"/>
                  <a:gd name="connsiteX505" fmla="*/ 33909 w 1254442"/>
                  <a:gd name="connsiteY505" fmla="*/ 1183100 h 1682115"/>
                  <a:gd name="connsiteX506" fmla="*/ 33909 w 1254442"/>
                  <a:gd name="connsiteY506" fmla="*/ 1183386 h 1682115"/>
                  <a:gd name="connsiteX507" fmla="*/ 34100 w 1254442"/>
                  <a:gd name="connsiteY507" fmla="*/ 1183862 h 1682115"/>
                  <a:gd name="connsiteX508" fmla="*/ 34385 w 1254442"/>
                  <a:gd name="connsiteY508" fmla="*/ 1184815 h 1682115"/>
                  <a:gd name="connsiteX509" fmla="*/ 34385 w 1254442"/>
                  <a:gd name="connsiteY509" fmla="*/ 1185196 h 1682115"/>
                  <a:gd name="connsiteX510" fmla="*/ 34576 w 1254442"/>
                  <a:gd name="connsiteY510" fmla="*/ 1185386 h 1682115"/>
                  <a:gd name="connsiteX511" fmla="*/ 34576 w 1254442"/>
                  <a:gd name="connsiteY511" fmla="*/ 1185767 h 1682115"/>
                  <a:gd name="connsiteX512" fmla="*/ 34766 w 1254442"/>
                  <a:gd name="connsiteY512" fmla="*/ 1186148 h 1682115"/>
                  <a:gd name="connsiteX513" fmla="*/ 35147 w 1254442"/>
                  <a:gd name="connsiteY513" fmla="*/ 1187387 h 1682115"/>
                  <a:gd name="connsiteX514" fmla="*/ 35147 w 1254442"/>
                  <a:gd name="connsiteY514" fmla="*/ 1186910 h 1682115"/>
                  <a:gd name="connsiteX515" fmla="*/ 34957 w 1254442"/>
                  <a:gd name="connsiteY515" fmla="*/ 1186910 h 1682115"/>
                  <a:gd name="connsiteX516" fmla="*/ 34957 w 1254442"/>
                  <a:gd name="connsiteY516" fmla="*/ 1186910 h 1682115"/>
                  <a:gd name="connsiteX517" fmla="*/ 34862 w 1254442"/>
                  <a:gd name="connsiteY517" fmla="*/ 1186434 h 1682115"/>
                  <a:gd name="connsiteX518" fmla="*/ 34862 w 1254442"/>
                  <a:gd name="connsiteY518" fmla="*/ 1186434 h 1682115"/>
                  <a:gd name="connsiteX519" fmla="*/ 34862 w 1254442"/>
                  <a:gd name="connsiteY519" fmla="*/ 1186625 h 1682115"/>
                  <a:gd name="connsiteX520" fmla="*/ 34862 w 1254442"/>
                  <a:gd name="connsiteY520" fmla="*/ 1186625 h 1682115"/>
                  <a:gd name="connsiteX521" fmla="*/ 34862 w 1254442"/>
                  <a:gd name="connsiteY521" fmla="*/ 1186910 h 1682115"/>
                  <a:gd name="connsiteX522" fmla="*/ 34862 w 1254442"/>
                  <a:gd name="connsiteY522" fmla="*/ 1186910 h 1682115"/>
                  <a:gd name="connsiteX523" fmla="*/ 35052 w 1254442"/>
                  <a:gd name="connsiteY523" fmla="*/ 1187577 h 1682115"/>
                  <a:gd name="connsiteX524" fmla="*/ 35243 w 1254442"/>
                  <a:gd name="connsiteY524" fmla="*/ 1188339 h 1682115"/>
                  <a:gd name="connsiteX525" fmla="*/ 35243 w 1254442"/>
                  <a:gd name="connsiteY525" fmla="*/ 1188530 h 1682115"/>
                  <a:gd name="connsiteX526" fmla="*/ 35338 w 1254442"/>
                  <a:gd name="connsiteY526" fmla="*/ 1188720 h 1682115"/>
                  <a:gd name="connsiteX527" fmla="*/ 35338 w 1254442"/>
                  <a:gd name="connsiteY527" fmla="*/ 1188720 h 1682115"/>
                  <a:gd name="connsiteX528" fmla="*/ 35528 w 1254442"/>
                  <a:gd name="connsiteY528" fmla="*/ 1189482 h 1682115"/>
                  <a:gd name="connsiteX529" fmla="*/ 35814 w 1254442"/>
                  <a:gd name="connsiteY529" fmla="*/ 1190530 h 1682115"/>
                  <a:gd name="connsiteX530" fmla="*/ 36005 w 1254442"/>
                  <a:gd name="connsiteY530" fmla="*/ 1191006 h 1682115"/>
                  <a:gd name="connsiteX531" fmla="*/ 36005 w 1254442"/>
                  <a:gd name="connsiteY531" fmla="*/ 1191387 h 1682115"/>
                  <a:gd name="connsiteX532" fmla="*/ 36100 w 1254442"/>
                  <a:gd name="connsiteY532" fmla="*/ 1191387 h 1682115"/>
                  <a:gd name="connsiteX533" fmla="*/ 36671 w 1254442"/>
                  <a:gd name="connsiteY533" fmla="*/ 1193102 h 1682115"/>
                  <a:gd name="connsiteX534" fmla="*/ 36862 w 1254442"/>
                  <a:gd name="connsiteY534" fmla="*/ 1193768 h 1682115"/>
                  <a:gd name="connsiteX535" fmla="*/ 37243 w 1254442"/>
                  <a:gd name="connsiteY535" fmla="*/ 1195007 h 1682115"/>
                  <a:gd name="connsiteX536" fmla="*/ 37624 w 1254442"/>
                  <a:gd name="connsiteY536" fmla="*/ 1196150 h 1682115"/>
                  <a:gd name="connsiteX537" fmla="*/ 37624 w 1254442"/>
                  <a:gd name="connsiteY537" fmla="*/ 1196150 h 1682115"/>
                  <a:gd name="connsiteX538" fmla="*/ 38481 w 1254442"/>
                  <a:gd name="connsiteY538" fmla="*/ 1199102 h 1682115"/>
                  <a:gd name="connsiteX539" fmla="*/ 37719 w 1254442"/>
                  <a:gd name="connsiteY539" fmla="*/ 1196626 h 1682115"/>
                  <a:gd name="connsiteX540" fmla="*/ 38100 w 1254442"/>
                  <a:gd name="connsiteY540" fmla="*/ 1197959 h 1682115"/>
                  <a:gd name="connsiteX541" fmla="*/ 37910 w 1254442"/>
                  <a:gd name="connsiteY541" fmla="*/ 1197197 h 1682115"/>
                  <a:gd name="connsiteX542" fmla="*/ 37910 w 1254442"/>
                  <a:gd name="connsiteY542" fmla="*/ 1197197 h 1682115"/>
                  <a:gd name="connsiteX543" fmla="*/ 37910 w 1254442"/>
                  <a:gd name="connsiteY543" fmla="*/ 1197007 h 1682115"/>
                  <a:gd name="connsiteX544" fmla="*/ 37719 w 1254442"/>
                  <a:gd name="connsiteY544" fmla="*/ 1196245 h 1682115"/>
                  <a:gd name="connsiteX545" fmla="*/ 37719 w 1254442"/>
                  <a:gd name="connsiteY545" fmla="*/ 1196245 h 1682115"/>
                  <a:gd name="connsiteX546" fmla="*/ 38100 w 1254442"/>
                  <a:gd name="connsiteY546" fmla="*/ 1197483 h 1682115"/>
                  <a:gd name="connsiteX547" fmla="*/ 38100 w 1254442"/>
                  <a:gd name="connsiteY547" fmla="*/ 1197197 h 1682115"/>
                  <a:gd name="connsiteX548" fmla="*/ 38386 w 1254442"/>
                  <a:gd name="connsiteY548" fmla="*/ 1198435 h 1682115"/>
                  <a:gd name="connsiteX549" fmla="*/ 38195 w 1254442"/>
                  <a:gd name="connsiteY549" fmla="*/ 1197959 h 1682115"/>
                  <a:gd name="connsiteX550" fmla="*/ 39053 w 1254442"/>
                  <a:gd name="connsiteY550" fmla="*/ 1200817 h 1682115"/>
                  <a:gd name="connsiteX551" fmla="*/ 39529 w 1254442"/>
                  <a:gd name="connsiteY551" fmla="*/ 1202246 h 1682115"/>
                  <a:gd name="connsiteX552" fmla="*/ 39719 w 1254442"/>
                  <a:gd name="connsiteY552" fmla="*/ 1202817 h 1682115"/>
                  <a:gd name="connsiteX553" fmla="*/ 40291 w 1254442"/>
                  <a:gd name="connsiteY553" fmla="*/ 1204532 h 1682115"/>
                  <a:gd name="connsiteX554" fmla="*/ 40481 w 1254442"/>
                  <a:gd name="connsiteY554" fmla="*/ 1205103 h 1682115"/>
                  <a:gd name="connsiteX555" fmla="*/ 40672 w 1254442"/>
                  <a:gd name="connsiteY555" fmla="*/ 1205865 h 1682115"/>
                  <a:gd name="connsiteX556" fmla="*/ 40672 w 1254442"/>
                  <a:gd name="connsiteY556" fmla="*/ 1206246 h 1682115"/>
                  <a:gd name="connsiteX557" fmla="*/ 41434 w 1254442"/>
                  <a:gd name="connsiteY557" fmla="*/ 1208151 h 1682115"/>
                  <a:gd name="connsiteX558" fmla="*/ 41434 w 1254442"/>
                  <a:gd name="connsiteY558" fmla="*/ 1208342 h 1682115"/>
                  <a:gd name="connsiteX559" fmla="*/ 41529 w 1254442"/>
                  <a:gd name="connsiteY559" fmla="*/ 1208532 h 1682115"/>
                  <a:gd name="connsiteX560" fmla="*/ 41529 w 1254442"/>
                  <a:gd name="connsiteY560" fmla="*/ 1208246 h 1682115"/>
                  <a:gd name="connsiteX561" fmla="*/ 42196 w 1254442"/>
                  <a:gd name="connsiteY561" fmla="*/ 1210532 h 1682115"/>
                  <a:gd name="connsiteX562" fmla="*/ 42577 w 1254442"/>
                  <a:gd name="connsiteY562" fmla="*/ 1211580 h 1682115"/>
                  <a:gd name="connsiteX563" fmla="*/ 42863 w 1254442"/>
                  <a:gd name="connsiteY563" fmla="*/ 1212437 h 1682115"/>
                  <a:gd name="connsiteX564" fmla="*/ 43625 w 1254442"/>
                  <a:gd name="connsiteY564" fmla="*/ 1214818 h 1682115"/>
                  <a:gd name="connsiteX565" fmla="*/ 42863 w 1254442"/>
                  <a:gd name="connsiteY565" fmla="*/ 1212437 h 1682115"/>
                  <a:gd name="connsiteX566" fmla="*/ 44577 w 1254442"/>
                  <a:gd name="connsiteY566" fmla="*/ 1217867 h 1682115"/>
                  <a:gd name="connsiteX567" fmla="*/ 44863 w 1254442"/>
                  <a:gd name="connsiteY567" fmla="*/ 1218819 h 1682115"/>
                  <a:gd name="connsiteX568" fmla="*/ 44577 w 1254442"/>
                  <a:gd name="connsiteY568" fmla="*/ 1217867 h 1682115"/>
                  <a:gd name="connsiteX569" fmla="*/ 44958 w 1254442"/>
                  <a:gd name="connsiteY569" fmla="*/ 1218914 h 1682115"/>
                  <a:gd name="connsiteX570" fmla="*/ 44958 w 1254442"/>
                  <a:gd name="connsiteY570" fmla="*/ 1218914 h 1682115"/>
                  <a:gd name="connsiteX571" fmla="*/ 44958 w 1254442"/>
                  <a:gd name="connsiteY571" fmla="*/ 1219105 h 1682115"/>
                  <a:gd name="connsiteX572" fmla="*/ 44958 w 1254442"/>
                  <a:gd name="connsiteY572" fmla="*/ 1218914 h 1682115"/>
                  <a:gd name="connsiteX573" fmla="*/ 44863 w 1254442"/>
                  <a:gd name="connsiteY573" fmla="*/ 1218819 h 1682115"/>
                  <a:gd name="connsiteX574" fmla="*/ 45530 w 1254442"/>
                  <a:gd name="connsiteY574" fmla="*/ 1220724 h 1682115"/>
                  <a:gd name="connsiteX575" fmla="*/ 45530 w 1254442"/>
                  <a:gd name="connsiteY575" fmla="*/ 1221105 h 1682115"/>
                  <a:gd name="connsiteX576" fmla="*/ 45815 w 1254442"/>
                  <a:gd name="connsiteY576" fmla="*/ 1221486 h 1682115"/>
                  <a:gd name="connsiteX577" fmla="*/ 46387 w 1254442"/>
                  <a:gd name="connsiteY577" fmla="*/ 1223296 h 1682115"/>
                  <a:gd name="connsiteX578" fmla="*/ 48006 w 1254442"/>
                  <a:gd name="connsiteY578" fmla="*/ 1228058 h 1682115"/>
                  <a:gd name="connsiteX579" fmla="*/ 48006 w 1254442"/>
                  <a:gd name="connsiteY579" fmla="*/ 1228344 h 1682115"/>
                  <a:gd name="connsiteX580" fmla="*/ 48101 w 1254442"/>
                  <a:gd name="connsiteY580" fmla="*/ 1228439 h 1682115"/>
                  <a:gd name="connsiteX581" fmla="*/ 48101 w 1254442"/>
                  <a:gd name="connsiteY581" fmla="*/ 1228820 h 1682115"/>
                  <a:gd name="connsiteX582" fmla="*/ 48292 w 1254442"/>
                  <a:gd name="connsiteY582" fmla="*/ 1228820 h 1682115"/>
                  <a:gd name="connsiteX583" fmla="*/ 48101 w 1254442"/>
                  <a:gd name="connsiteY583" fmla="*/ 1228249 h 1682115"/>
                  <a:gd name="connsiteX584" fmla="*/ 48101 w 1254442"/>
                  <a:gd name="connsiteY584" fmla="*/ 1228249 h 1682115"/>
                  <a:gd name="connsiteX585" fmla="*/ 46577 w 1254442"/>
                  <a:gd name="connsiteY585" fmla="*/ 1223486 h 1682115"/>
                  <a:gd name="connsiteX586" fmla="*/ 48101 w 1254442"/>
                  <a:gd name="connsiteY586" fmla="*/ 1227963 h 1682115"/>
                  <a:gd name="connsiteX587" fmla="*/ 48101 w 1254442"/>
                  <a:gd name="connsiteY587" fmla="*/ 1227582 h 1682115"/>
                  <a:gd name="connsiteX588" fmla="*/ 48863 w 1254442"/>
                  <a:gd name="connsiteY588" fmla="*/ 1230344 h 1682115"/>
                  <a:gd name="connsiteX589" fmla="*/ 48482 w 1254442"/>
                  <a:gd name="connsiteY589" fmla="*/ 1229201 h 1682115"/>
                  <a:gd name="connsiteX590" fmla="*/ 48863 w 1254442"/>
                  <a:gd name="connsiteY590" fmla="*/ 1230249 h 1682115"/>
                  <a:gd name="connsiteX591" fmla="*/ 49244 w 1254442"/>
                  <a:gd name="connsiteY591" fmla="*/ 1231297 h 1682115"/>
                  <a:gd name="connsiteX592" fmla="*/ 49435 w 1254442"/>
                  <a:gd name="connsiteY592" fmla="*/ 1231868 h 1682115"/>
                  <a:gd name="connsiteX593" fmla="*/ 49435 w 1254442"/>
                  <a:gd name="connsiteY593" fmla="*/ 1231868 h 1682115"/>
                  <a:gd name="connsiteX594" fmla="*/ 49435 w 1254442"/>
                  <a:gd name="connsiteY594" fmla="*/ 1232059 h 1682115"/>
                  <a:gd name="connsiteX595" fmla="*/ 50006 w 1254442"/>
                  <a:gd name="connsiteY595" fmla="*/ 1233773 h 1682115"/>
                  <a:gd name="connsiteX596" fmla="*/ 49625 w 1254442"/>
                  <a:gd name="connsiteY596" fmla="*/ 1232630 h 1682115"/>
                  <a:gd name="connsiteX597" fmla="*/ 49911 w 1254442"/>
                  <a:gd name="connsiteY597" fmla="*/ 1233392 h 1682115"/>
                  <a:gd name="connsiteX598" fmla="*/ 50483 w 1254442"/>
                  <a:gd name="connsiteY598" fmla="*/ 1235107 h 1682115"/>
                  <a:gd name="connsiteX599" fmla="*/ 50292 w 1254442"/>
                  <a:gd name="connsiteY599" fmla="*/ 1234535 h 1682115"/>
                  <a:gd name="connsiteX600" fmla="*/ 50292 w 1254442"/>
                  <a:gd name="connsiteY600" fmla="*/ 1234535 h 1682115"/>
                  <a:gd name="connsiteX601" fmla="*/ 51245 w 1254442"/>
                  <a:gd name="connsiteY601" fmla="*/ 1237488 h 1682115"/>
                  <a:gd name="connsiteX602" fmla="*/ 51054 w 1254442"/>
                  <a:gd name="connsiteY602" fmla="*/ 1236821 h 1682115"/>
                  <a:gd name="connsiteX603" fmla="*/ 51340 w 1254442"/>
                  <a:gd name="connsiteY603" fmla="*/ 1237583 h 1682115"/>
                  <a:gd name="connsiteX604" fmla="*/ 51626 w 1254442"/>
                  <a:gd name="connsiteY604" fmla="*/ 1238536 h 1682115"/>
                  <a:gd name="connsiteX605" fmla="*/ 51435 w 1254442"/>
                  <a:gd name="connsiteY605" fmla="*/ 1238155 h 1682115"/>
                  <a:gd name="connsiteX606" fmla="*/ 51245 w 1254442"/>
                  <a:gd name="connsiteY606" fmla="*/ 1237488 h 1682115"/>
                  <a:gd name="connsiteX607" fmla="*/ 51245 w 1254442"/>
                  <a:gd name="connsiteY607" fmla="*/ 1237869 h 1682115"/>
                  <a:gd name="connsiteX608" fmla="*/ 51245 w 1254442"/>
                  <a:gd name="connsiteY608" fmla="*/ 1237393 h 1682115"/>
                  <a:gd name="connsiteX609" fmla="*/ 50483 w 1254442"/>
                  <a:gd name="connsiteY609" fmla="*/ 1235202 h 1682115"/>
                  <a:gd name="connsiteX610" fmla="*/ 50768 w 1254442"/>
                  <a:gd name="connsiteY610" fmla="*/ 1236155 h 1682115"/>
                  <a:gd name="connsiteX611" fmla="*/ 50768 w 1254442"/>
                  <a:gd name="connsiteY611" fmla="*/ 1236155 h 1682115"/>
                  <a:gd name="connsiteX612" fmla="*/ 50768 w 1254442"/>
                  <a:gd name="connsiteY612" fmla="*/ 1236155 h 1682115"/>
                  <a:gd name="connsiteX613" fmla="*/ 50768 w 1254442"/>
                  <a:gd name="connsiteY613" fmla="*/ 1236155 h 1682115"/>
                  <a:gd name="connsiteX614" fmla="*/ 50768 w 1254442"/>
                  <a:gd name="connsiteY614" fmla="*/ 1236440 h 1682115"/>
                  <a:gd name="connsiteX615" fmla="*/ 51340 w 1254442"/>
                  <a:gd name="connsiteY615" fmla="*/ 1238060 h 1682115"/>
                  <a:gd name="connsiteX616" fmla="*/ 51530 w 1254442"/>
                  <a:gd name="connsiteY616" fmla="*/ 1238536 h 1682115"/>
                  <a:gd name="connsiteX617" fmla="*/ 51530 w 1254442"/>
                  <a:gd name="connsiteY617" fmla="*/ 1238822 h 1682115"/>
                  <a:gd name="connsiteX618" fmla="*/ 51721 w 1254442"/>
                  <a:gd name="connsiteY618" fmla="*/ 1239203 h 1682115"/>
                  <a:gd name="connsiteX619" fmla="*/ 52007 w 1254442"/>
                  <a:gd name="connsiteY619" fmla="*/ 1240155 h 1682115"/>
                  <a:gd name="connsiteX620" fmla="*/ 52197 w 1254442"/>
                  <a:gd name="connsiteY620" fmla="*/ 1240631 h 1682115"/>
                  <a:gd name="connsiteX621" fmla="*/ 52197 w 1254442"/>
                  <a:gd name="connsiteY621" fmla="*/ 1241012 h 1682115"/>
                  <a:gd name="connsiteX622" fmla="*/ 52388 w 1254442"/>
                  <a:gd name="connsiteY622" fmla="*/ 1241203 h 1682115"/>
                  <a:gd name="connsiteX623" fmla="*/ 52673 w 1254442"/>
                  <a:gd name="connsiteY623" fmla="*/ 1241965 h 1682115"/>
                  <a:gd name="connsiteX624" fmla="*/ 53340 w 1254442"/>
                  <a:gd name="connsiteY624" fmla="*/ 1243775 h 1682115"/>
                  <a:gd name="connsiteX625" fmla="*/ 53340 w 1254442"/>
                  <a:gd name="connsiteY625" fmla="*/ 1243965 h 1682115"/>
                  <a:gd name="connsiteX626" fmla="*/ 53912 w 1254442"/>
                  <a:gd name="connsiteY626" fmla="*/ 1245394 h 1682115"/>
                  <a:gd name="connsiteX627" fmla="*/ 54388 w 1254442"/>
                  <a:gd name="connsiteY627" fmla="*/ 1246727 h 1682115"/>
                  <a:gd name="connsiteX628" fmla="*/ 54197 w 1254442"/>
                  <a:gd name="connsiteY628" fmla="*/ 1246060 h 1682115"/>
                  <a:gd name="connsiteX629" fmla="*/ 54769 w 1254442"/>
                  <a:gd name="connsiteY629" fmla="*/ 1247775 h 1682115"/>
                  <a:gd name="connsiteX630" fmla="*/ 54959 w 1254442"/>
                  <a:gd name="connsiteY630" fmla="*/ 1248442 h 1682115"/>
                  <a:gd name="connsiteX631" fmla="*/ 55531 w 1254442"/>
                  <a:gd name="connsiteY631" fmla="*/ 1249966 h 1682115"/>
                  <a:gd name="connsiteX632" fmla="*/ 55531 w 1254442"/>
                  <a:gd name="connsiteY632" fmla="*/ 1250156 h 1682115"/>
                  <a:gd name="connsiteX633" fmla="*/ 55817 w 1254442"/>
                  <a:gd name="connsiteY633" fmla="*/ 1250633 h 1682115"/>
                  <a:gd name="connsiteX634" fmla="*/ 55817 w 1254442"/>
                  <a:gd name="connsiteY634" fmla="*/ 1250823 h 1682115"/>
                  <a:gd name="connsiteX635" fmla="*/ 56007 w 1254442"/>
                  <a:gd name="connsiteY635" fmla="*/ 1251109 h 1682115"/>
                  <a:gd name="connsiteX636" fmla="*/ 56007 w 1254442"/>
                  <a:gd name="connsiteY636" fmla="*/ 1251109 h 1682115"/>
                  <a:gd name="connsiteX637" fmla="*/ 56007 w 1254442"/>
                  <a:gd name="connsiteY637" fmla="*/ 1250918 h 1682115"/>
                  <a:gd name="connsiteX638" fmla="*/ 56007 w 1254442"/>
                  <a:gd name="connsiteY638" fmla="*/ 1250918 h 1682115"/>
                  <a:gd name="connsiteX639" fmla="*/ 55531 w 1254442"/>
                  <a:gd name="connsiteY639" fmla="*/ 1249489 h 1682115"/>
                  <a:gd name="connsiteX640" fmla="*/ 55912 w 1254442"/>
                  <a:gd name="connsiteY640" fmla="*/ 1250633 h 1682115"/>
                  <a:gd name="connsiteX641" fmla="*/ 55626 w 1254442"/>
                  <a:gd name="connsiteY641" fmla="*/ 1249871 h 1682115"/>
                  <a:gd name="connsiteX642" fmla="*/ 56198 w 1254442"/>
                  <a:gd name="connsiteY642" fmla="*/ 1251585 h 1682115"/>
                  <a:gd name="connsiteX643" fmla="*/ 56674 w 1254442"/>
                  <a:gd name="connsiteY643" fmla="*/ 1252918 h 1682115"/>
                  <a:gd name="connsiteX644" fmla="*/ 56959 w 1254442"/>
                  <a:gd name="connsiteY644" fmla="*/ 1253681 h 1682115"/>
                  <a:gd name="connsiteX645" fmla="*/ 56959 w 1254442"/>
                  <a:gd name="connsiteY645" fmla="*/ 1253300 h 1682115"/>
                  <a:gd name="connsiteX646" fmla="*/ 57245 w 1254442"/>
                  <a:gd name="connsiteY646" fmla="*/ 1254347 h 1682115"/>
                  <a:gd name="connsiteX647" fmla="*/ 57245 w 1254442"/>
                  <a:gd name="connsiteY647" fmla="*/ 1254538 h 1682115"/>
                  <a:gd name="connsiteX648" fmla="*/ 57245 w 1254442"/>
                  <a:gd name="connsiteY648" fmla="*/ 1254347 h 1682115"/>
                  <a:gd name="connsiteX649" fmla="*/ 57531 w 1254442"/>
                  <a:gd name="connsiteY649" fmla="*/ 1255205 h 1682115"/>
                  <a:gd name="connsiteX650" fmla="*/ 57817 w 1254442"/>
                  <a:gd name="connsiteY650" fmla="*/ 1256062 h 1682115"/>
                  <a:gd name="connsiteX651" fmla="*/ 58007 w 1254442"/>
                  <a:gd name="connsiteY651" fmla="*/ 1256538 h 1682115"/>
                  <a:gd name="connsiteX652" fmla="*/ 59436 w 1254442"/>
                  <a:gd name="connsiteY652" fmla="*/ 1260539 h 1682115"/>
                  <a:gd name="connsiteX653" fmla="*/ 59627 w 1254442"/>
                  <a:gd name="connsiteY653" fmla="*/ 1261110 h 1682115"/>
                  <a:gd name="connsiteX654" fmla="*/ 59627 w 1254442"/>
                  <a:gd name="connsiteY654" fmla="*/ 1261110 h 1682115"/>
                  <a:gd name="connsiteX655" fmla="*/ 59627 w 1254442"/>
                  <a:gd name="connsiteY655" fmla="*/ 1261110 h 1682115"/>
                  <a:gd name="connsiteX656" fmla="*/ 59912 w 1254442"/>
                  <a:gd name="connsiteY656" fmla="*/ 1261777 h 1682115"/>
                  <a:gd name="connsiteX657" fmla="*/ 59912 w 1254442"/>
                  <a:gd name="connsiteY657" fmla="*/ 1261777 h 1682115"/>
                  <a:gd name="connsiteX658" fmla="*/ 59912 w 1254442"/>
                  <a:gd name="connsiteY658" fmla="*/ 1262063 h 1682115"/>
                  <a:gd name="connsiteX659" fmla="*/ 60198 w 1254442"/>
                  <a:gd name="connsiteY659" fmla="*/ 1262634 h 1682115"/>
                  <a:gd name="connsiteX660" fmla="*/ 60389 w 1254442"/>
                  <a:gd name="connsiteY660" fmla="*/ 1263206 h 1682115"/>
                  <a:gd name="connsiteX661" fmla="*/ 60389 w 1254442"/>
                  <a:gd name="connsiteY661" fmla="*/ 1263206 h 1682115"/>
                  <a:gd name="connsiteX662" fmla="*/ 60389 w 1254442"/>
                  <a:gd name="connsiteY662" fmla="*/ 1263206 h 1682115"/>
                  <a:gd name="connsiteX663" fmla="*/ 60674 w 1254442"/>
                  <a:gd name="connsiteY663" fmla="*/ 1264063 h 1682115"/>
                  <a:gd name="connsiteX664" fmla="*/ 60389 w 1254442"/>
                  <a:gd name="connsiteY664" fmla="*/ 1263301 h 1682115"/>
                  <a:gd name="connsiteX665" fmla="*/ 60389 w 1254442"/>
                  <a:gd name="connsiteY665" fmla="*/ 1263491 h 1682115"/>
                  <a:gd name="connsiteX666" fmla="*/ 60389 w 1254442"/>
                  <a:gd name="connsiteY666" fmla="*/ 1263491 h 1682115"/>
                  <a:gd name="connsiteX667" fmla="*/ 60389 w 1254442"/>
                  <a:gd name="connsiteY667" fmla="*/ 1263682 h 1682115"/>
                  <a:gd name="connsiteX668" fmla="*/ 60579 w 1254442"/>
                  <a:gd name="connsiteY668" fmla="*/ 1263968 h 1682115"/>
                  <a:gd name="connsiteX669" fmla="*/ 60770 w 1254442"/>
                  <a:gd name="connsiteY669" fmla="*/ 1264634 h 1682115"/>
                  <a:gd name="connsiteX670" fmla="*/ 60960 w 1254442"/>
                  <a:gd name="connsiteY670" fmla="*/ 1265015 h 1682115"/>
                  <a:gd name="connsiteX671" fmla="*/ 61436 w 1254442"/>
                  <a:gd name="connsiteY671" fmla="*/ 1266444 h 1682115"/>
                  <a:gd name="connsiteX672" fmla="*/ 61436 w 1254442"/>
                  <a:gd name="connsiteY672" fmla="*/ 1266444 h 1682115"/>
                  <a:gd name="connsiteX673" fmla="*/ 61341 w 1254442"/>
                  <a:gd name="connsiteY673" fmla="*/ 1265968 h 1682115"/>
                  <a:gd name="connsiteX674" fmla="*/ 62198 w 1254442"/>
                  <a:gd name="connsiteY674" fmla="*/ 1268349 h 1682115"/>
                  <a:gd name="connsiteX675" fmla="*/ 62865 w 1254442"/>
                  <a:gd name="connsiteY675" fmla="*/ 1270064 h 1682115"/>
                  <a:gd name="connsiteX676" fmla="*/ 63056 w 1254442"/>
                  <a:gd name="connsiteY676" fmla="*/ 1270635 h 1682115"/>
                  <a:gd name="connsiteX677" fmla="*/ 63341 w 1254442"/>
                  <a:gd name="connsiteY677" fmla="*/ 1271492 h 1682115"/>
                  <a:gd name="connsiteX678" fmla="*/ 63818 w 1254442"/>
                  <a:gd name="connsiteY678" fmla="*/ 1272731 h 1682115"/>
                  <a:gd name="connsiteX679" fmla="*/ 63818 w 1254442"/>
                  <a:gd name="connsiteY679" fmla="*/ 1272921 h 1682115"/>
                  <a:gd name="connsiteX680" fmla="*/ 63913 w 1254442"/>
                  <a:gd name="connsiteY680" fmla="*/ 1273112 h 1682115"/>
                  <a:gd name="connsiteX681" fmla="*/ 64580 w 1254442"/>
                  <a:gd name="connsiteY681" fmla="*/ 1274921 h 1682115"/>
                  <a:gd name="connsiteX682" fmla="*/ 64770 w 1254442"/>
                  <a:gd name="connsiteY682" fmla="*/ 1275493 h 1682115"/>
                  <a:gd name="connsiteX683" fmla="*/ 63913 w 1254442"/>
                  <a:gd name="connsiteY683" fmla="*/ 1273207 h 1682115"/>
                  <a:gd name="connsiteX684" fmla="*/ 63913 w 1254442"/>
                  <a:gd name="connsiteY684" fmla="*/ 1273397 h 1682115"/>
                  <a:gd name="connsiteX685" fmla="*/ 64103 w 1254442"/>
                  <a:gd name="connsiteY685" fmla="*/ 1273683 h 1682115"/>
                  <a:gd name="connsiteX686" fmla="*/ 64103 w 1254442"/>
                  <a:gd name="connsiteY686" fmla="*/ 1273683 h 1682115"/>
                  <a:gd name="connsiteX687" fmla="*/ 64103 w 1254442"/>
                  <a:gd name="connsiteY687" fmla="*/ 1273969 h 1682115"/>
                  <a:gd name="connsiteX688" fmla="*/ 64294 w 1254442"/>
                  <a:gd name="connsiteY688" fmla="*/ 1274540 h 1682115"/>
                  <a:gd name="connsiteX689" fmla="*/ 64580 w 1254442"/>
                  <a:gd name="connsiteY689" fmla="*/ 1275207 h 1682115"/>
                  <a:gd name="connsiteX690" fmla="*/ 64770 w 1254442"/>
                  <a:gd name="connsiteY690" fmla="*/ 1275683 h 1682115"/>
                  <a:gd name="connsiteX691" fmla="*/ 65056 w 1254442"/>
                  <a:gd name="connsiteY691" fmla="*/ 1276445 h 1682115"/>
                  <a:gd name="connsiteX692" fmla="*/ 65056 w 1254442"/>
                  <a:gd name="connsiteY692" fmla="*/ 1276160 h 1682115"/>
                  <a:gd name="connsiteX693" fmla="*/ 65056 w 1254442"/>
                  <a:gd name="connsiteY693" fmla="*/ 1276445 h 1682115"/>
                  <a:gd name="connsiteX694" fmla="*/ 65342 w 1254442"/>
                  <a:gd name="connsiteY694" fmla="*/ 1277112 h 1682115"/>
                  <a:gd name="connsiteX695" fmla="*/ 65532 w 1254442"/>
                  <a:gd name="connsiteY695" fmla="*/ 1277588 h 1682115"/>
                  <a:gd name="connsiteX696" fmla="*/ 66104 w 1254442"/>
                  <a:gd name="connsiteY696" fmla="*/ 1279017 h 1682115"/>
                  <a:gd name="connsiteX697" fmla="*/ 66389 w 1254442"/>
                  <a:gd name="connsiteY697" fmla="*/ 1279684 h 1682115"/>
                  <a:gd name="connsiteX698" fmla="*/ 66580 w 1254442"/>
                  <a:gd name="connsiteY698" fmla="*/ 1280255 h 1682115"/>
                  <a:gd name="connsiteX699" fmla="*/ 66961 w 1254442"/>
                  <a:gd name="connsiteY699" fmla="*/ 1281303 h 1682115"/>
                  <a:gd name="connsiteX700" fmla="*/ 66580 w 1254442"/>
                  <a:gd name="connsiteY700" fmla="*/ 1280351 h 1682115"/>
                  <a:gd name="connsiteX701" fmla="*/ 66866 w 1254442"/>
                  <a:gd name="connsiteY701" fmla="*/ 1281017 h 1682115"/>
                  <a:gd name="connsiteX702" fmla="*/ 67437 w 1254442"/>
                  <a:gd name="connsiteY702" fmla="*/ 1282637 h 1682115"/>
                  <a:gd name="connsiteX703" fmla="*/ 68580 w 1254442"/>
                  <a:gd name="connsiteY703" fmla="*/ 1285685 h 1682115"/>
                  <a:gd name="connsiteX704" fmla="*/ 68580 w 1254442"/>
                  <a:gd name="connsiteY704" fmla="*/ 1285685 h 1682115"/>
                  <a:gd name="connsiteX705" fmla="*/ 68580 w 1254442"/>
                  <a:gd name="connsiteY705" fmla="*/ 1285875 h 1682115"/>
                  <a:gd name="connsiteX706" fmla="*/ 68580 w 1254442"/>
                  <a:gd name="connsiteY706" fmla="*/ 1285875 h 1682115"/>
                  <a:gd name="connsiteX707" fmla="*/ 68580 w 1254442"/>
                  <a:gd name="connsiteY707" fmla="*/ 1285875 h 1682115"/>
                  <a:gd name="connsiteX708" fmla="*/ 68580 w 1254442"/>
                  <a:gd name="connsiteY708" fmla="*/ 1286066 h 1682115"/>
                  <a:gd name="connsiteX709" fmla="*/ 68771 w 1254442"/>
                  <a:gd name="connsiteY709" fmla="*/ 1286351 h 1682115"/>
                  <a:gd name="connsiteX710" fmla="*/ 68771 w 1254442"/>
                  <a:gd name="connsiteY710" fmla="*/ 1286637 h 1682115"/>
                  <a:gd name="connsiteX711" fmla="*/ 69247 w 1254442"/>
                  <a:gd name="connsiteY711" fmla="*/ 1287685 h 1682115"/>
                  <a:gd name="connsiteX712" fmla="*/ 69818 w 1254442"/>
                  <a:gd name="connsiteY712" fmla="*/ 1289114 h 1682115"/>
                  <a:gd name="connsiteX713" fmla="*/ 69818 w 1254442"/>
                  <a:gd name="connsiteY713" fmla="*/ 1289114 h 1682115"/>
                  <a:gd name="connsiteX714" fmla="*/ 70676 w 1254442"/>
                  <a:gd name="connsiteY714" fmla="*/ 1291304 h 1682115"/>
                  <a:gd name="connsiteX715" fmla="*/ 70390 w 1254442"/>
                  <a:gd name="connsiteY715" fmla="*/ 1290447 h 1682115"/>
                  <a:gd name="connsiteX716" fmla="*/ 70866 w 1254442"/>
                  <a:gd name="connsiteY716" fmla="*/ 1291590 h 1682115"/>
                  <a:gd name="connsiteX717" fmla="*/ 71247 w 1254442"/>
                  <a:gd name="connsiteY717" fmla="*/ 1292543 h 1682115"/>
                  <a:gd name="connsiteX718" fmla="*/ 71057 w 1254442"/>
                  <a:gd name="connsiteY718" fmla="*/ 1292162 h 1682115"/>
                  <a:gd name="connsiteX719" fmla="*/ 71247 w 1254442"/>
                  <a:gd name="connsiteY719" fmla="*/ 1292543 h 1682115"/>
                  <a:gd name="connsiteX720" fmla="*/ 71438 w 1254442"/>
                  <a:gd name="connsiteY720" fmla="*/ 1293114 h 1682115"/>
                  <a:gd name="connsiteX721" fmla="*/ 71438 w 1254442"/>
                  <a:gd name="connsiteY721" fmla="*/ 1293114 h 1682115"/>
                  <a:gd name="connsiteX722" fmla="*/ 71438 w 1254442"/>
                  <a:gd name="connsiteY722" fmla="*/ 1293305 h 1682115"/>
                  <a:gd name="connsiteX723" fmla="*/ 71628 w 1254442"/>
                  <a:gd name="connsiteY723" fmla="*/ 1293781 h 1682115"/>
                  <a:gd name="connsiteX724" fmla="*/ 71628 w 1254442"/>
                  <a:gd name="connsiteY724" fmla="*/ 1293781 h 1682115"/>
                  <a:gd name="connsiteX725" fmla="*/ 71819 w 1254442"/>
                  <a:gd name="connsiteY725" fmla="*/ 1294257 h 1682115"/>
                  <a:gd name="connsiteX726" fmla="*/ 71819 w 1254442"/>
                  <a:gd name="connsiteY726" fmla="*/ 1294257 h 1682115"/>
                  <a:gd name="connsiteX727" fmla="*/ 71819 w 1254442"/>
                  <a:gd name="connsiteY727" fmla="*/ 1294257 h 1682115"/>
                  <a:gd name="connsiteX728" fmla="*/ 72009 w 1254442"/>
                  <a:gd name="connsiteY728" fmla="*/ 1294638 h 1682115"/>
                  <a:gd name="connsiteX729" fmla="*/ 72676 w 1254442"/>
                  <a:gd name="connsiteY729" fmla="*/ 1296353 h 1682115"/>
                  <a:gd name="connsiteX730" fmla="*/ 73533 w 1254442"/>
                  <a:gd name="connsiteY730" fmla="*/ 1298639 h 1682115"/>
                  <a:gd name="connsiteX731" fmla="*/ 73533 w 1254442"/>
                  <a:gd name="connsiteY731" fmla="*/ 1298639 h 1682115"/>
                  <a:gd name="connsiteX732" fmla="*/ 72676 w 1254442"/>
                  <a:gd name="connsiteY732" fmla="*/ 1296543 h 1682115"/>
                  <a:gd name="connsiteX733" fmla="*/ 72866 w 1254442"/>
                  <a:gd name="connsiteY733" fmla="*/ 1297114 h 1682115"/>
                  <a:gd name="connsiteX734" fmla="*/ 73057 w 1254442"/>
                  <a:gd name="connsiteY734" fmla="*/ 1297686 h 1682115"/>
                  <a:gd name="connsiteX735" fmla="*/ 73057 w 1254442"/>
                  <a:gd name="connsiteY735" fmla="*/ 1297305 h 1682115"/>
                  <a:gd name="connsiteX736" fmla="*/ 73343 w 1254442"/>
                  <a:gd name="connsiteY736" fmla="*/ 1298258 h 1682115"/>
                  <a:gd name="connsiteX737" fmla="*/ 72581 w 1254442"/>
                  <a:gd name="connsiteY737" fmla="*/ 1296448 h 1682115"/>
                  <a:gd name="connsiteX738" fmla="*/ 72581 w 1254442"/>
                  <a:gd name="connsiteY738" fmla="*/ 1296257 h 1682115"/>
                  <a:gd name="connsiteX739" fmla="*/ 73533 w 1254442"/>
                  <a:gd name="connsiteY739" fmla="*/ 1298734 h 1682115"/>
                  <a:gd name="connsiteX740" fmla="*/ 73724 w 1254442"/>
                  <a:gd name="connsiteY740" fmla="*/ 1299305 h 1682115"/>
                  <a:gd name="connsiteX741" fmla="*/ 73343 w 1254442"/>
                  <a:gd name="connsiteY741" fmla="*/ 1298258 h 1682115"/>
                  <a:gd name="connsiteX742" fmla="*/ 73628 w 1254442"/>
                  <a:gd name="connsiteY742" fmla="*/ 1299020 h 1682115"/>
                  <a:gd name="connsiteX743" fmla="*/ 73628 w 1254442"/>
                  <a:gd name="connsiteY743" fmla="*/ 1298639 h 1682115"/>
                  <a:gd name="connsiteX744" fmla="*/ 74390 w 1254442"/>
                  <a:gd name="connsiteY744" fmla="*/ 1300829 h 1682115"/>
                  <a:gd name="connsiteX745" fmla="*/ 74105 w 1254442"/>
                  <a:gd name="connsiteY745" fmla="*/ 1300163 h 1682115"/>
                  <a:gd name="connsiteX746" fmla="*/ 74771 w 1254442"/>
                  <a:gd name="connsiteY746" fmla="*/ 1301877 h 1682115"/>
                  <a:gd name="connsiteX747" fmla="*/ 75343 w 1254442"/>
                  <a:gd name="connsiteY747" fmla="*/ 1303210 h 1682115"/>
                  <a:gd name="connsiteX748" fmla="*/ 75724 w 1254442"/>
                  <a:gd name="connsiteY748" fmla="*/ 1304163 h 1682115"/>
                  <a:gd name="connsiteX749" fmla="*/ 75914 w 1254442"/>
                  <a:gd name="connsiteY749" fmla="*/ 1304639 h 1682115"/>
                  <a:gd name="connsiteX750" fmla="*/ 76676 w 1254442"/>
                  <a:gd name="connsiteY750" fmla="*/ 1306449 h 1682115"/>
                  <a:gd name="connsiteX751" fmla="*/ 77343 w 1254442"/>
                  <a:gd name="connsiteY751" fmla="*/ 1308068 h 1682115"/>
                  <a:gd name="connsiteX752" fmla="*/ 77629 w 1254442"/>
                  <a:gd name="connsiteY752" fmla="*/ 1308735 h 1682115"/>
                  <a:gd name="connsiteX753" fmla="*/ 78677 w 1254442"/>
                  <a:gd name="connsiteY753" fmla="*/ 1311402 h 1682115"/>
                  <a:gd name="connsiteX754" fmla="*/ 78677 w 1254442"/>
                  <a:gd name="connsiteY754" fmla="*/ 1311402 h 1682115"/>
                  <a:gd name="connsiteX755" fmla="*/ 78772 w 1254442"/>
                  <a:gd name="connsiteY755" fmla="*/ 1311688 h 1682115"/>
                  <a:gd name="connsiteX756" fmla="*/ 78772 w 1254442"/>
                  <a:gd name="connsiteY756" fmla="*/ 1311974 h 1682115"/>
                  <a:gd name="connsiteX757" fmla="*/ 78772 w 1254442"/>
                  <a:gd name="connsiteY757" fmla="*/ 1311593 h 1682115"/>
                  <a:gd name="connsiteX758" fmla="*/ 80201 w 1254442"/>
                  <a:gd name="connsiteY758" fmla="*/ 1315117 h 1682115"/>
                  <a:gd name="connsiteX759" fmla="*/ 80201 w 1254442"/>
                  <a:gd name="connsiteY759" fmla="*/ 1315117 h 1682115"/>
                  <a:gd name="connsiteX760" fmla="*/ 80010 w 1254442"/>
                  <a:gd name="connsiteY760" fmla="*/ 1314641 h 1682115"/>
                  <a:gd name="connsiteX761" fmla="*/ 80391 w 1254442"/>
                  <a:gd name="connsiteY761" fmla="*/ 1315498 h 1682115"/>
                  <a:gd name="connsiteX762" fmla="*/ 81058 w 1254442"/>
                  <a:gd name="connsiteY762" fmla="*/ 1317117 h 1682115"/>
                  <a:gd name="connsiteX763" fmla="*/ 81058 w 1254442"/>
                  <a:gd name="connsiteY763" fmla="*/ 1317117 h 1682115"/>
                  <a:gd name="connsiteX764" fmla="*/ 81058 w 1254442"/>
                  <a:gd name="connsiteY764" fmla="*/ 1317117 h 1682115"/>
                  <a:gd name="connsiteX765" fmla="*/ 81058 w 1254442"/>
                  <a:gd name="connsiteY765" fmla="*/ 1317308 h 1682115"/>
                  <a:gd name="connsiteX766" fmla="*/ 81344 w 1254442"/>
                  <a:gd name="connsiteY766" fmla="*/ 1317879 h 1682115"/>
                  <a:gd name="connsiteX767" fmla="*/ 83058 w 1254442"/>
                  <a:gd name="connsiteY767" fmla="*/ 1321975 h 1682115"/>
                  <a:gd name="connsiteX768" fmla="*/ 83344 w 1254442"/>
                  <a:gd name="connsiteY768" fmla="*/ 1322546 h 1682115"/>
                  <a:gd name="connsiteX769" fmla="*/ 84677 w 1254442"/>
                  <a:gd name="connsiteY769" fmla="*/ 1325785 h 1682115"/>
                  <a:gd name="connsiteX770" fmla="*/ 84677 w 1254442"/>
                  <a:gd name="connsiteY770" fmla="*/ 1325975 h 1682115"/>
                  <a:gd name="connsiteX771" fmla="*/ 84773 w 1254442"/>
                  <a:gd name="connsiteY771" fmla="*/ 1326071 h 1682115"/>
                  <a:gd name="connsiteX772" fmla="*/ 84773 w 1254442"/>
                  <a:gd name="connsiteY772" fmla="*/ 1326071 h 1682115"/>
                  <a:gd name="connsiteX773" fmla="*/ 84773 w 1254442"/>
                  <a:gd name="connsiteY773" fmla="*/ 1326261 h 1682115"/>
                  <a:gd name="connsiteX774" fmla="*/ 84773 w 1254442"/>
                  <a:gd name="connsiteY774" fmla="*/ 1326452 h 1682115"/>
                  <a:gd name="connsiteX775" fmla="*/ 84963 w 1254442"/>
                  <a:gd name="connsiteY775" fmla="*/ 1326833 h 1682115"/>
                  <a:gd name="connsiteX776" fmla="*/ 85249 w 1254442"/>
                  <a:gd name="connsiteY776" fmla="*/ 1327499 h 1682115"/>
                  <a:gd name="connsiteX777" fmla="*/ 86392 w 1254442"/>
                  <a:gd name="connsiteY777" fmla="*/ 1330262 h 1682115"/>
                  <a:gd name="connsiteX778" fmla="*/ 85439 w 1254442"/>
                  <a:gd name="connsiteY778" fmla="*/ 1328071 h 1682115"/>
                  <a:gd name="connsiteX779" fmla="*/ 85439 w 1254442"/>
                  <a:gd name="connsiteY779" fmla="*/ 1328261 h 1682115"/>
                  <a:gd name="connsiteX780" fmla="*/ 86582 w 1254442"/>
                  <a:gd name="connsiteY780" fmla="*/ 1330833 h 1682115"/>
                  <a:gd name="connsiteX781" fmla="*/ 88011 w 1254442"/>
                  <a:gd name="connsiteY781" fmla="*/ 1334072 h 1682115"/>
                  <a:gd name="connsiteX782" fmla="*/ 89630 w 1254442"/>
                  <a:gd name="connsiteY782" fmla="*/ 1337786 h 1682115"/>
                  <a:gd name="connsiteX783" fmla="*/ 89821 w 1254442"/>
                  <a:gd name="connsiteY783" fmla="*/ 1338358 h 1682115"/>
                  <a:gd name="connsiteX784" fmla="*/ 90107 w 1254442"/>
                  <a:gd name="connsiteY784" fmla="*/ 1338929 h 1682115"/>
                  <a:gd name="connsiteX785" fmla="*/ 90583 w 1254442"/>
                  <a:gd name="connsiteY785" fmla="*/ 1339977 h 1682115"/>
                  <a:gd name="connsiteX786" fmla="*/ 90202 w 1254442"/>
                  <a:gd name="connsiteY786" fmla="*/ 1339120 h 1682115"/>
                  <a:gd name="connsiteX787" fmla="*/ 90202 w 1254442"/>
                  <a:gd name="connsiteY787" fmla="*/ 1339120 h 1682115"/>
                  <a:gd name="connsiteX788" fmla="*/ 90678 w 1254442"/>
                  <a:gd name="connsiteY788" fmla="*/ 1340358 h 1682115"/>
                  <a:gd name="connsiteX789" fmla="*/ 90488 w 1254442"/>
                  <a:gd name="connsiteY789" fmla="*/ 1339977 h 1682115"/>
                  <a:gd name="connsiteX790" fmla="*/ 90869 w 1254442"/>
                  <a:gd name="connsiteY790" fmla="*/ 1340834 h 1682115"/>
                  <a:gd name="connsiteX791" fmla="*/ 91154 w 1254442"/>
                  <a:gd name="connsiteY791" fmla="*/ 1341501 h 1682115"/>
                  <a:gd name="connsiteX792" fmla="*/ 91440 w 1254442"/>
                  <a:gd name="connsiteY792" fmla="*/ 1342168 h 1682115"/>
                  <a:gd name="connsiteX793" fmla="*/ 91250 w 1254442"/>
                  <a:gd name="connsiteY793" fmla="*/ 1341787 h 1682115"/>
                  <a:gd name="connsiteX794" fmla="*/ 91821 w 1254442"/>
                  <a:gd name="connsiteY794" fmla="*/ 1343120 h 1682115"/>
                  <a:gd name="connsiteX795" fmla="*/ 91821 w 1254442"/>
                  <a:gd name="connsiteY795" fmla="*/ 1343311 h 1682115"/>
                  <a:gd name="connsiteX796" fmla="*/ 91440 w 1254442"/>
                  <a:gd name="connsiteY796" fmla="*/ 1342168 h 1682115"/>
                  <a:gd name="connsiteX797" fmla="*/ 92107 w 1254442"/>
                  <a:gd name="connsiteY797" fmla="*/ 1343597 h 1682115"/>
                  <a:gd name="connsiteX798" fmla="*/ 93155 w 1254442"/>
                  <a:gd name="connsiteY798" fmla="*/ 1346073 h 1682115"/>
                  <a:gd name="connsiteX799" fmla="*/ 94583 w 1254442"/>
                  <a:gd name="connsiteY799" fmla="*/ 1349216 h 1682115"/>
                  <a:gd name="connsiteX800" fmla="*/ 96012 w 1254442"/>
                  <a:gd name="connsiteY800" fmla="*/ 1352550 h 1682115"/>
                  <a:gd name="connsiteX801" fmla="*/ 99441 w 1254442"/>
                  <a:gd name="connsiteY801" fmla="*/ 1360170 h 1682115"/>
                  <a:gd name="connsiteX802" fmla="*/ 95250 w 1254442"/>
                  <a:gd name="connsiteY802" fmla="*/ 1350645 h 1682115"/>
                  <a:gd name="connsiteX803" fmla="*/ 95250 w 1254442"/>
                  <a:gd name="connsiteY803" fmla="*/ 1350645 h 1682115"/>
                  <a:gd name="connsiteX804" fmla="*/ 100203 w 1254442"/>
                  <a:gd name="connsiteY804" fmla="*/ 1361789 h 1682115"/>
                  <a:gd name="connsiteX805" fmla="*/ 100775 w 1254442"/>
                  <a:gd name="connsiteY805" fmla="*/ 1362932 h 1682115"/>
                  <a:gd name="connsiteX806" fmla="*/ 100775 w 1254442"/>
                  <a:gd name="connsiteY806" fmla="*/ 1363218 h 1682115"/>
                  <a:gd name="connsiteX807" fmla="*/ 101441 w 1254442"/>
                  <a:gd name="connsiteY807" fmla="*/ 1364361 h 1682115"/>
                  <a:gd name="connsiteX808" fmla="*/ 102203 w 1254442"/>
                  <a:gd name="connsiteY808" fmla="*/ 1366076 h 1682115"/>
                  <a:gd name="connsiteX809" fmla="*/ 102203 w 1254442"/>
                  <a:gd name="connsiteY809" fmla="*/ 1365790 h 1682115"/>
                  <a:gd name="connsiteX810" fmla="*/ 101441 w 1254442"/>
                  <a:gd name="connsiteY810" fmla="*/ 1364361 h 1682115"/>
                  <a:gd name="connsiteX811" fmla="*/ 102108 w 1254442"/>
                  <a:gd name="connsiteY811" fmla="*/ 1365695 h 1682115"/>
                  <a:gd name="connsiteX812" fmla="*/ 101918 w 1254442"/>
                  <a:gd name="connsiteY812" fmla="*/ 1365314 h 1682115"/>
                  <a:gd name="connsiteX813" fmla="*/ 102489 w 1254442"/>
                  <a:gd name="connsiteY813" fmla="*/ 1366647 h 1682115"/>
                  <a:gd name="connsiteX814" fmla="*/ 102489 w 1254442"/>
                  <a:gd name="connsiteY814" fmla="*/ 1366647 h 1682115"/>
                  <a:gd name="connsiteX815" fmla="*/ 102489 w 1254442"/>
                  <a:gd name="connsiteY815" fmla="*/ 1366647 h 1682115"/>
                  <a:gd name="connsiteX816" fmla="*/ 102680 w 1254442"/>
                  <a:gd name="connsiteY816" fmla="*/ 1367028 h 1682115"/>
                  <a:gd name="connsiteX817" fmla="*/ 102489 w 1254442"/>
                  <a:gd name="connsiteY817" fmla="*/ 1366552 h 1682115"/>
                  <a:gd name="connsiteX818" fmla="*/ 102489 w 1254442"/>
                  <a:gd name="connsiteY818" fmla="*/ 1366266 h 1682115"/>
                  <a:gd name="connsiteX819" fmla="*/ 102680 w 1254442"/>
                  <a:gd name="connsiteY819" fmla="*/ 1366838 h 1682115"/>
                  <a:gd name="connsiteX820" fmla="*/ 104204 w 1254442"/>
                  <a:gd name="connsiteY820" fmla="*/ 1370076 h 1682115"/>
                  <a:gd name="connsiteX821" fmla="*/ 104394 w 1254442"/>
                  <a:gd name="connsiteY821" fmla="*/ 1370457 h 1682115"/>
                  <a:gd name="connsiteX822" fmla="*/ 105156 w 1254442"/>
                  <a:gd name="connsiteY822" fmla="*/ 1372076 h 1682115"/>
                  <a:gd name="connsiteX823" fmla="*/ 105442 w 1254442"/>
                  <a:gd name="connsiteY823" fmla="*/ 1372648 h 1682115"/>
                  <a:gd name="connsiteX824" fmla="*/ 105061 w 1254442"/>
                  <a:gd name="connsiteY824" fmla="*/ 1371791 h 1682115"/>
                  <a:gd name="connsiteX825" fmla="*/ 105537 w 1254442"/>
                  <a:gd name="connsiteY825" fmla="*/ 1372934 h 1682115"/>
                  <a:gd name="connsiteX826" fmla="*/ 106109 w 1254442"/>
                  <a:gd name="connsiteY826" fmla="*/ 1374267 h 1682115"/>
                  <a:gd name="connsiteX827" fmla="*/ 105347 w 1254442"/>
                  <a:gd name="connsiteY827" fmla="*/ 1372743 h 1682115"/>
                  <a:gd name="connsiteX828" fmla="*/ 105347 w 1254442"/>
                  <a:gd name="connsiteY828" fmla="*/ 1372934 h 1682115"/>
                  <a:gd name="connsiteX829" fmla="*/ 106204 w 1254442"/>
                  <a:gd name="connsiteY829" fmla="*/ 1374743 h 1682115"/>
                  <a:gd name="connsiteX830" fmla="*/ 106204 w 1254442"/>
                  <a:gd name="connsiteY830" fmla="*/ 1374743 h 1682115"/>
                  <a:gd name="connsiteX831" fmla="*/ 106299 w 1254442"/>
                  <a:gd name="connsiteY831" fmla="*/ 1375029 h 1682115"/>
                  <a:gd name="connsiteX832" fmla="*/ 107061 w 1254442"/>
                  <a:gd name="connsiteY832" fmla="*/ 1376648 h 1682115"/>
                  <a:gd name="connsiteX833" fmla="*/ 108680 w 1254442"/>
                  <a:gd name="connsiteY833" fmla="*/ 1380173 h 1682115"/>
                  <a:gd name="connsiteX834" fmla="*/ 109823 w 1254442"/>
                  <a:gd name="connsiteY834" fmla="*/ 1382554 h 1682115"/>
                  <a:gd name="connsiteX835" fmla="*/ 112205 w 1254442"/>
                  <a:gd name="connsiteY835" fmla="*/ 1387602 h 1682115"/>
                  <a:gd name="connsiteX836" fmla="*/ 112395 w 1254442"/>
                  <a:gd name="connsiteY836" fmla="*/ 1387983 h 1682115"/>
                  <a:gd name="connsiteX837" fmla="*/ 112395 w 1254442"/>
                  <a:gd name="connsiteY837" fmla="*/ 1387983 h 1682115"/>
                  <a:gd name="connsiteX838" fmla="*/ 112967 w 1254442"/>
                  <a:gd name="connsiteY838" fmla="*/ 1389221 h 1682115"/>
                  <a:gd name="connsiteX839" fmla="*/ 112967 w 1254442"/>
                  <a:gd name="connsiteY839" fmla="*/ 1389221 h 1682115"/>
                  <a:gd name="connsiteX840" fmla="*/ 112967 w 1254442"/>
                  <a:gd name="connsiteY840" fmla="*/ 1389507 h 1682115"/>
                  <a:gd name="connsiteX841" fmla="*/ 112967 w 1254442"/>
                  <a:gd name="connsiteY841" fmla="*/ 1389507 h 1682115"/>
                  <a:gd name="connsiteX842" fmla="*/ 113157 w 1254442"/>
                  <a:gd name="connsiteY842" fmla="*/ 1390079 h 1682115"/>
                  <a:gd name="connsiteX843" fmla="*/ 116300 w 1254442"/>
                  <a:gd name="connsiteY843" fmla="*/ 1396556 h 1682115"/>
                  <a:gd name="connsiteX844" fmla="*/ 117158 w 1254442"/>
                  <a:gd name="connsiteY844" fmla="*/ 1398270 h 1682115"/>
                  <a:gd name="connsiteX845" fmla="*/ 118205 w 1254442"/>
                  <a:gd name="connsiteY845" fmla="*/ 1400366 h 1682115"/>
                  <a:gd name="connsiteX846" fmla="*/ 117443 w 1254442"/>
                  <a:gd name="connsiteY846" fmla="*/ 1398746 h 1682115"/>
                  <a:gd name="connsiteX847" fmla="*/ 118777 w 1254442"/>
                  <a:gd name="connsiteY847" fmla="*/ 1401413 h 1682115"/>
                  <a:gd name="connsiteX848" fmla="*/ 120301 w 1254442"/>
                  <a:gd name="connsiteY848" fmla="*/ 1404461 h 1682115"/>
                  <a:gd name="connsiteX849" fmla="*/ 121920 w 1254442"/>
                  <a:gd name="connsiteY849" fmla="*/ 1407700 h 1682115"/>
                  <a:gd name="connsiteX850" fmla="*/ 124873 w 1254442"/>
                  <a:gd name="connsiteY850" fmla="*/ 1413701 h 1682115"/>
                  <a:gd name="connsiteX851" fmla="*/ 128492 w 1254442"/>
                  <a:gd name="connsiteY851" fmla="*/ 1420844 h 1682115"/>
                  <a:gd name="connsiteX852" fmla="*/ 128778 w 1254442"/>
                  <a:gd name="connsiteY852" fmla="*/ 1421321 h 1682115"/>
                  <a:gd name="connsiteX853" fmla="*/ 129159 w 1254442"/>
                  <a:gd name="connsiteY853" fmla="*/ 1422083 h 1682115"/>
                  <a:gd name="connsiteX854" fmla="*/ 129159 w 1254442"/>
                  <a:gd name="connsiteY854" fmla="*/ 1422273 h 1682115"/>
                  <a:gd name="connsiteX855" fmla="*/ 129349 w 1254442"/>
                  <a:gd name="connsiteY855" fmla="*/ 1422464 h 1682115"/>
                  <a:gd name="connsiteX856" fmla="*/ 129826 w 1254442"/>
                  <a:gd name="connsiteY856" fmla="*/ 1423321 h 1682115"/>
                  <a:gd name="connsiteX857" fmla="*/ 129826 w 1254442"/>
                  <a:gd name="connsiteY857" fmla="*/ 1423511 h 1682115"/>
                  <a:gd name="connsiteX858" fmla="*/ 130111 w 1254442"/>
                  <a:gd name="connsiteY858" fmla="*/ 1423892 h 1682115"/>
                  <a:gd name="connsiteX859" fmla="*/ 130588 w 1254442"/>
                  <a:gd name="connsiteY859" fmla="*/ 1424845 h 1682115"/>
                  <a:gd name="connsiteX860" fmla="*/ 134969 w 1254442"/>
                  <a:gd name="connsiteY860" fmla="*/ 1433227 h 1682115"/>
                  <a:gd name="connsiteX861" fmla="*/ 134969 w 1254442"/>
                  <a:gd name="connsiteY861" fmla="*/ 1433036 h 1682115"/>
                  <a:gd name="connsiteX862" fmla="*/ 134588 w 1254442"/>
                  <a:gd name="connsiteY862" fmla="*/ 1432560 h 1682115"/>
                  <a:gd name="connsiteX863" fmla="*/ 134874 w 1254442"/>
                  <a:gd name="connsiteY863" fmla="*/ 1433036 h 1682115"/>
                  <a:gd name="connsiteX864" fmla="*/ 134588 w 1254442"/>
                  <a:gd name="connsiteY864" fmla="*/ 1432465 h 1682115"/>
                  <a:gd name="connsiteX865" fmla="*/ 135255 w 1254442"/>
                  <a:gd name="connsiteY865" fmla="*/ 1433703 h 1682115"/>
                  <a:gd name="connsiteX866" fmla="*/ 135255 w 1254442"/>
                  <a:gd name="connsiteY866" fmla="*/ 1433893 h 1682115"/>
                  <a:gd name="connsiteX867" fmla="*/ 136017 w 1254442"/>
                  <a:gd name="connsiteY867" fmla="*/ 1435132 h 1682115"/>
                  <a:gd name="connsiteX868" fmla="*/ 136303 w 1254442"/>
                  <a:gd name="connsiteY868" fmla="*/ 1435608 h 1682115"/>
                  <a:gd name="connsiteX869" fmla="*/ 136779 w 1254442"/>
                  <a:gd name="connsiteY869" fmla="*/ 1436560 h 1682115"/>
                  <a:gd name="connsiteX870" fmla="*/ 136589 w 1254442"/>
                  <a:gd name="connsiteY870" fmla="*/ 1436275 h 1682115"/>
                  <a:gd name="connsiteX871" fmla="*/ 136589 w 1254442"/>
                  <a:gd name="connsiteY871" fmla="*/ 1436275 h 1682115"/>
                  <a:gd name="connsiteX872" fmla="*/ 136874 w 1254442"/>
                  <a:gd name="connsiteY872" fmla="*/ 1437037 h 1682115"/>
                  <a:gd name="connsiteX873" fmla="*/ 139256 w 1254442"/>
                  <a:gd name="connsiteY873" fmla="*/ 1441418 h 1682115"/>
                  <a:gd name="connsiteX874" fmla="*/ 140780 w 1254442"/>
                  <a:gd name="connsiteY874" fmla="*/ 1444371 h 1682115"/>
                  <a:gd name="connsiteX875" fmla="*/ 140970 w 1254442"/>
                  <a:gd name="connsiteY875" fmla="*/ 1444657 h 1682115"/>
                  <a:gd name="connsiteX876" fmla="*/ 141637 w 1254442"/>
                  <a:gd name="connsiteY876" fmla="*/ 1445895 h 1682115"/>
                  <a:gd name="connsiteX877" fmla="*/ 146018 w 1254442"/>
                  <a:gd name="connsiteY877" fmla="*/ 1453801 h 1682115"/>
                  <a:gd name="connsiteX878" fmla="*/ 147257 w 1254442"/>
                  <a:gd name="connsiteY878" fmla="*/ 1456087 h 1682115"/>
                  <a:gd name="connsiteX879" fmla="*/ 147638 w 1254442"/>
                  <a:gd name="connsiteY879" fmla="*/ 1456849 h 1682115"/>
                  <a:gd name="connsiteX880" fmla="*/ 148209 w 1254442"/>
                  <a:gd name="connsiteY880" fmla="*/ 1457897 h 1682115"/>
                  <a:gd name="connsiteX881" fmla="*/ 147638 w 1254442"/>
                  <a:gd name="connsiteY881" fmla="*/ 1456849 h 1682115"/>
                  <a:gd name="connsiteX882" fmla="*/ 148590 w 1254442"/>
                  <a:gd name="connsiteY882" fmla="*/ 1458659 h 1682115"/>
                  <a:gd name="connsiteX883" fmla="*/ 148971 w 1254442"/>
                  <a:gd name="connsiteY883" fmla="*/ 1459325 h 1682115"/>
                  <a:gd name="connsiteX884" fmla="*/ 150114 w 1254442"/>
                  <a:gd name="connsiteY884" fmla="*/ 1461421 h 1682115"/>
                  <a:gd name="connsiteX885" fmla="*/ 151448 w 1254442"/>
                  <a:gd name="connsiteY885" fmla="*/ 1463897 h 1682115"/>
                  <a:gd name="connsiteX886" fmla="*/ 151733 w 1254442"/>
                  <a:gd name="connsiteY886" fmla="*/ 1464374 h 1682115"/>
                  <a:gd name="connsiteX887" fmla="*/ 152114 w 1254442"/>
                  <a:gd name="connsiteY887" fmla="*/ 1465135 h 1682115"/>
                  <a:gd name="connsiteX888" fmla="*/ 153448 w 1254442"/>
                  <a:gd name="connsiteY888" fmla="*/ 1467517 h 1682115"/>
                  <a:gd name="connsiteX889" fmla="*/ 154400 w 1254442"/>
                  <a:gd name="connsiteY889" fmla="*/ 1469136 h 1682115"/>
                  <a:gd name="connsiteX890" fmla="*/ 155448 w 1254442"/>
                  <a:gd name="connsiteY890" fmla="*/ 1470946 h 1682115"/>
                  <a:gd name="connsiteX891" fmla="*/ 158686 w 1254442"/>
                  <a:gd name="connsiteY891" fmla="*/ 1476661 h 1682115"/>
                  <a:gd name="connsiteX892" fmla="*/ 158686 w 1254442"/>
                  <a:gd name="connsiteY892" fmla="*/ 1476661 h 1682115"/>
                  <a:gd name="connsiteX893" fmla="*/ 158686 w 1254442"/>
                  <a:gd name="connsiteY893" fmla="*/ 1476661 h 1682115"/>
                  <a:gd name="connsiteX894" fmla="*/ 159925 w 1254442"/>
                  <a:gd name="connsiteY894" fmla="*/ 1478852 h 1682115"/>
                  <a:gd name="connsiteX895" fmla="*/ 160496 w 1254442"/>
                  <a:gd name="connsiteY895" fmla="*/ 1479899 h 1682115"/>
                  <a:gd name="connsiteX896" fmla="*/ 160687 w 1254442"/>
                  <a:gd name="connsiteY896" fmla="*/ 1480280 h 1682115"/>
                  <a:gd name="connsiteX897" fmla="*/ 161258 w 1254442"/>
                  <a:gd name="connsiteY897" fmla="*/ 1481328 h 1682115"/>
                  <a:gd name="connsiteX898" fmla="*/ 161544 w 1254442"/>
                  <a:gd name="connsiteY898" fmla="*/ 1481804 h 1682115"/>
                  <a:gd name="connsiteX899" fmla="*/ 161830 w 1254442"/>
                  <a:gd name="connsiteY899" fmla="*/ 1482281 h 1682115"/>
                  <a:gd name="connsiteX900" fmla="*/ 162782 w 1254442"/>
                  <a:gd name="connsiteY900" fmla="*/ 1483900 h 1682115"/>
                  <a:gd name="connsiteX901" fmla="*/ 162401 w 1254442"/>
                  <a:gd name="connsiteY901" fmla="*/ 1483328 h 1682115"/>
                  <a:gd name="connsiteX902" fmla="*/ 170307 w 1254442"/>
                  <a:gd name="connsiteY902" fmla="*/ 1496759 h 1682115"/>
                  <a:gd name="connsiteX903" fmla="*/ 170117 w 1254442"/>
                  <a:gd name="connsiteY903" fmla="*/ 1496378 h 1682115"/>
                  <a:gd name="connsiteX904" fmla="*/ 170593 w 1254442"/>
                  <a:gd name="connsiteY904" fmla="*/ 1497235 h 1682115"/>
                  <a:gd name="connsiteX905" fmla="*/ 171260 w 1254442"/>
                  <a:gd name="connsiteY905" fmla="*/ 1498378 h 1682115"/>
                  <a:gd name="connsiteX906" fmla="*/ 171641 w 1254442"/>
                  <a:gd name="connsiteY906" fmla="*/ 1499045 h 1682115"/>
                  <a:gd name="connsiteX907" fmla="*/ 172212 w 1254442"/>
                  <a:gd name="connsiteY907" fmla="*/ 1500092 h 1682115"/>
                  <a:gd name="connsiteX908" fmla="*/ 172403 w 1254442"/>
                  <a:gd name="connsiteY908" fmla="*/ 1500473 h 1682115"/>
                  <a:gd name="connsiteX909" fmla="*/ 172593 w 1254442"/>
                  <a:gd name="connsiteY909" fmla="*/ 1500854 h 1682115"/>
                  <a:gd name="connsiteX910" fmla="*/ 173355 w 1254442"/>
                  <a:gd name="connsiteY910" fmla="*/ 1502093 h 1682115"/>
                  <a:gd name="connsiteX911" fmla="*/ 175641 w 1254442"/>
                  <a:gd name="connsiteY911" fmla="*/ 1505807 h 1682115"/>
                  <a:gd name="connsiteX912" fmla="*/ 176498 w 1254442"/>
                  <a:gd name="connsiteY912" fmla="*/ 1507236 h 1682115"/>
                  <a:gd name="connsiteX913" fmla="*/ 177356 w 1254442"/>
                  <a:gd name="connsiteY913" fmla="*/ 1508665 h 1682115"/>
                  <a:gd name="connsiteX914" fmla="*/ 179070 w 1254442"/>
                  <a:gd name="connsiteY914" fmla="*/ 1511427 h 1682115"/>
                  <a:gd name="connsiteX915" fmla="*/ 178880 w 1254442"/>
                  <a:gd name="connsiteY915" fmla="*/ 1511141 h 1682115"/>
                  <a:gd name="connsiteX916" fmla="*/ 179070 w 1254442"/>
                  <a:gd name="connsiteY916" fmla="*/ 1511427 h 1682115"/>
                  <a:gd name="connsiteX917" fmla="*/ 179737 w 1254442"/>
                  <a:gd name="connsiteY917" fmla="*/ 1512570 h 1682115"/>
                  <a:gd name="connsiteX918" fmla="*/ 180594 w 1254442"/>
                  <a:gd name="connsiteY918" fmla="*/ 1513904 h 1682115"/>
                  <a:gd name="connsiteX919" fmla="*/ 180404 w 1254442"/>
                  <a:gd name="connsiteY919" fmla="*/ 1513618 h 1682115"/>
                  <a:gd name="connsiteX920" fmla="*/ 181261 w 1254442"/>
                  <a:gd name="connsiteY920" fmla="*/ 1515047 h 1682115"/>
                  <a:gd name="connsiteX921" fmla="*/ 182023 w 1254442"/>
                  <a:gd name="connsiteY921" fmla="*/ 1516285 h 1682115"/>
                  <a:gd name="connsiteX922" fmla="*/ 181737 w 1254442"/>
                  <a:gd name="connsiteY922" fmla="*/ 1515809 h 1682115"/>
                  <a:gd name="connsiteX923" fmla="*/ 183642 w 1254442"/>
                  <a:gd name="connsiteY923" fmla="*/ 1518857 h 1682115"/>
                  <a:gd name="connsiteX924" fmla="*/ 183452 w 1254442"/>
                  <a:gd name="connsiteY924" fmla="*/ 1518571 h 1682115"/>
                  <a:gd name="connsiteX925" fmla="*/ 184404 w 1254442"/>
                  <a:gd name="connsiteY925" fmla="*/ 1520000 h 1682115"/>
                  <a:gd name="connsiteX926" fmla="*/ 184404 w 1254442"/>
                  <a:gd name="connsiteY926" fmla="*/ 1520000 h 1682115"/>
                  <a:gd name="connsiteX927" fmla="*/ 184404 w 1254442"/>
                  <a:gd name="connsiteY927" fmla="*/ 1520000 h 1682115"/>
                  <a:gd name="connsiteX928" fmla="*/ 184880 w 1254442"/>
                  <a:gd name="connsiteY928" fmla="*/ 1520857 h 1682115"/>
                  <a:gd name="connsiteX929" fmla="*/ 186023 w 1254442"/>
                  <a:gd name="connsiteY929" fmla="*/ 1522762 h 1682115"/>
                  <a:gd name="connsiteX930" fmla="*/ 186023 w 1254442"/>
                  <a:gd name="connsiteY930" fmla="*/ 1522762 h 1682115"/>
                  <a:gd name="connsiteX931" fmla="*/ 186214 w 1254442"/>
                  <a:gd name="connsiteY931" fmla="*/ 1523048 h 1682115"/>
                  <a:gd name="connsiteX932" fmla="*/ 188309 w 1254442"/>
                  <a:gd name="connsiteY932" fmla="*/ 1526477 h 1682115"/>
                  <a:gd name="connsiteX933" fmla="*/ 188976 w 1254442"/>
                  <a:gd name="connsiteY933" fmla="*/ 1527524 h 1682115"/>
                  <a:gd name="connsiteX934" fmla="*/ 188976 w 1254442"/>
                  <a:gd name="connsiteY934" fmla="*/ 1527715 h 1682115"/>
                  <a:gd name="connsiteX935" fmla="*/ 189071 w 1254442"/>
                  <a:gd name="connsiteY935" fmla="*/ 1527715 h 1682115"/>
                  <a:gd name="connsiteX936" fmla="*/ 189262 w 1254442"/>
                  <a:gd name="connsiteY936" fmla="*/ 1528001 h 1682115"/>
                  <a:gd name="connsiteX937" fmla="*/ 189548 w 1254442"/>
                  <a:gd name="connsiteY937" fmla="*/ 1528477 h 1682115"/>
                  <a:gd name="connsiteX938" fmla="*/ 191453 w 1254442"/>
                  <a:gd name="connsiteY938" fmla="*/ 1531430 h 1682115"/>
                  <a:gd name="connsiteX939" fmla="*/ 191167 w 1254442"/>
                  <a:gd name="connsiteY939" fmla="*/ 1530953 h 1682115"/>
                  <a:gd name="connsiteX940" fmla="*/ 191167 w 1254442"/>
                  <a:gd name="connsiteY940" fmla="*/ 1531144 h 1682115"/>
                  <a:gd name="connsiteX941" fmla="*/ 191548 w 1254442"/>
                  <a:gd name="connsiteY941" fmla="*/ 1531620 h 1682115"/>
                  <a:gd name="connsiteX942" fmla="*/ 191834 w 1254442"/>
                  <a:gd name="connsiteY942" fmla="*/ 1532001 h 1682115"/>
                  <a:gd name="connsiteX943" fmla="*/ 193262 w 1254442"/>
                  <a:gd name="connsiteY943" fmla="*/ 1534192 h 1682115"/>
                  <a:gd name="connsiteX944" fmla="*/ 192119 w 1254442"/>
                  <a:gd name="connsiteY944" fmla="*/ 1532382 h 1682115"/>
                  <a:gd name="connsiteX945" fmla="*/ 195263 w 1254442"/>
                  <a:gd name="connsiteY945" fmla="*/ 1537240 h 1682115"/>
                  <a:gd name="connsiteX946" fmla="*/ 196310 w 1254442"/>
                  <a:gd name="connsiteY946" fmla="*/ 1538859 h 1682115"/>
                  <a:gd name="connsiteX947" fmla="*/ 196501 w 1254442"/>
                  <a:gd name="connsiteY947" fmla="*/ 1539240 h 1682115"/>
                  <a:gd name="connsiteX948" fmla="*/ 196691 w 1254442"/>
                  <a:gd name="connsiteY948" fmla="*/ 1539526 h 1682115"/>
                  <a:gd name="connsiteX949" fmla="*/ 198025 w 1254442"/>
                  <a:gd name="connsiteY949" fmla="*/ 1541526 h 1682115"/>
                  <a:gd name="connsiteX950" fmla="*/ 198787 w 1254442"/>
                  <a:gd name="connsiteY950" fmla="*/ 1542669 h 1682115"/>
                  <a:gd name="connsiteX951" fmla="*/ 200216 w 1254442"/>
                  <a:gd name="connsiteY951" fmla="*/ 1544860 h 1682115"/>
                  <a:gd name="connsiteX952" fmla="*/ 200978 w 1254442"/>
                  <a:gd name="connsiteY952" fmla="*/ 1545908 h 1682115"/>
                  <a:gd name="connsiteX953" fmla="*/ 201549 w 1254442"/>
                  <a:gd name="connsiteY953" fmla="*/ 1546765 h 1682115"/>
                  <a:gd name="connsiteX954" fmla="*/ 202502 w 1254442"/>
                  <a:gd name="connsiteY954" fmla="*/ 1548193 h 1682115"/>
                  <a:gd name="connsiteX955" fmla="*/ 202787 w 1254442"/>
                  <a:gd name="connsiteY955" fmla="*/ 1548670 h 1682115"/>
                  <a:gd name="connsiteX956" fmla="*/ 203454 w 1254442"/>
                  <a:gd name="connsiteY956" fmla="*/ 1549718 h 1682115"/>
                  <a:gd name="connsiteX957" fmla="*/ 202883 w 1254442"/>
                  <a:gd name="connsiteY957" fmla="*/ 1548860 h 1682115"/>
                  <a:gd name="connsiteX958" fmla="*/ 206216 w 1254442"/>
                  <a:gd name="connsiteY958" fmla="*/ 1553909 h 1682115"/>
                  <a:gd name="connsiteX959" fmla="*/ 206788 w 1254442"/>
                  <a:gd name="connsiteY959" fmla="*/ 1554766 h 1682115"/>
                  <a:gd name="connsiteX960" fmla="*/ 208598 w 1254442"/>
                  <a:gd name="connsiteY960" fmla="*/ 1557433 h 1682115"/>
                  <a:gd name="connsiteX961" fmla="*/ 209455 w 1254442"/>
                  <a:gd name="connsiteY961" fmla="*/ 1558766 h 1682115"/>
                  <a:gd name="connsiteX962" fmla="*/ 209836 w 1254442"/>
                  <a:gd name="connsiteY962" fmla="*/ 1559338 h 1682115"/>
                  <a:gd name="connsiteX963" fmla="*/ 210503 w 1254442"/>
                  <a:gd name="connsiteY963" fmla="*/ 1560290 h 1682115"/>
                  <a:gd name="connsiteX964" fmla="*/ 212884 w 1254442"/>
                  <a:gd name="connsiteY964" fmla="*/ 1563814 h 1682115"/>
                  <a:gd name="connsiteX965" fmla="*/ 213836 w 1254442"/>
                  <a:gd name="connsiteY965" fmla="*/ 1565243 h 1682115"/>
                  <a:gd name="connsiteX966" fmla="*/ 215836 w 1254442"/>
                  <a:gd name="connsiteY966" fmla="*/ 1568101 h 1682115"/>
                  <a:gd name="connsiteX967" fmla="*/ 216313 w 1254442"/>
                  <a:gd name="connsiteY967" fmla="*/ 1568768 h 1682115"/>
                  <a:gd name="connsiteX968" fmla="*/ 217265 w 1254442"/>
                  <a:gd name="connsiteY968" fmla="*/ 1570196 h 1682115"/>
                  <a:gd name="connsiteX969" fmla="*/ 217646 w 1254442"/>
                  <a:gd name="connsiteY969" fmla="*/ 1570863 h 1682115"/>
                  <a:gd name="connsiteX970" fmla="*/ 217932 w 1254442"/>
                  <a:gd name="connsiteY970" fmla="*/ 1571339 h 1682115"/>
                  <a:gd name="connsiteX971" fmla="*/ 218789 w 1254442"/>
                  <a:gd name="connsiteY971" fmla="*/ 1572578 h 1682115"/>
                  <a:gd name="connsiteX972" fmla="*/ 220028 w 1254442"/>
                  <a:gd name="connsiteY972" fmla="*/ 1574483 h 1682115"/>
                  <a:gd name="connsiteX973" fmla="*/ 221647 w 1254442"/>
                  <a:gd name="connsiteY973" fmla="*/ 1576864 h 1682115"/>
                  <a:gd name="connsiteX974" fmla="*/ 224790 w 1254442"/>
                  <a:gd name="connsiteY974" fmla="*/ 1581436 h 1682115"/>
                  <a:gd name="connsiteX975" fmla="*/ 224981 w 1254442"/>
                  <a:gd name="connsiteY975" fmla="*/ 1581626 h 1682115"/>
                  <a:gd name="connsiteX976" fmla="*/ 225171 w 1254442"/>
                  <a:gd name="connsiteY976" fmla="*/ 1581912 h 1682115"/>
                  <a:gd name="connsiteX977" fmla="*/ 226886 w 1254442"/>
                  <a:gd name="connsiteY977" fmla="*/ 1584293 h 1682115"/>
                  <a:gd name="connsiteX978" fmla="*/ 227457 w 1254442"/>
                  <a:gd name="connsiteY978" fmla="*/ 1585055 h 1682115"/>
                  <a:gd name="connsiteX979" fmla="*/ 228219 w 1254442"/>
                  <a:gd name="connsiteY979" fmla="*/ 1586103 h 1682115"/>
                  <a:gd name="connsiteX980" fmla="*/ 229076 w 1254442"/>
                  <a:gd name="connsiteY980" fmla="*/ 1587341 h 1682115"/>
                  <a:gd name="connsiteX981" fmla="*/ 229362 w 1254442"/>
                  <a:gd name="connsiteY981" fmla="*/ 1587722 h 1682115"/>
                  <a:gd name="connsiteX982" fmla="*/ 230315 w 1254442"/>
                  <a:gd name="connsiteY982" fmla="*/ 1589056 h 1682115"/>
                  <a:gd name="connsiteX983" fmla="*/ 232124 w 1254442"/>
                  <a:gd name="connsiteY983" fmla="*/ 1591628 h 1682115"/>
                  <a:gd name="connsiteX984" fmla="*/ 232124 w 1254442"/>
                  <a:gd name="connsiteY984" fmla="*/ 1591628 h 1682115"/>
                  <a:gd name="connsiteX985" fmla="*/ 232315 w 1254442"/>
                  <a:gd name="connsiteY985" fmla="*/ 1592009 h 1682115"/>
                  <a:gd name="connsiteX986" fmla="*/ 232505 w 1254442"/>
                  <a:gd name="connsiteY986" fmla="*/ 1592294 h 1682115"/>
                  <a:gd name="connsiteX987" fmla="*/ 233077 w 1254442"/>
                  <a:gd name="connsiteY987" fmla="*/ 1593056 h 1682115"/>
                  <a:gd name="connsiteX988" fmla="*/ 233267 w 1254442"/>
                  <a:gd name="connsiteY988" fmla="*/ 1593342 h 1682115"/>
                  <a:gd name="connsiteX989" fmla="*/ 233458 w 1254442"/>
                  <a:gd name="connsiteY989" fmla="*/ 1593628 h 1682115"/>
                  <a:gd name="connsiteX990" fmla="*/ 233648 w 1254442"/>
                  <a:gd name="connsiteY990" fmla="*/ 1593818 h 1682115"/>
                  <a:gd name="connsiteX991" fmla="*/ 234410 w 1254442"/>
                  <a:gd name="connsiteY991" fmla="*/ 1594866 h 1682115"/>
                  <a:gd name="connsiteX992" fmla="*/ 234791 w 1254442"/>
                  <a:gd name="connsiteY992" fmla="*/ 1595438 h 1682115"/>
                  <a:gd name="connsiteX993" fmla="*/ 235268 w 1254442"/>
                  <a:gd name="connsiteY993" fmla="*/ 1596104 h 1682115"/>
                  <a:gd name="connsiteX994" fmla="*/ 237173 w 1254442"/>
                  <a:gd name="connsiteY994" fmla="*/ 1598771 h 1682115"/>
                  <a:gd name="connsiteX995" fmla="*/ 237173 w 1254442"/>
                  <a:gd name="connsiteY995" fmla="*/ 1598771 h 1682115"/>
                  <a:gd name="connsiteX996" fmla="*/ 235268 w 1254442"/>
                  <a:gd name="connsiteY996" fmla="*/ 1596200 h 1682115"/>
                  <a:gd name="connsiteX997" fmla="*/ 235839 w 1254442"/>
                  <a:gd name="connsiteY997" fmla="*/ 1596962 h 1682115"/>
                  <a:gd name="connsiteX998" fmla="*/ 234125 w 1254442"/>
                  <a:gd name="connsiteY998" fmla="*/ 1594580 h 1682115"/>
                  <a:gd name="connsiteX999" fmla="*/ 238792 w 1254442"/>
                  <a:gd name="connsiteY999" fmla="*/ 1601057 h 1682115"/>
                  <a:gd name="connsiteX1000" fmla="*/ 235839 w 1254442"/>
                  <a:gd name="connsiteY1000" fmla="*/ 1596962 h 1682115"/>
                  <a:gd name="connsiteX1001" fmla="*/ 239459 w 1254442"/>
                  <a:gd name="connsiteY1001" fmla="*/ 1602010 h 1682115"/>
                  <a:gd name="connsiteX1002" fmla="*/ 243269 w 1254442"/>
                  <a:gd name="connsiteY1002" fmla="*/ 1607249 h 1682115"/>
                  <a:gd name="connsiteX1003" fmla="*/ 244126 w 1254442"/>
                  <a:gd name="connsiteY1003" fmla="*/ 1608392 h 1682115"/>
                  <a:gd name="connsiteX1004" fmla="*/ 245459 w 1254442"/>
                  <a:gd name="connsiteY1004" fmla="*/ 1610201 h 1682115"/>
                  <a:gd name="connsiteX1005" fmla="*/ 246698 w 1254442"/>
                  <a:gd name="connsiteY1005" fmla="*/ 1611821 h 1682115"/>
                  <a:gd name="connsiteX1006" fmla="*/ 246412 w 1254442"/>
                  <a:gd name="connsiteY1006" fmla="*/ 1611439 h 1682115"/>
                  <a:gd name="connsiteX1007" fmla="*/ 250412 w 1254442"/>
                  <a:gd name="connsiteY1007" fmla="*/ 1616774 h 1682115"/>
                  <a:gd name="connsiteX1008" fmla="*/ 251174 w 1254442"/>
                  <a:gd name="connsiteY1008" fmla="*/ 1617821 h 1682115"/>
                  <a:gd name="connsiteX1009" fmla="*/ 252794 w 1254442"/>
                  <a:gd name="connsiteY1009" fmla="*/ 1620012 h 1682115"/>
                  <a:gd name="connsiteX1010" fmla="*/ 251365 w 1254442"/>
                  <a:gd name="connsiteY1010" fmla="*/ 1618107 h 1682115"/>
                  <a:gd name="connsiteX1011" fmla="*/ 260033 w 1254442"/>
                  <a:gd name="connsiteY1011" fmla="*/ 1629632 h 1682115"/>
                  <a:gd name="connsiteX1012" fmla="*/ 266795 w 1254442"/>
                  <a:gd name="connsiteY1012" fmla="*/ 1638491 h 1682115"/>
                  <a:gd name="connsiteX1013" fmla="*/ 276987 w 1254442"/>
                  <a:gd name="connsiteY1013" fmla="*/ 1651540 h 1682115"/>
                  <a:gd name="connsiteX1014" fmla="*/ 290417 w 1254442"/>
                  <a:gd name="connsiteY1014" fmla="*/ 1668209 h 1682115"/>
                  <a:gd name="connsiteX1015" fmla="*/ 291084 w 1254442"/>
                  <a:gd name="connsiteY1015" fmla="*/ 1668971 h 1682115"/>
                  <a:gd name="connsiteX1016" fmla="*/ 290417 w 1254442"/>
                  <a:gd name="connsiteY1016" fmla="*/ 1668113 h 1682115"/>
                  <a:gd name="connsiteX1017" fmla="*/ 302324 w 1254442"/>
                  <a:gd name="connsiteY1017" fmla="*/ 1682115 h 1682115"/>
                  <a:gd name="connsiteX1018" fmla="*/ 302324 w 1254442"/>
                  <a:gd name="connsiteY1018" fmla="*/ 1681353 h 1682115"/>
                  <a:gd name="connsiteX1019" fmla="*/ 293942 w 1254442"/>
                  <a:gd name="connsiteY1019" fmla="*/ 1671257 h 1682115"/>
                  <a:gd name="connsiteX1020" fmla="*/ 286893 w 1254442"/>
                  <a:gd name="connsiteY1020" fmla="*/ 1659350 h 1682115"/>
                  <a:gd name="connsiteX1021" fmla="*/ 283845 w 1254442"/>
                  <a:gd name="connsiteY1021" fmla="*/ 1654112 h 1682115"/>
                  <a:gd name="connsiteX1022" fmla="*/ 278606 w 1254442"/>
                  <a:gd name="connsiteY1022" fmla="*/ 1647730 h 1682115"/>
                  <a:gd name="connsiteX1023" fmla="*/ 276701 w 1254442"/>
                  <a:gd name="connsiteY1023" fmla="*/ 1644110 h 1682115"/>
                  <a:gd name="connsiteX1024" fmla="*/ 262414 w 1254442"/>
                  <a:gd name="connsiteY1024" fmla="*/ 1622679 h 1682115"/>
                  <a:gd name="connsiteX1025" fmla="*/ 252127 w 1254442"/>
                  <a:gd name="connsiteY1025" fmla="*/ 1608010 h 1682115"/>
                  <a:gd name="connsiteX1026" fmla="*/ 247460 w 1254442"/>
                  <a:gd name="connsiteY1026" fmla="*/ 1601248 h 1682115"/>
                  <a:gd name="connsiteX1027" fmla="*/ 232886 w 1254442"/>
                  <a:gd name="connsiteY1027" fmla="*/ 1579626 h 1682115"/>
                  <a:gd name="connsiteX1028" fmla="*/ 221647 w 1254442"/>
                  <a:gd name="connsiteY1028" fmla="*/ 1563624 h 1682115"/>
                  <a:gd name="connsiteX1029" fmla="*/ 219837 w 1254442"/>
                  <a:gd name="connsiteY1029" fmla="*/ 1561719 h 1682115"/>
                  <a:gd name="connsiteX1030" fmla="*/ 204216 w 1254442"/>
                  <a:gd name="connsiteY1030" fmla="*/ 1537240 h 1682115"/>
                  <a:gd name="connsiteX1031" fmla="*/ 199835 w 1254442"/>
                  <a:gd name="connsiteY1031" fmla="*/ 1528667 h 1682115"/>
                  <a:gd name="connsiteX1032" fmla="*/ 194120 w 1254442"/>
                  <a:gd name="connsiteY1032" fmla="*/ 1516952 h 1682115"/>
                  <a:gd name="connsiteX1033" fmla="*/ 189357 w 1254442"/>
                  <a:gd name="connsiteY1033" fmla="*/ 1509141 h 1682115"/>
                  <a:gd name="connsiteX1034" fmla="*/ 190310 w 1254442"/>
                  <a:gd name="connsiteY1034" fmla="*/ 1507712 h 1682115"/>
                  <a:gd name="connsiteX1035" fmla="*/ 184404 w 1254442"/>
                  <a:gd name="connsiteY1035" fmla="*/ 1493806 h 1682115"/>
                  <a:gd name="connsiteX1036" fmla="*/ 177451 w 1254442"/>
                  <a:gd name="connsiteY1036" fmla="*/ 1479518 h 1682115"/>
                  <a:gd name="connsiteX1037" fmla="*/ 173450 w 1254442"/>
                  <a:gd name="connsiteY1037" fmla="*/ 1470946 h 1682115"/>
                  <a:gd name="connsiteX1038" fmla="*/ 167164 w 1254442"/>
                  <a:gd name="connsiteY1038" fmla="*/ 1460087 h 1682115"/>
                  <a:gd name="connsiteX1039" fmla="*/ 167926 w 1254442"/>
                  <a:gd name="connsiteY1039" fmla="*/ 1455230 h 1682115"/>
                  <a:gd name="connsiteX1040" fmla="*/ 160877 w 1254442"/>
                  <a:gd name="connsiteY1040" fmla="*/ 1438275 h 1682115"/>
                  <a:gd name="connsiteX1041" fmla="*/ 152114 w 1254442"/>
                  <a:gd name="connsiteY1041" fmla="*/ 1421130 h 1682115"/>
                  <a:gd name="connsiteX1042" fmla="*/ 150114 w 1254442"/>
                  <a:gd name="connsiteY1042" fmla="*/ 1412939 h 1682115"/>
                  <a:gd name="connsiteX1043" fmla="*/ 160782 w 1254442"/>
                  <a:gd name="connsiteY1043" fmla="*/ 1430369 h 1682115"/>
                  <a:gd name="connsiteX1044" fmla="*/ 147447 w 1254442"/>
                  <a:gd name="connsiteY1044" fmla="*/ 1404938 h 1682115"/>
                  <a:gd name="connsiteX1045" fmla="*/ 134017 w 1254442"/>
                  <a:gd name="connsiteY1045" fmla="*/ 1378458 h 1682115"/>
                  <a:gd name="connsiteX1046" fmla="*/ 132874 w 1254442"/>
                  <a:gd name="connsiteY1046" fmla="*/ 1378649 h 1682115"/>
                  <a:gd name="connsiteX1047" fmla="*/ 125921 w 1254442"/>
                  <a:gd name="connsiteY1047" fmla="*/ 1367123 h 1682115"/>
                  <a:gd name="connsiteX1048" fmla="*/ 118777 w 1254442"/>
                  <a:gd name="connsiteY1048" fmla="*/ 1350264 h 1682115"/>
                  <a:gd name="connsiteX1049" fmla="*/ 114967 w 1254442"/>
                  <a:gd name="connsiteY1049" fmla="*/ 1336929 h 1682115"/>
                  <a:gd name="connsiteX1050" fmla="*/ 104489 w 1254442"/>
                  <a:gd name="connsiteY1050" fmla="*/ 1313593 h 1682115"/>
                  <a:gd name="connsiteX1051" fmla="*/ 96393 w 1254442"/>
                  <a:gd name="connsiteY1051" fmla="*/ 1293685 h 1682115"/>
                  <a:gd name="connsiteX1052" fmla="*/ 97441 w 1254442"/>
                  <a:gd name="connsiteY1052" fmla="*/ 1292257 h 1682115"/>
                  <a:gd name="connsiteX1053" fmla="*/ 94202 w 1254442"/>
                  <a:gd name="connsiteY1053" fmla="*/ 1276826 h 1682115"/>
                  <a:gd name="connsiteX1054" fmla="*/ 88297 w 1254442"/>
                  <a:gd name="connsiteY1054" fmla="*/ 1261110 h 1682115"/>
                  <a:gd name="connsiteX1055" fmla="*/ 88583 w 1254442"/>
                  <a:gd name="connsiteY1055" fmla="*/ 1251871 h 1682115"/>
                  <a:gd name="connsiteX1056" fmla="*/ 84201 w 1254442"/>
                  <a:gd name="connsiteY1056" fmla="*/ 1244537 h 1682115"/>
                  <a:gd name="connsiteX1057" fmla="*/ 83153 w 1254442"/>
                  <a:gd name="connsiteY1057" fmla="*/ 1248442 h 1682115"/>
                  <a:gd name="connsiteX1058" fmla="*/ 71533 w 1254442"/>
                  <a:gd name="connsiteY1058" fmla="*/ 1220914 h 1682115"/>
                  <a:gd name="connsiteX1059" fmla="*/ 68675 w 1254442"/>
                  <a:gd name="connsiteY1059" fmla="*/ 1223105 h 1682115"/>
                  <a:gd name="connsiteX1060" fmla="*/ 69628 w 1254442"/>
                  <a:gd name="connsiteY1060" fmla="*/ 1230630 h 1682115"/>
                  <a:gd name="connsiteX1061" fmla="*/ 65151 w 1254442"/>
                  <a:gd name="connsiteY1061" fmla="*/ 1226439 h 1682115"/>
                  <a:gd name="connsiteX1062" fmla="*/ 61627 w 1254442"/>
                  <a:gd name="connsiteY1062" fmla="*/ 1216724 h 1682115"/>
                  <a:gd name="connsiteX1063" fmla="*/ 61817 w 1254442"/>
                  <a:gd name="connsiteY1063" fmla="*/ 1207103 h 1682115"/>
                  <a:gd name="connsiteX1064" fmla="*/ 67437 w 1254442"/>
                  <a:gd name="connsiteY1064" fmla="*/ 1216343 h 1682115"/>
                  <a:gd name="connsiteX1065" fmla="*/ 69818 w 1254442"/>
                  <a:gd name="connsiteY1065" fmla="*/ 1215866 h 1682115"/>
                  <a:gd name="connsiteX1066" fmla="*/ 69437 w 1254442"/>
                  <a:gd name="connsiteY1066" fmla="*/ 1207770 h 1682115"/>
                  <a:gd name="connsiteX1067" fmla="*/ 74390 w 1254442"/>
                  <a:gd name="connsiteY1067" fmla="*/ 1220914 h 1682115"/>
                  <a:gd name="connsiteX1068" fmla="*/ 75724 w 1254442"/>
                  <a:gd name="connsiteY1068" fmla="*/ 1221200 h 1682115"/>
                  <a:gd name="connsiteX1069" fmla="*/ 78867 w 1254442"/>
                  <a:gd name="connsiteY1069" fmla="*/ 1225010 h 1682115"/>
                  <a:gd name="connsiteX1070" fmla="*/ 78105 w 1254442"/>
                  <a:gd name="connsiteY1070" fmla="*/ 1218629 h 1682115"/>
                  <a:gd name="connsiteX1071" fmla="*/ 75724 w 1254442"/>
                  <a:gd name="connsiteY1071" fmla="*/ 1210532 h 1682115"/>
                  <a:gd name="connsiteX1072" fmla="*/ 69818 w 1254442"/>
                  <a:gd name="connsiteY1072" fmla="*/ 1200341 h 1682115"/>
                  <a:gd name="connsiteX1073" fmla="*/ 65913 w 1254442"/>
                  <a:gd name="connsiteY1073" fmla="*/ 1191863 h 1682115"/>
                  <a:gd name="connsiteX1074" fmla="*/ 58102 w 1254442"/>
                  <a:gd name="connsiteY1074" fmla="*/ 1174623 h 1682115"/>
                  <a:gd name="connsiteX1075" fmla="*/ 53245 w 1254442"/>
                  <a:gd name="connsiteY1075" fmla="*/ 1156526 h 1682115"/>
                  <a:gd name="connsiteX1076" fmla="*/ 51816 w 1254442"/>
                  <a:gd name="connsiteY1076" fmla="*/ 1155002 h 1682115"/>
                  <a:gd name="connsiteX1077" fmla="*/ 47720 w 1254442"/>
                  <a:gd name="connsiteY1077" fmla="*/ 1140524 h 1682115"/>
                  <a:gd name="connsiteX1078" fmla="*/ 42196 w 1254442"/>
                  <a:gd name="connsiteY1078" fmla="*/ 1127760 h 1682115"/>
                  <a:gd name="connsiteX1079" fmla="*/ 37529 w 1254442"/>
                  <a:gd name="connsiteY1079" fmla="*/ 1124426 h 1682115"/>
                  <a:gd name="connsiteX1080" fmla="*/ 36195 w 1254442"/>
                  <a:gd name="connsiteY1080" fmla="*/ 1124426 h 1682115"/>
                  <a:gd name="connsiteX1081" fmla="*/ 33338 w 1254442"/>
                  <a:gd name="connsiteY1081" fmla="*/ 1114997 h 1682115"/>
                  <a:gd name="connsiteX1082" fmla="*/ 26575 w 1254442"/>
                  <a:gd name="connsiteY1082" fmla="*/ 1098042 h 1682115"/>
                  <a:gd name="connsiteX1083" fmla="*/ 23908 w 1254442"/>
                  <a:gd name="connsiteY1083" fmla="*/ 1085850 h 1682115"/>
                  <a:gd name="connsiteX1084" fmla="*/ 22955 w 1254442"/>
                  <a:gd name="connsiteY1084" fmla="*/ 1076801 h 1682115"/>
                  <a:gd name="connsiteX1085" fmla="*/ 22479 w 1254442"/>
                  <a:gd name="connsiteY1085" fmla="*/ 1068896 h 1682115"/>
                  <a:gd name="connsiteX1086" fmla="*/ 20955 w 1254442"/>
                  <a:gd name="connsiteY1086" fmla="*/ 1058323 h 1682115"/>
                  <a:gd name="connsiteX1087" fmla="*/ 18478 w 1254442"/>
                  <a:gd name="connsiteY1087" fmla="*/ 1045178 h 1682115"/>
                  <a:gd name="connsiteX1088" fmla="*/ 19050 w 1254442"/>
                  <a:gd name="connsiteY1088" fmla="*/ 1045940 h 1682115"/>
                  <a:gd name="connsiteX1089" fmla="*/ 16859 w 1254442"/>
                  <a:gd name="connsiteY1089" fmla="*/ 1032891 h 1682115"/>
                  <a:gd name="connsiteX1090" fmla="*/ 14192 w 1254442"/>
                  <a:gd name="connsiteY1090" fmla="*/ 1024985 h 1682115"/>
                  <a:gd name="connsiteX1091" fmla="*/ 10954 w 1254442"/>
                  <a:gd name="connsiteY1091" fmla="*/ 1010698 h 1682115"/>
                  <a:gd name="connsiteX1092" fmla="*/ 8382 w 1254442"/>
                  <a:gd name="connsiteY1092" fmla="*/ 1000792 h 1682115"/>
                  <a:gd name="connsiteX1093" fmla="*/ 6287 w 1254442"/>
                  <a:gd name="connsiteY1093" fmla="*/ 989171 h 1682115"/>
                  <a:gd name="connsiteX1094" fmla="*/ 6287 w 1254442"/>
                  <a:gd name="connsiteY1094" fmla="*/ 982504 h 1682115"/>
                  <a:gd name="connsiteX1095" fmla="*/ 5620 w 1254442"/>
                  <a:gd name="connsiteY1095" fmla="*/ 980313 h 1682115"/>
                  <a:gd name="connsiteX1096" fmla="*/ 4477 w 1254442"/>
                  <a:gd name="connsiteY1096" fmla="*/ 970788 h 1682115"/>
                  <a:gd name="connsiteX1097" fmla="*/ 5334 w 1254442"/>
                  <a:gd name="connsiteY1097" fmla="*/ 971169 h 1682115"/>
                  <a:gd name="connsiteX1098" fmla="*/ 5620 w 1254442"/>
                  <a:gd name="connsiteY1098" fmla="*/ 962406 h 1682115"/>
                  <a:gd name="connsiteX1099" fmla="*/ 6001 w 1254442"/>
                  <a:gd name="connsiteY1099" fmla="*/ 950976 h 1682115"/>
                  <a:gd name="connsiteX1100" fmla="*/ 6668 w 1254442"/>
                  <a:gd name="connsiteY1100" fmla="*/ 941546 h 1682115"/>
                  <a:gd name="connsiteX1101" fmla="*/ 8382 w 1254442"/>
                  <a:gd name="connsiteY1101" fmla="*/ 935260 h 1682115"/>
                  <a:gd name="connsiteX1102" fmla="*/ 8763 w 1254442"/>
                  <a:gd name="connsiteY1102" fmla="*/ 931545 h 1682115"/>
                  <a:gd name="connsiteX1103" fmla="*/ 9906 w 1254442"/>
                  <a:gd name="connsiteY1103" fmla="*/ 930307 h 1682115"/>
                  <a:gd name="connsiteX1104" fmla="*/ 11716 w 1254442"/>
                  <a:gd name="connsiteY1104" fmla="*/ 935069 h 1682115"/>
                  <a:gd name="connsiteX1105" fmla="*/ 12859 w 1254442"/>
                  <a:gd name="connsiteY1105" fmla="*/ 933259 h 1682115"/>
                  <a:gd name="connsiteX1106" fmla="*/ 15240 w 1254442"/>
                  <a:gd name="connsiteY1106" fmla="*/ 935260 h 1682115"/>
                  <a:gd name="connsiteX1107" fmla="*/ 16193 w 1254442"/>
                  <a:gd name="connsiteY1107" fmla="*/ 938784 h 1682115"/>
                  <a:gd name="connsiteX1108" fmla="*/ 18478 w 1254442"/>
                  <a:gd name="connsiteY1108" fmla="*/ 937927 h 1682115"/>
                  <a:gd name="connsiteX1109" fmla="*/ 19717 w 1254442"/>
                  <a:gd name="connsiteY1109" fmla="*/ 936498 h 1682115"/>
                  <a:gd name="connsiteX1110" fmla="*/ 22289 w 1254442"/>
                  <a:gd name="connsiteY1110" fmla="*/ 936974 h 1682115"/>
                  <a:gd name="connsiteX1111" fmla="*/ 24860 w 1254442"/>
                  <a:gd name="connsiteY1111" fmla="*/ 939260 h 1682115"/>
                  <a:gd name="connsiteX1112" fmla="*/ 27527 w 1254442"/>
                  <a:gd name="connsiteY1112" fmla="*/ 944404 h 1682115"/>
                  <a:gd name="connsiteX1113" fmla="*/ 29432 w 1254442"/>
                  <a:gd name="connsiteY1113" fmla="*/ 941737 h 1682115"/>
                  <a:gd name="connsiteX1114" fmla="*/ 30956 w 1254442"/>
                  <a:gd name="connsiteY1114" fmla="*/ 942784 h 1682115"/>
                  <a:gd name="connsiteX1115" fmla="*/ 31814 w 1254442"/>
                  <a:gd name="connsiteY1115" fmla="*/ 944689 h 1682115"/>
                  <a:gd name="connsiteX1116" fmla="*/ 32861 w 1254442"/>
                  <a:gd name="connsiteY1116" fmla="*/ 938308 h 1682115"/>
                  <a:gd name="connsiteX1117" fmla="*/ 32861 w 1254442"/>
                  <a:gd name="connsiteY1117" fmla="*/ 929735 h 1682115"/>
                  <a:gd name="connsiteX1118" fmla="*/ 33623 w 1254442"/>
                  <a:gd name="connsiteY1118" fmla="*/ 922877 h 1682115"/>
                  <a:gd name="connsiteX1119" fmla="*/ 34100 w 1254442"/>
                  <a:gd name="connsiteY1119" fmla="*/ 915638 h 1682115"/>
                  <a:gd name="connsiteX1120" fmla="*/ 33909 w 1254442"/>
                  <a:gd name="connsiteY1120" fmla="*/ 911924 h 1682115"/>
                  <a:gd name="connsiteX1121" fmla="*/ 33909 w 1254442"/>
                  <a:gd name="connsiteY1121" fmla="*/ 901160 h 1682115"/>
                  <a:gd name="connsiteX1122" fmla="*/ 32861 w 1254442"/>
                  <a:gd name="connsiteY1122" fmla="*/ 896588 h 1682115"/>
                  <a:gd name="connsiteX1123" fmla="*/ 32194 w 1254442"/>
                  <a:gd name="connsiteY1123" fmla="*/ 890492 h 1682115"/>
                  <a:gd name="connsiteX1124" fmla="*/ 32194 w 1254442"/>
                  <a:gd name="connsiteY1124" fmla="*/ 884872 h 1682115"/>
                  <a:gd name="connsiteX1125" fmla="*/ 32004 w 1254442"/>
                  <a:gd name="connsiteY1125" fmla="*/ 877443 h 1682115"/>
                  <a:gd name="connsiteX1126" fmla="*/ 31052 w 1254442"/>
                  <a:gd name="connsiteY1126" fmla="*/ 874776 h 1682115"/>
                  <a:gd name="connsiteX1127" fmla="*/ 29813 w 1254442"/>
                  <a:gd name="connsiteY1127" fmla="*/ 867251 h 1682115"/>
                  <a:gd name="connsiteX1128" fmla="*/ 29051 w 1254442"/>
                  <a:gd name="connsiteY1128" fmla="*/ 856488 h 1682115"/>
                  <a:gd name="connsiteX1129" fmla="*/ 29051 w 1254442"/>
                  <a:gd name="connsiteY1129" fmla="*/ 845534 h 1682115"/>
                  <a:gd name="connsiteX1130" fmla="*/ 28575 w 1254442"/>
                  <a:gd name="connsiteY1130" fmla="*/ 841915 h 1682115"/>
                  <a:gd name="connsiteX1131" fmla="*/ 29051 w 1254442"/>
                  <a:gd name="connsiteY1131" fmla="*/ 839724 h 1682115"/>
                  <a:gd name="connsiteX1132" fmla="*/ 28670 w 1254442"/>
                  <a:gd name="connsiteY1132" fmla="*/ 833057 h 1682115"/>
                  <a:gd name="connsiteX1133" fmla="*/ 27337 w 1254442"/>
                  <a:gd name="connsiteY1133" fmla="*/ 827913 h 1682115"/>
                  <a:gd name="connsiteX1134" fmla="*/ 27527 w 1254442"/>
                  <a:gd name="connsiteY1134" fmla="*/ 825437 h 1682115"/>
                  <a:gd name="connsiteX1135" fmla="*/ 28194 w 1254442"/>
                  <a:gd name="connsiteY1135" fmla="*/ 818579 h 1682115"/>
                  <a:gd name="connsiteX1136" fmla="*/ 27146 w 1254442"/>
                  <a:gd name="connsiteY1136" fmla="*/ 816578 h 1682115"/>
                  <a:gd name="connsiteX1137" fmla="*/ 28194 w 1254442"/>
                  <a:gd name="connsiteY1137" fmla="*/ 808863 h 1682115"/>
                  <a:gd name="connsiteX1138" fmla="*/ 30575 w 1254442"/>
                  <a:gd name="connsiteY1138" fmla="*/ 813435 h 1682115"/>
                  <a:gd name="connsiteX1139" fmla="*/ 30861 w 1254442"/>
                  <a:gd name="connsiteY1139" fmla="*/ 817626 h 1682115"/>
                  <a:gd name="connsiteX1140" fmla="*/ 32861 w 1254442"/>
                  <a:gd name="connsiteY1140" fmla="*/ 822198 h 1682115"/>
                  <a:gd name="connsiteX1141" fmla="*/ 36481 w 1254442"/>
                  <a:gd name="connsiteY1141" fmla="*/ 824770 h 1682115"/>
                  <a:gd name="connsiteX1142" fmla="*/ 37148 w 1254442"/>
                  <a:gd name="connsiteY1142" fmla="*/ 823246 h 1682115"/>
                  <a:gd name="connsiteX1143" fmla="*/ 39815 w 1254442"/>
                  <a:gd name="connsiteY1143" fmla="*/ 825627 h 1682115"/>
                  <a:gd name="connsiteX1144" fmla="*/ 40862 w 1254442"/>
                  <a:gd name="connsiteY1144" fmla="*/ 823532 h 1682115"/>
                  <a:gd name="connsiteX1145" fmla="*/ 44196 w 1254442"/>
                  <a:gd name="connsiteY1145" fmla="*/ 827151 h 1682115"/>
                  <a:gd name="connsiteX1146" fmla="*/ 46292 w 1254442"/>
                  <a:gd name="connsiteY1146" fmla="*/ 827437 h 1682115"/>
                  <a:gd name="connsiteX1147" fmla="*/ 46292 w 1254442"/>
                  <a:gd name="connsiteY1147" fmla="*/ 823055 h 1682115"/>
                  <a:gd name="connsiteX1148" fmla="*/ 47339 w 1254442"/>
                  <a:gd name="connsiteY1148" fmla="*/ 822960 h 1682115"/>
                  <a:gd name="connsiteX1149" fmla="*/ 47625 w 1254442"/>
                  <a:gd name="connsiteY1149" fmla="*/ 827818 h 1682115"/>
                  <a:gd name="connsiteX1150" fmla="*/ 45815 w 1254442"/>
                  <a:gd name="connsiteY1150" fmla="*/ 833723 h 1682115"/>
                  <a:gd name="connsiteX1151" fmla="*/ 52102 w 1254442"/>
                  <a:gd name="connsiteY1151" fmla="*/ 839248 h 1682115"/>
                  <a:gd name="connsiteX1152" fmla="*/ 55721 w 1254442"/>
                  <a:gd name="connsiteY1152" fmla="*/ 842582 h 1682115"/>
                  <a:gd name="connsiteX1153" fmla="*/ 56959 w 1254442"/>
                  <a:gd name="connsiteY1153" fmla="*/ 838295 h 1682115"/>
                  <a:gd name="connsiteX1154" fmla="*/ 62294 w 1254442"/>
                  <a:gd name="connsiteY1154" fmla="*/ 843534 h 1682115"/>
                  <a:gd name="connsiteX1155" fmla="*/ 68009 w 1254442"/>
                  <a:gd name="connsiteY1155" fmla="*/ 855535 h 1682115"/>
                  <a:gd name="connsiteX1156" fmla="*/ 72295 w 1254442"/>
                  <a:gd name="connsiteY1156" fmla="*/ 856107 h 1682115"/>
                  <a:gd name="connsiteX1157" fmla="*/ 73914 w 1254442"/>
                  <a:gd name="connsiteY1157" fmla="*/ 850583 h 1682115"/>
                  <a:gd name="connsiteX1158" fmla="*/ 72485 w 1254442"/>
                  <a:gd name="connsiteY1158" fmla="*/ 836867 h 1682115"/>
                  <a:gd name="connsiteX1159" fmla="*/ 72104 w 1254442"/>
                  <a:gd name="connsiteY1159" fmla="*/ 816769 h 1682115"/>
                  <a:gd name="connsiteX1160" fmla="*/ 69628 w 1254442"/>
                  <a:gd name="connsiteY1160" fmla="*/ 792766 h 1682115"/>
                  <a:gd name="connsiteX1161" fmla="*/ 67342 w 1254442"/>
                  <a:gd name="connsiteY1161" fmla="*/ 777335 h 1682115"/>
                  <a:gd name="connsiteX1162" fmla="*/ 64865 w 1254442"/>
                  <a:gd name="connsiteY1162" fmla="*/ 773335 h 1682115"/>
                  <a:gd name="connsiteX1163" fmla="*/ 57817 w 1254442"/>
                  <a:gd name="connsiteY1163" fmla="*/ 771430 h 1682115"/>
                  <a:gd name="connsiteX1164" fmla="*/ 53150 w 1254442"/>
                  <a:gd name="connsiteY1164" fmla="*/ 765905 h 1682115"/>
                  <a:gd name="connsiteX1165" fmla="*/ 50197 w 1254442"/>
                  <a:gd name="connsiteY1165" fmla="*/ 751237 h 1682115"/>
                  <a:gd name="connsiteX1166" fmla="*/ 49244 w 1254442"/>
                  <a:gd name="connsiteY1166" fmla="*/ 736663 h 1682115"/>
                  <a:gd name="connsiteX1167" fmla="*/ 48578 w 1254442"/>
                  <a:gd name="connsiteY1167" fmla="*/ 719328 h 1682115"/>
                  <a:gd name="connsiteX1168" fmla="*/ 48768 w 1254442"/>
                  <a:gd name="connsiteY1168" fmla="*/ 701707 h 1682115"/>
                  <a:gd name="connsiteX1169" fmla="*/ 48006 w 1254442"/>
                  <a:gd name="connsiteY1169" fmla="*/ 681323 h 1682115"/>
                  <a:gd name="connsiteX1170" fmla="*/ 52007 w 1254442"/>
                  <a:gd name="connsiteY1170" fmla="*/ 672084 h 1682115"/>
                  <a:gd name="connsiteX1171" fmla="*/ 56388 w 1254442"/>
                  <a:gd name="connsiteY1171" fmla="*/ 647891 h 1682115"/>
                  <a:gd name="connsiteX1172" fmla="*/ 61246 w 1254442"/>
                  <a:gd name="connsiteY1172" fmla="*/ 639318 h 1682115"/>
                  <a:gd name="connsiteX1173" fmla="*/ 66485 w 1254442"/>
                  <a:gd name="connsiteY1173" fmla="*/ 634555 h 1682115"/>
                  <a:gd name="connsiteX1174" fmla="*/ 74486 w 1254442"/>
                  <a:gd name="connsiteY1174" fmla="*/ 620268 h 1682115"/>
                  <a:gd name="connsiteX1175" fmla="*/ 81820 w 1254442"/>
                  <a:gd name="connsiteY1175" fmla="*/ 616649 h 1682115"/>
                  <a:gd name="connsiteX1176" fmla="*/ 87059 w 1254442"/>
                  <a:gd name="connsiteY1176" fmla="*/ 610267 h 1682115"/>
                  <a:gd name="connsiteX1177" fmla="*/ 92583 w 1254442"/>
                  <a:gd name="connsiteY1177" fmla="*/ 607028 h 1682115"/>
                  <a:gd name="connsiteX1178" fmla="*/ 96869 w 1254442"/>
                  <a:gd name="connsiteY1178" fmla="*/ 609791 h 1682115"/>
                  <a:gd name="connsiteX1179" fmla="*/ 109633 w 1254442"/>
                  <a:gd name="connsiteY1179" fmla="*/ 613124 h 1682115"/>
                  <a:gd name="connsiteX1180" fmla="*/ 116396 w 1254442"/>
                  <a:gd name="connsiteY1180" fmla="*/ 617887 h 1682115"/>
                  <a:gd name="connsiteX1181" fmla="*/ 124397 w 1254442"/>
                  <a:gd name="connsiteY1181" fmla="*/ 627507 h 1682115"/>
                  <a:gd name="connsiteX1182" fmla="*/ 128492 w 1254442"/>
                  <a:gd name="connsiteY1182" fmla="*/ 623792 h 1682115"/>
                  <a:gd name="connsiteX1183" fmla="*/ 133826 w 1254442"/>
                  <a:gd name="connsiteY1183" fmla="*/ 623411 h 1682115"/>
                  <a:gd name="connsiteX1184" fmla="*/ 141351 w 1254442"/>
                  <a:gd name="connsiteY1184" fmla="*/ 624650 h 1682115"/>
                  <a:gd name="connsiteX1185" fmla="*/ 145733 w 1254442"/>
                  <a:gd name="connsiteY1185" fmla="*/ 630174 h 1682115"/>
                  <a:gd name="connsiteX1186" fmla="*/ 149733 w 1254442"/>
                  <a:gd name="connsiteY1186" fmla="*/ 642461 h 1682115"/>
                  <a:gd name="connsiteX1187" fmla="*/ 152495 w 1254442"/>
                  <a:gd name="connsiteY1187" fmla="*/ 664178 h 1682115"/>
                  <a:gd name="connsiteX1188" fmla="*/ 159544 w 1254442"/>
                  <a:gd name="connsiteY1188" fmla="*/ 684276 h 1682115"/>
                  <a:gd name="connsiteX1189" fmla="*/ 161068 w 1254442"/>
                  <a:gd name="connsiteY1189" fmla="*/ 702278 h 1682115"/>
                  <a:gd name="connsiteX1190" fmla="*/ 161068 w 1254442"/>
                  <a:gd name="connsiteY1190" fmla="*/ 715423 h 1682115"/>
                  <a:gd name="connsiteX1191" fmla="*/ 157544 w 1254442"/>
                  <a:gd name="connsiteY1191" fmla="*/ 730663 h 1682115"/>
                  <a:gd name="connsiteX1192" fmla="*/ 158401 w 1254442"/>
                  <a:gd name="connsiteY1192" fmla="*/ 749237 h 1682115"/>
                  <a:gd name="connsiteX1193" fmla="*/ 151733 w 1254442"/>
                  <a:gd name="connsiteY1193" fmla="*/ 764953 h 1682115"/>
                  <a:gd name="connsiteX1194" fmla="*/ 151257 w 1254442"/>
                  <a:gd name="connsiteY1194" fmla="*/ 780383 h 1682115"/>
                  <a:gd name="connsiteX1195" fmla="*/ 153543 w 1254442"/>
                  <a:gd name="connsiteY1195" fmla="*/ 788384 h 1682115"/>
                  <a:gd name="connsiteX1196" fmla="*/ 151829 w 1254442"/>
                  <a:gd name="connsiteY1196" fmla="*/ 796290 h 1682115"/>
                  <a:gd name="connsiteX1197" fmla="*/ 153448 w 1254442"/>
                  <a:gd name="connsiteY1197" fmla="*/ 800291 h 1682115"/>
                  <a:gd name="connsiteX1198" fmla="*/ 155734 w 1254442"/>
                  <a:gd name="connsiteY1198" fmla="*/ 795718 h 1682115"/>
                  <a:gd name="connsiteX1199" fmla="*/ 160592 w 1254442"/>
                  <a:gd name="connsiteY1199" fmla="*/ 796004 h 1682115"/>
                  <a:gd name="connsiteX1200" fmla="*/ 163830 w 1254442"/>
                  <a:gd name="connsiteY1200" fmla="*/ 792194 h 1682115"/>
                  <a:gd name="connsiteX1201" fmla="*/ 165830 w 1254442"/>
                  <a:gd name="connsiteY1201" fmla="*/ 800862 h 1682115"/>
                  <a:gd name="connsiteX1202" fmla="*/ 166973 w 1254442"/>
                  <a:gd name="connsiteY1202" fmla="*/ 816864 h 1682115"/>
                  <a:gd name="connsiteX1203" fmla="*/ 166307 w 1254442"/>
                  <a:gd name="connsiteY1203" fmla="*/ 835533 h 1682115"/>
                  <a:gd name="connsiteX1204" fmla="*/ 169069 w 1254442"/>
                  <a:gd name="connsiteY1204" fmla="*/ 859155 h 1682115"/>
                  <a:gd name="connsiteX1205" fmla="*/ 166973 w 1254442"/>
                  <a:gd name="connsiteY1205" fmla="*/ 872490 h 1682115"/>
                  <a:gd name="connsiteX1206" fmla="*/ 162116 w 1254442"/>
                  <a:gd name="connsiteY1206" fmla="*/ 883158 h 1682115"/>
                  <a:gd name="connsiteX1207" fmla="*/ 161830 w 1254442"/>
                  <a:gd name="connsiteY1207" fmla="*/ 886968 h 1682115"/>
                  <a:gd name="connsiteX1208" fmla="*/ 169355 w 1254442"/>
                  <a:gd name="connsiteY1208" fmla="*/ 907637 h 1682115"/>
                  <a:gd name="connsiteX1209" fmla="*/ 168402 w 1254442"/>
                  <a:gd name="connsiteY1209" fmla="*/ 916019 h 1682115"/>
                  <a:gd name="connsiteX1210" fmla="*/ 160306 w 1254442"/>
                  <a:gd name="connsiteY1210" fmla="*/ 933641 h 1682115"/>
                  <a:gd name="connsiteX1211" fmla="*/ 154686 w 1254442"/>
                  <a:gd name="connsiteY1211" fmla="*/ 940403 h 1682115"/>
                  <a:gd name="connsiteX1212" fmla="*/ 146590 w 1254442"/>
                  <a:gd name="connsiteY1212" fmla="*/ 936974 h 1682115"/>
                  <a:gd name="connsiteX1213" fmla="*/ 142589 w 1254442"/>
                  <a:gd name="connsiteY1213" fmla="*/ 940784 h 1682115"/>
                  <a:gd name="connsiteX1214" fmla="*/ 135446 w 1254442"/>
                  <a:gd name="connsiteY1214" fmla="*/ 951929 h 1682115"/>
                  <a:gd name="connsiteX1215" fmla="*/ 127921 w 1254442"/>
                  <a:gd name="connsiteY1215" fmla="*/ 964692 h 1682115"/>
                  <a:gd name="connsiteX1216" fmla="*/ 126778 w 1254442"/>
                  <a:gd name="connsiteY1216" fmla="*/ 973264 h 1682115"/>
                  <a:gd name="connsiteX1217" fmla="*/ 122777 w 1254442"/>
                  <a:gd name="connsiteY1217" fmla="*/ 977360 h 1682115"/>
                  <a:gd name="connsiteX1218" fmla="*/ 123254 w 1254442"/>
                  <a:gd name="connsiteY1218" fmla="*/ 988314 h 1682115"/>
                  <a:gd name="connsiteX1219" fmla="*/ 125635 w 1254442"/>
                  <a:gd name="connsiteY1219" fmla="*/ 994601 h 1682115"/>
                  <a:gd name="connsiteX1220" fmla="*/ 132874 w 1254442"/>
                  <a:gd name="connsiteY1220" fmla="*/ 998887 h 1682115"/>
                  <a:gd name="connsiteX1221" fmla="*/ 137160 w 1254442"/>
                  <a:gd name="connsiteY1221" fmla="*/ 999077 h 1682115"/>
                  <a:gd name="connsiteX1222" fmla="*/ 144494 w 1254442"/>
                  <a:gd name="connsiteY1222" fmla="*/ 998506 h 1682115"/>
                  <a:gd name="connsiteX1223" fmla="*/ 155639 w 1254442"/>
                  <a:gd name="connsiteY1223" fmla="*/ 986218 h 1682115"/>
                  <a:gd name="connsiteX1224" fmla="*/ 160496 w 1254442"/>
                  <a:gd name="connsiteY1224" fmla="*/ 985266 h 1682115"/>
                  <a:gd name="connsiteX1225" fmla="*/ 167164 w 1254442"/>
                  <a:gd name="connsiteY1225" fmla="*/ 974598 h 1682115"/>
                  <a:gd name="connsiteX1226" fmla="*/ 176308 w 1254442"/>
                  <a:gd name="connsiteY1226" fmla="*/ 966026 h 1682115"/>
                  <a:gd name="connsiteX1227" fmla="*/ 184214 w 1254442"/>
                  <a:gd name="connsiteY1227" fmla="*/ 961072 h 1682115"/>
                  <a:gd name="connsiteX1228" fmla="*/ 193548 w 1254442"/>
                  <a:gd name="connsiteY1228" fmla="*/ 962882 h 1682115"/>
                  <a:gd name="connsiteX1229" fmla="*/ 202597 w 1254442"/>
                  <a:gd name="connsiteY1229" fmla="*/ 971359 h 1682115"/>
                  <a:gd name="connsiteX1230" fmla="*/ 210598 w 1254442"/>
                  <a:gd name="connsiteY1230" fmla="*/ 981837 h 1682115"/>
                  <a:gd name="connsiteX1231" fmla="*/ 223076 w 1254442"/>
                  <a:gd name="connsiteY1231" fmla="*/ 1002411 h 1682115"/>
                  <a:gd name="connsiteX1232" fmla="*/ 228029 w 1254442"/>
                  <a:gd name="connsiteY1232" fmla="*/ 1004411 h 1682115"/>
                  <a:gd name="connsiteX1233" fmla="*/ 234886 w 1254442"/>
                  <a:gd name="connsiteY1233" fmla="*/ 1013555 h 1682115"/>
                  <a:gd name="connsiteX1234" fmla="*/ 237744 w 1254442"/>
                  <a:gd name="connsiteY1234" fmla="*/ 1023271 h 1682115"/>
                  <a:gd name="connsiteX1235" fmla="*/ 248412 w 1254442"/>
                  <a:gd name="connsiteY1235" fmla="*/ 1034510 h 1682115"/>
                  <a:gd name="connsiteX1236" fmla="*/ 257080 w 1254442"/>
                  <a:gd name="connsiteY1236" fmla="*/ 1053751 h 1682115"/>
                  <a:gd name="connsiteX1237" fmla="*/ 270224 w 1254442"/>
                  <a:gd name="connsiteY1237" fmla="*/ 1063562 h 1682115"/>
                  <a:gd name="connsiteX1238" fmla="*/ 283464 w 1254442"/>
                  <a:gd name="connsiteY1238" fmla="*/ 1057370 h 1682115"/>
                  <a:gd name="connsiteX1239" fmla="*/ 287846 w 1254442"/>
                  <a:gd name="connsiteY1239" fmla="*/ 1054227 h 1682115"/>
                  <a:gd name="connsiteX1240" fmla="*/ 287465 w 1254442"/>
                  <a:gd name="connsiteY1240" fmla="*/ 1048607 h 1682115"/>
                  <a:gd name="connsiteX1241" fmla="*/ 300990 w 1254442"/>
                  <a:gd name="connsiteY1241" fmla="*/ 1044416 h 1682115"/>
                  <a:gd name="connsiteX1242" fmla="*/ 302609 w 1254442"/>
                  <a:gd name="connsiteY1242" fmla="*/ 1030414 h 1682115"/>
                  <a:gd name="connsiteX1243" fmla="*/ 303276 w 1254442"/>
                  <a:gd name="connsiteY1243" fmla="*/ 1043273 h 1682115"/>
                  <a:gd name="connsiteX1244" fmla="*/ 311658 w 1254442"/>
                  <a:gd name="connsiteY1244" fmla="*/ 1037082 h 1682115"/>
                  <a:gd name="connsiteX1245" fmla="*/ 318992 w 1254442"/>
                  <a:gd name="connsiteY1245" fmla="*/ 1039082 h 1682115"/>
                  <a:gd name="connsiteX1246" fmla="*/ 307181 w 1254442"/>
                  <a:gd name="connsiteY1246" fmla="*/ 1044226 h 1682115"/>
                  <a:gd name="connsiteX1247" fmla="*/ 303943 w 1254442"/>
                  <a:gd name="connsiteY1247" fmla="*/ 1055084 h 1682115"/>
                  <a:gd name="connsiteX1248" fmla="*/ 292703 w 1254442"/>
                  <a:gd name="connsiteY1248" fmla="*/ 1051751 h 1682115"/>
                  <a:gd name="connsiteX1249" fmla="*/ 292703 w 1254442"/>
                  <a:gd name="connsiteY1249" fmla="*/ 1053656 h 1682115"/>
                  <a:gd name="connsiteX1250" fmla="*/ 306800 w 1254442"/>
                  <a:gd name="connsiteY1250" fmla="*/ 1061276 h 1682115"/>
                  <a:gd name="connsiteX1251" fmla="*/ 314039 w 1254442"/>
                  <a:gd name="connsiteY1251" fmla="*/ 1065752 h 1682115"/>
                  <a:gd name="connsiteX1252" fmla="*/ 319564 w 1254442"/>
                  <a:gd name="connsiteY1252" fmla="*/ 1064038 h 1682115"/>
                  <a:gd name="connsiteX1253" fmla="*/ 320993 w 1254442"/>
                  <a:gd name="connsiteY1253" fmla="*/ 1058799 h 1682115"/>
                  <a:gd name="connsiteX1254" fmla="*/ 328041 w 1254442"/>
                  <a:gd name="connsiteY1254" fmla="*/ 1052893 h 1682115"/>
                  <a:gd name="connsiteX1255" fmla="*/ 325850 w 1254442"/>
                  <a:gd name="connsiteY1255" fmla="*/ 1059847 h 1682115"/>
                  <a:gd name="connsiteX1256" fmla="*/ 326136 w 1254442"/>
                  <a:gd name="connsiteY1256" fmla="*/ 1064038 h 1682115"/>
                  <a:gd name="connsiteX1257" fmla="*/ 322707 w 1254442"/>
                  <a:gd name="connsiteY1257" fmla="*/ 1066419 h 1682115"/>
                  <a:gd name="connsiteX1258" fmla="*/ 337852 w 1254442"/>
                  <a:gd name="connsiteY1258" fmla="*/ 1076516 h 1682115"/>
                  <a:gd name="connsiteX1259" fmla="*/ 349758 w 1254442"/>
                  <a:gd name="connsiteY1259" fmla="*/ 1077278 h 1682115"/>
                  <a:gd name="connsiteX1260" fmla="*/ 348996 w 1254442"/>
                  <a:gd name="connsiteY1260" fmla="*/ 1071848 h 1682115"/>
                  <a:gd name="connsiteX1261" fmla="*/ 354806 w 1254442"/>
                  <a:gd name="connsiteY1261" fmla="*/ 1076039 h 1682115"/>
                  <a:gd name="connsiteX1262" fmla="*/ 352806 w 1254442"/>
                  <a:gd name="connsiteY1262" fmla="*/ 1076039 h 1682115"/>
                  <a:gd name="connsiteX1263" fmla="*/ 356140 w 1254442"/>
                  <a:gd name="connsiteY1263" fmla="*/ 1087374 h 1682115"/>
                  <a:gd name="connsiteX1264" fmla="*/ 368427 w 1254442"/>
                  <a:gd name="connsiteY1264" fmla="*/ 1110615 h 1682115"/>
                  <a:gd name="connsiteX1265" fmla="*/ 369665 w 1254442"/>
                  <a:gd name="connsiteY1265" fmla="*/ 1104519 h 1682115"/>
                  <a:gd name="connsiteX1266" fmla="*/ 358902 w 1254442"/>
                  <a:gd name="connsiteY1266" fmla="*/ 1079564 h 1682115"/>
                  <a:gd name="connsiteX1267" fmla="*/ 367760 w 1254442"/>
                  <a:gd name="connsiteY1267" fmla="*/ 1092899 h 1682115"/>
                  <a:gd name="connsiteX1268" fmla="*/ 371666 w 1254442"/>
                  <a:gd name="connsiteY1268" fmla="*/ 1102805 h 1682115"/>
                  <a:gd name="connsiteX1269" fmla="*/ 374904 w 1254442"/>
                  <a:gd name="connsiteY1269" fmla="*/ 1110139 h 1682115"/>
                  <a:gd name="connsiteX1270" fmla="*/ 381857 w 1254442"/>
                  <a:gd name="connsiteY1270" fmla="*/ 1122045 h 1682115"/>
                  <a:gd name="connsiteX1271" fmla="*/ 384429 w 1254442"/>
                  <a:gd name="connsiteY1271" fmla="*/ 1130427 h 1682115"/>
                  <a:gd name="connsiteX1272" fmla="*/ 391097 w 1254442"/>
                  <a:gd name="connsiteY1272" fmla="*/ 1141095 h 1682115"/>
                  <a:gd name="connsiteX1273" fmla="*/ 395954 w 1254442"/>
                  <a:gd name="connsiteY1273" fmla="*/ 1140905 h 1682115"/>
                  <a:gd name="connsiteX1274" fmla="*/ 397478 w 1254442"/>
                  <a:gd name="connsiteY1274" fmla="*/ 1134523 h 1682115"/>
                  <a:gd name="connsiteX1275" fmla="*/ 392525 w 1254442"/>
                  <a:gd name="connsiteY1275" fmla="*/ 1138333 h 1682115"/>
                  <a:gd name="connsiteX1276" fmla="*/ 390335 w 1254442"/>
                  <a:gd name="connsiteY1276" fmla="*/ 1131094 h 1682115"/>
                  <a:gd name="connsiteX1277" fmla="*/ 396526 w 1254442"/>
                  <a:gd name="connsiteY1277" fmla="*/ 1122617 h 1682115"/>
                  <a:gd name="connsiteX1278" fmla="*/ 404813 w 1254442"/>
                  <a:gd name="connsiteY1278" fmla="*/ 1119950 h 1682115"/>
                  <a:gd name="connsiteX1279" fmla="*/ 409289 w 1254442"/>
                  <a:gd name="connsiteY1279" fmla="*/ 1121569 h 1682115"/>
                  <a:gd name="connsiteX1280" fmla="*/ 421767 w 1254442"/>
                  <a:gd name="connsiteY1280" fmla="*/ 1127093 h 1682115"/>
                  <a:gd name="connsiteX1281" fmla="*/ 432911 w 1254442"/>
                  <a:gd name="connsiteY1281" fmla="*/ 1142714 h 1682115"/>
                  <a:gd name="connsiteX1282" fmla="*/ 444913 w 1254442"/>
                  <a:gd name="connsiteY1282" fmla="*/ 1157288 h 1682115"/>
                  <a:gd name="connsiteX1283" fmla="*/ 459677 w 1254442"/>
                  <a:gd name="connsiteY1283" fmla="*/ 1171289 h 1682115"/>
                  <a:gd name="connsiteX1284" fmla="*/ 463677 w 1254442"/>
                  <a:gd name="connsiteY1284" fmla="*/ 1166336 h 1682115"/>
                  <a:gd name="connsiteX1285" fmla="*/ 473202 w 1254442"/>
                  <a:gd name="connsiteY1285" fmla="*/ 1183005 h 1682115"/>
                  <a:gd name="connsiteX1286" fmla="*/ 485204 w 1254442"/>
                  <a:gd name="connsiteY1286" fmla="*/ 1207675 h 1682115"/>
                  <a:gd name="connsiteX1287" fmla="*/ 459772 w 1254442"/>
                  <a:gd name="connsiteY1287" fmla="*/ 1186339 h 1682115"/>
                  <a:gd name="connsiteX1288" fmla="*/ 446913 w 1254442"/>
                  <a:gd name="connsiteY1288" fmla="*/ 1192721 h 1682115"/>
                  <a:gd name="connsiteX1289" fmla="*/ 451295 w 1254442"/>
                  <a:gd name="connsiteY1289" fmla="*/ 1205484 h 1682115"/>
                  <a:gd name="connsiteX1290" fmla="*/ 470630 w 1254442"/>
                  <a:gd name="connsiteY1290" fmla="*/ 1218057 h 1682115"/>
                  <a:gd name="connsiteX1291" fmla="*/ 484442 w 1254442"/>
                  <a:gd name="connsiteY1291" fmla="*/ 1230439 h 1682115"/>
                  <a:gd name="connsiteX1292" fmla="*/ 511302 w 1254442"/>
                  <a:gd name="connsiteY1292" fmla="*/ 1259396 h 1682115"/>
                  <a:gd name="connsiteX1293" fmla="*/ 531590 w 1254442"/>
                  <a:gd name="connsiteY1293" fmla="*/ 1272159 h 1682115"/>
                  <a:gd name="connsiteX1294" fmla="*/ 531590 w 1254442"/>
                  <a:gd name="connsiteY1294" fmla="*/ 1259491 h 1682115"/>
                  <a:gd name="connsiteX1295" fmla="*/ 542258 w 1254442"/>
                  <a:gd name="connsiteY1295" fmla="*/ 1252157 h 1682115"/>
                  <a:gd name="connsiteX1296" fmla="*/ 516731 w 1254442"/>
                  <a:gd name="connsiteY1296" fmla="*/ 1247013 h 1682115"/>
                  <a:gd name="connsiteX1297" fmla="*/ 501491 w 1254442"/>
                  <a:gd name="connsiteY1297" fmla="*/ 1223296 h 1682115"/>
                  <a:gd name="connsiteX1298" fmla="*/ 499682 w 1254442"/>
                  <a:gd name="connsiteY1298" fmla="*/ 1199674 h 1682115"/>
                  <a:gd name="connsiteX1299" fmla="*/ 509397 w 1254442"/>
                  <a:gd name="connsiteY1299" fmla="*/ 1189006 h 1682115"/>
                  <a:gd name="connsiteX1300" fmla="*/ 524732 w 1254442"/>
                  <a:gd name="connsiteY1300" fmla="*/ 1176052 h 1682115"/>
                  <a:gd name="connsiteX1301" fmla="*/ 542354 w 1254442"/>
                  <a:gd name="connsiteY1301" fmla="*/ 1184624 h 1682115"/>
                  <a:gd name="connsiteX1302" fmla="*/ 544449 w 1254442"/>
                  <a:gd name="connsiteY1302" fmla="*/ 1167956 h 1682115"/>
                  <a:gd name="connsiteX1303" fmla="*/ 533019 w 1254442"/>
                  <a:gd name="connsiteY1303" fmla="*/ 1147001 h 1682115"/>
                  <a:gd name="connsiteX1304" fmla="*/ 506063 w 1254442"/>
                  <a:gd name="connsiteY1304" fmla="*/ 1121664 h 1682115"/>
                  <a:gd name="connsiteX1305" fmla="*/ 474631 w 1254442"/>
                  <a:gd name="connsiteY1305" fmla="*/ 1105281 h 1682115"/>
                  <a:gd name="connsiteX1306" fmla="*/ 467201 w 1254442"/>
                  <a:gd name="connsiteY1306" fmla="*/ 1092899 h 1682115"/>
                  <a:gd name="connsiteX1307" fmla="*/ 489109 w 1254442"/>
                  <a:gd name="connsiteY1307" fmla="*/ 1105281 h 1682115"/>
                  <a:gd name="connsiteX1308" fmla="*/ 519970 w 1254442"/>
                  <a:gd name="connsiteY1308" fmla="*/ 1118521 h 1682115"/>
                  <a:gd name="connsiteX1309" fmla="*/ 535210 w 1254442"/>
                  <a:gd name="connsiteY1309" fmla="*/ 1134237 h 1682115"/>
                  <a:gd name="connsiteX1310" fmla="*/ 552641 w 1254442"/>
                  <a:gd name="connsiteY1310" fmla="*/ 1141095 h 1682115"/>
                  <a:gd name="connsiteX1311" fmla="*/ 560451 w 1254442"/>
                  <a:gd name="connsiteY1311" fmla="*/ 1155287 h 1682115"/>
                  <a:gd name="connsiteX1312" fmla="*/ 570357 w 1254442"/>
                  <a:gd name="connsiteY1312" fmla="*/ 1176433 h 1682115"/>
                  <a:gd name="connsiteX1313" fmla="*/ 582073 w 1254442"/>
                  <a:gd name="connsiteY1313" fmla="*/ 1207960 h 1682115"/>
                  <a:gd name="connsiteX1314" fmla="*/ 597599 w 1254442"/>
                  <a:gd name="connsiteY1314" fmla="*/ 1229582 h 1682115"/>
                  <a:gd name="connsiteX1315" fmla="*/ 620840 w 1254442"/>
                  <a:gd name="connsiteY1315" fmla="*/ 1238441 h 1682115"/>
                  <a:gd name="connsiteX1316" fmla="*/ 639890 w 1254442"/>
                  <a:gd name="connsiteY1316" fmla="*/ 1256157 h 1682115"/>
                  <a:gd name="connsiteX1317" fmla="*/ 651415 w 1254442"/>
                  <a:gd name="connsiteY1317" fmla="*/ 1261586 h 1682115"/>
                  <a:gd name="connsiteX1318" fmla="*/ 663512 w 1254442"/>
                  <a:gd name="connsiteY1318" fmla="*/ 1266635 h 1682115"/>
                  <a:gd name="connsiteX1319" fmla="*/ 680942 w 1254442"/>
                  <a:gd name="connsiteY1319" fmla="*/ 1253490 h 1682115"/>
                  <a:gd name="connsiteX1320" fmla="*/ 683800 w 1254442"/>
                  <a:gd name="connsiteY1320" fmla="*/ 1244537 h 1682115"/>
                  <a:gd name="connsiteX1321" fmla="*/ 679799 w 1254442"/>
                  <a:gd name="connsiteY1321" fmla="*/ 1233678 h 1682115"/>
                  <a:gd name="connsiteX1322" fmla="*/ 690753 w 1254442"/>
                  <a:gd name="connsiteY1322" fmla="*/ 1219867 h 1682115"/>
                  <a:gd name="connsiteX1323" fmla="*/ 691325 w 1254442"/>
                  <a:gd name="connsiteY1323" fmla="*/ 1208818 h 1682115"/>
                  <a:gd name="connsiteX1324" fmla="*/ 684181 w 1254442"/>
                  <a:gd name="connsiteY1324" fmla="*/ 1187101 h 1682115"/>
                  <a:gd name="connsiteX1325" fmla="*/ 687895 w 1254442"/>
                  <a:gd name="connsiteY1325" fmla="*/ 1170623 h 1682115"/>
                  <a:gd name="connsiteX1326" fmla="*/ 689134 w 1254442"/>
                  <a:gd name="connsiteY1326" fmla="*/ 1149287 h 1682115"/>
                  <a:gd name="connsiteX1327" fmla="*/ 702945 w 1254442"/>
                  <a:gd name="connsiteY1327" fmla="*/ 1147953 h 1682115"/>
                  <a:gd name="connsiteX1328" fmla="*/ 717899 w 1254442"/>
                  <a:gd name="connsiteY1328" fmla="*/ 1123569 h 1682115"/>
                  <a:gd name="connsiteX1329" fmla="*/ 734187 w 1254442"/>
                  <a:gd name="connsiteY1329" fmla="*/ 1096899 h 1682115"/>
                  <a:gd name="connsiteX1330" fmla="*/ 746951 w 1254442"/>
                  <a:gd name="connsiteY1330" fmla="*/ 1080135 h 1682115"/>
                  <a:gd name="connsiteX1331" fmla="*/ 734663 w 1254442"/>
                  <a:gd name="connsiteY1331" fmla="*/ 1076992 h 1682115"/>
                  <a:gd name="connsiteX1332" fmla="*/ 708660 w 1254442"/>
                  <a:gd name="connsiteY1332" fmla="*/ 1075658 h 1682115"/>
                  <a:gd name="connsiteX1333" fmla="*/ 690848 w 1254442"/>
                  <a:gd name="connsiteY1333" fmla="*/ 1063181 h 1682115"/>
                  <a:gd name="connsiteX1334" fmla="*/ 698754 w 1254442"/>
                  <a:gd name="connsiteY1334" fmla="*/ 1050036 h 1682115"/>
                  <a:gd name="connsiteX1335" fmla="*/ 697611 w 1254442"/>
                  <a:gd name="connsiteY1335" fmla="*/ 1038130 h 1682115"/>
                  <a:gd name="connsiteX1336" fmla="*/ 721043 w 1254442"/>
                  <a:gd name="connsiteY1336" fmla="*/ 1024985 h 1682115"/>
                  <a:gd name="connsiteX1337" fmla="*/ 737902 w 1254442"/>
                  <a:gd name="connsiteY1337" fmla="*/ 1019080 h 1682115"/>
                  <a:gd name="connsiteX1338" fmla="*/ 732377 w 1254442"/>
                  <a:gd name="connsiteY1338" fmla="*/ 998696 h 1682115"/>
                  <a:gd name="connsiteX1339" fmla="*/ 739140 w 1254442"/>
                  <a:gd name="connsiteY1339" fmla="*/ 992696 h 1682115"/>
                  <a:gd name="connsiteX1340" fmla="*/ 746665 w 1254442"/>
                  <a:gd name="connsiteY1340" fmla="*/ 975360 h 1682115"/>
                  <a:gd name="connsiteX1341" fmla="*/ 65818 w 1254442"/>
                  <a:gd name="connsiteY1341" fmla="*/ 1275398 h 1682115"/>
                  <a:gd name="connsiteX1342" fmla="*/ 65818 w 1254442"/>
                  <a:gd name="connsiteY1342" fmla="*/ 1275017 h 1682115"/>
                  <a:gd name="connsiteX1343" fmla="*/ 65818 w 1254442"/>
                  <a:gd name="connsiteY1343" fmla="*/ 1275588 h 1682115"/>
                  <a:gd name="connsiteX1344" fmla="*/ 66104 w 1254442"/>
                  <a:gd name="connsiteY1344" fmla="*/ 1276350 h 1682115"/>
                  <a:gd name="connsiteX1345" fmla="*/ 65913 w 1254442"/>
                  <a:gd name="connsiteY1345" fmla="*/ 1275779 h 1682115"/>
                  <a:gd name="connsiteX1346" fmla="*/ 65913 w 1254442"/>
                  <a:gd name="connsiteY1346" fmla="*/ 1275398 h 1682115"/>
                  <a:gd name="connsiteX1347" fmla="*/ 35243 w 1254442"/>
                  <a:gd name="connsiteY1347" fmla="*/ 1185386 h 1682115"/>
                  <a:gd name="connsiteX1348" fmla="*/ 35243 w 1254442"/>
                  <a:gd name="connsiteY1348" fmla="*/ 1185386 h 1682115"/>
                  <a:gd name="connsiteX1349" fmla="*/ 35243 w 1254442"/>
                  <a:gd name="connsiteY1349" fmla="*/ 1185196 h 1682115"/>
                  <a:gd name="connsiteX1350" fmla="*/ 35243 w 1254442"/>
                  <a:gd name="connsiteY1350" fmla="*/ 1185386 h 1682115"/>
                  <a:gd name="connsiteX1351" fmla="*/ 65246 w 1254442"/>
                  <a:gd name="connsiteY1351" fmla="*/ 1274350 h 1682115"/>
                  <a:gd name="connsiteX1352" fmla="*/ 65246 w 1254442"/>
                  <a:gd name="connsiteY1352" fmla="*/ 1274350 h 1682115"/>
                  <a:gd name="connsiteX1353" fmla="*/ 65246 w 1254442"/>
                  <a:gd name="connsiteY1353" fmla="*/ 1274445 h 1682115"/>
                  <a:gd name="connsiteX1354" fmla="*/ 65246 w 1254442"/>
                  <a:gd name="connsiteY1354" fmla="*/ 1274159 h 1682115"/>
                  <a:gd name="connsiteX1355" fmla="*/ 65246 w 1254442"/>
                  <a:gd name="connsiteY1355" fmla="*/ 1274350 h 1682115"/>
                  <a:gd name="connsiteX1356" fmla="*/ 72009 w 1254442"/>
                  <a:gd name="connsiteY1356" fmla="*/ 1292162 h 1682115"/>
                  <a:gd name="connsiteX1357" fmla="*/ 72200 w 1254442"/>
                  <a:gd name="connsiteY1357" fmla="*/ 1292638 h 1682115"/>
                  <a:gd name="connsiteX1358" fmla="*/ 72200 w 1254442"/>
                  <a:gd name="connsiteY1358" fmla="*/ 1292257 h 1682115"/>
                  <a:gd name="connsiteX1359" fmla="*/ 71819 w 1254442"/>
                  <a:gd name="connsiteY1359" fmla="*/ 1291590 h 1682115"/>
                  <a:gd name="connsiteX1360" fmla="*/ 72009 w 1254442"/>
                  <a:gd name="connsiteY1360" fmla="*/ 1292066 h 1682115"/>
                  <a:gd name="connsiteX1361" fmla="*/ 33623 w 1254442"/>
                  <a:gd name="connsiteY1361" fmla="*/ 1180243 h 1682115"/>
                  <a:gd name="connsiteX1362" fmla="*/ 34195 w 1254442"/>
                  <a:gd name="connsiteY1362" fmla="*/ 1182148 h 1682115"/>
                  <a:gd name="connsiteX1363" fmla="*/ 34766 w 1254442"/>
                  <a:gd name="connsiteY1363" fmla="*/ 1183958 h 1682115"/>
                  <a:gd name="connsiteX1364" fmla="*/ 34766 w 1254442"/>
                  <a:gd name="connsiteY1364" fmla="*/ 1183958 h 1682115"/>
                  <a:gd name="connsiteX1365" fmla="*/ 34862 w 1254442"/>
                  <a:gd name="connsiteY1365" fmla="*/ 1184529 h 1682115"/>
                  <a:gd name="connsiteX1366" fmla="*/ 34195 w 1254442"/>
                  <a:gd name="connsiteY1366" fmla="*/ 1182243 h 1682115"/>
                  <a:gd name="connsiteX1367" fmla="*/ 33623 w 1254442"/>
                  <a:gd name="connsiteY1367" fmla="*/ 1180243 h 1682115"/>
                  <a:gd name="connsiteX1368" fmla="*/ 35719 w 1254442"/>
                  <a:gd name="connsiteY1368" fmla="*/ 1187387 h 1682115"/>
                  <a:gd name="connsiteX1369" fmla="*/ 35719 w 1254442"/>
                  <a:gd name="connsiteY1369" fmla="*/ 1187577 h 1682115"/>
                  <a:gd name="connsiteX1370" fmla="*/ 35814 w 1254442"/>
                  <a:gd name="connsiteY1370" fmla="*/ 1187672 h 1682115"/>
                  <a:gd name="connsiteX1371" fmla="*/ 35814 w 1254442"/>
                  <a:gd name="connsiteY1371" fmla="*/ 1187387 h 1682115"/>
                  <a:gd name="connsiteX1372" fmla="*/ 41434 w 1254442"/>
                  <a:gd name="connsiteY1372" fmla="*/ 1206056 h 1682115"/>
                  <a:gd name="connsiteX1373" fmla="*/ 41434 w 1254442"/>
                  <a:gd name="connsiteY1373" fmla="*/ 1206056 h 1682115"/>
                  <a:gd name="connsiteX1374" fmla="*/ 41624 w 1254442"/>
                  <a:gd name="connsiteY1374" fmla="*/ 1206627 h 1682115"/>
                  <a:gd name="connsiteX1375" fmla="*/ 42005 w 1254442"/>
                  <a:gd name="connsiteY1375" fmla="*/ 1207675 h 1682115"/>
                  <a:gd name="connsiteX1376" fmla="*/ 41529 w 1254442"/>
                  <a:gd name="connsiteY1376" fmla="*/ 1206056 h 1682115"/>
                  <a:gd name="connsiteX1377" fmla="*/ 43815 w 1254442"/>
                  <a:gd name="connsiteY1377" fmla="*/ 1213390 h 1682115"/>
                  <a:gd name="connsiteX1378" fmla="*/ 44863 w 1254442"/>
                  <a:gd name="connsiteY1378" fmla="*/ 1216628 h 1682115"/>
                  <a:gd name="connsiteX1379" fmla="*/ 45053 w 1254442"/>
                  <a:gd name="connsiteY1379" fmla="*/ 1217105 h 1682115"/>
                  <a:gd name="connsiteX1380" fmla="*/ 44482 w 1254442"/>
                  <a:gd name="connsiteY1380" fmla="*/ 1215390 h 1682115"/>
                  <a:gd name="connsiteX1381" fmla="*/ 43815 w 1254442"/>
                  <a:gd name="connsiteY1381" fmla="*/ 1213390 h 1682115"/>
                  <a:gd name="connsiteX1382" fmla="*/ 45053 w 1254442"/>
                  <a:gd name="connsiteY1382" fmla="*/ 1217390 h 1682115"/>
                  <a:gd name="connsiteX1383" fmla="*/ 45053 w 1254442"/>
                  <a:gd name="connsiteY1383" fmla="*/ 1217009 h 1682115"/>
                  <a:gd name="connsiteX1384" fmla="*/ 45053 w 1254442"/>
                  <a:gd name="connsiteY1384" fmla="*/ 1217390 h 1682115"/>
                  <a:gd name="connsiteX1385" fmla="*/ 45053 w 1254442"/>
                  <a:gd name="connsiteY1385" fmla="*/ 1217581 h 1682115"/>
                  <a:gd name="connsiteX1386" fmla="*/ 45244 w 1254442"/>
                  <a:gd name="connsiteY1386" fmla="*/ 1218057 h 1682115"/>
                  <a:gd name="connsiteX1387" fmla="*/ 44958 w 1254442"/>
                  <a:gd name="connsiteY1387" fmla="*/ 1217295 h 1682115"/>
                  <a:gd name="connsiteX1388" fmla="*/ 45530 w 1254442"/>
                  <a:gd name="connsiteY1388" fmla="*/ 1218724 h 1682115"/>
                  <a:gd name="connsiteX1389" fmla="*/ 45815 w 1254442"/>
                  <a:gd name="connsiteY1389" fmla="*/ 1219486 h 1682115"/>
                  <a:gd name="connsiteX1390" fmla="*/ 46006 w 1254442"/>
                  <a:gd name="connsiteY1390" fmla="*/ 1219962 h 1682115"/>
                  <a:gd name="connsiteX1391" fmla="*/ 45625 w 1254442"/>
                  <a:gd name="connsiteY1391" fmla="*/ 1218724 h 1682115"/>
                  <a:gd name="connsiteX1392" fmla="*/ 47054 w 1254442"/>
                  <a:gd name="connsiteY1392" fmla="*/ 1223296 h 1682115"/>
                  <a:gd name="connsiteX1393" fmla="*/ 47530 w 1254442"/>
                  <a:gd name="connsiteY1393" fmla="*/ 1224725 h 1682115"/>
                  <a:gd name="connsiteX1394" fmla="*/ 47911 w 1254442"/>
                  <a:gd name="connsiteY1394" fmla="*/ 1225772 h 1682115"/>
                  <a:gd name="connsiteX1395" fmla="*/ 47054 w 1254442"/>
                  <a:gd name="connsiteY1395" fmla="*/ 1223296 h 1682115"/>
                  <a:gd name="connsiteX1396" fmla="*/ 60008 w 1254442"/>
                  <a:gd name="connsiteY1396" fmla="*/ 1260539 h 1682115"/>
                  <a:gd name="connsiteX1397" fmla="*/ 60008 w 1254442"/>
                  <a:gd name="connsiteY1397" fmla="*/ 1260824 h 1682115"/>
                  <a:gd name="connsiteX1398" fmla="*/ 60198 w 1254442"/>
                  <a:gd name="connsiteY1398" fmla="*/ 1261015 h 1682115"/>
                  <a:gd name="connsiteX1399" fmla="*/ 60198 w 1254442"/>
                  <a:gd name="connsiteY1399" fmla="*/ 1261015 h 1682115"/>
                  <a:gd name="connsiteX1400" fmla="*/ 60008 w 1254442"/>
                  <a:gd name="connsiteY1400" fmla="*/ 1260539 h 1682115"/>
                  <a:gd name="connsiteX1401" fmla="*/ 60579 w 1254442"/>
                  <a:gd name="connsiteY1401" fmla="*/ 1262158 h 1682115"/>
                  <a:gd name="connsiteX1402" fmla="*/ 60579 w 1254442"/>
                  <a:gd name="connsiteY1402" fmla="*/ 1262158 h 1682115"/>
                  <a:gd name="connsiteX1403" fmla="*/ 60579 w 1254442"/>
                  <a:gd name="connsiteY1403" fmla="*/ 1262158 h 1682115"/>
                  <a:gd name="connsiteX1404" fmla="*/ 60579 w 1254442"/>
                  <a:gd name="connsiteY1404" fmla="*/ 1262158 h 1682115"/>
                  <a:gd name="connsiteX1405" fmla="*/ 66008 w 1254442"/>
                  <a:gd name="connsiteY1405" fmla="*/ 1276636 h 1682115"/>
                  <a:gd name="connsiteX1406" fmla="*/ 66485 w 1254442"/>
                  <a:gd name="connsiteY1406" fmla="*/ 1277874 h 1682115"/>
                  <a:gd name="connsiteX1407" fmla="*/ 66199 w 1254442"/>
                  <a:gd name="connsiteY1407" fmla="*/ 1277112 h 1682115"/>
                  <a:gd name="connsiteX1408" fmla="*/ 66008 w 1254442"/>
                  <a:gd name="connsiteY1408" fmla="*/ 1276636 h 1682115"/>
                  <a:gd name="connsiteX1409" fmla="*/ 66199 w 1254442"/>
                  <a:gd name="connsiteY1409" fmla="*/ 1277112 h 1682115"/>
                  <a:gd name="connsiteX1410" fmla="*/ 66199 w 1254442"/>
                  <a:gd name="connsiteY1410" fmla="*/ 1277303 h 1682115"/>
                  <a:gd name="connsiteX1411" fmla="*/ 66389 w 1254442"/>
                  <a:gd name="connsiteY1411" fmla="*/ 1277588 h 1682115"/>
                  <a:gd name="connsiteX1412" fmla="*/ 66389 w 1254442"/>
                  <a:gd name="connsiteY1412" fmla="*/ 1277779 h 1682115"/>
                  <a:gd name="connsiteX1413" fmla="*/ 66485 w 1254442"/>
                  <a:gd name="connsiteY1413" fmla="*/ 1277874 h 1682115"/>
                  <a:gd name="connsiteX1414" fmla="*/ 66485 w 1254442"/>
                  <a:gd name="connsiteY1414" fmla="*/ 1277493 h 1682115"/>
                  <a:gd name="connsiteX1415" fmla="*/ 66199 w 1254442"/>
                  <a:gd name="connsiteY1415" fmla="*/ 1277017 h 1682115"/>
                  <a:gd name="connsiteX1416" fmla="*/ 67056 w 1254442"/>
                  <a:gd name="connsiteY1416" fmla="*/ 1279303 h 1682115"/>
                  <a:gd name="connsiteX1417" fmla="*/ 66675 w 1254442"/>
                  <a:gd name="connsiteY1417" fmla="*/ 1278255 h 1682115"/>
                  <a:gd name="connsiteX1418" fmla="*/ 66675 w 1254442"/>
                  <a:gd name="connsiteY1418" fmla="*/ 1278446 h 1682115"/>
                  <a:gd name="connsiteX1419" fmla="*/ 68009 w 1254442"/>
                  <a:gd name="connsiteY1419" fmla="*/ 1281684 h 1682115"/>
                  <a:gd name="connsiteX1420" fmla="*/ 67818 w 1254442"/>
                  <a:gd name="connsiteY1420" fmla="*/ 1281208 h 1682115"/>
                  <a:gd name="connsiteX1421" fmla="*/ 67056 w 1254442"/>
                  <a:gd name="connsiteY1421" fmla="*/ 1279208 h 1682115"/>
                  <a:gd name="connsiteX1422" fmla="*/ 71628 w 1254442"/>
                  <a:gd name="connsiteY1422" fmla="*/ 1291304 h 1682115"/>
                  <a:gd name="connsiteX1423" fmla="*/ 71438 w 1254442"/>
                  <a:gd name="connsiteY1423" fmla="*/ 1290733 h 1682115"/>
                  <a:gd name="connsiteX1424" fmla="*/ 71438 w 1254442"/>
                  <a:gd name="connsiteY1424" fmla="*/ 1290733 h 1682115"/>
                  <a:gd name="connsiteX1425" fmla="*/ 71723 w 1254442"/>
                  <a:gd name="connsiteY1425" fmla="*/ 1291590 h 1682115"/>
                  <a:gd name="connsiteX1426" fmla="*/ 71723 w 1254442"/>
                  <a:gd name="connsiteY1426" fmla="*/ 1291304 h 1682115"/>
                  <a:gd name="connsiteX1427" fmla="*/ 74486 w 1254442"/>
                  <a:gd name="connsiteY1427" fmla="*/ 1298829 h 1682115"/>
                  <a:gd name="connsiteX1428" fmla="*/ 74676 w 1254442"/>
                  <a:gd name="connsiteY1428" fmla="*/ 1299210 h 1682115"/>
                  <a:gd name="connsiteX1429" fmla="*/ 74486 w 1254442"/>
                  <a:gd name="connsiteY1429" fmla="*/ 1298639 h 1682115"/>
                  <a:gd name="connsiteX1430" fmla="*/ 74486 w 1254442"/>
                  <a:gd name="connsiteY1430" fmla="*/ 1298829 h 1682115"/>
                  <a:gd name="connsiteX1431" fmla="*/ 92012 w 1254442"/>
                  <a:gd name="connsiteY1431" fmla="*/ 1340739 h 1682115"/>
                  <a:gd name="connsiteX1432" fmla="*/ 91631 w 1254442"/>
                  <a:gd name="connsiteY1432" fmla="*/ 1339882 h 1682115"/>
                  <a:gd name="connsiteX1433" fmla="*/ 91821 w 1254442"/>
                  <a:gd name="connsiteY1433" fmla="*/ 1340263 h 1682115"/>
                  <a:gd name="connsiteX1434" fmla="*/ 92488 w 1254442"/>
                  <a:gd name="connsiteY1434" fmla="*/ 1341787 h 1682115"/>
                  <a:gd name="connsiteX1435" fmla="*/ 92012 w 1254442"/>
                  <a:gd name="connsiteY1435" fmla="*/ 1340739 h 1682115"/>
                  <a:gd name="connsiteX1436" fmla="*/ 232315 w 1254442"/>
                  <a:gd name="connsiteY1436" fmla="*/ 1589913 h 1682115"/>
                  <a:gd name="connsiteX1437" fmla="*/ 233839 w 1254442"/>
                  <a:gd name="connsiteY1437" fmla="*/ 1592104 h 1682115"/>
                  <a:gd name="connsiteX1438" fmla="*/ 231553 w 1254442"/>
                  <a:gd name="connsiteY1438" fmla="*/ 1588865 h 1682115"/>
                  <a:gd name="connsiteX1439" fmla="*/ 232315 w 1254442"/>
                  <a:gd name="connsiteY1439" fmla="*/ 1589913 h 1682115"/>
                  <a:gd name="connsiteX1440" fmla="*/ 137732 w 1254442"/>
                  <a:gd name="connsiteY1440" fmla="*/ 1435989 h 1682115"/>
                  <a:gd name="connsiteX1441" fmla="*/ 137732 w 1254442"/>
                  <a:gd name="connsiteY1441" fmla="*/ 1435799 h 1682115"/>
                  <a:gd name="connsiteX1442" fmla="*/ 137541 w 1254442"/>
                  <a:gd name="connsiteY1442" fmla="*/ 1435608 h 1682115"/>
                  <a:gd name="connsiteX1443" fmla="*/ 137541 w 1254442"/>
                  <a:gd name="connsiteY1443" fmla="*/ 1435608 h 1682115"/>
                  <a:gd name="connsiteX1444" fmla="*/ 137636 w 1254442"/>
                  <a:gd name="connsiteY1444" fmla="*/ 1435989 h 1682115"/>
                  <a:gd name="connsiteX1445" fmla="*/ 209550 w 1254442"/>
                  <a:gd name="connsiteY1445" fmla="*/ 1556766 h 1682115"/>
                  <a:gd name="connsiteX1446" fmla="*/ 210312 w 1254442"/>
                  <a:gd name="connsiteY1446" fmla="*/ 1557909 h 1682115"/>
                  <a:gd name="connsiteX1447" fmla="*/ 210026 w 1254442"/>
                  <a:gd name="connsiteY1447" fmla="*/ 1557528 h 1682115"/>
                  <a:gd name="connsiteX1448" fmla="*/ 209550 w 1254442"/>
                  <a:gd name="connsiteY1448" fmla="*/ 1556766 h 1682115"/>
                  <a:gd name="connsiteX1449" fmla="*/ 234315 w 1254442"/>
                  <a:gd name="connsiteY1449" fmla="*/ 1592771 h 1682115"/>
                  <a:gd name="connsiteX1450" fmla="*/ 234315 w 1254442"/>
                  <a:gd name="connsiteY1450" fmla="*/ 1592961 h 1682115"/>
                  <a:gd name="connsiteX1451" fmla="*/ 234410 w 1254442"/>
                  <a:gd name="connsiteY1451" fmla="*/ 1592961 h 1682115"/>
                  <a:gd name="connsiteX1452" fmla="*/ 234410 w 1254442"/>
                  <a:gd name="connsiteY1452" fmla="*/ 1592771 h 1682115"/>
                  <a:gd name="connsiteX1453" fmla="*/ 247841 w 1254442"/>
                  <a:gd name="connsiteY1453" fmla="*/ 1611630 h 1682115"/>
                  <a:gd name="connsiteX1454" fmla="*/ 247841 w 1254442"/>
                  <a:gd name="connsiteY1454" fmla="*/ 1611630 h 1682115"/>
                  <a:gd name="connsiteX1455" fmla="*/ 247460 w 1254442"/>
                  <a:gd name="connsiteY1455" fmla="*/ 1611059 h 1682115"/>
                  <a:gd name="connsiteX1456" fmla="*/ 249365 w 1254442"/>
                  <a:gd name="connsiteY1456" fmla="*/ 1613630 h 1682115"/>
                  <a:gd name="connsiteX1457" fmla="*/ 247841 w 1254442"/>
                  <a:gd name="connsiteY1457" fmla="*/ 1611535 h 168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Lst>
                <a:rect l="l" t="t" r="r" b="b"/>
                <a:pathLst>
                  <a:path w="1254442" h="1682115">
                    <a:moveTo>
                      <a:pt x="748379" y="975932"/>
                    </a:moveTo>
                    <a:lnTo>
                      <a:pt x="752380" y="963739"/>
                    </a:lnTo>
                    <a:lnTo>
                      <a:pt x="744379" y="956215"/>
                    </a:lnTo>
                    <a:lnTo>
                      <a:pt x="743426" y="944404"/>
                    </a:lnTo>
                    <a:lnTo>
                      <a:pt x="744665" y="924211"/>
                    </a:lnTo>
                    <a:lnTo>
                      <a:pt x="738092" y="917543"/>
                    </a:lnTo>
                    <a:lnTo>
                      <a:pt x="706184" y="928307"/>
                    </a:lnTo>
                    <a:lnTo>
                      <a:pt x="688562" y="937546"/>
                    </a:lnTo>
                    <a:lnTo>
                      <a:pt x="663988" y="927830"/>
                    </a:lnTo>
                    <a:lnTo>
                      <a:pt x="651986" y="946213"/>
                    </a:lnTo>
                    <a:lnTo>
                      <a:pt x="636937" y="958787"/>
                    </a:lnTo>
                    <a:lnTo>
                      <a:pt x="623888" y="962978"/>
                    </a:lnTo>
                    <a:lnTo>
                      <a:pt x="608457" y="958882"/>
                    </a:lnTo>
                    <a:lnTo>
                      <a:pt x="591407" y="946595"/>
                    </a:lnTo>
                    <a:lnTo>
                      <a:pt x="577977" y="926306"/>
                    </a:lnTo>
                    <a:lnTo>
                      <a:pt x="569595" y="938022"/>
                    </a:lnTo>
                    <a:lnTo>
                      <a:pt x="540734" y="951452"/>
                    </a:lnTo>
                    <a:lnTo>
                      <a:pt x="519779" y="947357"/>
                    </a:lnTo>
                    <a:lnTo>
                      <a:pt x="511588" y="936974"/>
                    </a:lnTo>
                    <a:lnTo>
                      <a:pt x="525875" y="911828"/>
                    </a:lnTo>
                    <a:lnTo>
                      <a:pt x="545783" y="898112"/>
                    </a:lnTo>
                    <a:lnTo>
                      <a:pt x="564737" y="891064"/>
                    </a:lnTo>
                    <a:lnTo>
                      <a:pt x="582168" y="891064"/>
                    </a:lnTo>
                    <a:cubicBezTo>
                      <a:pt x="582168" y="891064"/>
                      <a:pt x="582168" y="875824"/>
                      <a:pt x="582168" y="875824"/>
                    </a:cubicBezTo>
                    <a:lnTo>
                      <a:pt x="581025" y="852868"/>
                    </a:lnTo>
                    <a:lnTo>
                      <a:pt x="588359" y="837629"/>
                    </a:lnTo>
                    <a:lnTo>
                      <a:pt x="592931" y="820198"/>
                    </a:lnTo>
                    <a:lnTo>
                      <a:pt x="602075" y="810101"/>
                    </a:lnTo>
                    <a:lnTo>
                      <a:pt x="609505" y="796480"/>
                    </a:lnTo>
                    <a:lnTo>
                      <a:pt x="618363" y="771906"/>
                    </a:lnTo>
                    <a:lnTo>
                      <a:pt x="614839" y="753332"/>
                    </a:lnTo>
                    <a:lnTo>
                      <a:pt x="630650" y="747903"/>
                    </a:lnTo>
                    <a:lnTo>
                      <a:pt x="650367" y="743141"/>
                    </a:lnTo>
                    <a:lnTo>
                      <a:pt x="655130" y="724948"/>
                    </a:lnTo>
                    <a:lnTo>
                      <a:pt x="679418" y="727615"/>
                    </a:lnTo>
                    <a:lnTo>
                      <a:pt x="695706" y="733520"/>
                    </a:lnTo>
                    <a:lnTo>
                      <a:pt x="718947" y="747713"/>
                    </a:lnTo>
                    <a:lnTo>
                      <a:pt x="735806" y="762286"/>
                    </a:lnTo>
                    <a:lnTo>
                      <a:pt x="738188" y="775240"/>
                    </a:lnTo>
                    <a:lnTo>
                      <a:pt x="752285" y="776097"/>
                    </a:lnTo>
                    <a:lnTo>
                      <a:pt x="761429" y="784670"/>
                    </a:lnTo>
                    <a:lnTo>
                      <a:pt x="763048" y="799909"/>
                    </a:lnTo>
                    <a:lnTo>
                      <a:pt x="778383" y="811530"/>
                    </a:lnTo>
                    <a:lnTo>
                      <a:pt x="788194" y="814102"/>
                    </a:lnTo>
                    <a:lnTo>
                      <a:pt x="807434" y="822674"/>
                    </a:lnTo>
                    <a:lnTo>
                      <a:pt x="818864" y="824770"/>
                    </a:lnTo>
                    <a:lnTo>
                      <a:pt x="812959" y="835343"/>
                    </a:lnTo>
                    <a:lnTo>
                      <a:pt x="817817" y="848487"/>
                    </a:lnTo>
                    <a:lnTo>
                      <a:pt x="835819" y="865060"/>
                    </a:lnTo>
                    <a:lnTo>
                      <a:pt x="846773" y="864584"/>
                    </a:lnTo>
                    <a:lnTo>
                      <a:pt x="857822" y="856393"/>
                    </a:lnTo>
                    <a:lnTo>
                      <a:pt x="870776" y="861251"/>
                    </a:lnTo>
                    <a:lnTo>
                      <a:pt x="881825" y="858964"/>
                    </a:lnTo>
                    <a:lnTo>
                      <a:pt x="891445" y="846010"/>
                    </a:lnTo>
                    <a:lnTo>
                      <a:pt x="893350" y="833247"/>
                    </a:lnTo>
                    <a:lnTo>
                      <a:pt x="894017" y="821246"/>
                    </a:lnTo>
                    <a:lnTo>
                      <a:pt x="869061" y="822770"/>
                    </a:lnTo>
                    <a:lnTo>
                      <a:pt x="849059" y="817626"/>
                    </a:lnTo>
                    <a:lnTo>
                      <a:pt x="832295" y="808863"/>
                    </a:lnTo>
                    <a:lnTo>
                      <a:pt x="847154" y="799338"/>
                    </a:lnTo>
                    <a:lnTo>
                      <a:pt x="864013" y="801529"/>
                    </a:lnTo>
                    <a:lnTo>
                      <a:pt x="878395" y="790670"/>
                    </a:lnTo>
                    <a:lnTo>
                      <a:pt x="860584" y="778955"/>
                    </a:lnTo>
                    <a:lnTo>
                      <a:pt x="883825" y="779240"/>
                    </a:lnTo>
                    <a:lnTo>
                      <a:pt x="888873" y="763619"/>
                    </a:lnTo>
                    <a:lnTo>
                      <a:pt x="899827" y="771430"/>
                    </a:lnTo>
                    <a:lnTo>
                      <a:pt x="926211" y="761524"/>
                    </a:lnTo>
                    <a:lnTo>
                      <a:pt x="936879" y="754380"/>
                    </a:lnTo>
                    <a:lnTo>
                      <a:pt x="941356" y="744664"/>
                    </a:lnTo>
                    <a:lnTo>
                      <a:pt x="925544" y="733901"/>
                    </a:lnTo>
                    <a:lnTo>
                      <a:pt x="900398" y="730377"/>
                    </a:lnTo>
                    <a:lnTo>
                      <a:pt x="890207" y="739140"/>
                    </a:lnTo>
                    <a:lnTo>
                      <a:pt x="875443" y="747141"/>
                    </a:lnTo>
                    <a:lnTo>
                      <a:pt x="853059" y="741331"/>
                    </a:lnTo>
                    <a:lnTo>
                      <a:pt x="854297" y="734092"/>
                    </a:lnTo>
                    <a:lnTo>
                      <a:pt x="836962" y="726376"/>
                    </a:lnTo>
                    <a:lnTo>
                      <a:pt x="858203" y="728758"/>
                    </a:lnTo>
                    <a:lnTo>
                      <a:pt x="867537" y="715899"/>
                    </a:lnTo>
                    <a:lnTo>
                      <a:pt x="864775" y="707517"/>
                    </a:lnTo>
                    <a:lnTo>
                      <a:pt x="850678" y="706469"/>
                    </a:lnTo>
                    <a:lnTo>
                      <a:pt x="853345" y="693325"/>
                    </a:lnTo>
                    <a:lnTo>
                      <a:pt x="852488" y="678561"/>
                    </a:lnTo>
                    <a:lnTo>
                      <a:pt x="865918" y="664940"/>
                    </a:lnTo>
                    <a:lnTo>
                      <a:pt x="866585" y="654653"/>
                    </a:lnTo>
                    <a:lnTo>
                      <a:pt x="880777" y="649034"/>
                    </a:lnTo>
                    <a:lnTo>
                      <a:pt x="887920" y="643604"/>
                    </a:lnTo>
                    <a:lnTo>
                      <a:pt x="887730" y="636175"/>
                    </a:lnTo>
                    <a:lnTo>
                      <a:pt x="890016" y="625602"/>
                    </a:lnTo>
                    <a:lnTo>
                      <a:pt x="884492" y="617696"/>
                    </a:lnTo>
                    <a:lnTo>
                      <a:pt x="872490" y="623507"/>
                    </a:lnTo>
                    <a:lnTo>
                      <a:pt x="864870" y="610362"/>
                    </a:lnTo>
                    <a:lnTo>
                      <a:pt x="880872" y="605600"/>
                    </a:lnTo>
                    <a:lnTo>
                      <a:pt x="879920" y="596932"/>
                    </a:lnTo>
                    <a:lnTo>
                      <a:pt x="886873" y="572834"/>
                    </a:lnTo>
                    <a:lnTo>
                      <a:pt x="898112" y="559689"/>
                    </a:lnTo>
                    <a:lnTo>
                      <a:pt x="902970" y="575977"/>
                    </a:lnTo>
                    <a:lnTo>
                      <a:pt x="918401" y="569881"/>
                    </a:lnTo>
                    <a:lnTo>
                      <a:pt x="920782" y="561499"/>
                    </a:lnTo>
                    <a:lnTo>
                      <a:pt x="929640" y="552450"/>
                    </a:lnTo>
                    <a:lnTo>
                      <a:pt x="946690" y="538734"/>
                    </a:lnTo>
                    <a:lnTo>
                      <a:pt x="961549" y="532448"/>
                    </a:lnTo>
                    <a:lnTo>
                      <a:pt x="968026" y="524542"/>
                    </a:lnTo>
                    <a:lnTo>
                      <a:pt x="964120" y="518255"/>
                    </a:lnTo>
                    <a:lnTo>
                      <a:pt x="966788" y="507492"/>
                    </a:lnTo>
                    <a:lnTo>
                      <a:pt x="981742" y="516350"/>
                    </a:lnTo>
                    <a:lnTo>
                      <a:pt x="975455" y="498253"/>
                    </a:lnTo>
                    <a:lnTo>
                      <a:pt x="1000316" y="499110"/>
                    </a:lnTo>
                    <a:lnTo>
                      <a:pt x="1005745" y="496157"/>
                    </a:lnTo>
                    <a:lnTo>
                      <a:pt x="998411" y="488061"/>
                    </a:lnTo>
                    <a:lnTo>
                      <a:pt x="998125" y="479869"/>
                    </a:lnTo>
                    <a:lnTo>
                      <a:pt x="1009079" y="481489"/>
                    </a:lnTo>
                    <a:lnTo>
                      <a:pt x="1013555" y="467487"/>
                    </a:lnTo>
                    <a:lnTo>
                      <a:pt x="1014603" y="451390"/>
                    </a:lnTo>
                    <a:lnTo>
                      <a:pt x="1025366" y="444151"/>
                    </a:lnTo>
                    <a:lnTo>
                      <a:pt x="1027652" y="431768"/>
                    </a:lnTo>
                    <a:lnTo>
                      <a:pt x="1026509" y="419671"/>
                    </a:lnTo>
                    <a:lnTo>
                      <a:pt x="1034606" y="415004"/>
                    </a:lnTo>
                    <a:lnTo>
                      <a:pt x="1052036" y="414147"/>
                    </a:lnTo>
                    <a:lnTo>
                      <a:pt x="1067753" y="408146"/>
                    </a:lnTo>
                    <a:lnTo>
                      <a:pt x="1076897" y="405003"/>
                    </a:lnTo>
                    <a:lnTo>
                      <a:pt x="1091184" y="402812"/>
                    </a:lnTo>
                    <a:lnTo>
                      <a:pt x="1097947" y="393383"/>
                    </a:lnTo>
                    <a:lnTo>
                      <a:pt x="1104900" y="392144"/>
                    </a:lnTo>
                    <a:lnTo>
                      <a:pt x="1119378" y="385191"/>
                    </a:lnTo>
                    <a:lnTo>
                      <a:pt x="1137857" y="382429"/>
                    </a:lnTo>
                    <a:lnTo>
                      <a:pt x="1143953" y="376333"/>
                    </a:lnTo>
                    <a:lnTo>
                      <a:pt x="1156716" y="373856"/>
                    </a:lnTo>
                    <a:lnTo>
                      <a:pt x="1158716" y="378809"/>
                    </a:lnTo>
                    <a:lnTo>
                      <a:pt x="1171385" y="373952"/>
                    </a:lnTo>
                    <a:lnTo>
                      <a:pt x="1172623" y="368427"/>
                    </a:lnTo>
                    <a:lnTo>
                      <a:pt x="1182243" y="375380"/>
                    </a:lnTo>
                    <a:lnTo>
                      <a:pt x="1195007" y="374904"/>
                    </a:lnTo>
                    <a:lnTo>
                      <a:pt x="1201484" y="358902"/>
                    </a:lnTo>
                    <a:lnTo>
                      <a:pt x="1208913" y="357664"/>
                    </a:lnTo>
                    <a:lnTo>
                      <a:pt x="1219772" y="342805"/>
                    </a:lnTo>
                    <a:lnTo>
                      <a:pt x="1226439" y="337757"/>
                    </a:lnTo>
                    <a:lnTo>
                      <a:pt x="1231202" y="324803"/>
                    </a:lnTo>
                    <a:lnTo>
                      <a:pt x="1229868" y="313563"/>
                    </a:lnTo>
                    <a:lnTo>
                      <a:pt x="1237488" y="300514"/>
                    </a:lnTo>
                    <a:lnTo>
                      <a:pt x="1252347" y="295846"/>
                    </a:lnTo>
                    <a:lnTo>
                      <a:pt x="1254443" y="283083"/>
                    </a:lnTo>
                    <a:lnTo>
                      <a:pt x="1240631" y="279083"/>
                    </a:lnTo>
                    <a:lnTo>
                      <a:pt x="1229582" y="272129"/>
                    </a:lnTo>
                    <a:lnTo>
                      <a:pt x="1220057" y="263176"/>
                    </a:lnTo>
                    <a:lnTo>
                      <a:pt x="1206341" y="258413"/>
                    </a:lnTo>
                    <a:lnTo>
                      <a:pt x="1194530" y="247650"/>
                    </a:lnTo>
                    <a:lnTo>
                      <a:pt x="1214152" y="240602"/>
                    </a:lnTo>
                    <a:lnTo>
                      <a:pt x="1215962" y="251650"/>
                    </a:lnTo>
                    <a:lnTo>
                      <a:pt x="1223582" y="249460"/>
                    </a:lnTo>
                    <a:lnTo>
                      <a:pt x="1241965" y="233458"/>
                    </a:lnTo>
                    <a:lnTo>
                      <a:pt x="1253585" y="221361"/>
                    </a:lnTo>
                    <a:lnTo>
                      <a:pt x="1238250" y="211550"/>
                    </a:lnTo>
                    <a:lnTo>
                      <a:pt x="1231964" y="203930"/>
                    </a:lnTo>
                    <a:lnTo>
                      <a:pt x="1215771" y="202597"/>
                    </a:lnTo>
                    <a:lnTo>
                      <a:pt x="1202150" y="208979"/>
                    </a:lnTo>
                    <a:lnTo>
                      <a:pt x="1192816" y="206692"/>
                    </a:lnTo>
                    <a:lnTo>
                      <a:pt x="1191197" y="212312"/>
                    </a:lnTo>
                    <a:lnTo>
                      <a:pt x="1182148" y="220313"/>
                    </a:lnTo>
                    <a:lnTo>
                      <a:pt x="1176242" y="222599"/>
                    </a:lnTo>
                    <a:lnTo>
                      <a:pt x="1180814" y="212027"/>
                    </a:lnTo>
                    <a:lnTo>
                      <a:pt x="1173956" y="210217"/>
                    </a:lnTo>
                    <a:lnTo>
                      <a:pt x="1168813" y="201454"/>
                    </a:lnTo>
                    <a:lnTo>
                      <a:pt x="1174433" y="192405"/>
                    </a:lnTo>
                    <a:lnTo>
                      <a:pt x="1182529" y="191738"/>
                    </a:lnTo>
                    <a:lnTo>
                      <a:pt x="1187863" y="179070"/>
                    </a:lnTo>
                    <a:lnTo>
                      <a:pt x="1196150" y="180213"/>
                    </a:lnTo>
                    <a:lnTo>
                      <a:pt x="1204246" y="176213"/>
                    </a:lnTo>
                    <a:lnTo>
                      <a:pt x="1205103" y="164402"/>
                    </a:lnTo>
                    <a:lnTo>
                      <a:pt x="1211009" y="150400"/>
                    </a:lnTo>
                    <a:lnTo>
                      <a:pt x="1212342" y="137350"/>
                    </a:lnTo>
                    <a:lnTo>
                      <a:pt x="1201388" y="130778"/>
                    </a:lnTo>
                    <a:lnTo>
                      <a:pt x="1198245" y="119158"/>
                    </a:lnTo>
                    <a:lnTo>
                      <a:pt x="1189006" y="116396"/>
                    </a:lnTo>
                    <a:lnTo>
                      <a:pt x="1176433" y="109633"/>
                    </a:lnTo>
                    <a:lnTo>
                      <a:pt x="1162431" y="118110"/>
                    </a:lnTo>
                    <a:lnTo>
                      <a:pt x="1152620" y="113348"/>
                    </a:lnTo>
                    <a:lnTo>
                      <a:pt x="1152335" y="105346"/>
                    </a:lnTo>
                    <a:lnTo>
                      <a:pt x="1147477" y="93821"/>
                    </a:lnTo>
                    <a:lnTo>
                      <a:pt x="1140047" y="96298"/>
                    </a:lnTo>
                    <a:lnTo>
                      <a:pt x="1130903" y="108299"/>
                    </a:lnTo>
                    <a:lnTo>
                      <a:pt x="1122902" y="100108"/>
                    </a:lnTo>
                    <a:lnTo>
                      <a:pt x="1122236" y="108299"/>
                    </a:lnTo>
                    <a:lnTo>
                      <a:pt x="1110806" y="101346"/>
                    </a:lnTo>
                    <a:lnTo>
                      <a:pt x="1107091" y="110871"/>
                    </a:lnTo>
                    <a:lnTo>
                      <a:pt x="1101947" y="109061"/>
                    </a:lnTo>
                    <a:lnTo>
                      <a:pt x="1090898" y="120491"/>
                    </a:lnTo>
                    <a:lnTo>
                      <a:pt x="1092137" y="106680"/>
                    </a:lnTo>
                    <a:lnTo>
                      <a:pt x="1088231" y="91345"/>
                    </a:lnTo>
                    <a:lnTo>
                      <a:pt x="1094518" y="80963"/>
                    </a:lnTo>
                    <a:lnTo>
                      <a:pt x="1095756" y="76105"/>
                    </a:lnTo>
                    <a:lnTo>
                      <a:pt x="1108805" y="58198"/>
                    </a:lnTo>
                    <a:lnTo>
                      <a:pt x="1112330" y="48101"/>
                    </a:lnTo>
                    <a:lnTo>
                      <a:pt x="1127570" y="40481"/>
                    </a:lnTo>
                    <a:lnTo>
                      <a:pt x="1138238" y="25527"/>
                    </a:lnTo>
                    <a:lnTo>
                      <a:pt x="1149477" y="15716"/>
                    </a:lnTo>
                    <a:lnTo>
                      <a:pt x="1161764" y="2667"/>
                    </a:lnTo>
                    <a:lnTo>
                      <a:pt x="1158716" y="0"/>
                    </a:lnTo>
                    <a:lnTo>
                      <a:pt x="1136999" y="12192"/>
                    </a:lnTo>
                    <a:lnTo>
                      <a:pt x="1127855" y="22003"/>
                    </a:lnTo>
                    <a:lnTo>
                      <a:pt x="1116616" y="32861"/>
                    </a:lnTo>
                    <a:lnTo>
                      <a:pt x="1106329" y="42386"/>
                    </a:lnTo>
                    <a:lnTo>
                      <a:pt x="1096899" y="44196"/>
                    </a:lnTo>
                    <a:lnTo>
                      <a:pt x="1084993" y="58007"/>
                    </a:lnTo>
                    <a:lnTo>
                      <a:pt x="1084517" y="68390"/>
                    </a:lnTo>
                    <a:lnTo>
                      <a:pt x="1069277" y="86106"/>
                    </a:lnTo>
                    <a:lnTo>
                      <a:pt x="1069943" y="95726"/>
                    </a:lnTo>
                    <a:lnTo>
                      <a:pt x="1060609" y="106775"/>
                    </a:lnTo>
                    <a:lnTo>
                      <a:pt x="1051751" y="120491"/>
                    </a:lnTo>
                    <a:lnTo>
                      <a:pt x="1047560" y="139160"/>
                    </a:lnTo>
                    <a:lnTo>
                      <a:pt x="1060228" y="144209"/>
                    </a:lnTo>
                    <a:lnTo>
                      <a:pt x="1051084" y="165544"/>
                    </a:lnTo>
                    <a:lnTo>
                      <a:pt x="1050417" y="181832"/>
                    </a:lnTo>
                    <a:lnTo>
                      <a:pt x="1042892" y="199454"/>
                    </a:lnTo>
                    <a:lnTo>
                      <a:pt x="1037463" y="196406"/>
                    </a:lnTo>
                    <a:lnTo>
                      <a:pt x="1045274" y="184499"/>
                    </a:lnTo>
                    <a:lnTo>
                      <a:pt x="1040225" y="163640"/>
                    </a:lnTo>
                    <a:lnTo>
                      <a:pt x="1032796" y="153543"/>
                    </a:lnTo>
                    <a:lnTo>
                      <a:pt x="1022890" y="164116"/>
                    </a:lnTo>
                    <a:lnTo>
                      <a:pt x="1016984" y="175641"/>
                    </a:lnTo>
                    <a:lnTo>
                      <a:pt x="1007078" y="186690"/>
                    </a:lnTo>
                    <a:lnTo>
                      <a:pt x="1002030" y="191357"/>
                    </a:lnTo>
                    <a:lnTo>
                      <a:pt x="1011936" y="202502"/>
                    </a:lnTo>
                    <a:lnTo>
                      <a:pt x="1003173" y="213360"/>
                    </a:lnTo>
                    <a:lnTo>
                      <a:pt x="986314" y="213646"/>
                    </a:lnTo>
                    <a:lnTo>
                      <a:pt x="961263" y="219361"/>
                    </a:lnTo>
                    <a:lnTo>
                      <a:pt x="948881" y="230886"/>
                    </a:lnTo>
                    <a:lnTo>
                      <a:pt x="927449" y="238220"/>
                    </a:lnTo>
                    <a:lnTo>
                      <a:pt x="915829" y="242697"/>
                    </a:lnTo>
                    <a:lnTo>
                      <a:pt x="882015" y="243459"/>
                    </a:lnTo>
                    <a:lnTo>
                      <a:pt x="866966" y="249269"/>
                    </a:lnTo>
                    <a:lnTo>
                      <a:pt x="851916" y="263176"/>
                    </a:lnTo>
                    <a:lnTo>
                      <a:pt x="842296" y="271082"/>
                    </a:lnTo>
                    <a:lnTo>
                      <a:pt x="823436" y="262700"/>
                    </a:lnTo>
                    <a:lnTo>
                      <a:pt x="799624" y="264128"/>
                    </a:lnTo>
                    <a:lnTo>
                      <a:pt x="784003" y="255175"/>
                    </a:lnTo>
                    <a:lnTo>
                      <a:pt x="771144" y="260033"/>
                    </a:lnTo>
                    <a:lnTo>
                      <a:pt x="760476" y="260985"/>
                    </a:lnTo>
                    <a:lnTo>
                      <a:pt x="752475" y="254603"/>
                    </a:lnTo>
                    <a:lnTo>
                      <a:pt x="730377" y="258794"/>
                    </a:lnTo>
                    <a:lnTo>
                      <a:pt x="716566" y="250793"/>
                    </a:lnTo>
                    <a:lnTo>
                      <a:pt x="698278" y="260509"/>
                    </a:lnTo>
                    <a:lnTo>
                      <a:pt x="690277" y="251555"/>
                    </a:lnTo>
                    <a:lnTo>
                      <a:pt x="671798" y="247936"/>
                    </a:lnTo>
                    <a:lnTo>
                      <a:pt x="648843" y="265843"/>
                    </a:lnTo>
                    <a:lnTo>
                      <a:pt x="635794" y="270224"/>
                    </a:lnTo>
                    <a:lnTo>
                      <a:pt x="603599" y="285464"/>
                    </a:lnTo>
                    <a:lnTo>
                      <a:pt x="602361" y="287274"/>
                    </a:lnTo>
                    <a:lnTo>
                      <a:pt x="586835" y="283750"/>
                    </a:lnTo>
                    <a:lnTo>
                      <a:pt x="572929" y="278035"/>
                    </a:lnTo>
                    <a:lnTo>
                      <a:pt x="571119" y="272034"/>
                    </a:lnTo>
                    <a:lnTo>
                      <a:pt x="590169" y="273939"/>
                    </a:lnTo>
                    <a:lnTo>
                      <a:pt x="608362" y="257842"/>
                    </a:lnTo>
                    <a:lnTo>
                      <a:pt x="606552" y="254222"/>
                    </a:lnTo>
                    <a:lnTo>
                      <a:pt x="596932" y="253365"/>
                    </a:lnTo>
                    <a:lnTo>
                      <a:pt x="581311" y="249079"/>
                    </a:lnTo>
                    <a:lnTo>
                      <a:pt x="560070" y="238411"/>
                    </a:lnTo>
                    <a:lnTo>
                      <a:pt x="548259" y="227933"/>
                    </a:lnTo>
                    <a:lnTo>
                      <a:pt x="536734" y="217551"/>
                    </a:lnTo>
                    <a:lnTo>
                      <a:pt x="527685" y="202978"/>
                    </a:lnTo>
                    <a:lnTo>
                      <a:pt x="514064" y="200596"/>
                    </a:lnTo>
                    <a:lnTo>
                      <a:pt x="502253" y="193358"/>
                    </a:lnTo>
                    <a:lnTo>
                      <a:pt x="493681" y="182594"/>
                    </a:lnTo>
                    <a:lnTo>
                      <a:pt x="481013" y="186023"/>
                    </a:lnTo>
                    <a:lnTo>
                      <a:pt x="469106" y="181165"/>
                    </a:lnTo>
                    <a:lnTo>
                      <a:pt x="450342" y="186500"/>
                    </a:lnTo>
                    <a:lnTo>
                      <a:pt x="441579" y="190976"/>
                    </a:lnTo>
                    <a:lnTo>
                      <a:pt x="439007" y="188500"/>
                    </a:lnTo>
                    <a:lnTo>
                      <a:pt x="413195" y="191452"/>
                    </a:lnTo>
                    <a:lnTo>
                      <a:pt x="391001" y="200501"/>
                    </a:lnTo>
                    <a:lnTo>
                      <a:pt x="383191" y="198692"/>
                    </a:lnTo>
                    <a:lnTo>
                      <a:pt x="378714" y="201930"/>
                    </a:lnTo>
                    <a:lnTo>
                      <a:pt x="368237" y="217456"/>
                    </a:lnTo>
                    <a:lnTo>
                      <a:pt x="361474" y="221933"/>
                    </a:lnTo>
                    <a:lnTo>
                      <a:pt x="355378" y="231553"/>
                    </a:lnTo>
                    <a:lnTo>
                      <a:pt x="350901" y="231553"/>
                    </a:lnTo>
                    <a:cubicBezTo>
                      <a:pt x="350901" y="231553"/>
                      <a:pt x="344996" y="239173"/>
                      <a:pt x="344996" y="239173"/>
                    </a:cubicBezTo>
                    <a:lnTo>
                      <a:pt x="332042" y="247269"/>
                    </a:lnTo>
                    <a:lnTo>
                      <a:pt x="324422" y="247269"/>
                    </a:lnTo>
                    <a:cubicBezTo>
                      <a:pt x="324422" y="247269"/>
                      <a:pt x="310229" y="249460"/>
                      <a:pt x="310229" y="249460"/>
                    </a:cubicBezTo>
                    <a:lnTo>
                      <a:pt x="296894" y="253556"/>
                    </a:lnTo>
                    <a:lnTo>
                      <a:pt x="286226" y="256984"/>
                    </a:lnTo>
                    <a:lnTo>
                      <a:pt x="276035" y="260699"/>
                    </a:lnTo>
                    <a:lnTo>
                      <a:pt x="267748" y="270510"/>
                    </a:lnTo>
                    <a:lnTo>
                      <a:pt x="253270" y="281940"/>
                    </a:lnTo>
                    <a:lnTo>
                      <a:pt x="248793" y="279083"/>
                    </a:lnTo>
                    <a:lnTo>
                      <a:pt x="248222" y="270034"/>
                    </a:lnTo>
                    <a:lnTo>
                      <a:pt x="252508" y="262223"/>
                    </a:lnTo>
                    <a:lnTo>
                      <a:pt x="252508" y="260413"/>
                    </a:lnTo>
                    <a:cubicBezTo>
                      <a:pt x="252508" y="260413"/>
                      <a:pt x="241173" y="269272"/>
                      <a:pt x="241173" y="269272"/>
                    </a:cubicBezTo>
                    <a:lnTo>
                      <a:pt x="233267" y="280416"/>
                    </a:lnTo>
                    <a:lnTo>
                      <a:pt x="228410" y="284321"/>
                    </a:lnTo>
                    <a:lnTo>
                      <a:pt x="228410" y="287560"/>
                    </a:lnTo>
                    <a:cubicBezTo>
                      <a:pt x="228410" y="287560"/>
                      <a:pt x="218218" y="299466"/>
                      <a:pt x="218218" y="299466"/>
                    </a:cubicBezTo>
                    <a:lnTo>
                      <a:pt x="211169" y="307848"/>
                    </a:lnTo>
                    <a:lnTo>
                      <a:pt x="204597" y="308800"/>
                    </a:lnTo>
                    <a:lnTo>
                      <a:pt x="197834" y="305276"/>
                    </a:lnTo>
                    <a:lnTo>
                      <a:pt x="191167" y="314801"/>
                    </a:lnTo>
                    <a:lnTo>
                      <a:pt x="180880" y="327946"/>
                    </a:lnTo>
                    <a:lnTo>
                      <a:pt x="170498" y="339661"/>
                    </a:lnTo>
                    <a:lnTo>
                      <a:pt x="162973" y="343186"/>
                    </a:lnTo>
                    <a:lnTo>
                      <a:pt x="161544" y="346900"/>
                    </a:lnTo>
                    <a:lnTo>
                      <a:pt x="161544" y="356997"/>
                    </a:lnTo>
                    <a:cubicBezTo>
                      <a:pt x="161544" y="356997"/>
                      <a:pt x="163163" y="358045"/>
                      <a:pt x="163163" y="358045"/>
                    </a:cubicBezTo>
                    <a:lnTo>
                      <a:pt x="170021" y="351854"/>
                    </a:lnTo>
                    <a:lnTo>
                      <a:pt x="177260" y="344996"/>
                    </a:lnTo>
                    <a:lnTo>
                      <a:pt x="181356" y="335090"/>
                    </a:lnTo>
                    <a:lnTo>
                      <a:pt x="186785" y="335852"/>
                    </a:lnTo>
                    <a:lnTo>
                      <a:pt x="193453" y="331851"/>
                    </a:lnTo>
                    <a:lnTo>
                      <a:pt x="200120" y="327469"/>
                    </a:lnTo>
                    <a:lnTo>
                      <a:pt x="212122" y="324326"/>
                    </a:lnTo>
                    <a:lnTo>
                      <a:pt x="222409" y="313754"/>
                    </a:lnTo>
                    <a:lnTo>
                      <a:pt x="227838" y="310991"/>
                    </a:lnTo>
                    <a:lnTo>
                      <a:pt x="232982" y="306038"/>
                    </a:lnTo>
                    <a:lnTo>
                      <a:pt x="241459" y="304895"/>
                    </a:lnTo>
                    <a:lnTo>
                      <a:pt x="242792" y="301371"/>
                    </a:lnTo>
                    <a:lnTo>
                      <a:pt x="247555" y="300323"/>
                    </a:lnTo>
                    <a:lnTo>
                      <a:pt x="249650" y="297656"/>
                    </a:lnTo>
                    <a:lnTo>
                      <a:pt x="253556" y="295561"/>
                    </a:lnTo>
                    <a:lnTo>
                      <a:pt x="267462" y="284512"/>
                    </a:lnTo>
                    <a:lnTo>
                      <a:pt x="274987" y="280035"/>
                    </a:lnTo>
                    <a:lnTo>
                      <a:pt x="284321" y="282035"/>
                    </a:lnTo>
                    <a:lnTo>
                      <a:pt x="291275" y="281464"/>
                    </a:lnTo>
                    <a:lnTo>
                      <a:pt x="294608" y="286703"/>
                    </a:lnTo>
                    <a:lnTo>
                      <a:pt x="286512" y="296037"/>
                    </a:lnTo>
                    <a:lnTo>
                      <a:pt x="284226" y="302609"/>
                    </a:lnTo>
                    <a:lnTo>
                      <a:pt x="273653" y="314420"/>
                    </a:lnTo>
                    <a:lnTo>
                      <a:pt x="269367" y="312230"/>
                    </a:lnTo>
                    <a:lnTo>
                      <a:pt x="257747" y="315373"/>
                    </a:lnTo>
                    <a:lnTo>
                      <a:pt x="244983" y="322421"/>
                    </a:lnTo>
                    <a:lnTo>
                      <a:pt x="241173" y="321850"/>
                    </a:lnTo>
                    <a:lnTo>
                      <a:pt x="232124" y="328994"/>
                    </a:lnTo>
                    <a:lnTo>
                      <a:pt x="221933" y="338423"/>
                    </a:lnTo>
                    <a:lnTo>
                      <a:pt x="216980" y="348901"/>
                    </a:lnTo>
                    <a:lnTo>
                      <a:pt x="207740" y="351187"/>
                    </a:lnTo>
                    <a:lnTo>
                      <a:pt x="198311" y="361379"/>
                    </a:lnTo>
                    <a:lnTo>
                      <a:pt x="192215" y="370999"/>
                    </a:lnTo>
                    <a:lnTo>
                      <a:pt x="187071" y="365665"/>
                    </a:lnTo>
                    <a:lnTo>
                      <a:pt x="183261" y="368617"/>
                    </a:lnTo>
                    <a:lnTo>
                      <a:pt x="173165" y="385096"/>
                    </a:lnTo>
                    <a:lnTo>
                      <a:pt x="163735" y="393287"/>
                    </a:lnTo>
                    <a:lnTo>
                      <a:pt x="149638" y="412337"/>
                    </a:lnTo>
                    <a:lnTo>
                      <a:pt x="134874" y="428530"/>
                    </a:lnTo>
                    <a:lnTo>
                      <a:pt x="128302" y="434531"/>
                    </a:lnTo>
                    <a:lnTo>
                      <a:pt x="124206" y="435483"/>
                    </a:lnTo>
                    <a:lnTo>
                      <a:pt x="118301" y="441769"/>
                    </a:lnTo>
                    <a:lnTo>
                      <a:pt x="115348" y="440817"/>
                    </a:lnTo>
                    <a:lnTo>
                      <a:pt x="114586" y="435197"/>
                    </a:lnTo>
                    <a:lnTo>
                      <a:pt x="111633" y="436817"/>
                    </a:lnTo>
                    <a:lnTo>
                      <a:pt x="112871" y="429292"/>
                    </a:lnTo>
                    <a:lnTo>
                      <a:pt x="107442" y="433483"/>
                    </a:lnTo>
                    <a:lnTo>
                      <a:pt x="99441" y="443198"/>
                    </a:lnTo>
                    <a:lnTo>
                      <a:pt x="88868" y="466058"/>
                    </a:lnTo>
                    <a:lnTo>
                      <a:pt x="83153" y="474536"/>
                    </a:lnTo>
                    <a:lnTo>
                      <a:pt x="75533" y="497110"/>
                    </a:lnTo>
                    <a:lnTo>
                      <a:pt x="72390" y="509683"/>
                    </a:lnTo>
                    <a:lnTo>
                      <a:pt x="69247" y="515017"/>
                    </a:lnTo>
                    <a:lnTo>
                      <a:pt x="62008" y="533400"/>
                    </a:lnTo>
                    <a:lnTo>
                      <a:pt x="54102" y="558832"/>
                    </a:lnTo>
                    <a:lnTo>
                      <a:pt x="50292" y="575977"/>
                    </a:lnTo>
                    <a:lnTo>
                      <a:pt x="44006" y="597122"/>
                    </a:lnTo>
                    <a:lnTo>
                      <a:pt x="40386" y="614363"/>
                    </a:lnTo>
                    <a:lnTo>
                      <a:pt x="36671" y="630555"/>
                    </a:lnTo>
                    <a:lnTo>
                      <a:pt x="36005" y="642366"/>
                    </a:lnTo>
                    <a:lnTo>
                      <a:pt x="36671" y="661321"/>
                    </a:lnTo>
                    <a:lnTo>
                      <a:pt x="36005" y="674370"/>
                    </a:lnTo>
                    <a:lnTo>
                      <a:pt x="32861" y="693325"/>
                    </a:lnTo>
                    <a:lnTo>
                      <a:pt x="29909" y="705231"/>
                    </a:lnTo>
                    <a:lnTo>
                      <a:pt x="21812" y="731520"/>
                    </a:lnTo>
                    <a:lnTo>
                      <a:pt x="18860" y="744093"/>
                    </a:lnTo>
                    <a:lnTo>
                      <a:pt x="17431" y="754856"/>
                    </a:lnTo>
                    <a:lnTo>
                      <a:pt x="17050" y="769620"/>
                    </a:lnTo>
                    <a:lnTo>
                      <a:pt x="16002" y="781717"/>
                    </a:lnTo>
                    <a:lnTo>
                      <a:pt x="14764" y="788384"/>
                    </a:lnTo>
                    <a:lnTo>
                      <a:pt x="14478" y="801529"/>
                    </a:lnTo>
                    <a:lnTo>
                      <a:pt x="13526" y="811339"/>
                    </a:lnTo>
                    <a:lnTo>
                      <a:pt x="13145" y="819912"/>
                    </a:lnTo>
                    <a:lnTo>
                      <a:pt x="13526" y="833628"/>
                    </a:lnTo>
                    <a:lnTo>
                      <a:pt x="14954" y="836200"/>
                    </a:lnTo>
                    <a:lnTo>
                      <a:pt x="14764" y="843439"/>
                    </a:lnTo>
                    <a:lnTo>
                      <a:pt x="13240" y="847630"/>
                    </a:lnTo>
                    <a:lnTo>
                      <a:pt x="12764" y="845820"/>
                    </a:lnTo>
                    <a:lnTo>
                      <a:pt x="13430" y="841820"/>
                    </a:lnTo>
                    <a:lnTo>
                      <a:pt x="12478" y="839248"/>
                    </a:lnTo>
                    <a:lnTo>
                      <a:pt x="10573" y="851249"/>
                    </a:lnTo>
                    <a:lnTo>
                      <a:pt x="9430" y="861346"/>
                    </a:lnTo>
                    <a:lnTo>
                      <a:pt x="8001" y="866680"/>
                    </a:lnTo>
                    <a:lnTo>
                      <a:pt x="6763" y="877919"/>
                    </a:lnTo>
                    <a:lnTo>
                      <a:pt x="5906" y="886301"/>
                    </a:lnTo>
                    <a:lnTo>
                      <a:pt x="4572" y="880872"/>
                    </a:lnTo>
                    <a:lnTo>
                      <a:pt x="4382" y="887635"/>
                    </a:lnTo>
                    <a:lnTo>
                      <a:pt x="2762" y="884587"/>
                    </a:lnTo>
                    <a:lnTo>
                      <a:pt x="1429" y="884587"/>
                    </a:lnTo>
                    <a:cubicBezTo>
                      <a:pt x="1429" y="884587"/>
                      <a:pt x="857" y="887921"/>
                      <a:pt x="857" y="887921"/>
                    </a:cubicBezTo>
                    <a:lnTo>
                      <a:pt x="1048" y="895636"/>
                    </a:lnTo>
                    <a:lnTo>
                      <a:pt x="381" y="901160"/>
                    </a:lnTo>
                    <a:lnTo>
                      <a:pt x="1810" y="905828"/>
                    </a:lnTo>
                    <a:lnTo>
                      <a:pt x="2857" y="904208"/>
                    </a:lnTo>
                    <a:lnTo>
                      <a:pt x="2667" y="910590"/>
                    </a:lnTo>
                    <a:lnTo>
                      <a:pt x="1619" y="912305"/>
                    </a:lnTo>
                    <a:lnTo>
                      <a:pt x="1905" y="920591"/>
                    </a:lnTo>
                    <a:lnTo>
                      <a:pt x="2096" y="930116"/>
                    </a:lnTo>
                    <a:lnTo>
                      <a:pt x="1905" y="936879"/>
                    </a:lnTo>
                    <a:lnTo>
                      <a:pt x="1143" y="937832"/>
                    </a:lnTo>
                    <a:lnTo>
                      <a:pt x="190" y="935164"/>
                    </a:lnTo>
                    <a:lnTo>
                      <a:pt x="0" y="940118"/>
                    </a:lnTo>
                    <a:lnTo>
                      <a:pt x="762" y="953167"/>
                    </a:lnTo>
                    <a:lnTo>
                      <a:pt x="571" y="956024"/>
                    </a:lnTo>
                    <a:lnTo>
                      <a:pt x="1429" y="956691"/>
                    </a:lnTo>
                    <a:lnTo>
                      <a:pt x="2762" y="966978"/>
                    </a:lnTo>
                    <a:lnTo>
                      <a:pt x="3239" y="973264"/>
                    </a:lnTo>
                    <a:lnTo>
                      <a:pt x="4382" y="983075"/>
                    </a:lnTo>
                    <a:lnTo>
                      <a:pt x="3715" y="988124"/>
                    </a:lnTo>
                    <a:lnTo>
                      <a:pt x="4763" y="996029"/>
                    </a:lnTo>
                    <a:lnTo>
                      <a:pt x="5810" y="999077"/>
                    </a:lnTo>
                    <a:lnTo>
                      <a:pt x="4572" y="1003554"/>
                    </a:lnTo>
                    <a:lnTo>
                      <a:pt x="6572" y="1014603"/>
                    </a:lnTo>
                    <a:lnTo>
                      <a:pt x="7620" y="1017937"/>
                    </a:lnTo>
                    <a:lnTo>
                      <a:pt x="9144" y="1024318"/>
                    </a:lnTo>
                    <a:lnTo>
                      <a:pt x="8954" y="1012698"/>
                    </a:lnTo>
                    <a:lnTo>
                      <a:pt x="10096" y="1014889"/>
                    </a:lnTo>
                    <a:lnTo>
                      <a:pt x="11144" y="1020032"/>
                    </a:lnTo>
                    <a:lnTo>
                      <a:pt x="13716" y="1029462"/>
                    </a:lnTo>
                    <a:lnTo>
                      <a:pt x="15907" y="1034034"/>
                    </a:lnTo>
                    <a:lnTo>
                      <a:pt x="18097" y="1044321"/>
                    </a:lnTo>
                    <a:lnTo>
                      <a:pt x="19431" y="1056323"/>
                    </a:lnTo>
                    <a:lnTo>
                      <a:pt x="19145" y="1060990"/>
                    </a:lnTo>
                    <a:lnTo>
                      <a:pt x="20193" y="1066991"/>
                    </a:lnTo>
                    <a:lnTo>
                      <a:pt x="18097" y="1061371"/>
                    </a:lnTo>
                    <a:lnTo>
                      <a:pt x="17431" y="1066800"/>
                    </a:lnTo>
                    <a:lnTo>
                      <a:pt x="18193" y="1074896"/>
                    </a:lnTo>
                    <a:lnTo>
                      <a:pt x="18764" y="1084802"/>
                    </a:lnTo>
                    <a:lnTo>
                      <a:pt x="17431" y="1088993"/>
                    </a:lnTo>
                    <a:lnTo>
                      <a:pt x="15716" y="1084040"/>
                    </a:lnTo>
                    <a:lnTo>
                      <a:pt x="14954" y="1089851"/>
                    </a:lnTo>
                    <a:lnTo>
                      <a:pt x="12859" y="1085564"/>
                    </a:lnTo>
                    <a:lnTo>
                      <a:pt x="14478" y="1094423"/>
                    </a:lnTo>
                    <a:lnTo>
                      <a:pt x="11621" y="1085564"/>
                    </a:lnTo>
                    <a:lnTo>
                      <a:pt x="8668" y="1075754"/>
                    </a:lnTo>
                    <a:lnTo>
                      <a:pt x="6096" y="1063943"/>
                    </a:lnTo>
                    <a:lnTo>
                      <a:pt x="4572" y="1058418"/>
                    </a:lnTo>
                    <a:lnTo>
                      <a:pt x="4382" y="1059561"/>
                    </a:lnTo>
                    <a:lnTo>
                      <a:pt x="2572" y="1050608"/>
                    </a:lnTo>
                    <a:lnTo>
                      <a:pt x="3048" y="1053846"/>
                    </a:lnTo>
                    <a:lnTo>
                      <a:pt x="7715" y="1077754"/>
                    </a:lnTo>
                    <a:lnTo>
                      <a:pt x="8668" y="1082231"/>
                    </a:lnTo>
                    <a:lnTo>
                      <a:pt x="9811" y="1088041"/>
                    </a:lnTo>
                    <a:lnTo>
                      <a:pt x="14478" y="1108234"/>
                    </a:lnTo>
                    <a:lnTo>
                      <a:pt x="16097" y="1114997"/>
                    </a:lnTo>
                    <a:lnTo>
                      <a:pt x="18955" y="1126617"/>
                    </a:lnTo>
                    <a:lnTo>
                      <a:pt x="20098" y="1130903"/>
                    </a:lnTo>
                    <a:lnTo>
                      <a:pt x="19907" y="1130332"/>
                    </a:lnTo>
                    <a:lnTo>
                      <a:pt x="20193" y="1131380"/>
                    </a:lnTo>
                    <a:lnTo>
                      <a:pt x="21336" y="1135666"/>
                    </a:lnTo>
                    <a:lnTo>
                      <a:pt x="20193" y="1131189"/>
                    </a:lnTo>
                    <a:lnTo>
                      <a:pt x="20955" y="1134237"/>
                    </a:lnTo>
                    <a:lnTo>
                      <a:pt x="21527" y="1136428"/>
                    </a:lnTo>
                    <a:lnTo>
                      <a:pt x="21527" y="1136714"/>
                    </a:lnTo>
                    <a:cubicBezTo>
                      <a:pt x="21527" y="1136714"/>
                      <a:pt x="21908" y="1137857"/>
                      <a:pt x="21908" y="1137857"/>
                    </a:cubicBezTo>
                    <a:lnTo>
                      <a:pt x="22384" y="1139762"/>
                    </a:lnTo>
                    <a:lnTo>
                      <a:pt x="22384" y="1139476"/>
                    </a:lnTo>
                    <a:cubicBezTo>
                      <a:pt x="22384" y="1139476"/>
                      <a:pt x="22384" y="1139857"/>
                      <a:pt x="22384" y="1139857"/>
                    </a:cubicBezTo>
                    <a:lnTo>
                      <a:pt x="22765" y="1141285"/>
                    </a:lnTo>
                    <a:lnTo>
                      <a:pt x="22955" y="1141952"/>
                    </a:lnTo>
                    <a:lnTo>
                      <a:pt x="24098" y="1146143"/>
                    </a:lnTo>
                    <a:lnTo>
                      <a:pt x="23336" y="1143381"/>
                    </a:lnTo>
                    <a:lnTo>
                      <a:pt x="23336" y="1143381"/>
                    </a:lnTo>
                    <a:cubicBezTo>
                      <a:pt x="23336" y="1143381"/>
                      <a:pt x="24194" y="1146905"/>
                      <a:pt x="24194" y="1146905"/>
                    </a:cubicBezTo>
                    <a:lnTo>
                      <a:pt x="24765" y="1149001"/>
                    </a:lnTo>
                    <a:lnTo>
                      <a:pt x="24765" y="1148810"/>
                    </a:lnTo>
                    <a:cubicBezTo>
                      <a:pt x="24765" y="1148810"/>
                      <a:pt x="24765" y="1149096"/>
                      <a:pt x="24765" y="1149096"/>
                    </a:cubicBezTo>
                    <a:lnTo>
                      <a:pt x="24765" y="1148906"/>
                    </a:lnTo>
                    <a:cubicBezTo>
                      <a:pt x="24765" y="1148906"/>
                      <a:pt x="25718" y="1152811"/>
                      <a:pt x="25718" y="1152811"/>
                    </a:cubicBezTo>
                    <a:lnTo>
                      <a:pt x="27051" y="1157478"/>
                    </a:lnTo>
                    <a:lnTo>
                      <a:pt x="27432" y="1158716"/>
                    </a:lnTo>
                    <a:lnTo>
                      <a:pt x="28670" y="1163193"/>
                    </a:lnTo>
                    <a:lnTo>
                      <a:pt x="28099" y="1161288"/>
                    </a:lnTo>
                    <a:lnTo>
                      <a:pt x="29147" y="1165098"/>
                    </a:lnTo>
                    <a:lnTo>
                      <a:pt x="29432" y="1166146"/>
                    </a:lnTo>
                    <a:lnTo>
                      <a:pt x="29623" y="1166717"/>
                    </a:lnTo>
                    <a:lnTo>
                      <a:pt x="30099" y="1168527"/>
                    </a:lnTo>
                    <a:lnTo>
                      <a:pt x="30671" y="1170623"/>
                    </a:lnTo>
                    <a:lnTo>
                      <a:pt x="30290" y="1169289"/>
                    </a:lnTo>
                    <a:lnTo>
                      <a:pt x="31147" y="1172242"/>
                    </a:lnTo>
                    <a:lnTo>
                      <a:pt x="31337" y="1172813"/>
                    </a:lnTo>
                    <a:lnTo>
                      <a:pt x="31337" y="1173099"/>
                    </a:lnTo>
                    <a:cubicBezTo>
                      <a:pt x="31337" y="1173099"/>
                      <a:pt x="32099" y="1175480"/>
                      <a:pt x="32099" y="1175480"/>
                    </a:cubicBezTo>
                    <a:lnTo>
                      <a:pt x="32099" y="1175480"/>
                    </a:lnTo>
                    <a:cubicBezTo>
                      <a:pt x="32099" y="1175480"/>
                      <a:pt x="32099" y="1175766"/>
                      <a:pt x="32099" y="1175766"/>
                    </a:cubicBezTo>
                    <a:lnTo>
                      <a:pt x="32099" y="1175957"/>
                    </a:lnTo>
                    <a:cubicBezTo>
                      <a:pt x="32099" y="1175957"/>
                      <a:pt x="32099" y="1176052"/>
                      <a:pt x="32099" y="1176052"/>
                    </a:cubicBezTo>
                    <a:lnTo>
                      <a:pt x="32099" y="1176528"/>
                    </a:lnTo>
                    <a:cubicBezTo>
                      <a:pt x="32099" y="1176528"/>
                      <a:pt x="32099" y="1176242"/>
                      <a:pt x="32099" y="1176242"/>
                    </a:cubicBezTo>
                    <a:lnTo>
                      <a:pt x="32099" y="1176242"/>
                    </a:lnTo>
                    <a:cubicBezTo>
                      <a:pt x="32099" y="1176242"/>
                      <a:pt x="32099" y="1176528"/>
                      <a:pt x="32099" y="1176528"/>
                    </a:cubicBezTo>
                    <a:lnTo>
                      <a:pt x="32099" y="1176528"/>
                    </a:lnTo>
                    <a:cubicBezTo>
                      <a:pt x="32099" y="1176528"/>
                      <a:pt x="32099" y="1176528"/>
                      <a:pt x="32099" y="1176528"/>
                    </a:cubicBezTo>
                    <a:lnTo>
                      <a:pt x="32099" y="1176528"/>
                    </a:lnTo>
                    <a:cubicBezTo>
                      <a:pt x="32099" y="1176528"/>
                      <a:pt x="32194" y="1176909"/>
                      <a:pt x="32194" y="1176909"/>
                    </a:cubicBezTo>
                    <a:lnTo>
                      <a:pt x="32385" y="1177671"/>
                    </a:lnTo>
                    <a:lnTo>
                      <a:pt x="32766" y="1178909"/>
                    </a:lnTo>
                    <a:lnTo>
                      <a:pt x="32766" y="1178624"/>
                    </a:lnTo>
                    <a:cubicBezTo>
                      <a:pt x="32766" y="1178624"/>
                      <a:pt x="33242" y="1180529"/>
                      <a:pt x="33242" y="1180529"/>
                    </a:cubicBezTo>
                    <a:lnTo>
                      <a:pt x="33623" y="1181767"/>
                    </a:lnTo>
                    <a:lnTo>
                      <a:pt x="33909" y="1182910"/>
                    </a:lnTo>
                    <a:lnTo>
                      <a:pt x="33909" y="1182719"/>
                    </a:lnTo>
                    <a:cubicBezTo>
                      <a:pt x="33909" y="1182719"/>
                      <a:pt x="33909" y="1183100"/>
                      <a:pt x="33909" y="1183100"/>
                    </a:cubicBezTo>
                    <a:lnTo>
                      <a:pt x="33909" y="1183386"/>
                    </a:lnTo>
                    <a:cubicBezTo>
                      <a:pt x="33909" y="1183386"/>
                      <a:pt x="34100" y="1183862"/>
                      <a:pt x="34100" y="1183862"/>
                    </a:cubicBezTo>
                    <a:lnTo>
                      <a:pt x="34385" y="1184815"/>
                    </a:lnTo>
                    <a:lnTo>
                      <a:pt x="34385" y="1185196"/>
                    </a:lnTo>
                    <a:cubicBezTo>
                      <a:pt x="34385" y="1185196"/>
                      <a:pt x="34576" y="1185386"/>
                      <a:pt x="34576" y="1185386"/>
                    </a:cubicBezTo>
                    <a:lnTo>
                      <a:pt x="34576" y="1185767"/>
                    </a:lnTo>
                    <a:cubicBezTo>
                      <a:pt x="34576" y="1185767"/>
                      <a:pt x="34766" y="1186148"/>
                      <a:pt x="34766" y="1186148"/>
                    </a:cubicBezTo>
                    <a:lnTo>
                      <a:pt x="35147" y="1187387"/>
                    </a:lnTo>
                    <a:lnTo>
                      <a:pt x="35147" y="1186910"/>
                    </a:lnTo>
                    <a:cubicBezTo>
                      <a:pt x="35147" y="1186910"/>
                      <a:pt x="34957" y="1186910"/>
                      <a:pt x="34957" y="1186910"/>
                    </a:cubicBezTo>
                    <a:lnTo>
                      <a:pt x="34957" y="1186910"/>
                    </a:lnTo>
                    <a:cubicBezTo>
                      <a:pt x="34957" y="1186910"/>
                      <a:pt x="34862" y="1186434"/>
                      <a:pt x="34862" y="1186434"/>
                    </a:cubicBezTo>
                    <a:lnTo>
                      <a:pt x="34862" y="1186434"/>
                    </a:lnTo>
                    <a:lnTo>
                      <a:pt x="34862" y="1186625"/>
                    </a:lnTo>
                    <a:lnTo>
                      <a:pt x="34862" y="1186625"/>
                    </a:lnTo>
                    <a:cubicBezTo>
                      <a:pt x="34862" y="1186625"/>
                      <a:pt x="34862" y="1186910"/>
                      <a:pt x="34862" y="1186910"/>
                    </a:cubicBezTo>
                    <a:lnTo>
                      <a:pt x="34862" y="1186910"/>
                    </a:lnTo>
                    <a:cubicBezTo>
                      <a:pt x="34862" y="1186910"/>
                      <a:pt x="35052" y="1187577"/>
                      <a:pt x="35052" y="1187577"/>
                    </a:cubicBezTo>
                    <a:lnTo>
                      <a:pt x="35243" y="1188339"/>
                    </a:lnTo>
                    <a:lnTo>
                      <a:pt x="35243" y="1188530"/>
                    </a:lnTo>
                    <a:cubicBezTo>
                      <a:pt x="35243" y="1188530"/>
                      <a:pt x="35338" y="1188720"/>
                      <a:pt x="35338" y="1188720"/>
                    </a:cubicBezTo>
                    <a:lnTo>
                      <a:pt x="35338" y="1188720"/>
                    </a:lnTo>
                    <a:cubicBezTo>
                      <a:pt x="35338" y="1188720"/>
                      <a:pt x="35528" y="1189482"/>
                      <a:pt x="35528" y="1189482"/>
                    </a:cubicBezTo>
                    <a:lnTo>
                      <a:pt x="35814" y="1190530"/>
                    </a:lnTo>
                    <a:lnTo>
                      <a:pt x="36005" y="1191006"/>
                    </a:lnTo>
                    <a:lnTo>
                      <a:pt x="36005" y="1191387"/>
                    </a:lnTo>
                    <a:cubicBezTo>
                      <a:pt x="36005" y="1191387"/>
                      <a:pt x="36100" y="1191387"/>
                      <a:pt x="36100" y="1191387"/>
                    </a:cubicBezTo>
                    <a:lnTo>
                      <a:pt x="36671" y="1193102"/>
                    </a:lnTo>
                    <a:lnTo>
                      <a:pt x="36862" y="1193768"/>
                    </a:lnTo>
                    <a:lnTo>
                      <a:pt x="37243" y="1195007"/>
                    </a:lnTo>
                    <a:lnTo>
                      <a:pt x="37624" y="1196150"/>
                    </a:lnTo>
                    <a:lnTo>
                      <a:pt x="37624" y="1196150"/>
                    </a:lnTo>
                    <a:cubicBezTo>
                      <a:pt x="37624" y="1196150"/>
                      <a:pt x="38481" y="1199102"/>
                      <a:pt x="38481" y="1199102"/>
                    </a:cubicBezTo>
                    <a:lnTo>
                      <a:pt x="37719" y="1196626"/>
                    </a:lnTo>
                    <a:lnTo>
                      <a:pt x="38100" y="1197959"/>
                    </a:lnTo>
                    <a:lnTo>
                      <a:pt x="37910" y="1197197"/>
                    </a:lnTo>
                    <a:lnTo>
                      <a:pt x="37910" y="1197197"/>
                    </a:lnTo>
                    <a:cubicBezTo>
                      <a:pt x="37910" y="1197197"/>
                      <a:pt x="37910" y="1197007"/>
                      <a:pt x="37910" y="1197007"/>
                    </a:cubicBezTo>
                    <a:lnTo>
                      <a:pt x="37719" y="1196245"/>
                    </a:lnTo>
                    <a:lnTo>
                      <a:pt x="37719" y="1196245"/>
                    </a:lnTo>
                    <a:cubicBezTo>
                      <a:pt x="37719" y="1196245"/>
                      <a:pt x="38100" y="1197483"/>
                      <a:pt x="38100" y="1197483"/>
                    </a:cubicBezTo>
                    <a:lnTo>
                      <a:pt x="38100" y="1197197"/>
                    </a:lnTo>
                    <a:cubicBezTo>
                      <a:pt x="38100" y="1197197"/>
                      <a:pt x="38386" y="1198435"/>
                      <a:pt x="38386" y="1198435"/>
                    </a:cubicBezTo>
                    <a:lnTo>
                      <a:pt x="38195" y="1197959"/>
                    </a:lnTo>
                    <a:lnTo>
                      <a:pt x="39053" y="1200817"/>
                    </a:lnTo>
                    <a:lnTo>
                      <a:pt x="39529" y="1202246"/>
                    </a:lnTo>
                    <a:lnTo>
                      <a:pt x="39719" y="1202817"/>
                    </a:lnTo>
                    <a:lnTo>
                      <a:pt x="40291" y="1204532"/>
                    </a:lnTo>
                    <a:lnTo>
                      <a:pt x="40481" y="1205103"/>
                    </a:lnTo>
                    <a:lnTo>
                      <a:pt x="40672" y="1205865"/>
                    </a:lnTo>
                    <a:lnTo>
                      <a:pt x="40672" y="1206246"/>
                    </a:lnTo>
                    <a:cubicBezTo>
                      <a:pt x="40672" y="1206246"/>
                      <a:pt x="41434" y="1208151"/>
                      <a:pt x="41434" y="1208151"/>
                    </a:cubicBezTo>
                    <a:lnTo>
                      <a:pt x="41434" y="1208342"/>
                    </a:lnTo>
                    <a:cubicBezTo>
                      <a:pt x="41434" y="1208342"/>
                      <a:pt x="41529" y="1208532"/>
                      <a:pt x="41529" y="1208532"/>
                    </a:cubicBezTo>
                    <a:lnTo>
                      <a:pt x="41529" y="1208246"/>
                    </a:lnTo>
                    <a:cubicBezTo>
                      <a:pt x="41529" y="1208246"/>
                      <a:pt x="42196" y="1210532"/>
                      <a:pt x="42196" y="1210532"/>
                    </a:cubicBezTo>
                    <a:lnTo>
                      <a:pt x="42577" y="1211580"/>
                    </a:lnTo>
                    <a:lnTo>
                      <a:pt x="42863" y="1212437"/>
                    </a:lnTo>
                    <a:lnTo>
                      <a:pt x="43625" y="1214818"/>
                    </a:lnTo>
                    <a:lnTo>
                      <a:pt x="42863" y="1212437"/>
                    </a:lnTo>
                    <a:lnTo>
                      <a:pt x="44577" y="1217867"/>
                    </a:lnTo>
                    <a:lnTo>
                      <a:pt x="44863" y="1218819"/>
                    </a:lnTo>
                    <a:lnTo>
                      <a:pt x="44577" y="1217867"/>
                    </a:lnTo>
                    <a:lnTo>
                      <a:pt x="44958" y="1218914"/>
                    </a:lnTo>
                    <a:lnTo>
                      <a:pt x="44958" y="1218914"/>
                    </a:lnTo>
                    <a:cubicBezTo>
                      <a:pt x="44958" y="1218914"/>
                      <a:pt x="44958" y="1219105"/>
                      <a:pt x="44958" y="1219105"/>
                    </a:cubicBezTo>
                    <a:lnTo>
                      <a:pt x="44958" y="1218914"/>
                    </a:lnTo>
                    <a:cubicBezTo>
                      <a:pt x="44958" y="1218914"/>
                      <a:pt x="44863" y="1218819"/>
                      <a:pt x="44863" y="1218819"/>
                    </a:cubicBezTo>
                    <a:lnTo>
                      <a:pt x="45530" y="1220724"/>
                    </a:lnTo>
                    <a:lnTo>
                      <a:pt x="45530" y="1221105"/>
                    </a:lnTo>
                    <a:cubicBezTo>
                      <a:pt x="45530" y="1221105"/>
                      <a:pt x="45815" y="1221486"/>
                      <a:pt x="45815" y="1221486"/>
                    </a:cubicBezTo>
                    <a:lnTo>
                      <a:pt x="46387" y="1223296"/>
                    </a:lnTo>
                    <a:lnTo>
                      <a:pt x="48006" y="1228058"/>
                    </a:lnTo>
                    <a:lnTo>
                      <a:pt x="48006" y="1228344"/>
                    </a:lnTo>
                    <a:cubicBezTo>
                      <a:pt x="48006" y="1228344"/>
                      <a:pt x="48101" y="1228439"/>
                      <a:pt x="48101" y="1228439"/>
                    </a:cubicBezTo>
                    <a:lnTo>
                      <a:pt x="48101" y="1228820"/>
                    </a:lnTo>
                    <a:cubicBezTo>
                      <a:pt x="48101" y="1228820"/>
                      <a:pt x="48292" y="1228820"/>
                      <a:pt x="48292" y="1228820"/>
                    </a:cubicBezTo>
                    <a:lnTo>
                      <a:pt x="48101" y="1228249"/>
                    </a:lnTo>
                    <a:lnTo>
                      <a:pt x="48101" y="1228249"/>
                    </a:lnTo>
                    <a:cubicBezTo>
                      <a:pt x="48101" y="1228249"/>
                      <a:pt x="46577" y="1223486"/>
                      <a:pt x="46577" y="1223486"/>
                    </a:cubicBezTo>
                    <a:lnTo>
                      <a:pt x="48101" y="1227963"/>
                    </a:lnTo>
                    <a:lnTo>
                      <a:pt x="48101" y="1227582"/>
                    </a:lnTo>
                    <a:cubicBezTo>
                      <a:pt x="48101" y="1227582"/>
                      <a:pt x="48863" y="1230344"/>
                      <a:pt x="48863" y="1230344"/>
                    </a:cubicBezTo>
                    <a:lnTo>
                      <a:pt x="48482" y="1229201"/>
                    </a:lnTo>
                    <a:lnTo>
                      <a:pt x="48863" y="1230249"/>
                    </a:lnTo>
                    <a:lnTo>
                      <a:pt x="49244" y="1231297"/>
                    </a:lnTo>
                    <a:lnTo>
                      <a:pt x="49435" y="1231868"/>
                    </a:lnTo>
                    <a:lnTo>
                      <a:pt x="49435" y="1231868"/>
                    </a:lnTo>
                    <a:cubicBezTo>
                      <a:pt x="49435" y="1231868"/>
                      <a:pt x="49435" y="1232059"/>
                      <a:pt x="49435" y="1232059"/>
                    </a:cubicBezTo>
                    <a:lnTo>
                      <a:pt x="50006" y="1233773"/>
                    </a:lnTo>
                    <a:lnTo>
                      <a:pt x="49625" y="1232630"/>
                    </a:lnTo>
                    <a:lnTo>
                      <a:pt x="49911" y="1233392"/>
                    </a:lnTo>
                    <a:lnTo>
                      <a:pt x="50483" y="1235107"/>
                    </a:lnTo>
                    <a:lnTo>
                      <a:pt x="50292" y="1234535"/>
                    </a:lnTo>
                    <a:lnTo>
                      <a:pt x="50292" y="1234535"/>
                    </a:lnTo>
                    <a:cubicBezTo>
                      <a:pt x="50292" y="1234535"/>
                      <a:pt x="51245" y="1237488"/>
                      <a:pt x="51245" y="1237488"/>
                    </a:cubicBezTo>
                    <a:lnTo>
                      <a:pt x="51054" y="1236821"/>
                    </a:lnTo>
                    <a:lnTo>
                      <a:pt x="51340" y="1237583"/>
                    </a:lnTo>
                    <a:lnTo>
                      <a:pt x="51626" y="1238536"/>
                    </a:lnTo>
                    <a:lnTo>
                      <a:pt x="51435" y="1238155"/>
                    </a:lnTo>
                    <a:lnTo>
                      <a:pt x="51245" y="1237488"/>
                    </a:lnTo>
                    <a:lnTo>
                      <a:pt x="51245" y="1237869"/>
                    </a:lnTo>
                    <a:cubicBezTo>
                      <a:pt x="51245" y="1237869"/>
                      <a:pt x="51245" y="1237393"/>
                      <a:pt x="51245" y="1237393"/>
                    </a:cubicBezTo>
                    <a:lnTo>
                      <a:pt x="50483" y="1235202"/>
                    </a:lnTo>
                    <a:lnTo>
                      <a:pt x="50768" y="1236155"/>
                    </a:lnTo>
                    <a:lnTo>
                      <a:pt x="50768" y="1236155"/>
                    </a:lnTo>
                    <a:cubicBezTo>
                      <a:pt x="50768" y="1236155"/>
                      <a:pt x="50768" y="1236155"/>
                      <a:pt x="50768" y="1236155"/>
                    </a:cubicBezTo>
                    <a:lnTo>
                      <a:pt x="50768" y="1236155"/>
                    </a:lnTo>
                    <a:cubicBezTo>
                      <a:pt x="50768" y="1236155"/>
                      <a:pt x="50768" y="1236440"/>
                      <a:pt x="50768" y="1236440"/>
                    </a:cubicBezTo>
                    <a:lnTo>
                      <a:pt x="51340" y="1238060"/>
                    </a:lnTo>
                    <a:lnTo>
                      <a:pt x="51530" y="1238536"/>
                    </a:lnTo>
                    <a:lnTo>
                      <a:pt x="51530" y="1238822"/>
                    </a:lnTo>
                    <a:cubicBezTo>
                      <a:pt x="51530" y="1238822"/>
                      <a:pt x="51721" y="1239203"/>
                      <a:pt x="51721" y="1239203"/>
                    </a:cubicBezTo>
                    <a:lnTo>
                      <a:pt x="52007" y="1240155"/>
                    </a:lnTo>
                    <a:lnTo>
                      <a:pt x="52197" y="1240631"/>
                    </a:lnTo>
                    <a:lnTo>
                      <a:pt x="52197" y="1241012"/>
                    </a:lnTo>
                    <a:cubicBezTo>
                      <a:pt x="52197" y="1241012"/>
                      <a:pt x="52388" y="1241203"/>
                      <a:pt x="52388" y="1241203"/>
                    </a:cubicBezTo>
                    <a:lnTo>
                      <a:pt x="52673" y="1241965"/>
                    </a:lnTo>
                    <a:lnTo>
                      <a:pt x="53340" y="1243775"/>
                    </a:lnTo>
                    <a:lnTo>
                      <a:pt x="53340" y="1243965"/>
                    </a:lnTo>
                    <a:cubicBezTo>
                      <a:pt x="53340" y="1243965"/>
                      <a:pt x="53912" y="1245394"/>
                      <a:pt x="53912" y="1245394"/>
                    </a:cubicBezTo>
                    <a:lnTo>
                      <a:pt x="54388" y="1246727"/>
                    </a:lnTo>
                    <a:lnTo>
                      <a:pt x="54197" y="1246060"/>
                    </a:lnTo>
                    <a:lnTo>
                      <a:pt x="54769" y="1247775"/>
                    </a:lnTo>
                    <a:lnTo>
                      <a:pt x="54959" y="1248442"/>
                    </a:lnTo>
                    <a:lnTo>
                      <a:pt x="55531" y="1249966"/>
                    </a:lnTo>
                    <a:lnTo>
                      <a:pt x="55531" y="1250156"/>
                    </a:lnTo>
                    <a:cubicBezTo>
                      <a:pt x="55531" y="1250156"/>
                      <a:pt x="55817" y="1250633"/>
                      <a:pt x="55817" y="1250633"/>
                    </a:cubicBezTo>
                    <a:lnTo>
                      <a:pt x="55817" y="1250823"/>
                    </a:lnTo>
                    <a:cubicBezTo>
                      <a:pt x="55817" y="1250823"/>
                      <a:pt x="56007" y="1251109"/>
                      <a:pt x="56007" y="1251109"/>
                    </a:cubicBezTo>
                    <a:lnTo>
                      <a:pt x="56007" y="1251109"/>
                    </a:lnTo>
                    <a:cubicBezTo>
                      <a:pt x="56007" y="1251109"/>
                      <a:pt x="56007" y="1250918"/>
                      <a:pt x="56007" y="1250918"/>
                    </a:cubicBezTo>
                    <a:lnTo>
                      <a:pt x="56007" y="1250918"/>
                    </a:lnTo>
                    <a:cubicBezTo>
                      <a:pt x="56007" y="1250918"/>
                      <a:pt x="55531" y="1249489"/>
                      <a:pt x="55531" y="1249489"/>
                    </a:cubicBezTo>
                    <a:lnTo>
                      <a:pt x="55912" y="1250633"/>
                    </a:lnTo>
                    <a:lnTo>
                      <a:pt x="55626" y="1249871"/>
                    </a:lnTo>
                    <a:lnTo>
                      <a:pt x="56198" y="1251585"/>
                    </a:lnTo>
                    <a:lnTo>
                      <a:pt x="56674" y="1252918"/>
                    </a:lnTo>
                    <a:lnTo>
                      <a:pt x="56959" y="1253681"/>
                    </a:lnTo>
                    <a:lnTo>
                      <a:pt x="56959" y="1253300"/>
                    </a:lnTo>
                    <a:cubicBezTo>
                      <a:pt x="56959" y="1253300"/>
                      <a:pt x="57245" y="1254347"/>
                      <a:pt x="57245" y="1254347"/>
                    </a:cubicBezTo>
                    <a:lnTo>
                      <a:pt x="57245" y="1254538"/>
                    </a:lnTo>
                    <a:cubicBezTo>
                      <a:pt x="57245" y="1254538"/>
                      <a:pt x="57245" y="1254347"/>
                      <a:pt x="57245" y="1254347"/>
                    </a:cubicBezTo>
                    <a:lnTo>
                      <a:pt x="57531" y="1255205"/>
                    </a:lnTo>
                    <a:lnTo>
                      <a:pt x="57817" y="1256062"/>
                    </a:lnTo>
                    <a:lnTo>
                      <a:pt x="58007" y="1256538"/>
                    </a:lnTo>
                    <a:lnTo>
                      <a:pt x="59436" y="1260539"/>
                    </a:lnTo>
                    <a:lnTo>
                      <a:pt x="59627" y="1261110"/>
                    </a:lnTo>
                    <a:lnTo>
                      <a:pt x="59627" y="1261110"/>
                    </a:lnTo>
                    <a:cubicBezTo>
                      <a:pt x="59627" y="1261110"/>
                      <a:pt x="59627" y="1261110"/>
                      <a:pt x="59627" y="1261110"/>
                    </a:cubicBezTo>
                    <a:lnTo>
                      <a:pt x="59912" y="1261777"/>
                    </a:lnTo>
                    <a:lnTo>
                      <a:pt x="59912" y="1261777"/>
                    </a:lnTo>
                    <a:lnTo>
                      <a:pt x="59912" y="1262063"/>
                    </a:lnTo>
                    <a:cubicBezTo>
                      <a:pt x="59912" y="1262063"/>
                      <a:pt x="60198" y="1262634"/>
                      <a:pt x="60198" y="1262634"/>
                    </a:cubicBezTo>
                    <a:lnTo>
                      <a:pt x="60389" y="1263206"/>
                    </a:lnTo>
                    <a:lnTo>
                      <a:pt x="60389" y="1263206"/>
                    </a:lnTo>
                    <a:cubicBezTo>
                      <a:pt x="60389" y="1263206"/>
                      <a:pt x="60389" y="1263206"/>
                      <a:pt x="60389" y="1263206"/>
                    </a:cubicBezTo>
                    <a:lnTo>
                      <a:pt x="60674" y="1264063"/>
                    </a:lnTo>
                    <a:lnTo>
                      <a:pt x="60389" y="1263301"/>
                    </a:lnTo>
                    <a:lnTo>
                      <a:pt x="60389" y="1263491"/>
                    </a:lnTo>
                    <a:cubicBezTo>
                      <a:pt x="60389" y="1263491"/>
                      <a:pt x="60389" y="1263491"/>
                      <a:pt x="60389" y="1263491"/>
                    </a:cubicBezTo>
                    <a:lnTo>
                      <a:pt x="60389" y="1263682"/>
                    </a:lnTo>
                    <a:cubicBezTo>
                      <a:pt x="60389" y="1263682"/>
                      <a:pt x="60579" y="1263968"/>
                      <a:pt x="60579" y="1263968"/>
                    </a:cubicBezTo>
                    <a:lnTo>
                      <a:pt x="60770" y="1264634"/>
                    </a:lnTo>
                    <a:lnTo>
                      <a:pt x="60960" y="1265015"/>
                    </a:lnTo>
                    <a:lnTo>
                      <a:pt x="61436" y="1266444"/>
                    </a:lnTo>
                    <a:lnTo>
                      <a:pt x="61436" y="1266444"/>
                    </a:lnTo>
                    <a:cubicBezTo>
                      <a:pt x="61436" y="1266444"/>
                      <a:pt x="61341" y="1265968"/>
                      <a:pt x="61341" y="1265968"/>
                    </a:cubicBezTo>
                    <a:lnTo>
                      <a:pt x="62198" y="1268349"/>
                    </a:lnTo>
                    <a:lnTo>
                      <a:pt x="62865" y="1270064"/>
                    </a:lnTo>
                    <a:lnTo>
                      <a:pt x="63056" y="1270635"/>
                    </a:lnTo>
                    <a:lnTo>
                      <a:pt x="63341" y="1271492"/>
                    </a:lnTo>
                    <a:lnTo>
                      <a:pt x="63818" y="1272731"/>
                    </a:lnTo>
                    <a:lnTo>
                      <a:pt x="63818" y="1272921"/>
                    </a:lnTo>
                    <a:cubicBezTo>
                      <a:pt x="63818" y="1272921"/>
                      <a:pt x="63913" y="1273112"/>
                      <a:pt x="63913" y="1273112"/>
                    </a:cubicBezTo>
                    <a:lnTo>
                      <a:pt x="64580" y="1274921"/>
                    </a:lnTo>
                    <a:lnTo>
                      <a:pt x="64770" y="1275493"/>
                    </a:lnTo>
                    <a:lnTo>
                      <a:pt x="63913" y="1273207"/>
                    </a:lnTo>
                    <a:lnTo>
                      <a:pt x="63913" y="1273397"/>
                    </a:lnTo>
                    <a:cubicBezTo>
                      <a:pt x="63913" y="1273397"/>
                      <a:pt x="64103" y="1273683"/>
                      <a:pt x="64103" y="1273683"/>
                    </a:cubicBezTo>
                    <a:lnTo>
                      <a:pt x="64103" y="1273683"/>
                    </a:lnTo>
                    <a:cubicBezTo>
                      <a:pt x="64103" y="1273683"/>
                      <a:pt x="64103" y="1273969"/>
                      <a:pt x="64103" y="1273969"/>
                    </a:cubicBezTo>
                    <a:lnTo>
                      <a:pt x="64294" y="1274540"/>
                    </a:lnTo>
                    <a:lnTo>
                      <a:pt x="64580" y="1275207"/>
                    </a:lnTo>
                    <a:lnTo>
                      <a:pt x="64770" y="1275683"/>
                    </a:lnTo>
                    <a:lnTo>
                      <a:pt x="65056" y="1276445"/>
                    </a:lnTo>
                    <a:lnTo>
                      <a:pt x="65056" y="1276160"/>
                    </a:lnTo>
                    <a:cubicBezTo>
                      <a:pt x="65056" y="1276160"/>
                      <a:pt x="65056" y="1276445"/>
                      <a:pt x="65056" y="1276445"/>
                    </a:cubicBezTo>
                    <a:lnTo>
                      <a:pt x="65342" y="1277112"/>
                    </a:lnTo>
                    <a:lnTo>
                      <a:pt x="65532" y="1277588"/>
                    </a:lnTo>
                    <a:lnTo>
                      <a:pt x="66104" y="1279017"/>
                    </a:lnTo>
                    <a:lnTo>
                      <a:pt x="66389" y="1279684"/>
                    </a:lnTo>
                    <a:lnTo>
                      <a:pt x="66580" y="1280255"/>
                    </a:lnTo>
                    <a:lnTo>
                      <a:pt x="66961" y="1281303"/>
                    </a:lnTo>
                    <a:lnTo>
                      <a:pt x="66580" y="1280351"/>
                    </a:lnTo>
                    <a:lnTo>
                      <a:pt x="66866" y="1281017"/>
                    </a:lnTo>
                    <a:lnTo>
                      <a:pt x="67437" y="1282637"/>
                    </a:lnTo>
                    <a:lnTo>
                      <a:pt x="68580" y="1285685"/>
                    </a:lnTo>
                    <a:lnTo>
                      <a:pt x="68580" y="1285685"/>
                    </a:lnTo>
                    <a:cubicBezTo>
                      <a:pt x="68580" y="1285685"/>
                      <a:pt x="68580" y="1285875"/>
                      <a:pt x="68580" y="1285875"/>
                    </a:cubicBezTo>
                    <a:lnTo>
                      <a:pt x="68580" y="1285875"/>
                    </a:lnTo>
                    <a:cubicBezTo>
                      <a:pt x="68580" y="1285875"/>
                      <a:pt x="68580" y="1285875"/>
                      <a:pt x="68580" y="1285875"/>
                    </a:cubicBezTo>
                    <a:lnTo>
                      <a:pt x="68580" y="1286066"/>
                    </a:lnTo>
                    <a:cubicBezTo>
                      <a:pt x="68580" y="1286066"/>
                      <a:pt x="68771" y="1286351"/>
                      <a:pt x="68771" y="1286351"/>
                    </a:cubicBezTo>
                    <a:lnTo>
                      <a:pt x="68771" y="1286637"/>
                    </a:lnTo>
                    <a:cubicBezTo>
                      <a:pt x="68771" y="1286637"/>
                      <a:pt x="69247" y="1287685"/>
                      <a:pt x="69247" y="1287685"/>
                    </a:cubicBezTo>
                    <a:lnTo>
                      <a:pt x="69818" y="1289114"/>
                    </a:lnTo>
                    <a:lnTo>
                      <a:pt x="69818" y="1289114"/>
                    </a:lnTo>
                    <a:cubicBezTo>
                      <a:pt x="69818" y="1289114"/>
                      <a:pt x="70676" y="1291304"/>
                      <a:pt x="70676" y="1291304"/>
                    </a:cubicBezTo>
                    <a:lnTo>
                      <a:pt x="70390" y="1290447"/>
                    </a:lnTo>
                    <a:lnTo>
                      <a:pt x="70866" y="1291590"/>
                    </a:lnTo>
                    <a:lnTo>
                      <a:pt x="71247" y="1292543"/>
                    </a:lnTo>
                    <a:lnTo>
                      <a:pt x="71057" y="1292162"/>
                    </a:lnTo>
                    <a:lnTo>
                      <a:pt x="71247" y="1292543"/>
                    </a:lnTo>
                    <a:lnTo>
                      <a:pt x="71438" y="1293114"/>
                    </a:lnTo>
                    <a:lnTo>
                      <a:pt x="71438" y="1293114"/>
                    </a:lnTo>
                    <a:lnTo>
                      <a:pt x="71438" y="1293305"/>
                    </a:lnTo>
                    <a:lnTo>
                      <a:pt x="71628" y="1293781"/>
                    </a:lnTo>
                    <a:lnTo>
                      <a:pt x="71628" y="1293781"/>
                    </a:lnTo>
                    <a:cubicBezTo>
                      <a:pt x="71628" y="1293781"/>
                      <a:pt x="71819" y="1294257"/>
                      <a:pt x="71819" y="1294257"/>
                    </a:cubicBezTo>
                    <a:lnTo>
                      <a:pt x="71819" y="1294257"/>
                    </a:lnTo>
                    <a:cubicBezTo>
                      <a:pt x="71819" y="1294257"/>
                      <a:pt x="71819" y="1294257"/>
                      <a:pt x="71819" y="1294257"/>
                    </a:cubicBezTo>
                    <a:lnTo>
                      <a:pt x="72009" y="1294638"/>
                    </a:lnTo>
                    <a:lnTo>
                      <a:pt x="72676" y="1296353"/>
                    </a:lnTo>
                    <a:lnTo>
                      <a:pt x="73533" y="1298639"/>
                    </a:lnTo>
                    <a:lnTo>
                      <a:pt x="73533" y="1298639"/>
                    </a:lnTo>
                    <a:cubicBezTo>
                      <a:pt x="73533" y="1298639"/>
                      <a:pt x="72676" y="1296543"/>
                      <a:pt x="72676" y="1296543"/>
                    </a:cubicBezTo>
                    <a:lnTo>
                      <a:pt x="72866" y="1297114"/>
                    </a:lnTo>
                    <a:lnTo>
                      <a:pt x="73057" y="1297686"/>
                    </a:lnTo>
                    <a:lnTo>
                      <a:pt x="73057" y="1297305"/>
                    </a:lnTo>
                    <a:cubicBezTo>
                      <a:pt x="73057" y="1297305"/>
                      <a:pt x="73343" y="1298258"/>
                      <a:pt x="73343" y="1298258"/>
                    </a:cubicBezTo>
                    <a:lnTo>
                      <a:pt x="72581" y="1296448"/>
                    </a:lnTo>
                    <a:lnTo>
                      <a:pt x="72581" y="1296257"/>
                    </a:lnTo>
                    <a:cubicBezTo>
                      <a:pt x="72581" y="1296257"/>
                      <a:pt x="73533" y="1298734"/>
                      <a:pt x="73533" y="1298734"/>
                    </a:cubicBezTo>
                    <a:lnTo>
                      <a:pt x="73724" y="1299305"/>
                    </a:lnTo>
                    <a:lnTo>
                      <a:pt x="73343" y="1298258"/>
                    </a:lnTo>
                    <a:lnTo>
                      <a:pt x="73628" y="1299020"/>
                    </a:lnTo>
                    <a:lnTo>
                      <a:pt x="73628" y="1298639"/>
                    </a:lnTo>
                    <a:cubicBezTo>
                      <a:pt x="73628" y="1298639"/>
                      <a:pt x="74390" y="1300829"/>
                      <a:pt x="74390" y="1300829"/>
                    </a:cubicBezTo>
                    <a:lnTo>
                      <a:pt x="74105" y="1300163"/>
                    </a:lnTo>
                    <a:lnTo>
                      <a:pt x="74771" y="1301877"/>
                    </a:lnTo>
                    <a:lnTo>
                      <a:pt x="75343" y="1303210"/>
                    </a:lnTo>
                    <a:lnTo>
                      <a:pt x="75724" y="1304163"/>
                    </a:lnTo>
                    <a:lnTo>
                      <a:pt x="75914" y="1304639"/>
                    </a:lnTo>
                    <a:lnTo>
                      <a:pt x="76676" y="1306449"/>
                    </a:lnTo>
                    <a:lnTo>
                      <a:pt x="77343" y="1308068"/>
                    </a:lnTo>
                    <a:lnTo>
                      <a:pt x="77629" y="1308735"/>
                    </a:lnTo>
                    <a:lnTo>
                      <a:pt x="78677" y="1311402"/>
                    </a:lnTo>
                    <a:lnTo>
                      <a:pt x="78677" y="1311402"/>
                    </a:lnTo>
                    <a:cubicBezTo>
                      <a:pt x="78677" y="1311402"/>
                      <a:pt x="78772" y="1311688"/>
                      <a:pt x="78772" y="1311688"/>
                    </a:cubicBezTo>
                    <a:lnTo>
                      <a:pt x="78772" y="1311974"/>
                    </a:lnTo>
                    <a:cubicBezTo>
                      <a:pt x="78772" y="1311974"/>
                      <a:pt x="78772" y="1311593"/>
                      <a:pt x="78772" y="1311593"/>
                    </a:cubicBezTo>
                    <a:lnTo>
                      <a:pt x="80201" y="1315117"/>
                    </a:lnTo>
                    <a:lnTo>
                      <a:pt x="80201" y="1315117"/>
                    </a:lnTo>
                    <a:cubicBezTo>
                      <a:pt x="80201" y="1315117"/>
                      <a:pt x="80010" y="1314641"/>
                      <a:pt x="80010" y="1314641"/>
                    </a:cubicBezTo>
                    <a:lnTo>
                      <a:pt x="80391" y="1315498"/>
                    </a:lnTo>
                    <a:lnTo>
                      <a:pt x="81058" y="1317117"/>
                    </a:lnTo>
                    <a:lnTo>
                      <a:pt x="81058" y="1317117"/>
                    </a:lnTo>
                    <a:cubicBezTo>
                      <a:pt x="81058" y="1317117"/>
                      <a:pt x="81058" y="1317117"/>
                      <a:pt x="81058" y="1317117"/>
                    </a:cubicBezTo>
                    <a:lnTo>
                      <a:pt x="81058" y="1317308"/>
                    </a:lnTo>
                    <a:cubicBezTo>
                      <a:pt x="81058" y="1317308"/>
                      <a:pt x="81344" y="1317879"/>
                      <a:pt x="81344" y="1317879"/>
                    </a:cubicBezTo>
                    <a:lnTo>
                      <a:pt x="83058" y="1321975"/>
                    </a:lnTo>
                    <a:lnTo>
                      <a:pt x="83344" y="1322546"/>
                    </a:lnTo>
                    <a:lnTo>
                      <a:pt x="84677" y="1325785"/>
                    </a:lnTo>
                    <a:lnTo>
                      <a:pt x="84677" y="1325975"/>
                    </a:lnTo>
                    <a:cubicBezTo>
                      <a:pt x="84677" y="1325975"/>
                      <a:pt x="84773" y="1326071"/>
                      <a:pt x="84773" y="1326071"/>
                    </a:cubicBezTo>
                    <a:lnTo>
                      <a:pt x="84773" y="1326071"/>
                    </a:lnTo>
                    <a:cubicBezTo>
                      <a:pt x="84773" y="1326071"/>
                      <a:pt x="84773" y="1326261"/>
                      <a:pt x="84773" y="1326261"/>
                    </a:cubicBezTo>
                    <a:lnTo>
                      <a:pt x="84773" y="1326452"/>
                    </a:lnTo>
                    <a:cubicBezTo>
                      <a:pt x="84773" y="1326452"/>
                      <a:pt x="84963" y="1326833"/>
                      <a:pt x="84963" y="1326833"/>
                    </a:cubicBezTo>
                    <a:lnTo>
                      <a:pt x="85249" y="1327499"/>
                    </a:lnTo>
                    <a:lnTo>
                      <a:pt x="86392" y="1330262"/>
                    </a:lnTo>
                    <a:lnTo>
                      <a:pt x="85439" y="1328071"/>
                    </a:lnTo>
                    <a:lnTo>
                      <a:pt x="85439" y="1328261"/>
                    </a:lnTo>
                    <a:cubicBezTo>
                      <a:pt x="85439" y="1328261"/>
                      <a:pt x="86582" y="1330833"/>
                      <a:pt x="86582" y="1330833"/>
                    </a:cubicBezTo>
                    <a:lnTo>
                      <a:pt x="88011" y="1334072"/>
                    </a:lnTo>
                    <a:lnTo>
                      <a:pt x="89630" y="1337786"/>
                    </a:lnTo>
                    <a:lnTo>
                      <a:pt x="89821" y="1338358"/>
                    </a:lnTo>
                    <a:lnTo>
                      <a:pt x="90107" y="1338929"/>
                    </a:lnTo>
                    <a:lnTo>
                      <a:pt x="90583" y="1339977"/>
                    </a:lnTo>
                    <a:lnTo>
                      <a:pt x="90202" y="1339120"/>
                    </a:lnTo>
                    <a:lnTo>
                      <a:pt x="90202" y="1339120"/>
                    </a:lnTo>
                    <a:cubicBezTo>
                      <a:pt x="90202" y="1339120"/>
                      <a:pt x="90678" y="1340358"/>
                      <a:pt x="90678" y="1340358"/>
                    </a:cubicBezTo>
                    <a:lnTo>
                      <a:pt x="90488" y="1339977"/>
                    </a:lnTo>
                    <a:lnTo>
                      <a:pt x="90869" y="1340834"/>
                    </a:lnTo>
                    <a:lnTo>
                      <a:pt x="91154" y="1341501"/>
                    </a:lnTo>
                    <a:lnTo>
                      <a:pt x="91440" y="1342168"/>
                    </a:lnTo>
                    <a:lnTo>
                      <a:pt x="91250" y="1341787"/>
                    </a:lnTo>
                    <a:lnTo>
                      <a:pt x="91821" y="1343120"/>
                    </a:lnTo>
                    <a:lnTo>
                      <a:pt x="91821" y="1343311"/>
                    </a:lnTo>
                    <a:cubicBezTo>
                      <a:pt x="91821" y="1343311"/>
                      <a:pt x="91440" y="1342168"/>
                      <a:pt x="91440" y="1342168"/>
                    </a:cubicBezTo>
                    <a:lnTo>
                      <a:pt x="92107" y="1343597"/>
                    </a:lnTo>
                    <a:lnTo>
                      <a:pt x="93155" y="1346073"/>
                    </a:lnTo>
                    <a:lnTo>
                      <a:pt x="94583" y="1349216"/>
                    </a:lnTo>
                    <a:lnTo>
                      <a:pt x="96012" y="1352550"/>
                    </a:lnTo>
                    <a:lnTo>
                      <a:pt x="99441" y="1360170"/>
                    </a:lnTo>
                    <a:lnTo>
                      <a:pt x="95250" y="1350645"/>
                    </a:lnTo>
                    <a:lnTo>
                      <a:pt x="95250" y="1350645"/>
                    </a:lnTo>
                    <a:cubicBezTo>
                      <a:pt x="95250" y="1350645"/>
                      <a:pt x="100203" y="1361789"/>
                      <a:pt x="100203" y="1361789"/>
                    </a:cubicBezTo>
                    <a:lnTo>
                      <a:pt x="100775" y="1362932"/>
                    </a:lnTo>
                    <a:lnTo>
                      <a:pt x="100775" y="1363218"/>
                    </a:lnTo>
                    <a:cubicBezTo>
                      <a:pt x="100775" y="1363218"/>
                      <a:pt x="101441" y="1364361"/>
                      <a:pt x="101441" y="1364361"/>
                    </a:cubicBezTo>
                    <a:lnTo>
                      <a:pt x="102203" y="1366076"/>
                    </a:lnTo>
                    <a:lnTo>
                      <a:pt x="102203" y="1365790"/>
                    </a:lnTo>
                    <a:cubicBezTo>
                      <a:pt x="102203" y="1365790"/>
                      <a:pt x="101441" y="1364361"/>
                      <a:pt x="101441" y="1364361"/>
                    </a:cubicBezTo>
                    <a:lnTo>
                      <a:pt x="102108" y="1365695"/>
                    </a:lnTo>
                    <a:lnTo>
                      <a:pt x="101918" y="1365314"/>
                    </a:lnTo>
                    <a:lnTo>
                      <a:pt x="102489" y="1366647"/>
                    </a:lnTo>
                    <a:lnTo>
                      <a:pt x="102489" y="1366647"/>
                    </a:lnTo>
                    <a:cubicBezTo>
                      <a:pt x="102489" y="1366647"/>
                      <a:pt x="102489" y="1366647"/>
                      <a:pt x="102489" y="1366647"/>
                    </a:cubicBezTo>
                    <a:lnTo>
                      <a:pt x="102680" y="1367028"/>
                    </a:lnTo>
                    <a:lnTo>
                      <a:pt x="102489" y="1366552"/>
                    </a:lnTo>
                    <a:lnTo>
                      <a:pt x="102489" y="1366266"/>
                    </a:lnTo>
                    <a:cubicBezTo>
                      <a:pt x="102489" y="1366266"/>
                      <a:pt x="102680" y="1366838"/>
                      <a:pt x="102680" y="1366838"/>
                    </a:cubicBezTo>
                    <a:lnTo>
                      <a:pt x="104204" y="1370076"/>
                    </a:lnTo>
                    <a:lnTo>
                      <a:pt x="104394" y="1370457"/>
                    </a:lnTo>
                    <a:lnTo>
                      <a:pt x="105156" y="1372076"/>
                    </a:lnTo>
                    <a:lnTo>
                      <a:pt x="105442" y="1372648"/>
                    </a:lnTo>
                    <a:lnTo>
                      <a:pt x="105061" y="1371791"/>
                    </a:lnTo>
                    <a:lnTo>
                      <a:pt x="105537" y="1372934"/>
                    </a:lnTo>
                    <a:lnTo>
                      <a:pt x="106109" y="1374267"/>
                    </a:lnTo>
                    <a:lnTo>
                      <a:pt x="105347" y="1372743"/>
                    </a:lnTo>
                    <a:lnTo>
                      <a:pt x="105347" y="1372934"/>
                    </a:lnTo>
                    <a:cubicBezTo>
                      <a:pt x="105347" y="1372934"/>
                      <a:pt x="106204" y="1374743"/>
                      <a:pt x="106204" y="1374743"/>
                    </a:cubicBezTo>
                    <a:lnTo>
                      <a:pt x="106204" y="1374743"/>
                    </a:lnTo>
                    <a:cubicBezTo>
                      <a:pt x="106204" y="1374743"/>
                      <a:pt x="106299" y="1375029"/>
                      <a:pt x="106299" y="1375029"/>
                    </a:cubicBezTo>
                    <a:lnTo>
                      <a:pt x="107061" y="1376648"/>
                    </a:lnTo>
                    <a:lnTo>
                      <a:pt x="108680" y="1380173"/>
                    </a:lnTo>
                    <a:lnTo>
                      <a:pt x="109823" y="1382554"/>
                    </a:lnTo>
                    <a:lnTo>
                      <a:pt x="112205" y="1387602"/>
                    </a:lnTo>
                    <a:lnTo>
                      <a:pt x="112395" y="1387983"/>
                    </a:lnTo>
                    <a:lnTo>
                      <a:pt x="112395" y="1387983"/>
                    </a:lnTo>
                    <a:cubicBezTo>
                      <a:pt x="112395" y="1387983"/>
                      <a:pt x="112967" y="1389221"/>
                      <a:pt x="112967" y="1389221"/>
                    </a:cubicBezTo>
                    <a:lnTo>
                      <a:pt x="112967" y="1389221"/>
                    </a:lnTo>
                    <a:cubicBezTo>
                      <a:pt x="112967" y="1389221"/>
                      <a:pt x="112967" y="1389507"/>
                      <a:pt x="112967" y="1389507"/>
                    </a:cubicBezTo>
                    <a:lnTo>
                      <a:pt x="112967" y="1389507"/>
                    </a:lnTo>
                    <a:cubicBezTo>
                      <a:pt x="112967" y="1389507"/>
                      <a:pt x="113157" y="1390079"/>
                      <a:pt x="113157" y="1390079"/>
                    </a:cubicBezTo>
                    <a:lnTo>
                      <a:pt x="116300" y="1396556"/>
                    </a:lnTo>
                    <a:lnTo>
                      <a:pt x="117158" y="1398270"/>
                    </a:lnTo>
                    <a:lnTo>
                      <a:pt x="118205" y="1400366"/>
                    </a:lnTo>
                    <a:lnTo>
                      <a:pt x="117443" y="1398746"/>
                    </a:lnTo>
                    <a:lnTo>
                      <a:pt x="118777" y="1401413"/>
                    </a:lnTo>
                    <a:lnTo>
                      <a:pt x="120301" y="1404461"/>
                    </a:lnTo>
                    <a:lnTo>
                      <a:pt x="121920" y="1407700"/>
                    </a:lnTo>
                    <a:lnTo>
                      <a:pt x="124873" y="1413701"/>
                    </a:lnTo>
                    <a:lnTo>
                      <a:pt x="128492" y="1420844"/>
                    </a:lnTo>
                    <a:lnTo>
                      <a:pt x="128778" y="1421321"/>
                    </a:lnTo>
                    <a:lnTo>
                      <a:pt x="129159" y="1422083"/>
                    </a:lnTo>
                    <a:lnTo>
                      <a:pt x="129159" y="1422273"/>
                    </a:lnTo>
                    <a:cubicBezTo>
                      <a:pt x="129159" y="1422273"/>
                      <a:pt x="129349" y="1422464"/>
                      <a:pt x="129349" y="1422464"/>
                    </a:cubicBezTo>
                    <a:lnTo>
                      <a:pt x="129826" y="1423321"/>
                    </a:lnTo>
                    <a:lnTo>
                      <a:pt x="129826" y="1423511"/>
                    </a:lnTo>
                    <a:cubicBezTo>
                      <a:pt x="129826" y="1423511"/>
                      <a:pt x="130111" y="1423892"/>
                      <a:pt x="130111" y="1423892"/>
                    </a:cubicBezTo>
                    <a:lnTo>
                      <a:pt x="130588" y="1424845"/>
                    </a:lnTo>
                    <a:lnTo>
                      <a:pt x="134969" y="1433227"/>
                    </a:lnTo>
                    <a:lnTo>
                      <a:pt x="134969" y="1433036"/>
                    </a:lnTo>
                    <a:cubicBezTo>
                      <a:pt x="134969" y="1433036"/>
                      <a:pt x="134588" y="1432560"/>
                      <a:pt x="134588" y="1432560"/>
                    </a:cubicBezTo>
                    <a:lnTo>
                      <a:pt x="134874" y="1433036"/>
                    </a:lnTo>
                    <a:lnTo>
                      <a:pt x="134588" y="1432465"/>
                    </a:lnTo>
                    <a:lnTo>
                      <a:pt x="135255" y="1433703"/>
                    </a:lnTo>
                    <a:lnTo>
                      <a:pt x="135255" y="1433893"/>
                    </a:lnTo>
                    <a:cubicBezTo>
                      <a:pt x="135255" y="1433893"/>
                      <a:pt x="136017" y="1435132"/>
                      <a:pt x="136017" y="1435132"/>
                    </a:cubicBezTo>
                    <a:lnTo>
                      <a:pt x="136303" y="1435608"/>
                    </a:lnTo>
                    <a:lnTo>
                      <a:pt x="136779" y="1436560"/>
                    </a:lnTo>
                    <a:lnTo>
                      <a:pt x="136589" y="1436275"/>
                    </a:lnTo>
                    <a:lnTo>
                      <a:pt x="136589" y="1436275"/>
                    </a:lnTo>
                    <a:cubicBezTo>
                      <a:pt x="136589" y="1436275"/>
                      <a:pt x="136874" y="1437037"/>
                      <a:pt x="136874" y="1437037"/>
                    </a:cubicBezTo>
                    <a:lnTo>
                      <a:pt x="139256" y="1441418"/>
                    </a:lnTo>
                    <a:lnTo>
                      <a:pt x="140780" y="1444371"/>
                    </a:lnTo>
                    <a:lnTo>
                      <a:pt x="140970" y="1444657"/>
                    </a:lnTo>
                    <a:lnTo>
                      <a:pt x="141637" y="1445895"/>
                    </a:lnTo>
                    <a:lnTo>
                      <a:pt x="146018" y="1453801"/>
                    </a:lnTo>
                    <a:lnTo>
                      <a:pt x="147257" y="1456087"/>
                    </a:lnTo>
                    <a:lnTo>
                      <a:pt x="147638" y="1456849"/>
                    </a:lnTo>
                    <a:lnTo>
                      <a:pt x="148209" y="1457897"/>
                    </a:lnTo>
                    <a:lnTo>
                      <a:pt x="147638" y="1456849"/>
                    </a:lnTo>
                    <a:lnTo>
                      <a:pt x="148590" y="1458659"/>
                    </a:lnTo>
                    <a:lnTo>
                      <a:pt x="148971" y="1459325"/>
                    </a:lnTo>
                    <a:lnTo>
                      <a:pt x="150114" y="1461421"/>
                    </a:lnTo>
                    <a:lnTo>
                      <a:pt x="151448" y="1463897"/>
                    </a:lnTo>
                    <a:lnTo>
                      <a:pt x="151733" y="1464374"/>
                    </a:lnTo>
                    <a:lnTo>
                      <a:pt x="152114" y="1465135"/>
                    </a:lnTo>
                    <a:lnTo>
                      <a:pt x="153448" y="1467517"/>
                    </a:lnTo>
                    <a:lnTo>
                      <a:pt x="154400" y="1469136"/>
                    </a:lnTo>
                    <a:lnTo>
                      <a:pt x="155448" y="1470946"/>
                    </a:lnTo>
                    <a:lnTo>
                      <a:pt x="158686" y="1476661"/>
                    </a:lnTo>
                    <a:lnTo>
                      <a:pt x="158686" y="1476661"/>
                    </a:lnTo>
                    <a:cubicBezTo>
                      <a:pt x="158686" y="1476661"/>
                      <a:pt x="158686" y="1476661"/>
                      <a:pt x="158686" y="1476661"/>
                    </a:cubicBezTo>
                    <a:lnTo>
                      <a:pt x="159925" y="1478852"/>
                    </a:lnTo>
                    <a:lnTo>
                      <a:pt x="160496" y="1479899"/>
                    </a:lnTo>
                    <a:lnTo>
                      <a:pt x="160687" y="1480280"/>
                    </a:lnTo>
                    <a:lnTo>
                      <a:pt x="161258" y="1481328"/>
                    </a:lnTo>
                    <a:lnTo>
                      <a:pt x="161544" y="1481804"/>
                    </a:lnTo>
                    <a:lnTo>
                      <a:pt x="161830" y="1482281"/>
                    </a:lnTo>
                    <a:lnTo>
                      <a:pt x="162782" y="1483900"/>
                    </a:lnTo>
                    <a:lnTo>
                      <a:pt x="162401" y="1483328"/>
                    </a:lnTo>
                    <a:lnTo>
                      <a:pt x="170307" y="1496759"/>
                    </a:lnTo>
                    <a:lnTo>
                      <a:pt x="170117" y="1496378"/>
                    </a:lnTo>
                    <a:lnTo>
                      <a:pt x="170593" y="1497235"/>
                    </a:lnTo>
                    <a:lnTo>
                      <a:pt x="171260" y="1498378"/>
                    </a:lnTo>
                    <a:lnTo>
                      <a:pt x="171641" y="1499045"/>
                    </a:lnTo>
                    <a:lnTo>
                      <a:pt x="172212" y="1500092"/>
                    </a:lnTo>
                    <a:lnTo>
                      <a:pt x="172403" y="1500473"/>
                    </a:lnTo>
                    <a:lnTo>
                      <a:pt x="172593" y="1500854"/>
                    </a:lnTo>
                    <a:lnTo>
                      <a:pt x="173355" y="1502093"/>
                    </a:lnTo>
                    <a:lnTo>
                      <a:pt x="175641" y="1505807"/>
                    </a:lnTo>
                    <a:lnTo>
                      <a:pt x="176498" y="1507236"/>
                    </a:lnTo>
                    <a:lnTo>
                      <a:pt x="177356" y="1508665"/>
                    </a:lnTo>
                    <a:lnTo>
                      <a:pt x="179070" y="1511427"/>
                    </a:lnTo>
                    <a:lnTo>
                      <a:pt x="178880" y="1511141"/>
                    </a:lnTo>
                    <a:lnTo>
                      <a:pt x="179070" y="1511427"/>
                    </a:lnTo>
                    <a:lnTo>
                      <a:pt x="179737" y="1512570"/>
                    </a:lnTo>
                    <a:lnTo>
                      <a:pt x="180594" y="1513904"/>
                    </a:lnTo>
                    <a:lnTo>
                      <a:pt x="180404" y="1513618"/>
                    </a:lnTo>
                    <a:lnTo>
                      <a:pt x="181261" y="1515047"/>
                    </a:lnTo>
                    <a:lnTo>
                      <a:pt x="182023" y="1516285"/>
                    </a:lnTo>
                    <a:lnTo>
                      <a:pt x="181737" y="1515809"/>
                    </a:lnTo>
                    <a:lnTo>
                      <a:pt x="183642" y="1518857"/>
                    </a:lnTo>
                    <a:lnTo>
                      <a:pt x="183452" y="1518571"/>
                    </a:lnTo>
                    <a:lnTo>
                      <a:pt x="184404" y="1520000"/>
                    </a:lnTo>
                    <a:lnTo>
                      <a:pt x="184404" y="1520000"/>
                    </a:lnTo>
                    <a:cubicBezTo>
                      <a:pt x="184404" y="1520000"/>
                      <a:pt x="184404" y="1520000"/>
                      <a:pt x="184404" y="1520000"/>
                    </a:cubicBezTo>
                    <a:lnTo>
                      <a:pt x="184880" y="1520857"/>
                    </a:lnTo>
                    <a:lnTo>
                      <a:pt x="186023" y="1522762"/>
                    </a:lnTo>
                    <a:lnTo>
                      <a:pt x="186023" y="1522762"/>
                    </a:lnTo>
                    <a:cubicBezTo>
                      <a:pt x="186023" y="1522762"/>
                      <a:pt x="186214" y="1523048"/>
                      <a:pt x="186214" y="1523048"/>
                    </a:cubicBezTo>
                    <a:lnTo>
                      <a:pt x="188309" y="1526477"/>
                    </a:lnTo>
                    <a:lnTo>
                      <a:pt x="188976" y="1527524"/>
                    </a:lnTo>
                    <a:lnTo>
                      <a:pt x="188976" y="1527715"/>
                    </a:lnTo>
                    <a:cubicBezTo>
                      <a:pt x="188976" y="1527715"/>
                      <a:pt x="189071" y="1527715"/>
                      <a:pt x="189071" y="1527715"/>
                    </a:cubicBezTo>
                    <a:lnTo>
                      <a:pt x="189262" y="1528001"/>
                    </a:lnTo>
                    <a:lnTo>
                      <a:pt x="189548" y="1528477"/>
                    </a:lnTo>
                    <a:lnTo>
                      <a:pt x="191453" y="1531430"/>
                    </a:lnTo>
                    <a:lnTo>
                      <a:pt x="191167" y="1530953"/>
                    </a:lnTo>
                    <a:lnTo>
                      <a:pt x="191167" y="1531144"/>
                    </a:lnTo>
                    <a:cubicBezTo>
                      <a:pt x="191167" y="1531144"/>
                      <a:pt x="191548" y="1531620"/>
                      <a:pt x="191548" y="1531620"/>
                    </a:cubicBezTo>
                    <a:lnTo>
                      <a:pt x="191834" y="1532001"/>
                    </a:lnTo>
                    <a:lnTo>
                      <a:pt x="193262" y="1534192"/>
                    </a:lnTo>
                    <a:lnTo>
                      <a:pt x="192119" y="1532382"/>
                    </a:lnTo>
                    <a:lnTo>
                      <a:pt x="195263" y="1537240"/>
                    </a:lnTo>
                    <a:lnTo>
                      <a:pt x="196310" y="1538859"/>
                    </a:lnTo>
                    <a:lnTo>
                      <a:pt x="196501" y="1539240"/>
                    </a:lnTo>
                    <a:lnTo>
                      <a:pt x="196691" y="1539526"/>
                    </a:lnTo>
                    <a:lnTo>
                      <a:pt x="198025" y="1541526"/>
                    </a:lnTo>
                    <a:lnTo>
                      <a:pt x="198787" y="1542669"/>
                    </a:lnTo>
                    <a:lnTo>
                      <a:pt x="200216" y="1544860"/>
                    </a:lnTo>
                    <a:lnTo>
                      <a:pt x="200978" y="1545908"/>
                    </a:lnTo>
                    <a:lnTo>
                      <a:pt x="201549" y="1546765"/>
                    </a:lnTo>
                    <a:lnTo>
                      <a:pt x="202502" y="1548193"/>
                    </a:lnTo>
                    <a:lnTo>
                      <a:pt x="202787" y="1548670"/>
                    </a:lnTo>
                    <a:lnTo>
                      <a:pt x="203454" y="1549718"/>
                    </a:lnTo>
                    <a:lnTo>
                      <a:pt x="202883" y="1548860"/>
                    </a:lnTo>
                    <a:lnTo>
                      <a:pt x="206216" y="1553909"/>
                    </a:lnTo>
                    <a:lnTo>
                      <a:pt x="206788" y="1554766"/>
                    </a:lnTo>
                    <a:lnTo>
                      <a:pt x="208598" y="1557433"/>
                    </a:lnTo>
                    <a:lnTo>
                      <a:pt x="209455" y="1558766"/>
                    </a:lnTo>
                    <a:lnTo>
                      <a:pt x="209836" y="1559338"/>
                    </a:lnTo>
                    <a:lnTo>
                      <a:pt x="210503" y="1560290"/>
                    </a:lnTo>
                    <a:lnTo>
                      <a:pt x="212884" y="1563814"/>
                    </a:lnTo>
                    <a:lnTo>
                      <a:pt x="213836" y="1565243"/>
                    </a:lnTo>
                    <a:lnTo>
                      <a:pt x="215836" y="1568101"/>
                    </a:lnTo>
                    <a:lnTo>
                      <a:pt x="216313" y="1568768"/>
                    </a:lnTo>
                    <a:lnTo>
                      <a:pt x="217265" y="1570196"/>
                    </a:lnTo>
                    <a:lnTo>
                      <a:pt x="217646" y="1570863"/>
                    </a:lnTo>
                    <a:lnTo>
                      <a:pt x="217932" y="1571339"/>
                    </a:lnTo>
                    <a:lnTo>
                      <a:pt x="218789" y="1572578"/>
                    </a:lnTo>
                    <a:lnTo>
                      <a:pt x="220028" y="1574483"/>
                    </a:lnTo>
                    <a:lnTo>
                      <a:pt x="221647" y="1576864"/>
                    </a:lnTo>
                    <a:lnTo>
                      <a:pt x="224790" y="1581436"/>
                    </a:lnTo>
                    <a:lnTo>
                      <a:pt x="224981" y="1581626"/>
                    </a:lnTo>
                    <a:lnTo>
                      <a:pt x="225171" y="1581912"/>
                    </a:lnTo>
                    <a:lnTo>
                      <a:pt x="226886" y="1584293"/>
                    </a:lnTo>
                    <a:lnTo>
                      <a:pt x="227457" y="1585055"/>
                    </a:lnTo>
                    <a:lnTo>
                      <a:pt x="228219" y="1586103"/>
                    </a:lnTo>
                    <a:lnTo>
                      <a:pt x="229076" y="1587341"/>
                    </a:lnTo>
                    <a:lnTo>
                      <a:pt x="229362" y="1587722"/>
                    </a:lnTo>
                    <a:lnTo>
                      <a:pt x="230315" y="1589056"/>
                    </a:lnTo>
                    <a:lnTo>
                      <a:pt x="232124" y="1591628"/>
                    </a:lnTo>
                    <a:lnTo>
                      <a:pt x="232124" y="1591628"/>
                    </a:lnTo>
                    <a:cubicBezTo>
                      <a:pt x="232124" y="1591628"/>
                      <a:pt x="232315" y="1592009"/>
                      <a:pt x="232315" y="1592009"/>
                    </a:cubicBezTo>
                    <a:lnTo>
                      <a:pt x="232505" y="1592294"/>
                    </a:lnTo>
                    <a:lnTo>
                      <a:pt x="233077" y="1593056"/>
                    </a:lnTo>
                    <a:lnTo>
                      <a:pt x="233267" y="1593342"/>
                    </a:lnTo>
                    <a:lnTo>
                      <a:pt x="233458" y="1593628"/>
                    </a:lnTo>
                    <a:lnTo>
                      <a:pt x="233648" y="1593818"/>
                    </a:lnTo>
                    <a:lnTo>
                      <a:pt x="234410" y="1594866"/>
                    </a:lnTo>
                    <a:lnTo>
                      <a:pt x="234791" y="1595438"/>
                    </a:lnTo>
                    <a:lnTo>
                      <a:pt x="235268" y="1596104"/>
                    </a:lnTo>
                    <a:lnTo>
                      <a:pt x="237173" y="1598771"/>
                    </a:lnTo>
                    <a:lnTo>
                      <a:pt x="237173" y="1598771"/>
                    </a:lnTo>
                    <a:cubicBezTo>
                      <a:pt x="237173" y="1598771"/>
                      <a:pt x="235268" y="1596200"/>
                      <a:pt x="235268" y="1596200"/>
                    </a:cubicBezTo>
                    <a:lnTo>
                      <a:pt x="235839" y="1596962"/>
                    </a:lnTo>
                    <a:lnTo>
                      <a:pt x="234125" y="1594580"/>
                    </a:lnTo>
                    <a:lnTo>
                      <a:pt x="238792" y="1601057"/>
                    </a:lnTo>
                    <a:lnTo>
                      <a:pt x="235839" y="1596962"/>
                    </a:lnTo>
                    <a:lnTo>
                      <a:pt x="239459" y="1602010"/>
                    </a:lnTo>
                    <a:lnTo>
                      <a:pt x="243269" y="1607249"/>
                    </a:lnTo>
                    <a:lnTo>
                      <a:pt x="244126" y="1608392"/>
                    </a:lnTo>
                    <a:lnTo>
                      <a:pt x="245459" y="1610201"/>
                    </a:lnTo>
                    <a:lnTo>
                      <a:pt x="246698" y="1611821"/>
                    </a:lnTo>
                    <a:lnTo>
                      <a:pt x="246412" y="1611439"/>
                    </a:lnTo>
                    <a:lnTo>
                      <a:pt x="250412" y="1616774"/>
                    </a:lnTo>
                    <a:lnTo>
                      <a:pt x="251174" y="1617821"/>
                    </a:lnTo>
                    <a:lnTo>
                      <a:pt x="252794" y="1620012"/>
                    </a:lnTo>
                    <a:lnTo>
                      <a:pt x="251365" y="1618107"/>
                    </a:lnTo>
                    <a:lnTo>
                      <a:pt x="260033" y="1629632"/>
                    </a:lnTo>
                    <a:lnTo>
                      <a:pt x="266795" y="1638491"/>
                    </a:lnTo>
                    <a:lnTo>
                      <a:pt x="276987" y="1651540"/>
                    </a:lnTo>
                    <a:lnTo>
                      <a:pt x="290417" y="1668209"/>
                    </a:lnTo>
                    <a:lnTo>
                      <a:pt x="291084" y="1668971"/>
                    </a:lnTo>
                    <a:lnTo>
                      <a:pt x="290417" y="1668113"/>
                    </a:lnTo>
                    <a:lnTo>
                      <a:pt x="302324" y="1682115"/>
                    </a:lnTo>
                    <a:lnTo>
                      <a:pt x="302324" y="1681353"/>
                    </a:lnTo>
                    <a:cubicBezTo>
                      <a:pt x="302324" y="1681353"/>
                      <a:pt x="293942" y="1671257"/>
                      <a:pt x="293942" y="1671257"/>
                    </a:cubicBezTo>
                    <a:lnTo>
                      <a:pt x="286893" y="1659350"/>
                    </a:lnTo>
                    <a:lnTo>
                      <a:pt x="283845" y="1654112"/>
                    </a:lnTo>
                    <a:lnTo>
                      <a:pt x="278606" y="1647730"/>
                    </a:lnTo>
                    <a:lnTo>
                      <a:pt x="276701" y="1644110"/>
                    </a:lnTo>
                    <a:lnTo>
                      <a:pt x="262414" y="1622679"/>
                    </a:lnTo>
                    <a:lnTo>
                      <a:pt x="252127" y="1608010"/>
                    </a:lnTo>
                    <a:lnTo>
                      <a:pt x="247460" y="1601248"/>
                    </a:lnTo>
                    <a:lnTo>
                      <a:pt x="232886" y="1579626"/>
                    </a:lnTo>
                    <a:lnTo>
                      <a:pt x="221647" y="1563624"/>
                    </a:lnTo>
                    <a:lnTo>
                      <a:pt x="219837" y="1561719"/>
                    </a:lnTo>
                    <a:lnTo>
                      <a:pt x="204216" y="1537240"/>
                    </a:lnTo>
                    <a:lnTo>
                      <a:pt x="199835" y="1528667"/>
                    </a:lnTo>
                    <a:lnTo>
                      <a:pt x="194120" y="1516952"/>
                    </a:lnTo>
                    <a:lnTo>
                      <a:pt x="189357" y="1509141"/>
                    </a:lnTo>
                    <a:lnTo>
                      <a:pt x="190310" y="1507712"/>
                    </a:lnTo>
                    <a:lnTo>
                      <a:pt x="184404" y="1493806"/>
                    </a:lnTo>
                    <a:lnTo>
                      <a:pt x="177451" y="1479518"/>
                    </a:lnTo>
                    <a:lnTo>
                      <a:pt x="173450" y="1470946"/>
                    </a:lnTo>
                    <a:lnTo>
                      <a:pt x="167164" y="1460087"/>
                    </a:lnTo>
                    <a:lnTo>
                      <a:pt x="167926" y="1455230"/>
                    </a:lnTo>
                    <a:lnTo>
                      <a:pt x="160877" y="1438275"/>
                    </a:lnTo>
                    <a:lnTo>
                      <a:pt x="152114" y="1421130"/>
                    </a:lnTo>
                    <a:lnTo>
                      <a:pt x="150114" y="1412939"/>
                    </a:lnTo>
                    <a:lnTo>
                      <a:pt x="160782" y="1430369"/>
                    </a:lnTo>
                    <a:lnTo>
                      <a:pt x="147447" y="1404938"/>
                    </a:lnTo>
                    <a:lnTo>
                      <a:pt x="134017" y="1378458"/>
                    </a:lnTo>
                    <a:lnTo>
                      <a:pt x="132874" y="1378649"/>
                    </a:lnTo>
                    <a:lnTo>
                      <a:pt x="125921" y="1367123"/>
                    </a:lnTo>
                    <a:lnTo>
                      <a:pt x="118777" y="1350264"/>
                    </a:lnTo>
                    <a:lnTo>
                      <a:pt x="114967" y="1336929"/>
                    </a:lnTo>
                    <a:lnTo>
                      <a:pt x="104489" y="1313593"/>
                    </a:lnTo>
                    <a:lnTo>
                      <a:pt x="96393" y="1293685"/>
                    </a:lnTo>
                    <a:lnTo>
                      <a:pt x="97441" y="1292257"/>
                    </a:lnTo>
                    <a:lnTo>
                      <a:pt x="94202" y="1276826"/>
                    </a:lnTo>
                    <a:lnTo>
                      <a:pt x="88297" y="1261110"/>
                    </a:lnTo>
                    <a:lnTo>
                      <a:pt x="88583" y="1251871"/>
                    </a:lnTo>
                    <a:lnTo>
                      <a:pt x="84201" y="1244537"/>
                    </a:lnTo>
                    <a:lnTo>
                      <a:pt x="83153" y="1248442"/>
                    </a:lnTo>
                    <a:lnTo>
                      <a:pt x="71533" y="1220914"/>
                    </a:lnTo>
                    <a:lnTo>
                      <a:pt x="68675" y="1223105"/>
                    </a:lnTo>
                    <a:lnTo>
                      <a:pt x="69628" y="1230630"/>
                    </a:lnTo>
                    <a:lnTo>
                      <a:pt x="65151" y="1226439"/>
                    </a:lnTo>
                    <a:lnTo>
                      <a:pt x="61627" y="1216724"/>
                    </a:lnTo>
                    <a:lnTo>
                      <a:pt x="61817" y="1207103"/>
                    </a:lnTo>
                    <a:lnTo>
                      <a:pt x="67437" y="1216343"/>
                    </a:lnTo>
                    <a:lnTo>
                      <a:pt x="69818" y="1215866"/>
                    </a:lnTo>
                    <a:lnTo>
                      <a:pt x="69437" y="1207770"/>
                    </a:lnTo>
                    <a:lnTo>
                      <a:pt x="74390" y="1220914"/>
                    </a:lnTo>
                    <a:lnTo>
                      <a:pt x="75724" y="1221200"/>
                    </a:lnTo>
                    <a:lnTo>
                      <a:pt x="78867" y="1225010"/>
                    </a:lnTo>
                    <a:lnTo>
                      <a:pt x="78105" y="1218629"/>
                    </a:lnTo>
                    <a:lnTo>
                      <a:pt x="75724" y="1210532"/>
                    </a:lnTo>
                    <a:lnTo>
                      <a:pt x="69818" y="1200341"/>
                    </a:lnTo>
                    <a:lnTo>
                      <a:pt x="65913" y="1191863"/>
                    </a:lnTo>
                    <a:lnTo>
                      <a:pt x="58102" y="1174623"/>
                    </a:lnTo>
                    <a:lnTo>
                      <a:pt x="53245" y="1156526"/>
                    </a:lnTo>
                    <a:lnTo>
                      <a:pt x="51816" y="1155002"/>
                    </a:lnTo>
                    <a:lnTo>
                      <a:pt x="47720" y="1140524"/>
                    </a:lnTo>
                    <a:lnTo>
                      <a:pt x="42196" y="1127760"/>
                    </a:lnTo>
                    <a:lnTo>
                      <a:pt x="37529" y="1124426"/>
                    </a:lnTo>
                    <a:lnTo>
                      <a:pt x="36195" y="1124426"/>
                    </a:lnTo>
                    <a:cubicBezTo>
                      <a:pt x="36195" y="1124426"/>
                      <a:pt x="33338" y="1114997"/>
                      <a:pt x="33338" y="1114997"/>
                    </a:cubicBezTo>
                    <a:lnTo>
                      <a:pt x="26575" y="1098042"/>
                    </a:lnTo>
                    <a:lnTo>
                      <a:pt x="23908" y="1085850"/>
                    </a:lnTo>
                    <a:lnTo>
                      <a:pt x="22955" y="1076801"/>
                    </a:lnTo>
                    <a:lnTo>
                      <a:pt x="22479" y="1068896"/>
                    </a:lnTo>
                    <a:lnTo>
                      <a:pt x="20955" y="1058323"/>
                    </a:lnTo>
                    <a:lnTo>
                      <a:pt x="18478" y="1045178"/>
                    </a:lnTo>
                    <a:lnTo>
                      <a:pt x="19050" y="1045940"/>
                    </a:lnTo>
                    <a:lnTo>
                      <a:pt x="16859" y="1032891"/>
                    </a:lnTo>
                    <a:lnTo>
                      <a:pt x="14192" y="1024985"/>
                    </a:lnTo>
                    <a:lnTo>
                      <a:pt x="10954" y="1010698"/>
                    </a:lnTo>
                    <a:lnTo>
                      <a:pt x="8382" y="1000792"/>
                    </a:lnTo>
                    <a:lnTo>
                      <a:pt x="6287" y="989171"/>
                    </a:lnTo>
                    <a:lnTo>
                      <a:pt x="6287" y="982504"/>
                    </a:lnTo>
                    <a:cubicBezTo>
                      <a:pt x="6287" y="982504"/>
                      <a:pt x="5620" y="980313"/>
                      <a:pt x="5620" y="980313"/>
                    </a:cubicBezTo>
                    <a:lnTo>
                      <a:pt x="4477" y="970788"/>
                    </a:lnTo>
                    <a:lnTo>
                      <a:pt x="5334" y="971169"/>
                    </a:lnTo>
                    <a:lnTo>
                      <a:pt x="5620" y="962406"/>
                    </a:lnTo>
                    <a:lnTo>
                      <a:pt x="6001" y="950976"/>
                    </a:lnTo>
                    <a:lnTo>
                      <a:pt x="6668" y="941546"/>
                    </a:lnTo>
                    <a:lnTo>
                      <a:pt x="8382" y="935260"/>
                    </a:lnTo>
                    <a:lnTo>
                      <a:pt x="8763" y="931545"/>
                    </a:lnTo>
                    <a:lnTo>
                      <a:pt x="9906" y="930307"/>
                    </a:lnTo>
                    <a:lnTo>
                      <a:pt x="11716" y="935069"/>
                    </a:lnTo>
                    <a:lnTo>
                      <a:pt x="12859" y="933259"/>
                    </a:lnTo>
                    <a:lnTo>
                      <a:pt x="15240" y="935260"/>
                    </a:lnTo>
                    <a:lnTo>
                      <a:pt x="16193" y="938784"/>
                    </a:lnTo>
                    <a:lnTo>
                      <a:pt x="18478" y="937927"/>
                    </a:lnTo>
                    <a:lnTo>
                      <a:pt x="19717" y="936498"/>
                    </a:lnTo>
                    <a:lnTo>
                      <a:pt x="22289" y="936974"/>
                    </a:lnTo>
                    <a:lnTo>
                      <a:pt x="24860" y="939260"/>
                    </a:lnTo>
                    <a:lnTo>
                      <a:pt x="27527" y="944404"/>
                    </a:lnTo>
                    <a:lnTo>
                      <a:pt x="29432" y="941737"/>
                    </a:lnTo>
                    <a:lnTo>
                      <a:pt x="30956" y="942784"/>
                    </a:lnTo>
                    <a:lnTo>
                      <a:pt x="31814" y="944689"/>
                    </a:lnTo>
                    <a:lnTo>
                      <a:pt x="32861" y="938308"/>
                    </a:lnTo>
                    <a:lnTo>
                      <a:pt x="32861" y="929735"/>
                    </a:lnTo>
                    <a:cubicBezTo>
                      <a:pt x="32861" y="929735"/>
                      <a:pt x="33623" y="922877"/>
                      <a:pt x="33623" y="922877"/>
                    </a:cubicBezTo>
                    <a:lnTo>
                      <a:pt x="34100" y="915638"/>
                    </a:lnTo>
                    <a:lnTo>
                      <a:pt x="33909" y="911924"/>
                    </a:lnTo>
                    <a:lnTo>
                      <a:pt x="33909" y="901160"/>
                    </a:lnTo>
                    <a:cubicBezTo>
                      <a:pt x="33909" y="901160"/>
                      <a:pt x="32861" y="896588"/>
                      <a:pt x="32861" y="896588"/>
                    </a:cubicBezTo>
                    <a:lnTo>
                      <a:pt x="32194" y="890492"/>
                    </a:lnTo>
                    <a:lnTo>
                      <a:pt x="32194" y="884872"/>
                    </a:lnTo>
                    <a:cubicBezTo>
                      <a:pt x="32194" y="884872"/>
                      <a:pt x="32004" y="877443"/>
                      <a:pt x="32004" y="877443"/>
                    </a:cubicBezTo>
                    <a:lnTo>
                      <a:pt x="31052" y="874776"/>
                    </a:lnTo>
                    <a:lnTo>
                      <a:pt x="29813" y="867251"/>
                    </a:lnTo>
                    <a:lnTo>
                      <a:pt x="29051" y="856488"/>
                    </a:lnTo>
                    <a:lnTo>
                      <a:pt x="29051" y="845534"/>
                    </a:lnTo>
                    <a:cubicBezTo>
                      <a:pt x="29051" y="845534"/>
                      <a:pt x="28575" y="841915"/>
                      <a:pt x="28575" y="841915"/>
                    </a:cubicBezTo>
                    <a:lnTo>
                      <a:pt x="29051" y="839724"/>
                    </a:lnTo>
                    <a:lnTo>
                      <a:pt x="28670" y="833057"/>
                    </a:lnTo>
                    <a:lnTo>
                      <a:pt x="27337" y="827913"/>
                    </a:lnTo>
                    <a:lnTo>
                      <a:pt x="27527" y="825437"/>
                    </a:lnTo>
                    <a:lnTo>
                      <a:pt x="28194" y="818579"/>
                    </a:lnTo>
                    <a:lnTo>
                      <a:pt x="27146" y="816578"/>
                    </a:lnTo>
                    <a:lnTo>
                      <a:pt x="28194" y="808863"/>
                    </a:lnTo>
                    <a:lnTo>
                      <a:pt x="30575" y="813435"/>
                    </a:lnTo>
                    <a:lnTo>
                      <a:pt x="30861" y="817626"/>
                    </a:lnTo>
                    <a:lnTo>
                      <a:pt x="32861" y="822198"/>
                    </a:lnTo>
                    <a:lnTo>
                      <a:pt x="36481" y="824770"/>
                    </a:lnTo>
                    <a:lnTo>
                      <a:pt x="37148" y="823246"/>
                    </a:lnTo>
                    <a:lnTo>
                      <a:pt x="39815" y="825627"/>
                    </a:lnTo>
                    <a:lnTo>
                      <a:pt x="40862" y="823532"/>
                    </a:lnTo>
                    <a:lnTo>
                      <a:pt x="44196" y="827151"/>
                    </a:lnTo>
                    <a:lnTo>
                      <a:pt x="46292" y="827437"/>
                    </a:lnTo>
                    <a:lnTo>
                      <a:pt x="46292" y="823055"/>
                    </a:lnTo>
                    <a:cubicBezTo>
                      <a:pt x="46292" y="823055"/>
                      <a:pt x="47339" y="822960"/>
                      <a:pt x="47339" y="822960"/>
                    </a:cubicBezTo>
                    <a:lnTo>
                      <a:pt x="47625" y="827818"/>
                    </a:lnTo>
                    <a:lnTo>
                      <a:pt x="45815" y="833723"/>
                    </a:lnTo>
                    <a:lnTo>
                      <a:pt x="52102" y="839248"/>
                    </a:lnTo>
                    <a:lnTo>
                      <a:pt x="55721" y="842582"/>
                    </a:lnTo>
                    <a:lnTo>
                      <a:pt x="56959" y="838295"/>
                    </a:lnTo>
                    <a:lnTo>
                      <a:pt x="62294" y="843534"/>
                    </a:lnTo>
                    <a:lnTo>
                      <a:pt x="68009" y="855535"/>
                    </a:lnTo>
                    <a:lnTo>
                      <a:pt x="72295" y="856107"/>
                    </a:lnTo>
                    <a:lnTo>
                      <a:pt x="73914" y="850583"/>
                    </a:lnTo>
                    <a:lnTo>
                      <a:pt x="72485" y="836867"/>
                    </a:lnTo>
                    <a:lnTo>
                      <a:pt x="72104" y="816769"/>
                    </a:lnTo>
                    <a:lnTo>
                      <a:pt x="69628" y="792766"/>
                    </a:lnTo>
                    <a:lnTo>
                      <a:pt x="67342" y="777335"/>
                    </a:lnTo>
                    <a:lnTo>
                      <a:pt x="64865" y="773335"/>
                    </a:lnTo>
                    <a:lnTo>
                      <a:pt x="57817" y="771430"/>
                    </a:lnTo>
                    <a:lnTo>
                      <a:pt x="53150" y="765905"/>
                    </a:lnTo>
                    <a:lnTo>
                      <a:pt x="50197" y="751237"/>
                    </a:lnTo>
                    <a:lnTo>
                      <a:pt x="49244" y="736663"/>
                    </a:lnTo>
                    <a:lnTo>
                      <a:pt x="48578" y="719328"/>
                    </a:lnTo>
                    <a:lnTo>
                      <a:pt x="48768" y="701707"/>
                    </a:lnTo>
                    <a:lnTo>
                      <a:pt x="48006" y="681323"/>
                    </a:lnTo>
                    <a:lnTo>
                      <a:pt x="52007" y="672084"/>
                    </a:lnTo>
                    <a:lnTo>
                      <a:pt x="56388" y="647891"/>
                    </a:lnTo>
                    <a:lnTo>
                      <a:pt x="61246" y="639318"/>
                    </a:lnTo>
                    <a:lnTo>
                      <a:pt x="66485" y="634555"/>
                    </a:lnTo>
                    <a:lnTo>
                      <a:pt x="74486" y="620268"/>
                    </a:lnTo>
                    <a:lnTo>
                      <a:pt x="81820" y="616649"/>
                    </a:lnTo>
                    <a:lnTo>
                      <a:pt x="87059" y="610267"/>
                    </a:lnTo>
                    <a:lnTo>
                      <a:pt x="92583" y="607028"/>
                    </a:lnTo>
                    <a:lnTo>
                      <a:pt x="96869" y="609791"/>
                    </a:lnTo>
                    <a:lnTo>
                      <a:pt x="109633" y="613124"/>
                    </a:lnTo>
                    <a:lnTo>
                      <a:pt x="116396" y="617887"/>
                    </a:lnTo>
                    <a:lnTo>
                      <a:pt x="124397" y="627507"/>
                    </a:lnTo>
                    <a:lnTo>
                      <a:pt x="128492" y="623792"/>
                    </a:lnTo>
                    <a:lnTo>
                      <a:pt x="133826" y="623411"/>
                    </a:lnTo>
                    <a:lnTo>
                      <a:pt x="141351" y="624650"/>
                    </a:lnTo>
                    <a:lnTo>
                      <a:pt x="145733" y="630174"/>
                    </a:lnTo>
                    <a:lnTo>
                      <a:pt x="149733" y="642461"/>
                    </a:lnTo>
                    <a:lnTo>
                      <a:pt x="152495" y="664178"/>
                    </a:lnTo>
                    <a:lnTo>
                      <a:pt x="159544" y="684276"/>
                    </a:lnTo>
                    <a:lnTo>
                      <a:pt x="161068" y="702278"/>
                    </a:lnTo>
                    <a:lnTo>
                      <a:pt x="161068" y="715423"/>
                    </a:lnTo>
                    <a:cubicBezTo>
                      <a:pt x="161068" y="715423"/>
                      <a:pt x="157544" y="730663"/>
                      <a:pt x="157544" y="730663"/>
                    </a:cubicBezTo>
                    <a:lnTo>
                      <a:pt x="158401" y="749237"/>
                    </a:lnTo>
                    <a:lnTo>
                      <a:pt x="151733" y="764953"/>
                    </a:lnTo>
                    <a:lnTo>
                      <a:pt x="151257" y="780383"/>
                    </a:lnTo>
                    <a:lnTo>
                      <a:pt x="153543" y="788384"/>
                    </a:lnTo>
                    <a:lnTo>
                      <a:pt x="151829" y="796290"/>
                    </a:lnTo>
                    <a:lnTo>
                      <a:pt x="153448" y="800291"/>
                    </a:lnTo>
                    <a:lnTo>
                      <a:pt x="155734" y="795718"/>
                    </a:lnTo>
                    <a:lnTo>
                      <a:pt x="160592" y="796004"/>
                    </a:lnTo>
                    <a:lnTo>
                      <a:pt x="163830" y="792194"/>
                    </a:lnTo>
                    <a:lnTo>
                      <a:pt x="165830" y="800862"/>
                    </a:lnTo>
                    <a:lnTo>
                      <a:pt x="166973" y="816864"/>
                    </a:lnTo>
                    <a:lnTo>
                      <a:pt x="166307" y="835533"/>
                    </a:lnTo>
                    <a:lnTo>
                      <a:pt x="169069" y="859155"/>
                    </a:lnTo>
                    <a:lnTo>
                      <a:pt x="166973" y="872490"/>
                    </a:lnTo>
                    <a:lnTo>
                      <a:pt x="162116" y="883158"/>
                    </a:lnTo>
                    <a:lnTo>
                      <a:pt x="161830" y="886968"/>
                    </a:lnTo>
                    <a:lnTo>
                      <a:pt x="169355" y="907637"/>
                    </a:lnTo>
                    <a:lnTo>
                      <a:pt x="168402" y="916019"/>
                    </a:lnTo>
                    <a:lnTo>
                      <a:pt x="160306" y="933641"/>
                    </a:lnTo>
                    <a:lnTo>
                      <a:pt x="154686" y="940403"/>
                    </a:lnTo>
                    <a:lnTo>
                      <a:pt x="146590" y="936974"/>
                    </a:lnTo>
                    <a:lnTo>
                      <a:pt x="142589" y="940784"/>
                    </a:lnTo>
                    <a:lnTo>
                      <a:pt x="135446" y="951929"/>
                    </a:lnTo>
                    <a:lnTo>
                      <a:pt x="127921" y="964692"/>
                    </a:lnTo>
                    <a:lnTo>
                      <a:pt x="126778" y="973264"/>
                    </a:lnTo>
                    <a:lnTo>
                      <a:pt x="122777" y="977360"/>
                    </a:lnTo>
                    <a:lnTo>
                      <a:pt x="123254" y="988314"/>
                    </a:lnTo>
                    <a:lnTo>
                      <a:pt x="125635" y="994601"/>
                    </a:lnTo>
                    <a:lnTo>
                      <a:pt x="132874" y="998887"/>
                    </a:lnTo>
                    <a:lnTo>
                      <a:pt x="137160" y="999077"/>
                    </a:lnTo>
                    <a:lnTo>
                      <a:pt x="144494" y="998506"/>
                    </a:lnTo>
                    <a:lnTo>
                      <a:pt x="155639" y="986218"/>
                    </a:lnTo>
                    <a:lnTo>
                      <a:pt x="160496" y="985266"/>
                    </a:lnTo>
                    <a:lnTo>
                      <a:pt x="167164" y="974598"/>
                    </a:lnTo>
                    <a:lnTo>
                      <a:pt x="176308" y="966026"/>
                    </a:lnTo>
                    <a:lnTo>
                      <a:pt x="184214" y="961072"/>
                    </a:lnTo>
                    <a:lnTo>
                      <a:pt x="193548" y="962882"/>
                    </a:lnTo>
                    <a:lnTo>
                      <a:pt x="202597" y="971359"/>
                    </a:lnTo>
                    <a:lnTo>
                      <a:pt x="210598" y="981837"/>
                    </a:lnTo>
                    <a:lnTo>
                      <a:pt x="223076" y="1002411"/>
                    </a:lnTo>
                    <a:lnTo>
                      <a:pt x="228029" y="1004411"/>
                    </a:lnTo>
                    <a:lnTo>
                      <a:pt x="234886" y="1013555"/>
                    </a:lnTo>
                    <a:lnTo>
                      <a:pt x="237744" y="1023271"/>
                    </a:lnTo>
                    <a:lnTo>
                      <a:pt x="248412" y="1034510"/>
                    </a:lnTo>
                    <a:lnTo>
                      <a:pt x="257080" y="1053751"/>
                    </a:lnTo>
                    <a:lnTo>
                      <a:pt x="270224" y="1063562"/>
                    </a:lnTo>
                    <a:lnTo>
                      <a:pt x="283464" y="1057370"/>
                    </a:lnTo>
                    <a:lnTo>
                      <a:pt x="287846" y="1054227"/>
                    </a:lnTo>
                    <a:lnTo>
                      <a:pt x="287465" y="1048607"/>
                    </a:lnTo>
                    <a:lnTo>
                      <a:pt x="300990" y="1044416"/>
                    </a:lnTo>
                    <a:lnTo>
                      <a:pt x="302609" y="1030414"/>
                    </a:lnTo>
                    <a:lnTo>
                      <a:pt x="303276" y="1043273"/>
                    </a:lnTo>
                    <a:lnTo>
                      <a:pt x="311658" y="1037082"/>
                    </a:lnTo>
                    <a:lnTo>
                      <a:pt x="318992" y="1039082"/>
                    </a:lnTo>
                    <a:lnTo>
                      <a:pt x="307181" y="1044226"/>
                    </a:lnTo>
                    <a:lnTo>
                      <a:pt x="303943" y="1055084"/>
                    </a:lnTo>
                    <a:lnTo>
                      <a:pt x="292703" y="1051751"/>
                    </a:lnTo>
                    <a:lnTo>
                      <a:pt x="292703" y="1053656"/>
                    </a:lnTo>
                    <a:cubicBezTo>
                      <a:pt x="292703" y="1053656"/>
                      <a:pt x="306800" y="1061276"/>
                      <a:pt x="306800" y="1061276"/>
                    </a:cubicBezTo>
                    <a:lnTo>
                      <a:pt x="314039" y="1065752"/>
                    </a:lnTo>
                    <a:lnTo>
                      <a:pt x="319564" y="1064038"/>
                    </a:lnTo>
                    <a:lnTo>
                      <a:pt x="320993" y="1058799"/>
                    </a:lnTo>
                    <a:lnTo>
                      <a:pt x="328041" y="1052893"/>
                    </a:lnTo>
                    <a:lnTo>
                      <a:pt x="325850" y="1059847"/>
                    </a:lnTo>
                    <a:lnTo>
                      <a:pt x="326136" y="1064038"/>
                    </a:lnTo>
                    <a:lnTo>
                      <a:pt x="322707" y="1066419"/>
                    </a:lnTo>
                    <a:lnTo>
                      <a:pt x="337852" y="1076516"/>
                    </a:lnTo>
                    <a:lnTo>
                      <a:pt x="349758" y="1077278"/>
                    </a:lnTo>
                    <a:lnTo>
                      <a:pt x="348996" y="1071848"/>
                    </a:lnTo>
                    <a:lnTo>
                      <a:pt x="354806" y="1076039"/>
                    </a:lnTo>
                    <a:lnTo>
                      <a:pt x="352806" y="1076039"/>
                    </a:lnTo>
                    <a:cubicBezTo>
                      <a:pt x="352806" y="1076039"/>
                      <a:pt x="356140" y="1087374"/>
                      <a:pt x="356140" y="1087374"/>
                    </a:cubicBezTo>
                    <a:lnTo>
                      <a:pt x="368427" y="1110615"/>
                    </a:lnTo>
                    <a:lnTo>
                      <a:pt x="369665" y="1104519"/>
                    </a:lnTo>
                    <a:lnTo>
                      <a:pt x="358902" y="1079564"/>
                    </a:lnTo>
                    <a:lnTo>
                      <a:pt x="367760" y="1092899"/>
                    </a:lnTo>
                    <a:lnTo>
                      <a:pt x="371666" y="1102805"/>
                    </a:lnTo>
                    <a:lnTo>
                      <a:pt x="374904" y="1110139"/>
                    </a:lnTo>
                    <a:lnTo>
                      <a:pt x="381857" y="1122045"/>
                    </a:lnTo>
                    <a:lnTo>
                      <a:pt x="384429" y="1130427"/>
                    </a:lnTo>
                    <a:lnTo>
                      <a:pt x="391097" y="1141095"/>
                    </a:lnTo>
                    <a:lnTo>
                      <a:pt x="395954" y="1140905"/>
                    </a:lnTo>
                    <a:lnTo>
                      <a:pt x="397478" y="1134523"/>
                    </a:lnTo>
                    <a:lnTo>
                      <a:pt x="392525" y="1138333"/>
                    </a:lnTo>
                    <a:lnTo>
                      <a:pt x="390335" y="1131094"/>
                    </a:lnTo>
                    <a:lnTo>
                      <a:pt x="396526" y="1122617"/>
                    </a:lnTo>
                    <a:lnTo>
                      <a:pt x="404813" y="1119950"/>
                    </a:lnTo>
                    <a:lnTo>
                      <a:pt x="409289" y="1121569"/>
                    </a:lnTo>
                    <a:lnTo>
                      <a:pt x="421767" y="1127093"/>
                    </a:lnTo>
                    <a:lnTo>
                      <a:pt x="432911" y="1142714"/>
                    </a:lnTo>
                    <a:lnTo>
                      <a:pt x="444913" y="1157288"/>
                    </a:lnTo>
                    <a:lnTo>
                      <a:pt x="459677" y="1171289"/>
                    </a:lnTo>
                    <a:lnTo>
                      <a:pt x="463677" y="1166336"/>
                    </a:lnTo>
                    <a:lnTo>
                      <a:pt x="473202" y="1183005"/>
                    </a:lnTo>
                    <a:lnTo>
                      <a:pt x="485204" y="1207675"/>
                    </a:lnTo>
                    <a:lnTo>
                      <a:pt x="459772" y="1186339"/>
                    </a:lnTo>
                    <a:lnTo>
                      <a:pt x="446913" y="1192721"/>
                    </a:lnTo>
                    <a:lnTo>
                      <a:pt x="451295" y="1205484"/>
                    </a:lnTo>
                    <a:lnTo>
                      <a:pt x="470630" y="1218057"/>
                    </a:lnTo>
                    <a:lnTo>
                      <a:pt x="484442" y="1230439"/>
                    </a:lnTo>
                    <a:lnTo>
                      <a:pt x="511302" y="1259396"/>
                    </a:lnTo>
                    <a:lnTo>
                      <a:pt x="531590" y="1272159"/>
                    </a:lnTo>
                    <a:lnTo>
                      <a:pt x="531590" y="1259491"/>
                    </a:lnTo>
                    <a:cubicBezTo>
                      <a:pt x="531590" y="1259491"/>
                      <a:pt x="542258" y="1252157"/>
                      <a:pt x="542258" y="1252157"/>
                    </a:cubicBezTo>
                    <a:lnTo>
                      <a:pt x="516731" y="1247013"/>
                    </a:lnTo>
                    <a:lnTo>
                      <a:pt x="501491" y="1223296"/>
                    </a:lnTo>
                    <a:lnTo>
                      <a:pt x="499682" y="1199674"/>
                    </a:lnTo>
                    <a:lnTo>
                      <a:pt x="509397" y="1189006"/>
                    </a:lnTo>
                    <a:lnTo>
                      <a:pt x="524732" y="1176052"/>
                    </a:lnTo>
                    <a:lnTo>
                      <a:pt x="542354" y="1184624"/>
                    </a:lnTo>
                    <a:lnTo>
                      <a:pt x="544449" y="1167956"/>
                    </a:lnTo>
                    <a:lnTo>
                      <a:pt x="533019" y="1147001"/>
                    </a:lnTo>
                    <a:lnTo>
                      <a:pt x="506063" y="1121664"/>
                    </a:lnTo>
                    <a:lnTo>
                      <a:pt x="474631" y="1105281"/>
                    </a:lnTo>
                    <a:lnTo>
                      <a:pt x="467201" y="1092899"/>
                    </a:lnTo>
                    <a:lnTo>
                      <a:pt x="489109" y="1105281"/>
                    </a:lnTo>
                    <a:lnTo>
                      <a:pt x="519970" y="1118521"/>
                    </a:lnTo>
                    <a:lnTo>
                      <a:pt x="535210" y="1134237"/>
                    </a:lnTo>
                    <a:lnTo>
                      <a:pt x="552641" y="1141095"/>
                    </a:lnTo>
                    <a:lnTo>
                      <a:pt x="560451" y="1155287"/>
                    </a:lnTo>
                    <a:lnTo>
                      <a:pt x="570357" y="1176433"/>
                    </a:lnTo>
                    <a:lnTo>
                      <a:pt x="582073" y="1207960"/>
                    </a:lnTo>
                    <a:lnTo>
                      <a:pt x="597599" y="1229582"/>
                    </a:lnTo>
                    <a:lnTo>
                      <a:pt x="620840" y="1238441"/>
                    </a:lnTo>
                    <a:lnTo>
                      <a:pt x="639890" y="1256157"/>
                    </a:lnTo>
                    <a:lnTo>
                      <a:pt x="651415" y="1261586"/>
                    </a:lnTo>
                    <a:lnTo>
                      <a:pt x="663512" y="1266635"/>
                    </a:lnTo>
                    <a:lnTo>
                      <a:pt x="680942" y="1253490"/>
                    </a:lnTo>
                    <a:lnTo>
                      <a:pt x="683800" y="1244537"/>
                    </a:lnTo>
                    <a:lnTo>
                      <a:pt x="679799" y="1233678"/>
                    </a:lnTo>
                    <a:lnTo>
                      <a:pt x="690753" y="1219867"/>
                    </a:lnTo>
                    <a:lnTo>
                      <a:pt x="691325" y="1208818"/>
                    </a:lnTo>
                    <a:lnTo>
                      <a:pt x="684181" y="1187101"/>
                    </a:lnTo>
                    <a:lnTo>
                      <a:pt x="687895" y="1170623"/>
                    </a:lnTo>
                    <a:lnTo>
                      <a:pt x="689134" y="1149287"/>
                    </a:lnTo>
                    <a:lnTo>
                      <a:pt x="702945" y="1147953"/>
                    </a:lnTo>
                    <a:lnTo>
                      <a:pt x="717899" y="1123569"/>
                    </a:lnTo>
                    <a:lnTo>
                      <a:pt x="734187" y="1096899"/>
                    </a:lnTo>
                    <a:lnTo>
                      <a:pt x="746951" y="1080135"/>
                    </a:lnTo>
                    <a:lnTo>
                      <a:pt x="734663" y="1076992"/>
                    </a:lnTo>
                    <a:lnTo>
                      <a:pt x="708660" y="1075658"/>
                    </a:lnTo>
                    <a:lnTo>
                      <a:pt x="690848" y="1063181"/>
                    </a:lnTo>
                    <a:lnTo>
                      <a:pt x="698754" y="1050036"/>
                    </a:lnTo>
                    <a:lnTo>
                      <a:pt x="697611" y="1038130"/>
                    </a:lnTo>
                    <a:lnTo>
                      <a:pt x="721043" y="1024985"/>
                    </a:lnTo>
                    <a:lnTo>
                      <a:pt x="737902" y="1019080"/>
                    </a:lnTo>
                    <a:lnTo>
                      <a:pt x="732377" y="998696"/>
                    </a:lnTo>
                    <a:lnTo>
                      <a:pt x="739140" y="992696"/>
                    </a:lnTo>
                    <a:lnTo>
                      <a:pt x="746665" y="975360"/>
                    </a:lnTo>
                    <a:close/>
                    <a:moveTo>
                      <a:pt x="65818" y="1275398"/>
                    </a:moveTo>
                    <a:lnTo>
                      <a:pt x="65818" y="1275017"/>
                    </a:lnTo>
                    <a:cubicBezTo>
                      <a:pt x="65818" y="1275017"/>
                      <a:pt x="65818" y="1275588"/>
                      <a:pt x="65818" y="1275588"/>
                    </a:cubicBezTo>
                    <a:lnTo>
                      <a:pt x="66104" y="1276350"/>
                    </a:lnTo>
                    <a:lnTo>
                      <a:pt x="65913" y="1275779"/>
                    </a:lnTo>
                    <a:lnTo>
                      <a:pt x="65913" y="1275398"/>
                    </a:lnTo>
                    <a:close/>
                    <a:moveTo>
                      <a:pt x="35243" y="1185386"/>
                    </a:moveTo>
                    <a:lnTo>
                      <a:pt x="35243" y="1185386"/>
                    </a:lnTo>
                    <a:cubicBezTo>
                      <a:pt x="35243" y="1185386"/>
                      <a:pt x="35243" y="1185196"/>
                      <a:pt x="35243" y="1185196"/>
                    </a:cubicBezTo>
                    <a:lnTo>
                      <a:pt x="35243" y="1185386"/>
                    </a:lnTo>
                    <a:close/>
                    <a:moveTo>
                      <a:pt x="65246" y="1274350"/>
                    </a:moveTo>
                    <a:lnTo>
                      <a:pt x="65246" y="1274350"/>
                    </a:lnTo>
                    <a:cubicBezTo>
                      <a:pt x="65246" y="1274350"/>
                      <a:pt x="65246" y="1274445"/>
                      <a:pt x="65246" y="1274445"/>
                    </a:cubicBezTo>
                    <a:lnTo>
                      <a:pt x="65246" y="1274159"/>
                    </a:lnTo>
                    <a:cubicBezTo>
                      <a:pt x="65246" y="1274159"/>
                      <a:pt x="65246" y="1274350"/>
                      <a:pt x="65246" y="1274350"/>
                    </a:cubicBezTo>
                    <a:close/>
                    <a:moveTo>
                      <a:pt x="72009" y="1292162"/>
                    </a:moveTo>
                    <a:lnTo>
                      <a:pt x="72200" y="1292638"/>
                    </a:lnTo>
                    <a:lnTo>
                      <a:pt x="72200" y="1292257"/>
                    </a:lnTo>
                    <a:cubicBezTo>
                      <a:pt x="72200" y="1292257"/>
                      <a:pt x="71819" y="1291590"/>
                      <a:pt x="71819" y="1291590"/>
                    </a:cubicBezTo>
                    <a:lnTo>
                      <a:pt x="72009" y="1292066"/>
                    </a:lnTo>
                    <a:close/>
                    <a:moveTo>
                      <a:pt x="33623" y="1180243"/>
                    </a:moveTo>
                    <a:lnTo>
                      <a:pt x="34195" y="1182148"/>
                    </a:lnTo>
                    <a:lnTo>
                      <a:pt x="34766" y="1183958"/>
                    </a:lnTo>
                    <a:lnTo>
                      <a:pt x="34766" y="1183958"/>
                    </a:lnTo>
                    <a:cubicBezTo>
                      <a:pt x="34766" y="1183958"/>
                      <a:pt x="34862" y="1184529"/>
                      <a:pt x="34862" y="1184529"/>
                    </a:cubicBezTo>
                    <a:lnTo>
                      <a:pt x="34195" y="1182243"/>
                    </a:lnTo>
                    <a:lnTo>
                      <a:pt x="33623" y="1180243"/>
                    </a:lnTo>
                    <a:close/>
                    <a:moveTo>
                      <a:pt x="35719" y="1187387"/>
                    </a:moveTo>
                    <a:lnTo>
                      <a:pt x="35719" y="1187577"/>
                    </a:lnTo>
                    <a:cubicBezTo>
                      <a:pt x="35719" y="1187577"/>
                      <a:pt x="35814" y="1187672"/>
                      <a:pt x="35814" y="1187672"/>
                    </a:cubicBezTo>
                    <a:lnTo>
                      <a:pt x="35814" y="1187387"/>
                    </a:lnTo>
                    <a:close/>
                    <a:moveTo>
                      <a:pt x="41434" y="1206056"/>
                    </a:moveTo>
                    <a:lnTo>
                      <a:pt x="41434" y="1206056"/>
                    </a:lnTo>
                    <a:cubicBezTo>
                      <a:pt x="41434" y="1206056"/>
                      <a:pt x="41624" y="1206627"/>
                      <a:pt x="41624" y="1206627"/>
                    </a:cubicBezTo>
                    <a:lnTo>
                      <a:pt x="42005" y="1207675"/>
                    </a:lnTo>
                    <a:lnTo>
                      <a:pt x="41529" y="1206056"/>
                    </a:lnTo>
                    <a:close/>
                    <a:moveTo>
                      <a:pt x="43815" y="1213390"/>
                    </a:moveTo>
                    <a:lnTo>
                      <a:pt x="44863" y="1216628"/>
                    </a:lnTo>
                    <a:lnTo>
                      <a:pt x="45053" y="1217105"/>
                    </a:lnTo>
                    <a:lnTo>
                      <a:pt x="44482" y="1215390"/>
                    </a:lnTo>
                    <a:lnTo>
                      <a:pt x="43815" y="1213390"/>
                    </a:lnTo>
                    <a:close/>
                    <a:moveTo>
                      <a:pt x="45053" y="1217390"/>
                    </a:moveTo>
                    <a:lnTo>
                      <a:pt x="45053" y="1217009"/>
                    </a:lnTo>
                    <a:cubicBezTo>
                      <a:pt x="45053" y="1217009"/>
                      <a:pt x="45053" y="1217390"/>
                      <a:pt x="45053" y="1217390"/>
                    </a:cubicBezTo>
                    <a:lnTo>
                      <a:pt x="45053" y="1217581"/>
                    </a:lnTo>
                    <a:cubicBezTo>
                      <a:pt x="45053" y="1217581"/>
                      <a:pt x="45244" y="1218057"/>
                      <a:pt x="45244" y="1218057"/>
                    </a:cubicBezTo>
                    <a:lnTo>
                      <a:pt x="44958" y="1217295"/>
                    </a:lnTo>
                    <a:close/>
                    <a:moveTo>
                      <a:pt x="45530" y="1218724"/>
                    </a:moveTo>
                    <a:lnTo>
                      <a:pt x="45815" y="1219486"/>
                    </a:lnTo>
                    <a:lnTo>
                      <a:pt x="46006" y="1219962"/>
                    </a:lnTo>
                    <a:lnTo>
                      <a:pt x="45625" y="1218724"/>
                    </a:lnTo>
                    <a:close/>
                    <a:moveTo>
                      <a:pt x="47054" y="1223296"/>
                    </a:moveTo>
                    <a:lnTo>
                      <a:pt x="47530" y="1224725"/>
                    </a:lnTo>
                    <a:lnTo>
                      <a:pt x="47911" y="1225772"/>
                    </a:lnTo>
                    <a:lnTo>
                      <a:pt x="47054" y="1223296"/>
                    </a:lnTo>
                    <a:close/>
                    <a:moveTo>
                      <a:pt x="60008" y="1260539"/>
                    </a:moveTo>
                    <a:lnTo>
                      <a:pt x="60008" y="1260824"/>
                    </a:lnTo>
                    <a:cubicBezTo>
                      <a:pt x="60008" y="1260824"/>
                      <a:pt x="60198" y="1261015"/>
                      <a:pt x="60198" y="1261015"/>
                    </a:cubicBezTo>
                    <a:lnTo>
                      <a:pt x="60198" y="1261015"/>
                    </a:lnTo>
                    <a:cubicBezTo>
                      <a:pt x="60198" y="1261015"/>
                      <a:pt x="60008" y="1260539"/>
                      <a:pt x="60008" y="1260539"/>
                    </a:cubicBezTo>
                    <a:close/>
                    <a:moveTo>
                      <a:pt x="60579" y="1262158"/>
                    </a:moveTo>
                    <a:lnTo>
                      <a:pt x="60579" y="1262158"/>
                    </a:lnTo>
                    <a:cubicBezTo>
                      <a:pt x="60579" y="1262158"/>
                      <a:pt x="60579" y="1262158"/>
                      <a:pt x="60579" y="1262158"/>
                    </a:cubicBezTo>
                    <a:lnTo>
                      <a:pt x="60579" y="1262158"/>
                    </a:lnTo>
                    <a:close/>
                    <a:moveTo>
                      <a:pt x="66008" y="1276636"/>
                    </a:moveTo>
                    <a:lnTo>
                      <a:pt x="66485" y="1277874"/>
                    </a:lnTo>
                    <a:lnTo>
                      <a:pt x="66199" y="1277112"/>
                    </a:lnTo>
                    <a:lnTo>
                      <a:pt x="66008" y="1276636"/>
                    </a:lnTo>
                    <a:close/>
                    <a:moveTo>
                      <a:pt x="66199" y="1277112"/>
                    </a:moveTo>
                    <a:lnTo>
                      <a:pt x="66199" y="1277303"/>
                    </a:lnTo>
                    <a:cubicBezTo>
                      <a:pt x="66199" y="1277303"/>
                      <a:pt x="66389" y="1277588"/>
                      <a:pt x="66389" y="1277588"/>
                    </a:cubicBezTo>
                    <a:lnTo>
                      <a:pt x="66389" y="1277779"/>
                    </a:lnTo>
                    <a:cubicBezTo>
                      <a:pt x="66389" y="1277779"/>
                      <a:pt x="66485" y="1277874"/>
                      <a:pt x="66485" y="1277874"/>
                    </a:cubicBezTo>
                    <a:lnTo>
                      <a:pt x="66485" y="1277493"/>
                    </a:lnTo>
                    <a:cubicBezTo>
                      <a:pt x="66485" y="1277493"/>
                      <a:pt x="66199" y="1277017"/>
                      <a:pt x="66199" y="1277017"/>
                    </a:cubicBezTo>
                    <a:close/>
                    <a:moveTo>
                      <a:pt x="67056" y="1279303"/>
                    </a:moveTo>
                    <a:lnTo>
                      <a:pt x="66675" y="1278255"/>
                    </a:lnTo>
                    <a:lnTo>
                      <a:pt x="66675" y="1278446"/>
                    </a:lnTo>
                    <a:cubicBezTo>
                      <a:pt x="66675" y="1278446"/>
                      <a:pt x="68009" y="1281684"/>
                      <a:pt x="68009" y="1281684"/>
                    </a:cubicBezTo>
                    <a:lnTo>
                      <a:pt x="67818" y="1281208"/>
                    </a:lnTo>
                    <a:lnTo>
                      <a:pt x="67056" y="1279208"/>
                    </a:lnTo>
                    <a:close/>
                    <a:moveTo>
                      <a:pt x="71628" y="1291304"/>
                    </a:moveTo>
                    <a:lnTo>
                      <a:pt x="71438" y="1290733"/>
                    </a:lnTo>
                    <a:lnTo>
                      <a:pt x="71438" y="1290733"/>
                    </a:lnTo>
                    <a:cubicBezTo>
                      <a:pt x="71438" y="1290733"/>
                      <a:pt x="71723" y="1291590"/>
                      <a:pt x="71723" y="1291590"/>
                    </a:cubicBezTo>
                    <a:lnTo>
                      <a:pt x="71723" y="1291304"/>
                    </a:lnTo>
                    <a:close/>
                    <a:moveTo>
                      <a:pt x="74486" y="1298829"/>
                    </a:moveTo>
                    <a:lnTo>
                      <a:pt x="74676" y="1299210"/>
                    </a:lnTo>
                    <a:lnTo>
                      <a:pt x="74486" y="1298639"/>
                    </a:lnTo>
                    <a:lnTo>
                      <a:pt x="74486" y="1298829"/>
                    </a:lnTo>
                    <a:close/>
                    <a:moveTo>
                      <a:pt x="92012" y="1340739"/>
                    </a:moveTo>
                    <a:lnTo>
                      <a:pt x="91631" y="1339882"/>
                    </a:lnTo>
                    <a:lnTo>
                      <a:pt x="91821" y="1340263"/>
                    </a:lnTo>
                    <a:lnTo>
                      <a:pt x="92488" y="1341787"/>
                    </a:lnTo>
                    <a:lnTo>
                      <a:pt x="92012" y="1340739"/>
                    </a:lnTo>
                    <a:close/>
                    <a:moveTo>
                      <a:pt x="232315" y="1589913"/>
                    </a:moveTo>
                    <a:lnTo>
                      <a:pt x="233839" y="1592104"/>
                    </a:lnTo>
                    <a:lnTo>
                      <a:pt x="231553" y="1588865"/>
                    </a:lnTo>
                    <a:lnTo>
                      <a:pt x="232315" y="1589913"/>
                    </a:lnTo>
                    <a:close/>
                    <a:moveTo>
                      <a:pt x="137732" y="1435989"/>
                    </a:moveTo>
                    <a:lnTo>
                      <a:pt x="137732" y="1435799"/>
                    </a:lnTo>
                    <a:cubicBezTo>
                      <a:pt x="137732" y="1435799"/>
                      <a:pt x="137541" y="1435608"/>
                      <a:pt x="137541" y="1435608"/>
                    </a:cubicBezTo>
                    <a:lnTo>
                      <a:pt x="137541" y="1435608"/>
                    </a:lnTo>
                    <a:cubicBezTo>
                      <a:pt x="137541" y="1435608"/>
                      <a:pt x="137636" y="1435989"/>
                      <a:pt x="137636" y="1435989"/>
                    </a:cubicBezTo>
                    <a:close/>
                    <a:moveTo>
                      <a:pt x="209550" y="1556766"/>
                    </a:moveTo>
                    <a:lnTo>
                      <a:pt x="210312" y="1557909"/>
                    </a:lnTo>
                    <a:lnTo>
                      <a:pt x="210026" y="1557528"/>
                    </a:lnTo>
                    <a:lnTo>
                      <a:pt x="209550" y="1556766"/>
                    </a:lnTo>
                    <a:close/>
                    <a:moveTo>
                      <a:pt x="234315" y="1592771"/>
                    </a:moveTo>
                    <a:lnTo>
                      <a:pt x="234315" y="1592961"/>
                    </a:lnTo>
                    <a:cubicBezTo>
                      <a:pt x="234315" y="1592961"/>
                      <a:pt x="234410" y="1592961"/>
                      <a:pt x="234410" y="1592961"/>
                    </a:cubicBezTo>
                    <a:lnTo>
                      <a:pt x="234410" y="1592771"/>
                    </a:lnTo>
                    <a:close/>
                    <a:moveTo>
                      <a:pt x="247841" y="1611630"/>
                    </a:moveTo>
                    <a:lnTo>
                      <a:pt x="247841" y="1611630"/>
                    </a:lnTo>
                    <a:cubicBezTo>
                      <a:pt x="247841" y="1611630"/>
                      <a:pt x="247460" y="1611059"/>
                      <a:pt x="247460" y="1611059"/>
                    </a:cubicBezTo>
                    <a:lnTo>
                      <a:pt x="249365" y="1613630"/>
                    </a:lnTo>
                    <a:lnTo>
                      <a:pt x="247841" y="161153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29" name="Freeform: Shape 228">
                <a:extLst>
                  <a:ext uri="{FF2B5EF4-FFF2-40B4-BE49-F238E27FC236}">
                    <a16:creationId xmlns:a16="http://schemas.microsoft.com/office/drawing/2014/main" id="{54B5260B-DB7D-49A2-A924-7456BEAA312D}"/>
                  </a:ext>
                </a:extLst>
              </p:cNvPr>
              <p:cNvSpPr/>
              <p:nvPr/>
            </p:nvSpPr>
            <p:spPr>
              <a:xfrm>
                <a:off x="13111053" y="4601448"/>
                <a:ext cx="17049" cy="37909"/>
              </a:xfrm>
              <a:custGeom>
                <a:avLst/>
                <a:gdLst>
                  <a:gd name="connsiteX0" fmla="*/ 3524 w 17049"/>
                  <a:gd name="connsiteY0" fmla="*/ 0 h 37909"/>
                  <a:gd name="connsiteX1" fmla="*/ 0 w 17049"/>
                  <a:gd name="connsiteY1" fmla="*/ 6382 h 37909"/>
                  <a:gd name="connsiteX2" fmla="*/ 2858 w 17049"/>
                  <a:gd name="connsiteY2" fmla="*/ 28861 h 37909"/>
                  <a:gd name="connsiteX3" fmla="*/ 6763 w 17049"/>
                  <a:gd name="connsiteY3" fmla="*/ 33909 h 37909"/>
                  <a:gd name="connsiteX4" fmla="*/ 17050 w 17049"/>
                  <a:gd name="connsiteY4" fmla="*/ 37910 h 37909"/>
                  <a:gd name="connsiteX5" fmla="*/ 9430 w 17049"/>
                  <a:gd name="connsiteY5" fmla="*/ 24289 h 37909"/>
                  <a:gd name="connsiteX6" fmla="*/ 6001 w 17049"/>
                  <a:gd name="connsiteY6" fmla="*/ 12383 h 37909"/>
                  <a:gd name="connsiteX7" fmla="*/ 11240 w 17049"/>
                  <a:gd name="connsiteY7" fmla="*/ 3334 h 37909"/>
                  <a:gd name="connsiteX8" fmla="*/ 3524 w 17049"/>
                  <a:gd name="connsiteY8" fmla="*/ 0 h 3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49" h="37909">
                    <a:moveTo>
                      <a:pt x="3524" y="0"/>
                    </a:moveTo>
                    <a:lnTo>
                      <a:pt x="0" y="6382"/>
                    </a:lnTo>
                    <a:lnTo>
                      <a:pt x="2858" y="28861"/>
                    </a:lnTo>
                    <a:lnTo>
                      <a:pt x="6763" y="33909"/>
                    </a:lnTo>
                    <a:lnTo>
                      <a:pt x="17050" y="37910"/>
                    </a:lnTo>
                    <a:lnTo>
                      <a:pt x="9430" y="24289"/>
                    </a:lnTo>
                    <a:lnTo>
                      <a:pt x="6001" y="12383"/>
                    </a:lnTo>
                    <a:lnTo>
                      <a:pt x="11240" y="3334"/>
                    </a:lnTo>
                    <a:lnTo>
                      <a:pt x="3524"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30" name="Freeform: Shape 229">
                <a:extLst>
                  <a:ext uri="{FF2B5EF4-FFF2-40B4-BE49-F238E27FC236}">
                    <a16:creationId xmlns:a16="http://schemas.microsoft.com/office/drawing/2014/main" id="{A159BF95-A0EB-44C1-B067-3D10AE12C635}"/>
                  </a:ext>
                </a:extLst>
              </p:cNvPr>
              <p:cNvSpPr/>
              <p:nvPr/>
            </p:nvSpPr>
            <p:spPr>
              <a:xfrm>
                <a:off x="13168489" y="4660884"/>
                <a:ext cx="95059" cy="102774"/>
              </a:xfrm>
              <a:custGeom>
                <a:avLst/>
                <a:gdLst>
                  <a:gd name="connsiteX0" fmla="*/ 78962 w 95059"/>
                  <a:gd name="connsiteY0" fmla="*/ 5905 h 102774"/>
                  <a:gd name="connsiteX1" fmla="*/ 64770 w 95059"/>
                  <a:gd name="connsiteY1" fmla="*/ 3810 h 102774"/>
                  <a:gd name="connsiteX2" fmla="*/ 31052 w 95059"/>
                  <a:gd name="connsiteY2" fmla="*/ 5810 h 102774"/>
                  <a:gd name="connsiteX3" fmla="*/ 14573 w 95059"/>
                  <a:gd name="connsiteY3" fmla="*/ 0 h 102774"/>
                  <a:gd name="connsiteX4" fmla="*/ 14002 w 95059"/>
                  <a:gd name="connsiteY4" fmla="*/ 8668 h 102774"/>
                  <a:gd name="connsiteX5" fmla="*/ 3239 w 95059"/>
                  <a:gd name="connsiteY5" fmla="*/ 3238 h 102774"/>
                  <a:gd name="connsiteX6" fmla="*/ 0 w 95059"/>
                  <a:gd name="connsiteY6" fmla="*/ 8096 h 102774"/>
                  <a:gd name="connsiteX7" fmla="*/ 16288 w 95059"/>
                  <a:gd name="connsiteY7" fmla="*/ 35528 h 102774"/>
                  <a:gd name="connsiteX8" fmla="*/ 26860 w 95059"/>
                  <a:gd name="connsiteY8" fmla="*/ 49721 h 102774"/>
                  <a:gd name="connsiteX9" fmla="*/ 32099 w 95059"/>
                  <a:gd name="connsiteY9" fmla="*/ 65246 h 102774"/>
                  <a:gd name="connsiteX10" fmla="*/ 18574 w 95059"/>
                  <a:gd name="connsiteY10" fmla="*/ 60293 h 102774"/>
                  <a:gd name="connsiteX11" fmla="*/ 23622 w 95059"/>
                  <a:gd name="connsiteY11" fmla="*/ 68866 h 102774"/>
                  <a:gd name="connsiteX12" fmla="*/ 47434 w 95059"/>
                  <a:gd name="connsiteY12" fmla="*/ 75533 h 102774"/>
                  <a:gd name="connsiteX13" fmla="*/ 48196 w 95059"/>
                  <a:gd name="connsiteY13" fmla="*/ 80581 h 102774"/>
                  <a:gd name="connsiteX14" fmla="*/ 34290 w 95059"/>
                  <a:gd name="connsiteY14" fmla="*/ 86296 h 102774"/>
                  <a:gd name="connsiteX15" fmla="*/ 38005 w 95059"/>
                  <a:gd name="connsiteY15" fmla="*/ 97155 h 102774"/>
                  <a:gd name="connsiteX16" fmla="*/ 43148 w 95059"/>
                  <a:gd name="connsiteY16" fmla="*/ 102775 h 102774"/>
                  <a:gd name="connsiteX17" fmla="*/ 59817 w 95059"/>
                  <a:gd name="connsiteY17" fmla="*/ 98870 h 102774"/>
                  <a:gd name="connsiteX18" fmla="*/ 65723 w 95059"/>
                  <a:gd name="connsiteY18" fmla="*/ 88011 h 102774"/>
                  <a:gd name="connsiteX19" fmla="*/ 72200 w 95059"/>
                  <a:gd name="connsiteY19" fmla="*/ 80581 h 102774"/>
                  <a:gd name="connsiteX20" fmla="*/ 62960 w 95059"/>
                  <a:gd name="connsiteY20" fmla="*/ 73342 h 102774"/>
                  <a:gd name="connsiteX21" fmla="*/ 76771 w 95059"/>
                  <a:gd name="connsiteY21" fmla="*/ 69437 h 102774"/>
                  <a:gd name="connsiteX22" fmla="*/ 72009 w 95059"/>
                  <a:gd name="connsiteY22" fmla="*/ 53245 h 102774"/>
                  <a:gd name="connsiteX23" fmla="*/ 64103 w 95059"/>
                  <a:gd name="connsiteY23" fmla="*/ 49911 h 102774"/>
                  <a:gd name="connsiteX24" fmla="*/ 60293 w 95059"/>
                  <a:gd name="connsiteY24" fmla="*/ 35433 h 102774"/>
                  <a:gd name="connsiteX25" fmla="*/ 68771 w 95059"/>
                  <a:gd name="connsiteY25" fmla="*/ 36385 h 102774"/>
                  <a:gd name="connsiteX26" fmla="*/ 66199 w 95059"/>
                  <a:gd name="connsiteY26" fmla="*/ 25432 h 102774"/>
                  <a:gd name="connsiteX27" fmla="*/ 55340 w 95059"/>
                  <a:gd name="connsiteY27" fmla="*/ 20383 h 102774"/>
                  <a:gd name="connsiteX28" fmla="*/ 74676 w 95059"/>
                  <a:gd name="connsiteY28" fmla="*/ 19907 h 102774"/>
                  <a:gd name="connsiteX29" fmla="*/ 89154 w 95059"/>
                  <a:gd name="connsiteY29" fmla="*/ 20002 h 102774"/>
                  <a:gd name="connsiteX30" fmla="*/ 95059 w 95059"/>
                  <a:gd name="connsiteY30" fmla="*/ 19526 h 102774"/>
                  <a:gd name="connsiteX31" fmla="*/ 91821 w 95059"/>
                  <a:gd name="connsiteY31" fmla="*/ 13240 h 102774"/>
                  <a:gd name="connsiteX32" fmla="*/ 78962 w 95059"/>
                  <a:gd name="connsiteY32" fmla="*/ 5905 h 10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5059" h="102774">
                    <a:moveTo>
                      <a:pt x="78962" y="5905"/>
                    </a:moveTo>
                    <a:lnTo>
                      <a:pt x="64770" y="3810"/>
                    </a:lnTo>
                    <a:lnTo>
                      <a:pt x="31052" y="5810"/>
                    </a:lnTo>
                    <a:lnTo>
                      <a:pt x="14573" y="0"/>
                    </a:lnTo>
                    <a:lnTo>
                      <a:pt x="14002" y="8668"/>
                    </a:lnTo>
                    <a:lnTo>
                      <a:pt x="3239" y="3238"/>
                    </a:lnTo>
                    <a:lnTo>
                      <a:pt x="0" y="8096"/>
                    </a:lnTo>
                    <a:lnTo>
                      <a:pt x="16288" y="35528"/>
                    </a:lnTo>
                    <a:lnTo>
                      <a:pt x="26860" y="49721"/>
                    </a:lnTo>
                    <a:lnTo>
                      <a:pt x="32099" y="65246"/>
                    </a:lnTo>
                    <a:lnTo>
                      <a:pt x="18574" y="60293"/>
                    </a:lnTo>
                    <a:lnTo>
                      <a:pt x="23622" y="68866"/>
                    </a:lnTo>
                    <a:lnTo>
                      <a:pt x="47434" y="75533"/>
                    </a:lnTo>
                    <a:lnTo>
                      <a:pt x="48196" y="80581"/>
                    </a:lnTo>
                    <a:lnTo>
                      <a:pt x="34290" y="86296"/>
                    </a:lnTo>
                    <a:lnTo>
                      <a:pt x="38005" y="97155"/>
                    </a:lnTo>
                    <a:lnTo>
                      <a:pt x="43148" y="102775"/>
                    </a:lnTo>
                    <a:lnTo>
                      <a:pt x="59817" y="98870"/>
                    </a:lnTo>
                    <a:lnTo>
                      <a:pt x="65723" y="88011"/>
                    </a:lnTo>
                    <a:lnTo>
                      <a:pt x="72200" y="80581"/>
                    </a:lnTo>
                    <a:lnTo>
                      <a:pt x="62960" y="73342"/>
                    </a:lnTo>
                    <a:lnTo>
                      <a:pt x="76771" y="69437"/>
                    </a:lnTo>
                    <a:lnTo>
                      <a:pt x="72009" y="53245"/>
                    </a:lnTo>
                    <a:lnTo>
                      <a:pt x="64103" y="49911"/>
                    </a:lnTo>
                    <a:lnTo>
                      <a:pt x="60293" y="35433"/>
                    </a:lnTo>
                    <a:lnTo>
                      <a:pt x="68771" y="36385"/>
                    </a:lnTo>
                    <a:lnTo>
                      <a:pt x="66199" y="25432"/>
                    </a:lnTo>
                    <a:lnTo>
                      <a:pt x="55340" y="20383"/>
                    </a:lnTo>
                    <a:lnTo>
                      <a:pt x="74676" y="19907"/>
                    </a:lnTo>
                    <a:lnTo>
                      <a:pt x="89154" y="20002"/>
                    </a:lnTo>
                    <a:lnTo>
                      <a:pt x="95059" y="19526"/>
                    </a:lnTo>
                    <a:lnTo>
                      <a:pt x="91821" y="13240"/>
                    </a:lnTo>
                    <a:lnTo>
                      <a:pt x="78962" y="590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31" name="Freeform: Shape 230">
                <a:extLst>
                  <a:ext uri="{FF2B5EF4-FFF2-40B4-BE49-F238E27FC236}">
                    <a16:creationId xmlns:a16="http://schemas.microsoft.com/office/drawing/2014/main" id="{37B22AB3-B11A-479E-9BD1-7A3C8ECC0287}"/>
                  </a:ext>
                </a:extLst>
              </p:cNvPr>
              <p:cNvSpPr/>
              <p:nvPr/>
            </p:nvSpPr>
            <p:spPr>
              <a:xfrm>
                <a:off x="13163917" y="4574968"/>
                <a:ext cx="10858" cy="44767"/>
              </a:xfrm>
              <a:custGeom>
                <a:avLst/>
                <a:gdLst>
                  <a:gd name="connsiteX0" fmla="*/ 10858 w 10858"/>
                  <a:gd name="connsiteY0" fmla="*/ 42767 h 44767"/>
                  <a:gd name="connsiteX1" fmla="*/ 10192 w 10858"/>
                  <a:gd name="connsiteY1" fmla="*/ 24765 h 44767"/>
                  <a:gd name="connsiteX2" fmla="*/ 5143 w 10858"/>
                  <a:gd name="connsiteY2" fmla="*/ 4191 h 44767"/>
                  <a:gd name="connsiteX3" fmla="*/ 1429 w 10858"/>
                  <a:gd name="connsiteY3" fmla="*/ 0 h 44767"/>
                  <a:gd name="connsiteX4" fmla="*/ 0 w 10858"/>
                  <a:gd name="connsiteY4" fmla="*/ 17050 h 44767"/>
                  <a:gd name="connsiteX5" fmla="*/ 4191 w 10858"/>
                  <a:gd name="connsiteY5" fmla="*/ 38005 h 44767"/>
                  <a:gd name="connsiteX6" fmla="*/ 8096 w 10858"/>
                  <a:gd name="connsiteY6" fmla="*/ 44767 h 44767"/>
                  <a:gd name="connsiteX7" fmla="*/ 10858 w 10858"/>
                  <a:gd name="connsiteY7" fmla="*/ 42767 h 44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58" h="44767">
                    <a:moveTo>
                      <a:pt x="10858" y="42767"/>
                    </a:moveTo>
                    <a:lnTo>
                      <a:pt x="10192" y="24765"/>
                    </a:lnTo>
                    <a:lnTo>
                      <a:pt x="5143" y="4191"/>
                    </a:lnTo>
                    <a:lnTo>
                      <a:pt x="1429" y="0"/>
                    </a:lnTo>
                    <a:lnTo>
                      <a:pt x="0" y="17050"/>
                    </a:lnTo>
                    <a:lnTo>
                      <a:pt x="4191" y="38005"/>
                    </a:lnTo>
                    <a:lnTo>
                      <a:pt x="8096" y="44767"/>
                    </a:lnTo>
                    <a:lnTo>
                      <a:pt x="10858" y="4276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32" name="Freeform: Shape 231">
                <a:extLst>
                  <a:ext uri="{FF2B5EF4-FFF2-40B4-BE49-F238E27FC236}">
                    <a16:creationId xmlns:a16="http://schemas.microsoft.com/office/drawing/2014/main" id="{4D12A009-9F43-4CBE-9874-429FEA7EDE22}"/>
                  </a:ext>
                </a:extLst>
              </p:cNvPr>
              <p:cNvSpPr/>
              <p:nvPr/>
            </p:nvSpPr>
            <p:spPr>
              <a:xfrm>
                <a:off x="13333271" y="3618849"/>
                <a:ext cx="48387" cy="24002"/>
              </a:xfrm>
              <a:custGeom>
                <a:avLst/>
                <a:gdLst>
                  <a:gd name="connsiteX0" fmla="*/ 33909 w 48387"/>
                  <a:gd name="connsiteY0" fmla="*/ 24003 h 24002"/>
                  <a:gd name="connsiteX1" fmla="*/ 41910 w 48387"/>
                  <a:gd name="connsiteY1" fmla="*/ 12763 h 24002"/>
                  <a:gd name="connsiteX2" fmla="*/ 48387 w 48387"/>
                  <a:gd name="connsiteY2" fmla="*/ 9620 h 24002"/>
                  <a:gd name="connsiteX3" fmla="*/ 44387 w 48387"/>
                  <a:gd name="connsiteY3" fmla="*/ 4667 h 24002"/>
                  <a:gd name="connsiteX4" fmla="*/ 36290 w 48387"/>
                  <a:gd name="connsiteY4" fmla="*/ 762 h 24002"/>
                  <a:gd name="connsiteX5" fmla="*/ 26860 w 48387"/>
                  <a:gd name="connsiteY5" fmla="*/ 2000 h 24002"/>
                  <a:gd name="connsiteX6" fmla="*/ 16574 w 48387"/>
                  <a:gd name="connsiteY6" fmla="*/ 0 h 24002"/>
                  <a:gd name="connsiteX7" fmla="*/ 4001 w 48387"/>
                  <a:gd name="connsiteY7" fmla="*/ 762 h 24002"/>
                  <a:gd name="connsiteX8" fmla="*/ 0 w 48387"/>
                  <a:gd name="connsiteY8" fmla="*/ 5239 h 24002"/>
                  <a:gd name="connsiteX9" fmla="*/ 20193 w 48387"/>
                  <a:gd name="connsiteY9" fmla="*/ 5906 h 24002"/>
                  <a:gd name="connsiteX10" fmla="*/ 33909 w 48387"/>
                  <a:gd name="connsiteY10" fmla="*/ 24003 h 2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87" h="24002">
                    <a:moveTo>
                      <a:pt x="33909" y="24003"/>
                    </a:moveTo>
                    <a:lnTo>
                      <a:pt x="41910" y="12763"/>
                    </a:lnTo>
                    <a:lnTo>
                      <a:pt x="48387" y="9620"/>
                    </a:lnTo>
                    <a:lnTo>
                      <a:pt x="44387" y="4667"/>
                    </a:lnTo>
                    <a:lnTo>
                      <a:pt x="36290" y="762"/>
                    </a:lnTo>
                    <a:lnTo>
                      <a:pt x="26860" y="2000"/>
                    </a:lnTo>
                    <a:lnTo>
                      <a:pt x="16574" y="0"/>
                    </a:lnTo>
                    <a:lnTo>
                      <a:pt x="4001" y="762"/>
                    </a:lnTo>
                    <a:lnTo>
                      <a:pt x="0" y="5239"/>
                    </a:lnTo>
                    <a:lnTo>
                      <a:pt x="20193" y="5906"/>
                    </a:lnTo>
                    <a:lnTo>
                      <a:pt x="33909" y="2400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33" name="Freeform: Shape 232">
                <a:extLst>
                  <a:ext uri="{FF2B5EF4-FFF2-40B4-BE49-F238E27FC236}">
                    <a16:creationId xmlns:a16="http://schemas.microsoft.com/office/drawing/2014/main" id="{6FB90646-E370-44B6-91F2-3F9B41775425}"/>
                  </a:ext>
                </a:extLst>
              </p:cNvPr>
              <p:cNvSpPr/>
              <p:nvPr/>
            </p:nvSpPr>
            <p:spPr>
              <a:xfrm>
                <a:off x="13206398" y="3634374"/>
                <a:ext cx="78867" cy="42862"/>
              </a:xfrm>
              <a:custGeom>
                <a:avLst/>
                <a:gdLst>
                  <a:gd name="connsiteX0" fmla="*/ 0 w 78867"/>
                  <a:gd name="connsiteY0" fmla="*/ 42672 h 42862"/>
                  <a:gd name="connsiteX1" fmla="*/ 12097 w 78867"/>
                  <a:gd name="connsiteY1" fmla="*/ 42863 h 42862"/>
                  <a:gd name="connsiteX2" fmla="*/ 27432 w 78867"/>
                  <a:gd name="connsiteY2" fmla="*/ 34004 h 42862"/>
                  <a:gd name="connsiteX3" fmla="*/ 39053 w 78867"/>
                  <a:gd name="connsiteY3" fmla="*/ 32766 h 42862"/>
                  <a:gd name="connsiteX4" fmla="*/ 47435 w 78867"/>
                  <a:gd name="connsiteY4" fmla="*/ 32195 h 42862"/>
                  <a:gd name="connsiteX5" fmla="*/ 57626 w 78867"/>
                  <a:gd name="connsiteY5" fmla="*/ 21527 h 42862"/>
                  <a:gd name="connsiteX6" fmla="*/ 65627 w 78867"/>
                  <a:gd name="connsiteY6" fmla="*/ 15716 h 42862"/>
                  <a:gd name="connsiteX7" fmla="*/ 78867 w 78867"/>
                  <a:gd name="connsiteY7" fmla="*/ 5429 h 42862"/>
                  <a:gd name="connsiteX8" fmla="*/ 76295 w 78867"/>
                  <a:gd name="connsiteY8" fmla="*/ 1619 h 42862"/>
                  <a:gd name="connsiteX9" fmla="*/ 64580 w 78867"/>
                  <a:gd name="connsiteY9" fmla="*/ 0 h 42862"/>
                  <a:gd name="connsiteX10" fmla="*/ 52007 w 78867"/>
                  <a:gd name="connsiteY10" fmla="*/ 10858 h 42862"/>
                  <a:gd name="connsiteX11" fmla="*/ 46101 w 78867"/>
                  <a:gd name="connsiteY11" fmla="*/ 9906 h 42862"/>
                  <a:gd name="connsiteX12" fmla="*/ 32480 w 78867"/>
                  <a:gd name="connsiteY12" fmla="*/ 17526 h 42862"/>
                  <a:gd name="connsiteX13" fmla="*/ 24384 w 78867"/>
                  <a:gd name="connsiteY13" fmla="*/ 17526 h 42862"/>
                  <a:gd name="connsiteX14" fmla="*/ 2381 w 78867"/>
                  <a:gd name="connsiteY14" fmla="*/ 34576 h 42862"/>
                  <a:gd name="connsiteX15" fmla="*/ 0 w 78867"/>
                  <a:gd name="connsiteY15" fmla="*/ 42672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867" h="42862">
                    <a:moveTo>
                      <a:pt x="0" y="42672"/>
                    </a:moveTo>
                    <a:lnTo>
                      <a:pt x="12097" y="42863"/>
                    </a:lnTo>
                    <a:lnTo>
                      <a:pt x="27432" y="34004"/>
                    </a:lnTo>
                    <a:lnTo>
                      <a:pt x="39053" y="32766"/>
                    </a:lnTo>
                    <a:lnTo>
                      <a:pt x="47435" y="32195"/>
                    </a:lnTo>
                    <a:lnTo>
                      <a:pt x="57626" y="21527"/>
                    </a:lnTo>
                    <a:lnTo>
                      <a:pt x="65627" y="15716"/>
                    </a:lnTo>
                    <a:lnTo>
                      <a:pt x="78867" y="5429"/>
                    </a:lnTo>
                    <a:lnTo>
                      <a:pt x="76295" y="1619"/>
                    </a:lnTo>
                    <a:lnTo>
                      <a:pt x="64580" y="0"/>
                    </a:lnTo>
                    <a:lnTo>
                      <a:pt x="52007" y="10858"/>
                    </a:lnTo>
                    <a:lnTo>
                      <a:pt x="46101" y="9906"/>
                    </a:lnTo>
                    <a:lnTo>
                      <a:pt x="32480" y="17526"/>
                    </a:lnTo>
                    <a:lnTo>
                      <a:pt x="24384" y="17526"/>
                    </a:lnTo>
                    <a:lnTo>
                      <a:pt x="2381" y="34576"/>
                    </a:lnTo>
                    <a:lnTo>
                      <a:pt x="0" y="4267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34" name="Freeform: Shape 233">
                <a:extLst>
                  <a:ext uri="{FF2B5EF4-FFF2-40B4-BE49-F238E27FC236}">
                    <a16:creationId xmlns:a16="http://schemas.microsoft.com/office/drawing/2014/main" id="{513DFB6A-A757-44B1-89DE-1AB714AEA035}"/>
                  </a:ext>
                </a:extLst>
              </p:cNvPr>
              <p:cNvSpPr/>
              <p:nvPr/>
            </p:nvSpPr>
            <p:spPr>
              <a:xfrm>
                <a:off x="13534153" y="4097004"/>
                <a:ext cx="61341" cy="43148"/>
              </a:xfrm>
              <a:custGeom>
                <a:avLst/>
                <a:gdLst>
                  <a:gd name="connsiteX0" fmla="*/ 33909 w 61341"/>
                  <a:gd name="connsiteY0" fmla="*/ 0 h 43148"/>
                  <a:gd name="connsiteX1" fmla="*/ 12668 w 61341"/>
                  <a:gd name="connsiteY1" fmla="*/ 14668 h 43148"/>
                  <a:gd name="connsiteX2" fmla="*/ 3048 w 61341"/>
                  <a:gd name="connsiteY2" fmla="*/ 18479 h 43148"/>
                  <a:gd name="connsiteX3" fmla="*/ 0 w 61341"/>
                  <a:gd name="connsiteY3" fmla="*/ 25622 h 43148"/>
                  <a:gd name="connsiteX4" fmla="*/ 7239 w 61341"/>
                  <a:gd name="connsiteY4" fmla="*/ 39338 h 43148"/>
                  <a:gd name="connsiteX5" fmla="*/ 27813 w 61341"/>
                  <a:gd name="connsiteY5" fmla="*/ 43148 h 43148"/>
                  <a:gd name="connsiteX6" fmla="*/ 39148 w 61341"/>
                  <a:gd name="connsiteY6" fmla="*/ 33528 h 43148"/>
                  <a:gd name="connsiteX7" fmla="*/ 49340 w 61341"/>
                  <a:gd name="connsiteY7" fmla="*/ 41529 h 43148"/>
                  <a:gd name="connsiteX8" fmla="*/ 56293 w 61341"/>
                  <a:gd name="connsiteY8" fmla="*/ 40672 h 43148"/>
                  <a:gd name="connsiteX9" fmla="*/ 55150 w 61341"/>
                  <a:gd name="connsiteY9" fmla="*/ 28099 h 43148"/>
                  <a:gd name="connsiteX10" fmla="*/ 61341 w 61341"/>
                  <a:gd name="connsiteY10" fmla="*/ 20955 h 43148"/>
                  <a:gd name="connsiteX11" fmla="*/ 51816 w 61341"/>
                  <a:gd name="connsiteY11" fmla="*/ 10763 h 43148"/>
                  <a:gd name="connsiteX12" fmla="*/ 35338 w 61341"/>
                  <a:gd name="connsiteY12" fmla="*/ 15621 h 43148"/>
                  <a:gd name="connsiteX13" fmla="*/ 41053 w 61341"/>
                  <a:gd name="connsiteY13" fmla="*/ 1714 h 43148"/>
                  <a:gd name="connsiteX14" fmla="*/ 33909 w 61341"/>
                  <a:gd name="connsiteY14" fmla="*/ 0 h 43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341" h="43148">
                    <a:moveTo>
                      <a:pt x="33909" y="0"/>
                    </a:moveTo>
                    <a:lnTo>
                      <a:pt x="12668" y="14668"/>
                    </a:lnTo>
                    <a:lnTo>
                      <a:pt x="3048" y="18479"/>
                    </a:lnTo>
                    <a:lnTo>
                      <a:pt x="0" y="25622"/>
                    </a:lnTo>
                    <a:lnTo>
                      <a:pt x="7239" y="39338"/>
                    </a:lnTo>
                    <a:lnTo>
                      <a:pt x="27813" y="43148"/>
                    </a:lnTo>
                    <a:lnTo>
                      <a:pt x="39148" y="33528"/>
                    </a:lnTo>
                    <a:lnTo>
                      <a:pt x="49340" y="41529"/>
                    </a:lnTo>
                    <a:lnTo>
                      <a:pt x="56293" y="40672"/>
                    </a:lnTo>
                    <a:lnTo>
                      <a:pt x="55150" y="28099"/>
                    </a:lnTo>
                    <a:lnTo>
                      <a:pt x="61341" y="20955"/>
                    </a:lnTo>
                    <a:lnTo>
                      <a:pt x="51816" y="10763"/>
                    </a:lnTo>
                    <a:lnTo>
                      <a:pt x="35338" y="15621"/>
                    </a:lnTo>
                    <a:lnTo>
                      <a:pt x="41053" y="1714"/>
                    </a:lnTo>
                    <a:lnTo>
                      <a:pt x="33909"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35" name="Freeform: Shape 234">
                <a:extLst>
                  <a:ext uri="{FF2B5EF4-FFF2-40B4-BE49-F238E27FC236}">
                    <a16:creationId xmlns:a16="http://schemas.microsoft.com/office/drawing/2014/main" id="{43BFE915-0932-45A1-8E7E-CC0FBDBCBDB0}"/>
                  </a:ext>
                </a:extLst>
              </p:cNvPr>
              <p:cNvSpPr/>
              <p:nvPr/>
            </p:nvSpPr>
            <p:spPr>
              <a:xfrm>
                <a:off x="13695602" y="4069286"/>
                <a:ext cx="15430" cy="19907"/>
              </a:xfrm>
              <a:custGeom>
                <a:avLst/>
                <a:gdLst>
                  <a:gd name="connsiteX0" fmla="*/ 14954 w 15430"/>
                  <a:gd name="connsiteY0" fmla="*/ 14573 h 19907"/>
                  <a:gd name="connsiteX1" fmla="*/ 15431 w 15430"/>
                  <a:gd name="connsiteY1" fmla="*/ 6858 h 19907"/>
                  <a:gd name="connsiteX2" fmla="*/ 10097 w 15430"/>
                  <a:gd name="connsiteY2" fmla="*/ 0 h 19907"/>
                  <a:gd name="connsiteX3" fmla="*/ 0 w 15430"/>
                  <a:gd name="connsiteY3" fmla="*/ 4286 h 19907"/>
                  <a:gd name="connsiteX4" fmla="*/ 2858 w 15430"/>
                  <a:gd name="connsiteY4" fmla="*/ 15812 h 19907"/>
                  <a:gd name="connsiteX5" fmla="*/ 8954 w 15430"/>
                  <a:gd name="connsiteY5" fmla="*/ 19907 h 19907"/>
                  <a:gd name="connsiteX6" fmla="*/ 14954 w 15430"/>
                  <a:gd name="connsiteY6" fmla="*/ 14573 h 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30" h="19907">
                    <a:moveTo>
                      <a:pt x="14954" y="14573"/>
                    </a:moveTo>
                    <a:lnTo>
                      <a:pt x="15431" y="6858"/>
                    </a:lnTo>
                    <a:lnTo>
                      <a:pt x="10097" y="0"/>
                    </a:lnTo>
                    <a:lnTo>
                      <a:pt x="0" y="4286"/>
                    </a:lnTo>
                    <a:lnTo>
                      <a:pt x="2858" y="15812"/>
                    </a:lnTo>
                    <a:lnTo>
                      <a:pt x="8954" y="19907"/>
                    </a:lnTo>
                    <a:lnTo>
                      <a:pt x="14954" y="1457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36" name="Freeform: Shape 235">
                <a:extLst>
                  <a:ext uri="{FF2B5EF4-FFF2-40B4-BE49-F238E27FC236}">
                    <a16:creationId xmlns:a16="http://schemas.microsoft.com/office/drawing/2014/main" id="{51399A27-030E-4D90-94A2-6F5C5FD6A5A1}"/>
                  </a:ext>
                </a:extLst>
              </p:cNvPr>
              <p:cNvSpPr/>
              <p:nvPr/>
            </p:nvSpPr>
            <p:spPr>
              <a:xfrm>
                <a:off x="13692554" y="4159869"/>
                <a:ext cx="73152" cy="46767"/>
              </a:xfrm>
              <a:custGeom>
                <a:avLst/>
                <a:gdLst>
                  <a:gd name="connsiteX0" fmla="*/ 20002 w 73152"/>
                  <a:gd name="connsiteY0" fmla="*/ 40958 h 46767"/>
                  <a:gd name="connsiteX1" fmla="*/ 27527 w 73152"/>
                  <a:gd name="connsiteY1" fmla="*/ 46768 h 46767"/>
                  <a:gd name="connsiteX2" fmla="*/ 34862 w 73152"/>
                  <a:gd name="connsiteY2" fmla="*/ 40958 h 46767"/>
                  <a:gd name="connsiteX3" fmla="*/ 50578 w 73152"/>
                  <a:gd name="connsiteY3" fmla="*/ 36862 h 46767"/>
                  <a:gd name="connsiteX4" fmla="*/ 54959 w 73152"/>
                  <a:gd name="connsiteY4" fmla="*/ 30099 h 46767"/>
                  <a:gd name="connsiteX5" fmla="*/ 60103 w 73152"/>
                  <a:gd name="connsiteY5" fmla="*/ 23527 h 46767"/>
                  <a:gd name="connsiteX6" fmla="*/ 73152 w 73152"/>
                  <a:gd name="connsiteY6" fmla="*/ 19050 h 46767"/>
                  <a:gd name="connsiteX7" fmla="*/ 72390 w 73152"/>
                  <a:gd name="connsiteY7" fmla="*/ 10287 h 46767"/>
                  <a:gd name="connsiteX8" fmla="*/ 66770 w 73152"/>
                  <a:gd name="connsiteY8" fmla="*/ 11525 h 46767"/>
                  <a:gd name="connsiteX9" fmla="*/ 65437 w 73152"/>
                  <a:gd name="connsiteY9" fmla="*/ 7429 h 46767"/>
                  <a:gd name="connsiteX10" fmla="*/ 58388 w 73152"/>
                  <a:gd name="connsiteY10" fmla="*/ 4000 h 46767"/>
                  <a:gd name="connsiteX11" fmla="*/ 48101 w 73152"/>
                  <a:gd name="connsiteY11" fmla="*/ 0 h 46767"/>
                  <a:gd name="connsiteX12" fmla="*/ 37052 w 73152"/>
                  <a:gd name="connsiteY12" fmla="*/ 1524 h 46767"/>
                  <a:gd name="connsiteX13" fmla="*/ 28670 w 73152"/>
                  <a:gd name="connsiteY13" fmla="*/ 5620 h 46767"/>
                  <a:gd name="connsiteX14" fmla="*/ 28194 w 73152"/>
                  <a:gd name="connsiteY14" fmla="*/ 13811 h 46767"/>
                  <a:gd name="connsiteX15" fmla="*/ 22098 w 73152"/>
                  <a:gd name="connsiteY15" fmla="*/ 9811 h 46767"/>
                  <a:gd name="connsiteX16" fmla="*/ 13430 w 73152"/>
                  <a:gd name="connsiteY16" fmla="*/ 9144 h 46767"/>
                  <a:gd name="connsiteX17" fmla="*/ 3429 w 73152"/>
                  <a:gd name="connsiteY17" fmla="*/ 13811 h 46767"/>
                  <a:gd name="connsiteX18" fmla="*/ 0 w 73152"/>
                  <a:gd name="connsiteY18" fmla="*/ 23908 h 46767"/>
                  <a:gd name="connsiteX19" fmla="*/ 1715 w 73152"/>
                  <a:gd name="connsiteY19" fmla="*/ 32671 h 46767"/>
                  <a:gd name="connsiteX20" fmla="*/ 20002 w 73152"/>
                  <a:gd name="connsiteY20" fmla="*/ 4095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3152" h="46767">
                    <a:moveTo>
                      <a:pt x="20002" y="40958"/>
                    </a:moveTo>
                    <a:lnTo>
                      <a:pt x="27527" y="46768"/>
                    </a:lnTo>
                    <a:lnTo>
                      <a:pt x="34862" y="40958"/>
                    </a:lnTo>
                    <a:lnTo>
                      <a:pt x="50578" y="36862"/>
                    </a:lnTo>
                    <a:lnTo>
                      <a:pt x="54959" y="30099"/>
                    </a:lnTo>
                    <a:lnTo>
                      <a:pt x="60103" y="23527"/>
                    </a:lnTo>
                    <a:lnTo>
                      <a:pt x="73152" y="19050"/>
                    </a:lnTo>
                    <a:lnTo>
                      <a:pt x="72390" y="10287"/>
                    </a:lnTo>
                    <a:lnTo>
                      <a:pt x="66770" y="11525"/>
                    </a:lnTo>
                    <a:lnTo>
                      <a:pt x="65437" y="7429"/>
                    </a:lnTo>
                    <a:lnTo>
                      <a:pt x="58388" y="4000"/>
                    </a:lnTo>
                    <a:lnTo>
                      <a:pt x="48101" y="0"/>
                    </a:lnTo>
                    <a:lnTo>
                      <a:pt x="37052" y="1524"/>
                    </a:lnTo>
                    <a:lnTo>
                      <a:pt x="28670" y="5620"/>
                    </a:lnTo>
                    <a:lnTo>
                      <a:pt x="28194" y="13811"/>
                    </a:lnTo>
                    <a:lnTo>
                      <a:pt x="22098" y="9811"/>
                    </a:lnTo>
                    <a:lnTo>
                      <a:pt x="13430" y="9144"/>
                    </a:lnTo>
                    <a:lnTo>
                      <a:pt x="3429" y="13811"/>
                    </a:lnTo>
                    <a:lnTo>
                      <a:pt x="0" y="23908"/>
                    </a:lnTo>
                    <a:lnTo>
                      <a:pt x="1715" y="32671"/>
                    </a:lnTo>
                    <a:lnTo>
                      <a:pt x="20002" y="4095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37" name="Freeform: Shape 236">
                <a:extLst>
                  <a:ext uri="{FF2B5EF4-FFF2-40B4-BE49-F238E27FC236}">
                    <a16:creationId xmlns:a16="http://schemas.microsoft.com/office/drawing/2014/main" id="{D0600FDE-DC5E-4E8A-963D-08804E7CF2B8}"/>
                  </a:ext>
                </a:extLst>
              </p:cNvPr>
              <p:cNvSpPr/>
              <p:nvPr/>
            </p:nvSpPr>
            <p:spPr>
              <a:xfrm>
                <a:off x="13686268" y="4146248"/>
                <a:ext cx="25050" cy="14382"/>
              </a:xfrm>
              <a:custGeom>
                <a:avLst/>
                <a:gdLst>
                  <a:gd name="connsiteX0" fmla="*/ 21336 w 25050"/>
                  <a:gd name="connsiteY0" fmla="*/ 9525 h 14382"/>
                  <a:gd name="connsiteX1" fmla="*/ 23241 w 25050"/>
                  <a:gd name="connsiteY1" fmla="*/ 7048 h 14382"/>
                  <a:gd name="connsiteX2" fmla="*/ 25051 w 25050"/>
                  <a:gd name="connsiteY2" fmla="*/ 1143 h 14382"/>
                  <a:gd name="connsiteX3" fmla="*/ 15145 w 25050"/>
                  <a:gd name="connsiteY3" fmla="*/ 0 h 14382"/>
                  <a:gd name="connsiteX4" fmla="*/ 6001 w 25050"/>
                  <a:gd name="connsiteY4" fmla="*/ 762 h 14382"/>
                  <a:gd name="connsiteX5" fmla="*/ 0 w 25050"/>
                  <a:gd name="connsiteY5" fmla="*/ 4191 h 14382"/>
                  <a:gd name="connsiteX6" fmla="*/ 4000 w 25050"/>
                  <a:gd name="connsiteY6" fmla="*/ 12192 h 14382"/>
                  <a:gd name="connsiteX7" fmla="*/ 12478 w 25050"/>
                  <a:gd name="connsiteY7" fmla="*/ 14383 h 14382"/>
                  <a:gd name="connsiteX8" fmla="*/ 21336 w 25050"/>
                  <a:gd name="connsiteY8" fmla="*/ 9525 h 1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0" h="14382">
                    <a:moveTo>
                      <a:pt x="21336" y="9525"/>
                    </a:moveTo>
                    <a:lnTo>
                      <a:pt x="23241" y="7048"/>
                    </a:lnTo>
                    <a:lnTo>
                      <a:pt x="25051" y="1143"/>
                    </a:lnTo>
                    <a:lnTo>
                      <a:pt x="15145" y="0"/>
                    </a:lnTo>
                    <a:lnTo>
                      <a:pt x="6001" y="762"/>
                    </a:lnTo>
                    <a:lnTo>
                      <a:pt x="0" y="4191"/>
                    </a:lnTo>
                    <a:lnTo>
                      <a:pt x="4000" y="12192"/>
                    </a:lnTo>
                    <a:lnTo>
                      <a:pt x="12478" y="14383"/>
                    </a:lnTo>
                    <a:lnTo>
                      <a:pt x="21336" y="952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38" name="Freeform: Shape 237">
                <a:extLst>
                  <a:ext uri="{FF2B5EF4-FFF2-40B4-BE49-F238E27FC236}">
                    <a16:creationId xmlns:a16="http://schemas.microsoft.com/office/drawing/2014/main" id="{D7AA4AEE-4DC2-4A5B-A247-8841E88ADAC9}"/>
                  </a:ext>
                </a:extLst>
              </p:cNvPr>
              <p:cNvSpPr/>
              <p:nvPr/>
            </p:nvSpPr>
            <p:spPr>
              <a:xfrm>
                <a:off x="13715509" y="4080240"/>
                <a:ext cx="10953" cy="14668"/>
              </a:xfrm>
              <a:custGeom>
                <a:avLst/>
                <a:gdLst>
                  <a:gd name="connsiteX0" fmla="*/ 10954 w 10953"/>
                  <a:gd name="connsiteY0" fmla="*/ 8573 h 14668"/>
                  <a:gd name="connsiteX1" fmla="*/ 6191 w 10953"/>
                  <a:gd name="connsiteY1" fmla="*/ 1333 h 14668"/>
                  <a:gd name="connsiteX2" fmla="*/ 3048 w 10953"/>
                  <a:gd name="connsiteY2" fmla="*/ 0 h 14668"/>
                  <a:gd name="connsiteX3" fmla="*/ 0 w 10953"/>
                  <a:gd name="connsiteY3" fmla="*/ 7525 h 14668"/>
                  <a:gd name="connsiteX4" fmla="*/ 2381 w 10953"/>
                  <a:gd name="connsiteY4" fmla="*/ 14669 h 14668"/>
                  <a:gd name="connsiteX5" fmla="*/ 9049 w 10953"/>
                  <a:gd name="connsiteY5" fmla="*/ 10573 h 14668"/>
                  <a:gd name="connsiteX6" fmla="*/ 10954 w 10953"/>
                  <a:gd name="connsiteY6" fmla="*/ 8573 h 1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 h="14668">
                    <a:moveTo>
                      <a:pt x="10954" y="8573"/>
                    </a:moveTo>
                    <a:lnTo>
                      <a:pt x="6191" y="1333"/>
                    </a:lnTo>
                    <a:lnTo>
                      <a:pt x="3048" y="0"/>
                    </a:lnTo>
                    <a:lnTo>
                      <a:pt x="0" y="7525"/>
                    </a:lnTo>
                    <a:lnTo>
                      <a:pt x="2381" y="14669"/>
                    </a:lnTo>
                    <a:lnTo>
                      <a:pt x="9049" y="10573"/>
                    </a:lnTo>
                    <a:lnTo>
                      <a:pt x="10954" y="857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39" name="Freeform: Shape 238">
                <a:extLst>
                  <a:ext uri="{FF2B5EF4-FFF2-40B4-BE49-F238E27FC236}">
                    <a16:creationId xmlns:a16="http://schemas.microsoft.com/office/drawing/2014/main" id="{331F578B-DBAE-4974-92D0-5EE3AA5DE41D}"/>
                  </a:ext>
                </a:extLst>
              </p:cNvPr>
              <p:cNvSpPr/>
              <p:nvPr/>
            </p:nvSpPr>
            <p:spPr>
              <a:xfrm>
                <a:off x="13607686" y="4144629"/>
                <a:ext cx="25145" cy="20383"/>
              </a:xfrm>
              <a:custGeom>
                <a:avLst/>
                <a:gdLst>
                  <a:gd name="connsiteX0" fmla="*/ 2572 w 25145"/>
                  <a:gd name="connsiteY0" fmla="*/ 7048 h 20383"/>
                  <a:gd name="connsiteX1" fmla="*/ 0 w 25145"/>
                  <a:gd name="connsiteY1" fmla="*/ 16288 h 20383"/>
                  <a:gd name="connsiteX2" fmla="*/ 8858 w 25145"/>
                  <a:gd name="connsiteY2" fmla="*/ 20383 h 20383"/>
                  <a:gd name="connsiteX3" fmla="*/ 16478 w 25145"/>
                  <a:gd name="connsiteY3" fmla="*/ 18574 h 20383"/>
                  <a:gd name="connsiteX4" fmla="*/ 25146 w 25145"/>
                  <a:gd name="connsiteY4" fmla="*/ 13906 h 20383"/>
                  <a:gd name="connsiteX5" fmla="*/ 19621 w 25145"/>
                  <a:gd name="connsiteY5" fmla="*/ 4572 h 20383"/>
                  <a:gd name="connsiteX6" fmla="*/ 9525 w 25145"/>
                  <a:gd name="connsiteY6" fmla="*/ 0 h 20383"/>
                  <a:gd name="connsiteX7" fmla="*/ 2572 w 25145"/>
                  <a:gd name="connsiteY7" fmla="*/ 7048 h 2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45" h="20383">
                    <a:moveTo>
                      <a:pt x="2572" y="7048"/>
                    </a:moveTo>
                    <a:lnTo>
                      <a:pt x="0" y="16288"/>
                    </a:lnTo>
                    <a:lnTo>
                      <a:pt x="8858" y="20383"/>
                    </a:lnTo>
                    <a:lnTo>
                      <a:pt x="16478" y="18574"/>
                    </a:lnTo>
                    <a:lnTo>
                      <a:pt x="25146" y="13906"/>
                    </a:lnTo>
                    <a:lnTo>
                      <a:pt x="19621" y="4572"/>
                    </a:lnTo>
                    <a:lnTo>
                      <a:pt x="9525" y="0"/>
                    </a:lnTo>
                    <a:lnTo>
                      <a:pt x="2572" y="704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40" name="Freeform: Shape 239">
                <a:extLst>
                  <a:ext uri="{FF2B5EF4-FFF2-40B4-BE49-F238E27FC236}">
                    <a16:creationId xmlns:a16="http://schemas.microsoft.com/office/drawing/2014/main" id="{A3637CCC-1C24-4911-BFE7-35337B3A6FC4}"/>
                  </a:ext>
                </a:extLst>
              </p:cNvPr>
              <p:cNvSpPr/>
              <p:nvPr/>
            </p:nvSpPr>
            <p:spPr>
              <a:xfrm>
                <a:off x="13689411" y="4114149"/>
                <a:ext cx="38480" cy="24479"/>
              </a:xfrm>
              <a:custGeom>
                <a:avLst/>
                <a:gdLst>
                  <a:gd name="connsiteX0" fmla="*/ 16859 w 38480"/>
                  <a:gd name="connsiteY0" fmla="*/ 0 h 24479"/>
                  <a:gd name="connsiteX1" fmla="*/ 13335 w 38480"/>
                  <a:gd name="connsiteY1" fmla="*/ 10478 h 24479"/>
                  <a:gd name="connsiteX2" fmla="*/ 4096 w 38480"/>
                  <a:gd name="connsiteY2" fmla="*/ 16859 h 24479"/>
                  <a:gd name="connsiteX3" fmla="*/ 0 w 38480"/>
                  <a:gd name="connsiteY3" fmla="*/ 24479 h 24479"/>
                  <a:gd name="connsiteX4" fmla="*/ 10096 w 38480"/>
                  <a:gd name="connsiteY4" fmla="*/ 24289 h 24479"/>
                  <a:gd name="connsiteX5" fmla="*/ 21907 w 38480"/>
                  <a:gd name="connsiteY5" fmla="*/ 22670 h 24479"/>
                  <a:gd name="connsiteX6" fmla="*/ 33147 w 38480"/>
                  <a:gd name="connsiteY6" fmla="*/ 12287 h 24479"/>
                  <a:gd name="connsiteX7" fmla="*/ 38481 w 38480"/>
                  <a:gd name="connsiteY7" fmla="*/ 4382 h 24479"/>
                  <a:gd name="connsiteX8" fmla="*/ 29623 w 38480"/>
                  <a:gd name="connsiteY8" fmla="*/ 2286 h 24479"/>
                  <a:gd name="connsiteX9" fmla="*/ 22574 w 38480"/>
                  <a:gd name="connsiteY9" fmla="*/ 6382 h 24479"/>
                  <a:gd name="connsiteX10" fmla="*/ 16859 w 38480"/>
                  <a:gd name="connsiteY10" fmla="*/ 0 h 2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480" h="24479">
                    <a:moveTo>
                      <a:pt x="16859" y="0"/>
                    </a:moveTo>
                    <a:lnTo>
                      <a:pt x="13335" y="10478"/>
                    </a:lnTo>
                    <a:lnTo>
                      <a:pt x="4096" y="16859"/>
                    </a:lnTo>
                    <a:lnTo>
                      <a:pt x="0" y="24479"/>
                    </a:lnTo>
                    <a:lnTo>
                      <a:pt x="10096" y="24289"/>
                    </a:lnTo>
                    <a:lnTo>
                      <a:pt x="21907" y="22670"/>
                    </a:lnTo>
                    <a:lnTo>
                      <a:pt x="33147" y="12287"/>
                    </a:lnTo>
                    <a:lnTo>
                      <a:pt x="38481" y="4382"/>
                    </a:lnTo>
                    <a:lnTo>
                      <a:pt x="29623" y="2286"/>
                    </a:lnTo>
                    <a:lnTo>
                      <a:pt x="22574" y="6382"/>
                    </a:lnTo>
                    <a:lnTo>
                      <a:pt x="16859"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41" name="Freeform: Shape 240">
                <a:extLst>
                  <a:ext uri="{FF2B5EF4-FFF2-40B4-BE49-F238E27FC236}">
                    <a16:creationId xmlns:a16="http://schemas.microsoft.com/office/drawing/2014/main" id="{490914A2-8380-4461-BC9B-E09AB154D59E}"/>
                  </a:ext>
                </a:extLst>
              </p:cNvPr>
              <p:cNvSpPr/>
              <p:nvPr/>
            </p:nvSpPr>
            <p:spPr>
              <a:xfrm>
                <a:off x="13593494" y="3932793"/>
                <a:ext cx="74295" cy="83915"/>
              </a:xfrm>
              <a:custGeom>
                <a:avLst/>
                <a:gdLst>
                  <a:gd name="connsiteX0" fmla="*/ 49435 w 74295"/>
                  <a:gd name="connsiteY0" fmla="*/ 22289 h 83915"/>
                  <a:gd name="connsiteX1" fmla="*/ 38481 w 74295"/>
                  <a:gd name="connsiteY1" fmla="*/ 8382 h 83915"/>
                  <a:gd name="connsiteX2" fmla="*/ 32385 w 74295"/>
                  <a:gd name="connsiteY2" fmla="*/ 0 h 83915"/>
                  <a:gd name="connsiteX3" fmla="*/ 12192 w 74295"/>
                  <a:gd name="connsiteY3" fmla="*/ 7620 h 83915"/>
                  <a:gd name="connsiteX4" fmla="*/ 1429 w 74295"/>
                  <a:gd name="connsiteY4" fmla="*/ 5525 h 83915"/>
                  <a:gd name="connsiteX5" fmla="*/ 0 w 74295"/>
                  <a:gd name="connsiteY5" fmla="*/ 29051 h 83915"/>
                  <a:gd name="connsiteX6" fmla="*/ 8668 w 74295"/>
                  <a:gd name="connsiteY6" fmla="*/ 34195 h 83915"/>
                  <a:gd name="connsiteX7" fmla="*/ 18193 w 74295"/>
                  <a:gd name="connsiteY7" fmla="*/ 50292 h 83915"/>
                  <a:gd name="connsiteX8" fmla="*/ 24384 w 74295"/>
                  <a:gd name="connsiteY8" fmla="*/ 73438 h 83915"/>
                  <a:gd name="connsiteX9" fmla="*/ 25813 w 74295"/>
                  <a:gd name="connsiteY9" fmla="*/ 83915 h 83915"/>
                  <a:gd name="connsiteX10" fmla="*/ 37910 w 74295"/>
                  <a:gd name="connsiteY10" fmla="*/ 81629 h 83915"/>
                  <a:gd name="connsiteX11" fmla="*/ 46863 w 74295"/>
                  <a:gd name="connsiteY11" fmla="*/ 78962 h 83915"/>
                  <a:gd name="connsiteX12" fmla="*/ 56198 w 74295"/>
                  <a:gd name="connsiteY12" fmla="*/ 64770 h 83915"/>
                  <a:gd name="connsiteX13" fmla="*/ 65151 w 74295"/>
                  <a:gd name="connsiteY13" fmla="*/ 59150 h 83915"/>
                  <a:gd name="connsiteX14" fmla="*/ 74295 w 74295"/>
                  <a:gd name="connsiteY14" fmla="*/ 38671 h 83915"/>
                  <a:gd name="connsiteX15" fmla="*/ 58674 w 74295"/>
                  <a:gd name="connsiteY15" fmla="*/ 35909 h 83915"/>
                  <a:gd name="connsiteX16" fmla="*/ 49435 w 74295"/>
                  <a:gd name="connsiteY16" fmla="*/ 22289 h 8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95" h="83915">
                    <a:moveTo>
                      <a:pt x="49435" y="22289"/>
                    </a:moveTo>
                    <a:lnTo>
                      <a:pt x="38481" y="8382"/>
                    </a:lnTo>
                    <a:lnTo>
                      <a:pt x="32385" y="0"/>
                    </a:lnTo>
                    <a:lnTo>
                      <a:pt x="12192" y="7620"/>
                    </a:lnTo>
                    <a:lnTo>
                      <a:pt x="1429" y="5525"/>
                    </a:lnTo>
                    <a:lnTo>
                      <a:pt x="0" y="29051"/>
                    </a:lnTo>
                    <a:lnTo>
                      <a:pt x="8668" y="34195"/>
                    </a:lnTo>
                    <a:lnTo>
                      <a:pt x="18193" y="50292"/>
                    </a:lnTo>
                    <a:lnTo>
                      <a:pt x="24384" y="73438"/>
                    </a:lnTo>
                    <a:lnTo>
                      <a:pt x="25813" y="83915"/>
                    </a:lnTo>
                    <a:lnTo>
                      <a:pt x="37910" y="81629"/>
                    </a:lnTo>
                    <a:lnTo>
                      <a:pt x="46863" y="78962"/>
                    </a:lnTo>
                    <a:lnTo>
                      <a:pt x="56198" y="64770"/>
                    </a:lnTo>
                    <a:lnTo>
                      <a:pt x="65151" y="59150"/>
                    </a:lnTo>
                    <a:lnTo>
                      <a:pt x="74295" y="38671"/>
                    </a:lnTo>
                    <a:lnTo>
                      <a:pt x="58674" y="35909"/>
                    </a:lnTo>
                    <a:lnTo>
                      <a:pt x="49435" y="2228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42" name="Freeform: Shape 241">
                <a:extLst>
                  <a:ext uri="{FF2B5EF4-FFF2-40B4-BE49-F238E27FC236}">
                    <a16:creationId xmlns:a16="http://schemas.microsoft.com/office/drawing/2014/main" id="{FE198C86-0686-49E8-A419-3282ACC7BB95}"/>
                  </a:ext>
                </a:extLst>
              </p:cNvPr>
              <p:cNvSpPr/>
              <p:nvPr/>
            </p:nvSpPr>
            <p:spPr>
              <a:xfrm>
                <a:off x="13346892" y="4217971"/>
                <a:ext cx="58578" cy="76104"/>
              </a:xfrm>
              <a:custGeom>
                <a:avLst/>
                <a:gdLst>
                  <a:gd name="connsiteX0" fmla="*/ 24956 w 58578"/>
                  <a:gd name="connsiteY0" fmla="*/ 59817 h 76104"/>
                  <a:gd name="connsiteX1" fmla="*/ 35052 w 58578"/>
                  <a:gd name="connsiteY1" fmla="*/ 57341 h 76104"/>
                  <a:gd name="connsiteX2" fmla="*/ 40291 w 58578"/>
                  <a:gd name="connsiteY2" fmla="*/ 44577 h 76104"/>
                  <a:gd name="connsiteX3" fmla="*/ 46482 w 58578"/>
                  <a:gd name="connsiteY3" fmla="*/ 32480 h 76104"/>
                  <a:gd name="connsiteX4" fmla="*/ 51626 w 58578"/>
                  <a:gd name="connsiteY4" fmla="*/ 26003 h 76104"/>
                  <a:gd name="connsiteX5" fmla="*/ 47816 w 58578"/>
                  <a:gd name="connsiteY5" fmla="*/ 21050 h 76104"/>
                  <a:gd name="connsiteX6" fmla="*/ 57341 w 58578"/>
                  <a:gd name="connsiteY6" fmla="*/ 18383 h 76104"/>
                  <a:gd name="connsiteX7" fmla="*/ 58579 w 58578"/>
                  <a:gd name="connsiteY7" fmla="*/ 11049 h 76104"/>
                  <a:gd name="connsiteX8" fmla="*/ 38100 w 58578"/>
                  <a:gd name="connsiteY8" fmla="*/ 8954 h 76104"/>
                  <a:gd name="connsiteX9" fmla="*/ 20765 w 58578"/>
                  <a:gd name="connsiteY9" fmla="*/ 8763 h 76104"/>
                  <a:gd name="connsiteX10" fmla="*/ 9430 w 58578"/>
                  <a:gd name="connsiteY10" fmla="*/ 0 h 76104"/>
                  <a:gd name="connsiteX11" fmla="*/ 12383 w 58578"/>
                  <a:gd name="connsiteY11" fmla="*/ 14478 h 76104"/>
                  <a:gd name="connsiteX12" fmla="*/ 0 w 58578"/>
                  <a:gd name="connsiteY12" fmla="*/ 19241 h 76104"/>
                  <a:gd name="connsiteX13" fmla="*/ 12573 w 58578"/>
                  <a:gd name="connsiteY13" fmla="*/ 33718 h 76104"/>
                  <a:gd name="connsiteX14" fmla="*/ 25337 w 58578"/>
                  <a:gd name="connsiteY14" fmla="*/ 43053 h 76104"/>
                  <a:gd name="connsiteX15" fmla="*/ 16383 w 58578"/>
                  <a:gd name="connsiteY15" fmla="*/ 50197 h 76104"/>
                  <a:gd name="connsiteX16" fmla="*/ 13526 w 58578"/>
                  <a:gd name="connsiteY16" fmla="*/ 67723 h 76104"/>
                  <a:gd name="connsiteX17" fmla="*/ 21908 w 58578"/>
                  <a:gd name="connsiteY17" fmla="*/ 76105 h 76104"/>
                  <a:gd name="connsiteX18" fmla="*/ 27813 w 58578"/>
                  <a:gd name="connsiteY18" fmla="*/ 67342 h 76104"/>
                  <a:gd name="connsiteX19" fmla="*/ 24956 w 58578"/>
                  <a:gd name="connsiteY19" fmla="*/ 59817 h 7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578" h="76104">
                    <a:moveTo>
                      <a:pt x="24956" y="59817"/>
                    </a:moveTo>
                    <a:lnTo>
                      <a:pt x="35052" y="57341"/>
                    </a:lnTo>
                    <a:lnTo>
                      <a:pt x="40291" y="44577"/>
                    </a:lnTo>
                    <a:lnTo>
                      <a:pt x="46482" y="32480"/>
                    </a:lnTo>
                    <a:lnTo>
                      <a:pt x="51626" y="26003"/>
                    </a:lnTo>
                    <a:lnTo>
                      <a:pt x="47816" y="21050"/>
                    </a:lnTo>
                    <a:lnTo>
                      <a:pt x="57341" y="18383"/>
                    </a:lnTo>
                    <a:lnTo>
                      <a:pt x="58579" y="11049"/>
                    </a:lnTo>
                    <a:lnTo>
                      <a:pt x="38100" y="8954"/>
                    </a:lnTo>
                    <a:lnTo>
                      <a:pt x="20765" y="8763"/>
                    </a:lnTo>
                    <a:lnTo>
                      <a:pt x="9430" y="0"/>
                    </a:lnTo>
                    <a:lnTo>
                      <a:pt x="12383" y="14478"/>
                    </a:lnTo>
                    <a:lnTo>
                      <a:pt x="0" y="19241"/>
                    </a:lnTo>
                    <a:lnTo>
                      <a:pt x="12573" y="33718"/>
                    </a:lnTo>
                    <a:lnTo>
                      <a:pt x="25337" y="43053"/>
                    </a:lnTo>
                    <a:lnTo>
                      <a:pt x="16383" y="50197"/>
                    </a:lnTo>
                    <a:lnTo>
                      <a:pt x="13526" y="67723"/>
                    </a:lnTo>
                    <a:lnTo>
                      <a:pt x="21908" y="76105"/>
                    </a:lnTo>
                    <a:lnTo>
                      <a:pt x="27813" y="67342"/>
                    </a:lnTo>
                    <a:lnTo>
                      <a:pt x="24956" y="5981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43" name="Freeform: Shape 242">
                <a:extLst>
                  <a:ext uri="{FF2B5EF4-FFF2-40B4-BE49-F238E27FC236}">
                    <a16:creationId xmlns:a16="http://schemas.microsoft.com/office/drawing/2014/main" id="{20DD588E-855E-4D0A-BA2C-B6D1CA8E3981}"/>
                  </a:ext>
                </a:extLst>
              </p:cNvPr>
              <p:cNvSpPr/>
              <p:nvPr/>
            </p:nvSpPr>
            <p:spPr>
              <a:xfrm>
                <a:off x="13325080" y="4297505"/>
                <a:ext cx="15716" cy="11811"/>
              </a:xfrm>
              <a:custGeom>
                <a:avLst/>
                <a:gdLst>
                  <a:gd name="connsiteX0" fmla="*/ 6667 w 15716"/>
                  <a:gd name="connsiteY0" fmla="*/ 0 h 11811"/>
                  <a:gd name="connsiteX1" fmla="*/ 857 w 15716"/>
                  <a:gd name="connsiteY1" fmla="*/ 4096 h 11811"/>
                  <a:gd name="connsiteX2" fmla="*/ 0 w 15716"/>
                  <a:gd name="connsiteY2" fmla="*/ 9430 h 11811"/>
                  <a:gd name="connsiteX3" fmla="*/ 11906 w 15716"/>
                  <a:gd name="connsiteY3" fmla="*/ 11811 h 11811"/>
                  <a:gd name="connsiteX4" fmla="*/ 15716 w 15716"/>
                  <a:gd name="connsiteY4" fmla="*/ 8096 h 11811"/>
                  <a:gd name="connsiteX5" fmla="*/ 15430 w 15716"/>
                  <a:gd name="connsiteY5" fmla="*/ 3429 h 11811"/>
                  <a:gd name="connsiteX6" fmla="*/ 8287 w 15716"/>
                  <a:gd name="connsiteY6" fmla="*/ 286 h 11811"/>
                  <a:gd name="connsiteX7" fmla="*/ 6667 w 15716"/>
                  <a:gd name="connsiteY7" fmla="*/ 0 h 1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 h="11811">
                    <a:moveTo>
                      <a:pt x="6667" y="0"/>
                    </a:moveTo>
                    <a:lnTo>
                      <a:pt x="857" y="4096"/>
                    </a:lnTo>
                    <a:lnTo>
                      <a:pt x="0" y="9430"/>
                    </a:lnTo>
                    <a:lnTo>
                      <a:pt x="11906" y="11811"/>
                    </a:lnTo>
                    <a:lnTo>
                      <a:pt x="15716" y="8096"/>
                    </a:lnTo>
                    <a:lnTo>
                      <a:pt x="15430" y="3429"/>
                    </a:lnTo>
                    <a:lnTo>
                      <a:pt x="8287" y="286"/>
                    </a:lnTo>
                    <a:lnTo>
                      <a:pt x="6667"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44" name="Freeform: Shape 243">
                <a:extLst>
                  <a:ext uri="{FF2B5EF4-FFF2-40B4-BE49-F238E27FC236}">
                    <a16:creationId xmlns:a16="http://schemas.microsoft.com/office/drawing/2014/main" id="{C8A52C8F-BB36-400E-BB3C-2A6F4AB8D25E}"/>
                  </a:ext>
                </a:extLst>
              </p:cNvPr>
              <p:cNvSpPr/>
              <p:nvPr/>
            </p:nvSpPr>
            <p:spPr>
              <a:xfrm>
                <a:off x="13619212" y="4112434"/>
                <a:ext cx="41243" cy="30670"/>
              </a:xfrm>
              <a:custGeom>
                <a:avLst/>
                <a:gdLst>
                  <a:gd name="connsiteX0" fmla="*/ 29813 w 41243"/>
                  <a:gd name="connsiteY0" fmla="*/ 30671 h 30670"/>
                  <a:gd name="connsiteX1" fmla="*/ 41243 w 41243"/>
                  <a:gd name="connsiteY1" fmla="*/ 28004 h 30670"/>
                  <a:gd name="connsiteX2" fmla="*/ 38290 w 41243"/>
                  <a:gd name="connsiteY2" fmla="*/ 27051 h 30670"/>
                  <a:gd name="connsiteX3" fmla="*/ 40862 w 41243"/>
                  <a:gd name="connsiteY3" fmla="*/ 19431 h 30670"/>
                  <a:gd name="connsiteX4" fmla="*/ 34576 w 41243"/>
                  <a:gd name="connsiteY4" fmla="*/ 9525 h 30670"/>
                  <a:gd name="connsiteX5" fmla="*/ 36576 w 41243"/>
                  <a:gd name="connsiteY5" fmla="*/ 3620 h 30670"/>
                  <a:gd name="connsiteX6" fmla="*/ 18669 w 41243"/>
                  <a:gd name="connsiteY6" fmla="*/ 0 h 30670"/>
                  <a:gd name="connsiteX7" fmla="*/ 18383 w 41243"/>
                  <a:gd name="connsiteY7" fmla="*/ 10096 h 30670"/>
                  <a:gd name="connsiteX8" fmla="*/ 4953 w 41243"/>
                  <a:gd name="connsiteY8" fmla="*/ 7429 h 30670"/>
                  <a:gd name="connsiteX9" fmla="*/ 0 w 41243"/>
                  <a:gd name="connsiteY9" fmla="*/ 13430 h 30670"/>
                  <a:gd name="connsiteX10" fmla="*/ 762 w 41243"/>
                  <a:gd name="connsiteY10" fmla="*/ 24098 h 30670"/>
                  <a:gd name="connsiteX11" fmla="*/ 17717 w 41243"/>
                  <a:gd name="connsiteY11" fmla="*/ 29242 h 30670"/>
                  <a:gd name="connsiteX12" fmla="*/ 29813 w 41243"/>
                  <a:gd name="connsiteY12" fmla="*/ 30671 h 3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43" h="30670">
                    <a:moveTo>
                      <a:pt x="29813" y="30671"/>
                    </a:moveTo>
                    <a:lnTo>
                      <a:pt x="41243" y="28004"/>
                    </a:lnTo>
                    <a:lnTo>
                      <a:pt x="38290" y="27051"/>
                    </a:lnTo>
                    <a:lnTo>
                      <a:pt x="40862" y="19431"/>
                    </a:lnTo>
                    <a:lnTo>
                      <a:pt x="34576" y="9525"/>
                    </a:lnTo>
                    <a:lnTo>
                      <a:pt x="36576" y="3620"/>
                    </a:lnTo>
                    <a:lnTo>
                      <a:pt x="18669" y="0"/>
                    </a:lnTo>
                    <a:lnTo>
                      <a:pt x="18383" y="10096"/>
                    </a:lnTo>
                    <a:lnTo>
                      <a:pt x="4953" y="7429"/>
                    </a:lnTo>
                    <a:lnTo>
                      <a:pt x="0" y="13430"/>
                    </a:lnTo>
                    <a:lnTo>
                      <a:pt x="762" y="24098"/>
                    </a:lnTo>
                    <a:lnTo>
                      <a:pt x="17717" y="29242"/>
                    </a:lnTo>
                    <a:lnTo>
                      <a:pt x="29813" y="3067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45" name="Freeform: Shape 244">
                <a:extLst>
                  <a:ext uri="{FF2B5EF4-FFF2-40B4-BE49-F238E27FC236}">
                    <a16:creationId xmlns:a16="http://schemas.microsoft.com/office/drawing/2014/main" id="{5149E7B6-BAFB-43CA-8493-D4916B30EB6F}"/>
                  </a:ext>
                </a:extLst>
              </p:cNvPr>
              <p:cNvSpPr/>
              <p:nvPr/>
            </p:nvSpPr>
            <p:spPr>
              <a:xfrm>
                <a:off x="13372895" y="4186253"/>
                <a:ext cx="217646" cy="272319"/>
              </a:xfrm>
              <a:custGeom>
                <a:avLst/>
                <a:gdLst>
                  <a:gd name="connsiteX0" fmla="*/ 74771 w 217646"/>
                  <a:gd name="connsiteY0" fmla="*/ 260985 h 272319"/>
                  <a:gd name="connsiteX1" fmla="*/ 105727 w 217646"/>
                  <a:gd name="connsiteY1" fmla="*/ 265081 h 272319"/>
                  <a:gd name="connsiteX2" fmla="*/ 121063 w 217646"/>
                  <a:gd name="connsiteY2" fmla="*/ 260413 h 272319"/>
                  <a:gd name="connsiteX3" fmla="*/ 115443 w 217646"/>
                  <a:gd name="connsiteY3" fmla="*/ 246317 h 272319"/>
                  <a:gd name="connsiteX4" fmla="*/ 128206 w 217646"/>
                  <a:gd name="connsiteY4" fmla="*/ 225171 h 272319"/>
                  <a:gd name="connsiteX5" fmla="*/ 126683 w 217646"/>
                  <a:gd name="connsiteY5" fmla="*/ 209931 h 272319"/>
                  <a:gd name="connsiteX6" fmla="*/ 132398 w 217646"/>
                  <a:gd name="connsiteY6" fmla="*/ 184785 h 272319"/>
                  <a:gd name="connsiteX7" fmla="*/ 148209 w 217646"/>
                  <a:gd name="connsiteY7" fmla="*/ 195643 h 272319"/>
                  <a:gd name="connsiteX8" fmla="*/ 164878 w 217646"/>
                  <a:gd name="connsiteY8" fmla="*/ 180022 h 272319"/>
                  <a:gd name="connsiteX9" fmla="*/ 170879 w 217646"/>
                  <a:gd name="connsiteY9" fmla="*/ 170021 h 272319"/>
                  <a:gd name="connsiteX10" fmla="*/ 172784 w 217646"/>
                  <a:gd name="connsiteY10" fmla="*/ 148685 h 272319"/>
                  <a:gd name="connsiteX11" fmla="*/ 184118 w 217646"/>
                  <a:gd name="connsiteY11" fmla="*/ 136303 h 272319"/>
                  <a:gd name="connsiteX12" fmla="*/ 174974 w 217646"/>
                  <a:gd name="connsiteY12" fmla="*/ 124016 h 272319"/>
                  <a:gd name="connsiteX13" fmla="*/ 184404 w 217646"/>
                  <a:gd name="connsiteY13" fmla="*/ 120301 h 272319"/>
                  <a:gd name="connsiteX14" fmla="*/ 192405 w 217646"/>
                  <a:gd name="connsiteY14" fmla="*/ 107442 h 272319"/>
                  <a:gd name="connsiteX15" fmla="*/ 200025 w 217646"/>
                  <a:gd name="connsiteY15" fmla="*/ 88868 h 272319"/>
                  <a:gd name="connsiteX16" fmla="*/ 189643 w 217646"/>
                  <a:gd name="connsiteY16" fmla="*/ 84011 h 272319"/>
                  <a:gd name="connsiteX17" fmla="*/ 180404 w 217646"/>
                  <a:gd name="connsiteY17" fmla="*/ 70675 h 272319"/>
                  <a:gd name="connsiteX18" fmla="*/ 195548 w 217646"/>
                  <a:gd name="connsiteY18" fmla="*/ 69342 h 272319"/>
                  <a:gd name="connsiteX19" fmla="*/ 217646 w 217646"/>
                  <a:gd name="connsiteY19" fmla="*/ 53816 h 272319"/>
                  <a:gd name="connsiteX20" fmla="*/ 206121 w 217646"/>
                  <a:gd name="connsiteY20" fmla="*/ 37529 h 272319"/>
                  <a:gd name="connsiteX21" fmla="*/ 186881 w 217646"/>
                  <a:gd name="connsiteY21" fmla="*/ 32480 h 272319"/>
                  <a:gd name="connsiteX22" fmla="*/ 200977 w 217646"/>
                  <a:gd name="connsiteY22" fmla="*/ 25813 h 272319"/>
                  <a:gd name="connsiteX23" fmla="*/ 216408 w 217646"/>
                  <a:gd name="connsiteY23" fmla="*/ 29908 h 272319"/>
                  <a:gd name="connsiteX24" fmla="*/ 209264 w 217646"/>
                  <a:gd name="connsiteY24" fmla="*/ 12573 h 272319"/>
                  <a:gd name="connsiteX25" fmla="*/ 199644 w 217646"/>
                  <a:gd name="connsiteY25" fmla="*/ 5525 h 272319"/>
                  <a:gd name="connsiteX26" fmla="*/ 178784 w 217646"/>
                  <a:gd name="connsiteY26" fmla="*/ 0 h 272319"/>
                  <a:gd name="connsiteX27" fmla="*/ 155353 w 217646"/>
                  <a:gd name="connsiteY27" fmla="*/ 2381 h 272319"/>
                  <a:gd name="connsiteX28" fmla="*/ 155448 w 217646"/>
                  <a:gd name="connsiteY28" fmla="*/ 13525 h 272319"/>
                  <a:gd name="connsiteX29" fmla="*/ 144780 w 217646"/>
                  <a:gd name="connsiteY29" fmla="*/ 5429 h 272319"/>
                  <a:gd name="connsiteX30" fmla="*/ 136779 w 217646"/>
                  <a:gd name="connsiteY30" fmla="*/ 12287 h 272319"/>
                  <a:gd name="connsiteX31" fmla="*/ 133826 w 217646"/>
                  <a:gd name="connsiteY31" fmla="*/ 25717 h 272319"/>
                  <a:gd name="connsiteX32" fmla="*/ 128397 w 217646"/>
                  <a:gd name="connsiteY32" fmla="*/ 43720 h 272319"/>
                  <a:gd name="connsiteX33" fmla="*/ 126968 w 217646"/>
                  <a:gd name="connsiteY33" fmla="*/ 74676 h 272319"/>
                  <a:gd name="connsiteX34" fmla="*/ 132398 w 217646"/>
                  <a:gd name="connsiteY34" fmla="*/ 89154 h 272319"/>
                  <a:gd name="connsiteX35" fmla="*/ 139827 w 217646"/>
                  <a:gd name="connsiteY35" fmla="*/ 92297 h 272319"/>
                  <a:gd name="connsiteX36" fmla="*/ 133540 w 217646"/>
                  <a:gd name="connsiteY36" fmla="*/ 100298 h 272319"/>
                  <a:gd name="connsiteX37" fmla="*/ 133826 w 217646"/>
                  <a:gd name="connsiteY37" fmla="*/ 107823 h 272319"/>
                  <a:gd name="connsiteX38" fmla="*/ 122111 w 217646"/>
                  <a:gd name="connsiteY38" fmla="*/ 119825 h 272319"/>
                  <a:gd name="connsiteX39" fmla="*/ 115157 w 217646"/>
                  <a:gd name="connsiteY39" fmla="*/ 115824 h 272319"/>
                  <a:gd name="connsiteX40" fmla="*/ 112109 w 217646"/>
                  <a:gd name="connsiteY40" fmla="*/ 135064 h 272319"/>
                  <a:gd name="connsiteX41" fmla="*/ 105251 w 217646"/>
                  <a:gd name="connsiteY41" fmla="*/ 151352 h 272319"/>
                  <a:gd name="connsiteX42" fmla="*/ 98869 w 217646"/>
                  <a:gd name="connsiteY42" fmla="*/ 156972 h 272319"/>
                  <a:gd name="connsiteX43" fmla="*/ 90202 w 217646"/>
                  <a:gd name="connsiteY43" fmla="*/ 162306 h 272319"/>
                  <a:gd name="connsiteX44" fmla="*/ 65723 w 217646"/>
                  <a:gd name="connsiteY44" fmla="*/ 156686 h 272319"/>
                  <a:gd name="connsiteX45" fmla="*/ 54102 w 217646"/>
                  <a:gd name="connsiteY45" fmla="*/ 156400 h 272319"/>
                  <a:gd name="connsiteX46" fmla="*/ 47339 w 217646"/>
                  <a:gd name="connsiteY46" fmla="*/ 161830 h 272319"/>
                  <a:gd name="connsiteX47" fmla="*/ 39243 w 217646"/>
                  <a:gd name="connsiteY47" fmla="*/ 142399 h 272319"/>
                  <a:gd name="connsiteX48" fmla="*/ 34481 w 217646"/>
                  <a:gd name="connsiteY48" fmla="*/ 123825 h 272319"/>
                  <a:gd name="connsiteX49" fmla="*/ 17240 w 217646"/>
                  <a:gd name="connsiteY49" fmla="*/ 120491 h 272319"/>
                  <a:gd name="connsiteX50" fmla="*/ 11621 w 217646"/>
                  <a:gd name="connsiteY50" fmla="*/ 130778 h 272319"/>
                  <a:gd name="connsiteX51" fmla="*/ 22288 w 217646"/>
                  <a:gd name="connsiteY51" fmla="*/ 159639 h 272319"/>
                  <a:gd name="connsiteX52" fmla="*/ 28480 w 217646"/>
                  <a:gd name="connsiteY52" fmla="*/ 157829 h 272319"/>
                  <a:gd name="connsiteX53" fmla="*/ 22384 w 217646"/>
                  <a:gd name="connsiteY53" fmla="*/ 175450 h 272319"/>
                  <a:gd name="connsiteX54" fmla="*/ 16383 w 217646"/>
                  <a:gd name="connsiteY54" fmla="*/ 194024 h 272319"/>
                  <a:gd name="connsiteX55" fmla="*/ 9335 w 217646"/>
                  <a:gd name="connsiteY55" fmla="*/ 192310 h 272319"/>
                  <a:gd name="connsiteX56" fmla="*/ 3524 w 217646"/>
                  <a:gd name="connsiteY56" fmla="*/ 208312 h 272319"/>
                  <a:gd name="connsiteX57" fmla="*/ 0 w 217646"/>
                  <a:gd name="connsiteY57" fmla="*/ 235267 h 272319"/>
                  <a:gd name="connsiteX58" fmla="*/ 3810 w 217646"/>
                  <a:gd name="connsiteY58" fmla="*/ 267081 h 272319"/>
                  <a:gd name="connsiteX59" fmla="*/ 10001 w 217646"/>
                  <a:gd name="connsiteY59" fmla="*/ 262318 h 272319"/>
                  <a:gd name="connsiteX60" fmla="*/ 17431 w 217646"/>
                  <a:gd name="connsiteY60" fmla="*/ 246412 h 272319"/>
                  <a:gd name="connsiteX61" fmla="*/ 29051 w 217646"/>
                  <a:gd name="connsiteY61" fmla="*/ 225076 h 272319"/>
                  <a:gd name="connsiteX62" fmla="*/ 23431 w 217646"/>
                  <a:gd name="connsiteY62" fmla="*/ 257080 h 272319"/>
                  <a:gd name="connsiteX63" fmla="*/ 23813 w 217646"/>
                  <a:gd name="connsiteY63" fmla="*/ 272320 h 272319"/>
                  <a:gd name="connsiteX64" fmla="*/ 39529 w 217646"/>
                  <a:gd name="connsiteY64" fmla="*/ 269081 h 272319"/>
                  <a:gd name="connsiteX65" fmla="*/ 56293 w 217646"/>
                  <a:gd name="connsiteY65" fmla="*/ 253651 h 272319"/>
                  <a:gd name="connsiteX66" fmla="*/ 59817 w 217646"/>
                  <a:gd name="connsiteY66" fmla="*/ 247269 h 272319"/>
                  <a:gd name="connsiteX67" fmla="*/ 63436 w 217646"/>
                  <a:gd name="connsiteY67" fmla="*/ 230314 h 272319"/>
                  <a:gd name="connsiteX68" fmla="*/ 71342 w 217646"/>
                  <a:gd name="connsiteY68" fmla="*/ 215551 h 272319"/>
                  <a:gd name="connsiteX69" fmla="*/ 83629 w 217646"/>
                  <a:gd name="connsiteY69" fmla="*/ 211931 h 272319"/>
                  <a:gd name="connsiteX70" fmla="*/ 91059 w 217646"/>
                  <a:gd name="connsiteY70" fmla="*/ 222599 h 272319"/>
                  <a:gd name="connsiteX71" fmla="*/ 77915 w 217646"/>
                  <a:gd name="connsiteY71" fmla="*/ 245554 h 272319"/>
                  <a:gd name="connsiteX72" fmla="*/ 74771 w 217646"/>
                  <a:gd name="connsiteY72" fmla="*/ 260985 h 27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17646" h="272319">
                    <a:moveTo>
                      <a:pt x="74771" y="260985"/>
                    </a:moveTo>
                    <a:lnTo>
                      <a:pt x="105727" y="265081"/>
                    </a:lnTo>
                    <a:lnTo>
                      <a:pt x="121063" y="260413"/>
                    </a:lnTo>
                    <a:lnTo>
                      <a:pt x="115443" y="246317"/>
                    </a:lnTo>
                    <a:lnTo>
                      <a:pt x="128206" y="225171"/>
                    </a:lnTo>
                    <a:lnTo>
                      <a:pt x="126683" y="209931"/>
                    </a:lnTo>
                    <a:lnTo>
                      <a:pt x="132398" y="184785"/>
                    </a:lnTo>
                    <a:lnTo>
                      <a:pt x="148209" y="195643"/>
                    </a:lnTo>
                    <a:lnTo>
                      <a:pt x="164878" y="180022"/>
                    </a:lnTo>
                    <a:lnTo>
                      <a:pt x="170879" y="170021"/>
                    </a:lnTo>
                    <a:lnTo>
                      <a:pt x="172784" y="148685"/>
                    </a:lnTo>
                    <a:lnTo>
                      <a:pt x="184118" y="136303"/>
                    </a:lnTo>
                    <a:lnTo>
                      <a:pt x="174974" y="124016"/>
                    </a:lnTo>
                    <a:lnTo>
                      <a:pt x="184404" y="120301"/>
                    </a:lnTo>
                    <a:lnTo>
                      <a:pt x="192405" y="107442"/>
                    </a:lnTo>
                    <a:lnTo>
                      <a:pt x="200025" y="88868"/>
                    </a:lnTo>
                    <a:lnTo>
                      <a:pt x="189643" y="84011"/>
                    </a:lnTo>
                    <a:lnTo>
                      <a:pt x="180404" y="70675"/>
                    </a:lnTo>
                    <a:lnTo>
                      <a:pt x="195548" y="69342"/>
                    </a:lnTo>
                    <a:lnTo>
                      <a:pt x="217646" y="53816"/>
                    </a:lnTo>
                    <a:lnTo>
                      <a:pt x="206121" y="37529"/>
                    </a:lnTo>
                    <a:lnTo>
                      <a:pt x="186881" y="32480"/>
                    </a:lnTo>
                    <a:lnTo>
                      <a:pt x="200977" y="25813"/>
                    </a:lnTo>
                    <a:lnTo>
                      <a:pt x="216408" y="29908"/>
                    </a:lnTo>
                    <a:lnTo>
                      <a:pt x="209264" y="12573"/>
                    </a:lnTo>
                    <a:lnTo>
                      <a:pt x="199644" y="5525"/>
                    </a:lnTo>
                    <a:lnTo>
                      <a:pt x="178784" y="0"/>
                    </a:lnTo>
                    <a:lnTo>
                      <a:pt x="155353" y="2381"/>
                    </a:lnTo>
                    <a:lnTo>
                      <a:pt x="155448" y="13525"/>
                    </a:lnTo>
                    <a:lnTo>
                      <a:pt x="144780" y="5429"/>
                    </a:lnTo>
                    <a:lnTo>
                      <a:pt x="136779" y="12287"/>
                    </a:lnTo>
                    <a:lnTo>
                      <a:pt x="133826" y="25717"/>
                    </a:lnTo>
                    <a:lnTo>
                      <a:pt x="128397" y="43720"/>
                    </a:lnTo>
                    <a:lnTo>
                      <a:pt x="126968" y="74676"/>
                    </a:lnTo>
                    <a:lnTo>
                      <a:pt x="132398" y="89154"/>
                    </a:lnTo>
                    <a:lnTo>
                      <a:pt x="139827" y="92297"/>
                    </a:lnTo>
                    <a:lnTo>
                      <a:pt x="133540" y="100298"/>
                    </a:lnTo>
                    <a:lnTo>
                      <a:pt x="133826" y="107823"/>
                    </a:lnTo>
                    <a:lnTo>
                      <a:pt x="122111" y="119825"/>
                    </a:lnTo>
                    <a:lnTo>
                      <a:pt x="115157" y="115824"/>
                    </a:lnTo>
                    <a:lnTo>
                      <a:pt x="112109" y="135064"/>
                    </a:lnTo>
                    <a:lnTo>
                      <a:pt x="105251" y="151352"/>
                    </a:lnTo>
                    <a:lnTo>
                      <a:pt x="98869" y="156972"/>
                    </a:lnTo>
                    <a:lnTo>
                      <a:pt x="90202" y="162306"/>
                    </a:lnTo>
                    <a:lnTo>
                      <a:pt x="65723" y="156686"/>
                    </a:lnTo>
                    <a:lnTo>
                      <a:pt x="54102" y="156400"/>
                    </a:lnTo>
                    <a:lnTo>
                      <a:pt x="47339" y="161830"/>
                    </a:lnTo>
                    <a:lnTo>
                      <a:pt x="39243" y="142399"/>
                    </a:lnTo>
                    <a:lnTo>
                      <a:pt x="34481" y="123825"/>
                    </a:lnTo>
                    <a:lnTo>
                      <a:pt x="17240" y="120491"/>
                    </a:lnTo>
                    <a:lnTo>
                      <a:pt x="11621" y="130778"/>
                    </a:lnTo>
                    <a:lnTo>
                      <a:pt x="22288" y="159639"/>
                    </a:lnTo>
                    <a:lnTo>
                      <a:pt x="28480" y="157829"/>
                    </a:lnTo>
                    <a:lnTo>
                      <a:pt x="22384" y="175450"/>
                    </a:lnTo>
                    <a:lnTo>
                      <a:pt x="16383" y="194024"/>
                    </a:lnTo>
                    <a:lnTo>
                      <a:pt x="9335" y="192310"/>
                    </a:lnTo>
                    <a:lnTo>
                      <a:pt x="3524" y="208312"/>
                    </a:lnTo>
                    <a:lnTo>
                      <a:pt x="0" y="235267"/>
                    </a:lnTo>
                    <a:lnTo>
                      <a:pt x="3810" y="267081"/>
                    </a:lnTo>
                    <a:lnTo>
                      <a:pt x="10001" y="262318"/>
                    </a:lnTo>
                    <a:lnTo>
                      <a:pt x="17431" y="246412"/>
                    </a:lnTo>
                    <a:lnTo>
                      <a:pt x="29051" y="225076"/>
                    </a:lnTo>
                    <a:lnTo>
                      <a:pt x="23431" y="257080"/>
                    </a:lnTo>
                    <a:lnTo>
                      <a:pt x="23813" y="272320"/>
                    </a:lnTo>
                    <a:lnTo>
                      <a:pt x="39529" y="269081"/>
                    </a:lnTo>
                    <a:lnTo>
                      <a:pt x="56293" y="253651"/>
                    </a:lnTo>
                    <a:lnTo>
                      <a:pt x="59817" y="247269"/>
                    </a:lnTo>
                    <a:lnTo>
                      <a:pt x="63436" y="230314"/>
                    </a:lnTo>
                    <a:lnTo>
                      <a:pt x="71342" y="215551"/>
                    </a:lnTo>
                    <a:lnTo>
                      <a:pt x="83629" y="211931"/>
                    </a:lnTo>
                    <a:lnTo>
                      <a:pt x="91059" y="222599"/>
                    </a:lnTo>
                    <a:lnTo>
                      <a:pt x="77915" y="245554"/>
                    </a:lnTo>
                    <a:lnTo>
                      <a:pt x="74771" y="26098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46" name="Freeform: Shape 245">
                <a:extLst>
                  <a:ext uri="{FF2B5EF4-FFF2-40B4-BE49-F238E27FC236}">
                    <a16:creationId xmlns:a16="http://schemas.microsoft.com/office/drawing/2014/main" id="{7F9E8E6D-7A3A-4355-97DA-96DCE1C08FA5}"/>
                  </a:ext>
                </a:extLst>
              </p:cNvPr>
              <p:cNvSpPr/>
              <p:nvPr/>
            </p:nvSpPr>
            <p:spPr>
              <a:xfrm>
                <a:off x="13448333" y="4305411"/>
                <a:ext cx="28384" cy="19335"/>
              </a:xfrm>
              <a:custGeom>
                <a:avLst/>
                <a:gdLst>
                  <a:gd name="connsiteX0" fmla="*/ 10192 w 28384"/>
                  <a:gd name="connsiteY0" fmla="*/ 0 h 19335"/>
                  <a:gd name="connsiteX1" fmla="*/ 0 w 28384"/>
                  <a:gd name="connsiteY1" fmla="*/ 4763 h 19335"/>
                  <a:gd name="connsiteX2" fmla="*/ 3524 w 28384"/>
                  <a:gd name="connsiteY2" fmla="*/ 14764 h 19335"/>
                  <a:gd name="connsiteX3" fmla="*/ 11525 w 28384"/>
                  <a:gd name="connsiteY3" fmla="*/ 19050 h 19335"/>
                  <a:gd name="connsiteX4" fmla="*/ 14764 w 28384"/>
                  <a:gd name="connsiteY4" fmla="*/ 19336 h 19335"/>
                  <a:gd name="connsiteX5" fmla="*/ 24098 w 28384"/>
                  <a:gd name="connsiteY5" fmla="*/ 16669 h 19335"/>
                  <a:gd name="connsiteX6" fmla="*/ 28385 w 28384"/>
                  <a:gd name="connsiteY6" fmla="*/ 8287 h 19335"/>
                  <a:gd name="connsiteX7" fmla="*/ 23336 w 28384"/>
                  <a:gd name="connsiteY7" fmla="*/ 953 h 19335"/>
                  <a:gd name="connsiteX8" fmla="*/ 10192 w 28384"/>
                  <a:gd name="connsiteY8" fmla="*/ 0 h 1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84" h="19335">
                    <a:moveTo>
                      <a:pt x="10192" y="0"/>
                    </a:moveTo>
                    <a:lnTo>
                      <a:pt x="0" y="4763"/>
                    </a:lnTo>
                    <a:lnTo>
                      <a:pt x="3524" y="14764"/>
                    </a:lnTo>
                    <a:lnTo>
                      <a:pt x="11525" y="19050"/>
                    </a:lnTo>
                    <a:lnTo>
                      <a:pt x="14764" y="19336"/>
                    </a:lnTo>
                    <a:lnTo>
                      <a:pt x="24098" y="16669"/>
                    </a:lnTo>
                    <a:lnTo>
                      <a:pt x="28385" y="8287"/>
                    </a:lnTo>
                    <a:lnTo>
                      <a:pt x="23336" y="953"/>
                    </a:lnTo>
                    <a:lnTo>
                      <a:pt x="10192"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47" name="Freeform: Shape 246">
                <a:extLst>
                  <a:ext uri="{FF2B5EF4-FFF2-40B4-BE49-F238E27FC236}">
                    <a16:creationId xmlns:a16="http://schemas.microsoft.com/office/drawing/2014/main" id="{29D2C7E5-F221-4A17-A44B-60C01E384C5A}"/>
                  </a:ext>
                </a:extLst>
              </p:cNvPr>
              <p:cNvSpPr/>
              <p:nvPr/>
            </p:nvSpPr>
            <p:spPr>
              <a:xfrm>
                <a:off x="13329937" y="4255404"/>
                <a:ext cx="18192" cy="22669"/>
              </a:xfrm>
              <a:custGeom>
                <a:avLst/>
                <a:gdLst>
                  <a:gd name="connsiteX0" fmla="*/ 18193 w 18192"/>
                  <a:gd name="connsiteY0" fmla="*/ 22289 h 22669"/>
                  <a:gd name="connsiteX1" fmla="*/ 16383 w 18192"/>
                  <a:gd name="connsiteY1" fmla="*/ 7144 h 22669"/>
                  <a:gd name="connsiteX2" fmla="*/ 5525 w 18192"/>
                  <a:gd name="connsiteY2" fmla="*/ 0 h 22669"/>
                  <a:gd name="connsiteX3" fmla="*/ 0 w 18192"/>
                  <a:gd name="connsiteY3" fmla="*/ 3048 h 22669"/>
                  <a:gd name="connsiteX4" fmla="*/ 476 w 18192"/>
                  <a:gd name="connsiteY4" fmla="*/ 11049 h 22669"/>
                  <a:gd name="connsiteX5" fmla="*/ 14002 w 18192"/>
                  <a:gd name="connsiteY5" fmla="*/ 22670 h 22669"/>
                  <a:gd name="connsiteX6" fmla="*/ 18193 w 18192"/>
                  <a:gd name="connsiteY6" fmla="*/ 22289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92" h="22669">
                    <a:moveTo>
                      <a:pt x="18193" y="22289"/>
                    </a:moveTo>
                    <a:lnTo>
                      <a:pt x="16383" y="7144"/>
                    </a:lnTo>
                    <a:lnTo>
                      <a:pt x="5525" y="0"/>
                    </a:lnTo>
                    <a:lnTo>
                      <a:pt x="0" y="3048"/>
                    </a:lnTo>
                    <a:lnTo>
                      <a:pt x="476" y="11049"/>
                    </a:lnTo>
                    <a:lnTo>
                      <a:pt x="14002" y="22670"/>
                    </a:lnTo>
                    <a:lnTo>
                      <a:pt x="18193" y="2228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48" name="Freeform: Shape 247">
                <a:extLst>
                  <a:ext uri="{FF2B5EF4-FFF2-40B4-BE49-F238E27FC236}">
                    <a16:creationId xmlns:a16="http://schemas.microsoft.com/office/drawing/2014/main" id="{482B1376-0625-4DE7-AFD2-DFC9B943092D}"/>
                  </a:ext>
                </a:extLst>
              </p:cNvPr>
              <p:cNvSpPr/>
              <p:nvPr/>
            </p:nvSpPr>
            <p:spPr>
              <a:xfrm>
                <a:off x="13685982" y="4006040"/>
                <a:ext cx="27908" cy="49815"/>
              </a:xfrm>
              <a:custGeom>
                <a:avLst/>
                <a:gdLst>
                  <a:gd name="connsiteX0" fmla="*/ 10287 w 27908"/>
                  <a:gd name="connsiteY0" fmla="*/ 0 h 49815"/>
                  <a:gd name="connsiteX1" fmla="*/ 1715 w 27908"/>
                  <a:gd name="connsiteY1" fmla="*/ 4000 h 49815"/>
                  <a:gd name="connsiteX2" fmla="*/ 0 w 27908"/>
                  <a:gd name="connsiteY2" fmla="*/ 14002 h 49815"/>
                  <a:gd name="connsiteX3" fmla="*/ 3619 w 27908"/>
                  <a:gd name="connsiteY3" fmla="*/ 28289 h 49815"/>
                  <a:gd name="connsiteX4" fmla="*/ 2191 w 27908"/>
                  <a:gd name="connsiteY4" fmla="*/ 33528 h 49815"/>
                  <a:gd name="connsiteX5" fmla="*/ 7620 w 27908"/>
                  <a:gd name="connsiteY5" fmla="*/ 41148 h 49815"/>
                  <a:gd name="connsiteX6" fmla="*/ 23717 w 27908"/>
                  <a:gd name="connsiteY6" fmla="*/ 49816 h 49815"/>
                  <a:gd name="connsiteX7" fmla="*/ 23813 w 27908"/>
                  <a:gd name="connsiteY7" fmla="*/ 41815 h 49815"/>
                  <a:gd name="connsiteX8" fmla="*/ 27908 w 27908"/>
                  <a:gd name="connsiteY8" fmla="*/ 34862 h 49815"/>
                  <a:gd name="connsiteX9" fmla="*/ 20193 w 27908"/>
                  <a:gd name="connsiteY9" fmla="*/ 17621 h 49815"/>
                  <a:gd name="connsiteX10" fmla="*/ 10287 w 27908"/>
                  <a:gd name="connsiteY10" fmla="*/ 0 h 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908" h="49815">
                    <a:moveTo>
                      <a:pt x="10287" y="0"/>
                    </a:moveTo>
                    <a:lnTo>
                      <a:pt x="1715" y="4000"/>
                    </a:lnTo>
                    <a:lnTo>
                      <a:pt x="0" y="14002"/>
                    </a:lnTo>
                    <a:lnTo>
                      <a:pt x="3619" y="28289"/>
                    </a:lnTo>
                    <a:lnTo>
                      <a:pt x="2191" y="33528"/>
                    </a:lnTo>
                    <a:lnTo>
                      <a:pt x="7620" y="41148"/>
                    </a:lnTo>
                    <a:lnTo>
                      <a:pt x="23717" y="49816"/>
                    </a:lnTo>
                    <a:lnTo>
                      <a:pt x="23813" y="41815"/>
                    </a:lnTo>
                    <a:lnTo>
                      <a:pt x="27908" y="34862"/>
                    </a:lnTo>
                    <a:lnTo>
                      <a:pt x="20193" y="17621"/>
                    </a:lnTo>
                    <a:lnTo>
                      <a:pt x="10287"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49" name="Freeform: Shape 248">
                <a:extLst>
                  <a:ext uri="{FF2B5EF4-FFF2-40B4-BE49-F238E27FC236}">
                    <a16:creationId xmlns:a16="http://schemas.microsoft.com/office/drawing/2014/main" id="{7FA92F45-3191-4F87-A15A-AC13A9FC19E8}"/>
                  </a:ext>
                </a:extLst>
              </p:cNvPr>
              <p:cNvSpPr/>
              <p:nvPr/>
            </p:nvSpPr>
            <p:spPr>
              <a:xfrm>
                <a:off x="13647787" y="4182348"/>
                <a:ext cx="175355" cy="92868"/>
              </a:xfrm>
              <a:custGeom>
                <a:avLst/>
                <a:gdLst>
                  <a:gd name="connsiteX0" fmla="*/ 153162 w 175355"/>
                  <a:gd name="connsiteY0" fmla="*/ 90392 h 92868"/>
                  <a:gd name="connsiteX1" fmla="*/ 166211 w 175355"/>
                  <a:gd name="connsiteY1" fmla="*/ 92869 h 92868"/>
                  <a:gd name="connsiteX2" fmla="*/ 172022 w 175355"/>
                  <a:gd name="connsiteY2" fmla="*/ 90011 h 92868"/>
                  <a:gd name="connsiteX3" fmla="*/ 175260 w 175355"/>
                  <a:gd name="connsiteY3" fmla="*/ 82010 h 92868"/>
                  <a:gd name="connsiteX4" fmla="*/ 175355 w 175355"/>
                  <a:gd name="connsiteY4" fmla="*/ 74867 h 92868"/>
                  <a:gd name="connsiteX5" fmla="*/ 174022 w 175355"/>
                  <a:gd name="connsiteY5" fmla="*/ 66866 h 92868"/>
                  <a:gd name="connsiteX6" fmla="*/ 173260 w 175355"/>
                  <a:gd name="connsiteY6" fmla="*/ 60484 h 92868"/>
                  <a:gd name="connsiteX7" fmla="*/ 172783 w 175355"/>
                  <a:gd name="connsiteY7" fmla="*/ 54007 h 92868"/>
                  <a:gd name="connsiteX8" fmla="*/ 166497 w 175355"/>
                  <a:gd name="connsiteY8" fmla="*/ 47054 h 92868"/>
                  <a:gd name="connsiteX9" fmla="*/ 168688 w 175355"/>
                  <a:gd name="connsiteY9" fmla="*/ 44958 h 92868"/>
                  <a:gd name="connsiteX10" fmla="*/ 165830 w 175355"/>
                  <a:gd name="connsiteY10" fmla="*/ 36481 h 92868"/>
                  <a:gd name="connsiteX11" fmla="*/ 162306 w 175355"/>
                  <a:gd name="connsiteY11" fmla="*/ 31718 h 92868"/>
                  <a:gd name="connsiteX12" fmla="*/ 157924 w 175355"/>
                  <a:gd name="connsiteY12" fmla="*/ 28385 h 92868"/>
                  <a:gd name="connsiteX13" fmla="*/ 144685 w 175355"/>
                  <a:gd name="connsiteY13" fmla="*/ 27623 h 92868"/>
                  <a:gd name="connsiteX14" fmla="*/ 150971 w 175355"/>
                  <a:gd name="connsiteY14" fmla="*/ 23432 h 92868"/>
                  <a:gd name="connsiteX15" fmla="*/ 151924 w 175355"/>
                  <a:gd name="connsiteY15" fmla="*/ 19431 h 92868"/>
                  <a:gd name="connsiteX16" fmla="*/ 142589 w 175355"/>
                  <a:gd name="connsiteY16" fmla="*/ 15335 h 92868"/>
                  <a:gd name="connsiteX17" fmla="*/ 138494 w 175355"/>
                  <a:gd name="connsiteY17" fmla="*/ 9049 h 92868"/>
                  <a:gd name="connsiteX18" fmla="*/ 137636 w 175355"/>
                  <a:gd name="connsiteY18" fmla="*/ 5144 h 92868"/>
                  <a:gd name="connsiteX19" fmla="*/ 133159 w 175355"/>
                  <a:gd name="connsiteY19" fmla="*/ 0 h 92868"/>
                  <a:gd name="connsiteX20" fmla="*/ 124873 w 175355"/>
                  <a:gd name="connsiteY20" fmla="*/ 571 h 92868"/>
                  <a:gd name="connsiteX21" fmla="*/ 117729 w 175355"/>
                  <a:gd name="connsiteY21" fmla="*/ 4667 h 92868"/>
                  <a:gd name="connsiteX22" fmla="*/ 108013 w 175355"/>
                  <a:gd name="connsiteY22" fmla="*/ 7906 h 92868"/>
                  <a:gd name="connsiteX23" fmla="*/ 100108 w 175355"/>
                  <a:gd name="connsiteY23" fmla="*/ 15050 h 92868"/>
                  <a:gd name="connsiteX24" fmla="*/ 102584 w 175355"/>
                  <a:gd name="connsiteY24" fmla="*/ 28956 h 92868"/>
                  <a:gd name="connsiteX25" fmla="*/ 100965 w 175355"/>
                  <a:gd name="connsiteY25" fmla="*/ 38291 h 92868"/>
                  <a:gd name="connsiteX26" fmla="*/ 91440 w 175355"/>
                  <a:gd name="connsiteY26" fmla="*/ 33052 h 92868"/>
                  <a:gd name="connsiteX27" fmla="*/ 93726 w 175355"/>
                  <a:gd name="connsiteY27" fmla="*/ 29432 h 92868"/>
                  <a:gd name="connsiteX28" fmla="*/ 93821 w 175355"/>
                  <a:gd name="connsiteY28" fmla="*/ 18098 h 92868"/>
                  <a:gd name="connsiteX29" fmla="*/ 81629 w 175355"/>
                  <a:gd name="connsiteY29" fmla="*/ 20574 h 92868"/>
                  <a:gd name="connsiteX30" fmla="*/ 72676 w 175355"/>
                  <a:gd name="connsiteY30" fmla="*/ 27527 h 92868"/>
                  <a:gd name="connsiteX31" fmla="*/ 64294 w 175355"/>
                  <a:gd name="connsiteY31" fmla="*/ 26956 h 92868"/>
                  <a:gd name="connsiteX32" fmla="*/ 58102 w 175355"/>
                  <a:gd name="connsiteY32" fmla="*/ 18955 h 92868"/>
                  <a:gd name="connsiteX33" fmla="*/ 48673 w 175355"/>
                  <a:gd name="connsiteY33" fmla="*/ 15431 h 92868"/>
                  <a:gd name="connsiteX34" fmla="*/ 44482 w 175355"/>
                  <a:gd name="connsiteY34" fmla="*/ 23717 h 92868"/>
                  <a:gd name="connsiteX35" fmla="*/ 29813 w 175355"/>
                  <a:gd name="connsiteY35" fmla="*/ 31813 h 92868"/>
                  <a:gd name="connsiteX36" fmla="*/ 39148 w 175355"/>
                  <a:gd name="connsiteY36" fmla="*/ 17431 h 92868"/>
                  <a:gd name="connsiteX37" fmla="*/ 37338 w 175355"/>
                  <a:gd name="connsiteY37" fmla="*/ 14383 h 92868"/>
                  <a:gd name="connsiteX38" fmla="*/ 20288 w 175355"/>
                  <a:gd name="connsiteY38" fmla="*/ 17526 h 92868"/>
                  <a:gd name="connsiteX39" fmla="*/ 14669 w 175355"/>
                  <a:gd name="connsiteY39" fmla="*/ 7525 h 92868"/>
                  <a:gd name="connsiteX40" fmla="*/ 3334 w 175355"/>
                  <a:gd name="connsiteY40" fmla="*/ 8382 h 92868"/>
                  <a:gd name="connsiteX41" fmla="*/ 2381 w 175355"/>
                  <a:gd name="connsiteY41" fmla="*/ 19145 h 92868"/>
                  <a:gd name="connsiteX42" fmla="*/ 0 w 175355"/>
                  <a:gd name="connsiteY42" fmla="*/ 27908 h 92868"/>
                  <a:gd name="connsiteX43" fmla="*/ 5239 w 175355"/>
                  <a:gd name="connsiteY43" fmla="*/ 44291 h 92868"/>
                  <a:gd name="connsiteX44" fmla="*/ 857 w 175355"/>
                  <a:gd name="connsiteY44" fmla="*/ 60198 h 92868"/>
                  <a:gd name="connsiteX45" fmla="*/ 17717 w 175355"/>
                  <a:gd name="connsiteY45" fmla="*/ 72485 h 92868"/>
                  <a:gd name="connsiteX46" fmla="*/ 23336 w 175355"/>
                  <a:gd name="connsiteY46" fmla="*/ 71152 h 92868"/>
                  <a:gd name="connsiteX47" fmla="*/ 20574 w 175355"/>
                  <a:gd name="connsiteY47" fmla="*/ 62103 h 92868"/>
                  <a:gd name="connsiteX48" fmla="*/ 25717 w 175355"/>
                  <a:gd name="connsiteY48" fmla="*/ 60388 h 92868"/>
                  <a:gd name="connsiteX49" fmla="*/ 34100 w 175355"/>
                  <a:gd name="connsiteY49" fmla="*/ 66389 h 92868"/>
                  <a:gd name="connsiteX50" fmla="*/ 43720 w 175355"/>
                  <a:gd name="connsiteY50" fmla="*/ 66866 h 92868"/>
                  <a:gd name="connsiteX51" fmla="*/ 52102 w 175355"/>
                  <a:gd name="connsiteY51" fmla="*/ 72962 h 92868"/>
                  <a:gd name="connsiteX52" fmla="*/ 61150 w 175355"/>
                  <a:gd name="connsiteY52" fmla="*/ 75533 h 92868"/>
                  <a:gd name="connsiteX53" fmla="*/ 71628 w 175355"/>
                  <a:gd name="connsiteY53" fmla="*/ 68771 h 92868"/>
                  <a:gd name="connsiteX54" fmla="*/ 76581 w 175355"/>
                  <a:gd name="connsiteY54" fmla="*/ 70866 h 92868"/>
                  <a:gd name="connsiteX55" fmla="*/ 78010 w 175355"/>
                  <a:gd name="connsiteY55" fmla="*/ 64103 h 92868"/>
                  <a:gd name="connsiteX56" fmla="*/ 83915 w 175355"/>
                  <a:gd name="connsiteY56" fmla="*/ 76581 h 92868"/>
                  <a:gd name="connsiteX57" fmla="*/ 89344 w 175355"/>
                  <a:gd name="connsiteY57" fmla="*/ 77915 h 92868"/>
                  <a:gd name="connsiteX58" fmla="*/ 95917 w 175355"/>
                  <a:gd name="connsiteY58" fmla="*/ 85249 h 92868"/>
                  <a:gd name="connsiteX59" fmla="*/ 116777 w 175355"/>
                  <a:gd name="connsiteY59" fmla="*/ 85249 h 92868"/>
                  <a:gd name="connsiteX60" fmla="*/ 125444 w 175355"/>
                  <a:gd name="connsiteY60" fmla="*/ 88773 h 92868"/>
                  <a:gd name="connsiteX61" fmla="*/ 142304 w 175355"/>
                  <a:gd name="connsiteY61" fmla="*/ 91059 h 92868"/>
                  <a:gd name="connsiteX62" fmla="*/ 139065 w 175355"/>
                  <a:gd name="connsiteY62" fmla="*/ 83915 h 92868"/>
                  <a:gd name="connsiteX63" fmla="*/ 145256 w 175355"/>
                  <a:gd name="connsiteY63" fmla="*/ 84773 h 92868"/>
                  <a:gd name="connsiteX64" fmla="*/ 153162 w 175355"/>
                  <a:gd name="connsiteY64" fmla="*/ 90392 h 9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75355" h="92868">
                    <a:moveTo>
                      <a:pt x="153162" y="90392"/>
                    </a:moveTo>
                    <a:lnTo>
                      <a:pt x="166211" y="92869"/>
                    </a:lnTo>
                    <a:lnTo>
                      <a:pt x="172022" y="90011"/>
                    </a:lnTo>
                    <a:lnTo>
                      <a:pt x="175260" y="82010"/>
                    </a:lnTo>
                    <a:lnTo>
                      <a:pt x="175355" y="74867"/>
                    </a:lnTo>
                    <a:lnTo>
                      <a:pt x="174022" y="66866"/>
                    </a:lnTo>
                    <a:lnTo>
                      <a:pt x="173260" y="60484"/>
                    </a:lnTo>
                    <a:lnTo>
                      <a:pt x="172783" y="54007"/>
                    </a:lnTo>
                    <a:lnTo>
                      <a:pt x="166497" y="47054"/>
                    </a:lnTo>
                    <a:lnTo>
                      <a:pt x="168688" y="44958"/>
                    </a:lnTo>
                    <a:lnTo>
                      <a:pt x="165830" y="36481"/>
                    </a:lnTo>
                    <a:lnTo>
                      <a:pt x="162306" y="31718"/>
                    </a:lnTo>
                    <a:lnTo>
                      <a:pt x="157924" y="28385"/>
                    </a:lnTo>
                    <a:lnTo>
                      <a:pt x="144685" y="27623"/>
                    </a:lnTo>
                    <a:lnTo>
                      <a:pt x="150971" y="23432"/>
                    </a:lnTo>
                    <a:lnTo>
                      <a:pt x="151924" y="19431"/>
                    </a:lnTo>
                    <a:lnTo>
                      <a:pt x="142589" y="15335"/>
                    </a:lnTo>
                    <a:lnTo>
                      <a:pt x="138494" y="9049"/>
                    </a:lnTo>
                    <a:lnTo>
                      <a:pt x="137636" y="5144"/>
                    </a:lnTo>
                    <a:lnTo>
                      <a:pt x="133159" y="0"/>
                    </a:lnTo>
                    <a:lnTo>
                      <a:pt x="124873" y="571"/>
                    </a:lnTo>
                    <a:lnTo>
                      <a:pt x="117729" y="4667"/>
                    </a:lnTo>
                    <a:lnTo>
                      <a:pt x="108013" y="7906"/>
                    </a:lnTo>
                    <a:lnTo>
                      <a:pt x="100108" y="15050"/>
                    </a:lnTo>
                    <a:lnTo>
                      <a:pt x="102584" y="28956"/>
                    </a:lnTo>
                    <a:lnTo>
                      <a:pt x="100965" y="38291"/>
                    </a:lnTo>
                    <a:lnTo>
                      <a:pt x="91440" y="33052"/>
                    </a:lnTo>
                    <a:lnTo>
                      <a:pt x="93726" y="29432"/>
                    </a:lnTo>
                    <a:lnTo>
                      <a:pt x="93821" y="18098"/>
                    </a:lnTo>
                    <a:lnTo>
                      <a:pt x="81629" y="20574"/>
                    </a:lnTo>
                    <a:lnTo>
                      <a:pt x="72676" y="27527"/>
                    </a:lnTo>
                    <a:lnTo>
                      <a:pt x="64294" y="26956"/>
                    </a:lnTo>
                    <a:lnTo>
                      <a:pt x="58102" y="18955"/>
                    </a:lnTo>
                    <a:lnTo>
                      <a:pt x="48673" y="15431"/>
                    </a:lnTo>
                    <a:lnTo>
                      <a:pt x="44482" y="23717"/>
                    </a:lnTo>
                    <a:lnTo>
                      <a:pt x="29813" y="31813"/>
                    </a:lnTo>
                    <a:lnTo>
                      <a:pt x="39148" y="17431"/>
                    </a:lnTo>
                    <a:lnTo>
                      <a:pt x="37338" y="14383"/>
                    </a:lnTo>
                    <a:lnTo>
                      <a:pt x="20288" y="17526"/>
                    </a:lnTo>
                    <a:lnTo>
                      <a:pt x="14669" y="7525"/>
                    </a:lnTo>
                    <a:lnTo>
                      <a:pt x="3334" y="8382"/>
                    </a:lnTo>
                    <a:lnTo>
                      <a:pt x="2381" y="19145"/>
                    </a:lnTo>
                    <a:lnTo>
                      <a:pt x="0" y="27908"/>
                    </a:lnTo>
                    <a:lnTo>
                      <a:pt x="5239" y="44291"/>
                    </a:lnTo>
                    <a:lnTo>
                      <a:pt x="857" y="60198"/>
                    </a:lnTo>
                    <a:lnTo>
                      <a:pt x="17717" y="72485"/>
                    </a:lnTo>
                    <a:lnTo>
                      <a:pt x="23336" y="71152"/>
                    </a:lnTo>
                    <a:lnTo>
                      <a:pt x="20574" y="62103"/>
                    </a:lnTo>
                    <a:lnTo>
                      <a:pt x="25717" y="60388"/>
                    </a:lnTo>
                    <a:lnTo>
                      <a:pt x="34100" y="66389"/>
                    </a:lnTo>
                    <a:lnTo>
                      <a:pt x="43720" y="66866"/>
                    </a:lnTo>
                    <a:lnTo>
                      <a:pt x="52102" y="72962"/>
                    </a:lnTo>
                    <a:lnTo>
                      <a:pt x="61150" y="75533"/>
                    </a:lnTo>
                    <a:lnTo>
                      <a:pt x="71628" y="68771"/>
                    </a:lnTo>
                    <a:lnTo>
                      <a:pt x="76581" y="70866"/>
                    </a:lnTo>
                    <a:lnTo>
                      <a:pt x="78010" y="64103"/>
                    </a:lnTo>
                    <a:lnTo>
                      <a:pt x="83915" y="76581"/>
                    </a:lnTo>
                    <a:lnTo>
                      <a:pt x="89344" y="77915"/>
                    </a:lnTo>
                    <a:lnTo>
                      <a:pt x="95917" y="85249"/>
                    </a:lnTo>
                    <a:lnTo>
                      <a:pt x="116777" y="85249"/>
                    </a:lnTo>
                    <a:lnTo>
                      <a:pt x="125444" y="88773"/>
                    </a:lnTo>
                    <a:lnTo>
                      <a:pt x="142304" y="91059"/>
                    </a:lnTo>
                    <a:lnTo>
                      <a:pt x="139065" y="83915"/>
                    </a:lnTo>
                    <a:lnTo>
                      <a:pt x="145256" y="84773"/>
                    </a:lnTo>
                    <a:lnTo>
                      <a:pt x="153162" y="9039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50" name="Freeform: Shape 249">
                <a:extLst>
                  <a:ext uri="{FF2B5EF4-FFF2-40B4-BE49-F238E27FC236}">
                    <a16:creationId xmlns:a16="http://schemas.microsoft.com/office/drawing/2014/main" id="{1CDC6115-2ABE-4569-AA60-E5D9884EDD14}"/>
                  </a:ext>
                </a:extLst>
              </p:cNvPr>
              <p:cNvSpPr/>
              <p:nvPr/>
            </p:nvSpPr>
            <p:spPr>
              <a:xfrm>
                <a:off x="13547964" y="4144724"/>
                <a:ext cx="49244" cy="39624"/>
              </a:xfrm>
              <a:custGeom>
                <a:avLst/>
                <a:gdLst>
                  <a:gd name="connsiteX0" fmla="*/ 49244 w 49244"/>
                  <a:gd name="connsiteY0" fmla="*/ 13145 h 39624"/>
                  <a:gd name="connsiteX1" fmla="*/ 43434 w 49244"/>
                  <a:gd name="connsiteY1" fmla="*/ 5905 h 39624"/>
                  <a:gd name="connsiteX2" fmla="*/ 33909 w 49244"/>
                  <a:gd name="connsiteY2" fmla="*/ 1333 h 39624"/>
                  <a:gd name="connsiteX3" fmla="*/ 22384 w 49244"/>
                  <a:gd name="connsiteY3" fmla="*/ 0 h 39624"/>
                  <a:gd name="connsiteX4" fmla="*/ 1619 w 49244"/>
                  <a:gd name="connsiteY4" fmla="*/ 2572 h 39624"/>
                  <a:gd name="connsiteX5" fmla="*/ 0 w 49244"/>
                  <a:gd name="connsiteY5" fmla="*/ 10954 h 39624"/>
                  <a:gd name="connsiteX6" fmla="*/ 16859 w 49244"/>
                  <a:gd name="connsiteY6" fmla="*/ 20003 h 39624"/>
                  <a:gd name="connsiteX7" fmla="*/ 20955 w 49244"/>
                  <a:gd name="connsiteY7" fmla="*/ 28766 h 39624"/>
                  <a:gd name="connsiteX8" fmla="*/ 41529 w 49244"/>
                  <a:gd name="connsiteY8" fmla="*/ 39624 h 39624"/>
                  <a:gd name="connsiteX9" fmla="*/ 47530 w 49244"/>
                  <a:gd name="connsiteY9" fmla="*/ 26956 h 39624"/>
                  <a:gd name="connsiteX10" fmla="*/ 49244 w 49244"/>
                  <a:gd name="connsiteY10" fmla="*/ 13145 h 3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44" h="39624">
                    <a:moveTo>
                      <a:pt x="49244" y="13145"/>
                    </a:moveTo>
                    <a:lnTo>
                      <a:pt x="43434" y="5905"/>
                    </a:lnTo>
                    <a:lnTo>
                      <a:pt x="33909" y="1333"/>
                    </a:lnTo>
                    <a:lnTo>
                      <a:pt x="22384" y="0"/>
                    </a:lnTo>
                    <a:lnTo>
                      <a:pt x="1619" y="2572"/>
                    </a:lnTo>
                    <a:lnTo>
                      <a:pt x="0" y="10954"/>
                    </a:lnTo>
                    <a:lnTo>
                      <a:pt x="16859" y="20003"/>
                    </a:lnTo>
                    <a:lnTo>
                      <a:pt x="20955" y="28766"/>
                    </a:lnTo>
                    <a:lnTo>
                      <a:pt x="41529" y="39624"/>
                    </a:lnTo>
                    <a:lnTo>
                      <a:pt x="47530" y="26956"/>
                    </a:lnTo>
                    <a:lnTo>
                      <a:pt x="49244" y="1314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51" name="Freeform: Shape 250">
                <a:extLst>
                  <a:ext uri="{FF2B5EF4-FFF2-40B4-BE49-F238E27FC236}">
                    <a16:creationId xmlns:a16="http://schemas.microsoft.com/office/drawing/2014/main" id="{4E1F0F07-3A2C-4A68-8352-4150765157E2}"/>
                  </a:ext>
                </a:extLst>
              </p:cNvPr>
              <p:cNvSpPr/>
              <p:nvPr/>
            </p:nvSpPr>
            <p:spPr>
              <a:xfrm>
                <a:off x="13602257" y="4148153"/>
                <a:ext cx="67341" cy="103727"/>
              </a:xfrm>
              <a:custGeom>
                <a:avLst/>
                <a:gdLst>
                  <a:gd name="connsiteX0" fmla="*/ 28480 w 67341"/>
                  <a:gd name="connsiteY0" fmla="*/ 44577 h 103727"/>
                  <a:gd name="connsiteX1" fmla="*/ 34099 w 67341"/>
                  <a:gd name="connsiteY1" fmla="*/ 40672 h 103727"/>
                  <a:gd name="connsiteX2" fmla="*/ 39433 w 67341"/>
                  <a:gd name="connsiteY2" fmla="*/ 34004 h 103727"/>
                  <a:gd name="connsiteX3" fmla="*/ 48292 w 67341"/>
                  <a:gd name="connsiteY3" fmla="*/ 35433 h 103727"/>
                  <a:gd name="connsiteX4" fmla="*/ 56198 w 67341"/>
                  <a:gd name="connsiteY4" fmla="*/ 30671 h 103727"/>
                  <a:gd name="connsiteX5" fmla="*/ 56674 w 67341"/>
                  <a:gd name="connsiteY5" fmla="*/ 19717 h 103727"/>
                  <a:gd name="connsiteX6" fmla="*/ 64770 w 67341"/>
                  <a:gd name="connsiteY6" fmla="*/ 14192 h 103727"/>
                  <a:gd name="connsiteX7" fmla="*/ 67342 w 67341"/>
                  <a:gd name="connsiteY7" fmla="*/ 3238 h 103727"/>
                  <a:gd name="connsiteX8" fmla="*/ 57912 w 67341"/>
                  <a:gd name="connsiteY8" fmla="*/ 0 h 103727"/>
                  <a:gd name="connsiteX9" fmla="*/ 49911 w 67341"/>
                  <a:gd name="connsiteY9" fmla="*/ 5620 h 103727"/>
                  <a:gd name="connsiteX10" fmla="*/ 46006 w 67341"/>
                  <a:gd name="connsiteY10" fmla="*/ 17240 h 103727"/>
                  <a:gd name="connsiteX11" fmla="*/ 35338 w 67341"/>
                  <a:gd name="connsiteY11" fmla="*/ 22479 h 103727"/>
                  <a:gd name="connsiteX12" fmla="*/ 23622 w 67341"/>
                  <a:gd name="connsiteY12" fmla="*/ 22670 h 103727"/>
                  <a:gd name="connsiteX13" fmla="*/ 10573 w 67341"/>
                  <a:gd name="connsiteY13" fmla="*/ 24193 h 103727"/>
                  <a:gd name="connsiteX14" fmla="*/ 2667 w 67341"/>
                  <a:gd name="connsiteY14" fmla="*/ 41148 h 103727"/>
                  <a:gd name="connsiteX15" fmla="*/ 0 w 67341"/>
                  <a:gd name="connsiteY15" fmla="*/ 51816 h 103727"/>
                  <a:gd name="connsiteX16" fmla="*/ 1048 w 67341"/>
                  <a:gd name="connsiteY16" fmla="*/ 65151 h 103727"/>
                  <a:gd name="connsiteX17" fmla="*/ 6382 w 67341"/>
                  <a:gd name="connsiteY17" fmla="*/ 83439 h 103727"/>
                  <a:gd name="connsiteX18" fmla="*/ 4667 w 67341"/>
                  <a:gd name="connsiteY18" fmla="*/ 92107 h 103727"/>
                  <a:gd name="connsiteX19" fmla="*/ 11144 w 67341"/>
                  <a:gd name="connsiteY19" fmla="*/ 100870 h 103727"/>
                  <a:gd name="connsiteX20" fmla="*/ 18002 w 67341"/>
                  <a:gd name="connsiteY20" fmla="*/ 103727 h 103727"/>
                  <a:gd name="connsiteX21" fmla="*/ 27337 w 67341"/>
                  <a:gd name="connsiteY21" fmla="*/ 100679 h 103727"/>
                  <a:gd name="connsiteX22" fmla="*/ 35052 w 67341"/>
                  <a:gd name="connsiteY22" fmla="*/ 92774 h 103727"/>
                  <a:gd name="connsiteX23" fmla="*/ 35338 w 67341"/>
                  <a:gd name="connsiteY23" fmla="*/ 82867 h 103727"/>
                  <a:gd name="connsiteX24" fmla="*/ 32004 w 67341"/>
                  <a:gd name="connsiteY24" fmla="*/ 70961 h 103727"/>
                  <a:gd name="connsiteX25" fmla="*/ 26098 w 67341"/>
                  <a:gd name="connsiteY25" fmla="*/ 61722 h 103727"/>
                  <a:gd name="connsiteX26" fmla="*/ 27623 w 67341"/>
                  <a:gd name="connsiteY26" fmla="*/ 52768 h 103727"/>
                  <a:gd name="connsiteX27" fmla="*/ 28480 w 67341"/>
                  <a:gd name="connsiteY27" fmla="*/ 44577 h 10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341" h="103727">
                    <a:moveTo>
                      <a:pt x="28480" y="44577"/>
                    </a:moveTo>
                    <a:lnTo>
                      <a:pt x="34099" y="40672"/>
                    </a:lnTo>
                    <a:lnTo>
                      <a:pt x="39433" y="34004"/>
                    </a:lnTo>
                    <a:lnTo>
                      <a:pt x="48292" y="35433"/>
                    </a:lnTo>
                    <a:lnTo>
                      <a:pt x="56198" y="30671"/>
                    </a:lnTo>
                    <a:lnTo>
                      <a:pt x="56674" y="19717"/>
                    </a:lnTo>
                    <a:lnTo>
                      <a:pt x="64770" y="14192"/>
                    </a:lnTo>
                    <a:lnTo>
                      <a:pt x="67342" y="3238"/>
                    </a:lnTo>
                    <a:lnTo>
                      <a:pt x="57912" y="0"/>
                    </a:lnTo>
                    <a:lnTo>
                      <a:pt x="49911" y="5620"/>
                    </a:lnTo>
                    <a:lnTo>
                      <a:pt x="46006" y="17240"/>
                    </a:lnTo>
                    <a:lnTo>
                      <a:pt x="35338" y="22479"/>
                    </a:lnTo>
                    <a:lnTo>
                      <a:pt x="23622" y="22670"/>
                    </a:lnTo>
                    <a:lnTo>
                      <a:pt x="10573" y="24193"/>
                    </a:lnTo>
                    <a:lnTo>
                      <a:pt x="2667" y="41148"/>
                    </a:lnTo>
                    <a:lnTo>
                      <a:pt x="0" y="51816"/>
                    </a:lnTo>
                    <a:lnTo>
                      <a:pt x="1048" y="65151"/>
                    </a:lnTo>
                    <a:lnTo>
                      <a:pt x="6382" y="83439"/>
                    </a:lnTo>
                    <a:lnTo>
                      <a:pt x="4667" y="92107"/>
                    </a:lnTo>
                    <a:lnTo>
                      <a:pt x="11144" y="100870"/>
                    </a:lnTo>
                    <a:lnTo>
                      <a:pt x="18002" y="103727"/>
                    </a:lnTo>
                    <a:lnTo>
                      <a:pt x="27337" y="100679"/>
                    </a:lnTo>
                    <a:lnTo>
                      <a:pt x="35052" y="92774"/>
                    </a:lnTo>
                    <a:lnTo>
                      <a:pt x="35338" y="82867"/>
                    </a:lnTo>
                    <a:lnTo>
                      <a:pt x="32004" y="70961"/>
                    </a:lnTo>
                    <a:lnTo>
                      <a:pt x="26098" y="61722"/>
                    </a:lnTo>
                    <a:lnTo>
                      <a:pt x="27623" y="52768"/>
                    </a:lnTo>
                    <a:lnTo>
                      <a:pt x="28480" y="4457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52" name="Freeform: Shape 251">
                <a:extLst>
                  <a:ext uri="{FF2B5EF4-FFF2-40B4-BE49-F238E27FC236}">
                    <a16:creationId xmlns:a16="http://schemas.microsoft.com/office/drawing/2014/main" id="{AD48285A-29D3-43E4-85F2-49ECDF841E85}"/>
                  </a:ext>
                </a:extLst>
              </p:cNvPr>
              <p:cNvSpPr/>
              <p:nvPr/>
            </p:nvSpPr>
            <p:spPr>
              <a:xfrm>
                <a:off x="13570443" y="4250261"/>
                <a:ext cx="22764" cy="35528"/>
              </a:xfrm>
              <a:custGeom>
                <a:avLst/>
                <a:gdLst>
                  <a:gd name="connsiteX0" fmla="*/ 11906 w 22764"/>
                  <a:gd name="connsiteY0" fmla="*/ 1048 h 35528"/>
                  <a:gd name="connsiteX1" fmla="*/ 952 w 22764"/>
                  <a:gd name="connsiteY1" fmla="*/ 10858 h 35528"/>
                  <a:gd name="connsiteX2" fmla="*/ 0 w 22764"/>
                  <a:gd name="connsiteY2" fmla="*/ 13145 h 35528"/>
                  <a:gd name="connsiteX3" fmla="*/ 4572 w 22764"/>
                  <a:gd name="connsiteY3" fmla="*/ 20288 h 35528"/>
                  <a:gd name="connsiteX4" fmla="*/ 5715 w 22764"/>
                  <a:gd name="connsiteY4" fmla="*/ 27908 h 35528"/>
                  <a:gd name="connsiteX5" fmla="*/ 6763 w 22764"/>
                  <a:gd name="connsiteY5" fmla="*/ 35528 h 35528"/>
                  <a:gd name="connsiteX6" fmla="*/ 12954 w 22764"/>
                  <a:gd name="connsiteY6" fmla="*/ 33433 h 35528"/>
                  <a:gd name="connsiteX7" fmla="*/ 22765 w 22764"/>
                  <a:gd name="connsiteY7" fmla="*/ 18859 h 35528"/>
                  <a:gd name="connsiteX8" fmla="*/ 22289 w 22764"/>
                  <a:gd name="connsiteY8" fmla="*/ 2953 h 35528"/>
                  <a:gd name="connsiteX9" fmla="*/ 20193 w 22764"/>
                  <a:gd name="connsiteY9" fmla="*/ 0 h 35528"/>
                  <a:gd name="connsiteX10" fmla="*/ 11906 w 22764"/>
                  <a:gd name="connsiteY10" fmla="*/ 1048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64" h="35528">
                    <a:moveTo>
                      <a:pt x="11906" y="1048"/>
                    </a:moveTo>
                    <a:lnTo>
                      <a:pt x="952" y="10858"/>
                    </a:lnTo>
                    <a:lnTo>
                      <a:pt x="0" y="13145"/>
                    </a:lnTo>
                    <a:lnTo>
                      <a:pt x="4572" y="20288"/>
                    </a:lnTo>
                    <a:lnTo>
                      <a:pt x="5715" y="27908"/>
                    </a:lnTo>
                    <a:lnTo>
                      <a:pt x="6763" y="35528"/>
                    </a:lnTo>
                    <a:lnTo>
                      <a:pt x="12954" y="33433"/>
                    </a:lnTo>
                    <a:lnTo>
                      <a:pt x="22765" y="18859"/>
                    </a:lnTo>
                    <a:lnTo>
                      <a:pt x="22289" y="2953"/>
                    </a:lnTo>
                    <a:lnTo>
                      <a:pt x="20193" y="0"/>
                    </a:lnTo>
                    <a:lnTo>
                      <a:pt x="11906" y="104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53" name="Freeform: Shape 252">
                <a:extLst>
                  <a:ext uri="{FF2B5EF4-FFF2-40B4-BE49-F238E27FC236}">
                    <a16:creationId xmlns:a16="http://schemas.microsoft.com/office/drawing/2014/main" id="{8EC6F4F4-8F0A-434A-9F54-56EE6D163EB3}"/>
                  </a:ext>
                </a:extLst>
              </p:cNvPr>
              <p:cNvSpPr/>
              <p:nvPr/>
            </p:nvSpPr>
            <p:spPr>
              <a:xfrm>
                <a:off x="13676171" y="4154820"/>
                <a:ext cx="9144" cy="13525"/>
              </a:xfrm>
              <a:custGeom>
                <a:avLst/>
                <a:gdLst>
                  <a:gd name="connsiteX0" fmla="*/ 476 w 9144"/>
                  <a:gd name="connsiteY0" fmla="*/ 12763 h 13525"/>
                  <a:gd name="connsiteX1" fmla="*/ 3143 w 9144"/>
                  <a:gd name="connsiteY1" fmla="*/ 13525 h 13525"/>
                  <a:gd name="connsiteX2" fmla="*/ 7810 w 9144"/>
                  <a:gd name="connsiteY2" fmla="*/ 10287 h 13525"/>
                  <a:gd name="connsiteX3" fmla="*/ 9144 w 9144"/>
                  <a:gd name="connsiteY3" fmla="*/ 0 h 13525"/>
                  <a:gd name="connsiteX4" fmla="*/ 2381 w 9144"/>
                  <a:gd name="connsiteY4" fmla="*/ 667 h 13525"/>
                  <a:gd name="connsiteX5" fmla="*/ 0 w 9144"/>
                  <a:gd name="connsiteY5" fmla="*/ 10287 h 13525"/>
                  <a:gd name="connsiteX6" fmla="*/ 476 w 9144"/>
                  <a:gd name="connsiteY6" fmla="*/ 12763 h 1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 h="13525">
                    <a:moveTo>
                      <a:pt x="476" y="12763"/>
                    </a:moveTo>
                    <a:lnTo>
                      <a:pt x="3143" y="13525"/>
                    </a:lnTo>
                    <a:lnTo>
                      <a:pt x="7810" y="10287"/>
                    </a:lnTo>
                    <a:lnTo>
                      <a:pt x="9144" y="0"/>
                    </a:lnTo>
                    <a:lnTo>
                      <a:pt x="2381" y="667"/>
                    </a:lnTo>
                    <a:lnTo>
                      <a:pt x="0" y="10287"/>
                    </a:lnTo>
                    <a:lnTo>
                      <a:pt x="476" y="1276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54" name="Freeform: Shape 253">
                <a:extLst>
                  <a:ext uri="{FF2B5EF4-FFF2-40B4-BE49-F238E27FC236}">
                    <a16:creationId xmlns:a16="http://schemas.microsoft.com/office/drawing/2014/main" id="{57C99E35-6945-417D-909C-B5BA5002D174}"/>
                  </a:ext>
                </a:extLst>
              </p:cNvPr>
              <p:cNvSpPr/>
              <p:nvPr/>
            </p:nvSpPr>
            <p:spPr>
              <a:xfrm>
                <a:off x="13483576" y="3968035"/>
                <a:ext cx="131349" cy="128873"/>
              </a:xfrm>
              <a:custGeom>
                <a:avLst/>
                <a:gdLst>
                  <a:gd name="connsiteX0" fmla="*/ 131350 w 131349"/>
                  <a:gd name="connsiteY0" fmla="*/ 49149 h 128873"/>
                  <a:gd name="connsiteX1" fmla="*/ 127159 w 131349"/>
                  <a:gd name="connsiteY1" fmla="*/ 25718 h 128873"/>
                  <a:gd name="connsiteX2" fmla="*/ 121444 w 131349"/>
                  <a:gd name="connsiteY2" fmla="*/ 16859 h 128873"/>
                  <a:gd name="connsiteX3" fmla="*/ 109347 w 131349"/>
                  <a:gd name="connsiteY3" fmla="*/ 2953 h 128873"/>
                  <a:gd name="connsiteX4" fmla="*/ 97536 w 131349"/>
                  <a:gd name="connsiteY4" fmla="*/ 11906 h 128873"/>
                  <a:gd name="connsiteX5" fmla="*/ 92392 w 131349"/>
                  <a:gd name="connsiteY5" fmla="*/ 22765 h 128873"/>
                  <a:gd name="connsiteX6" fmla="*/ 92583 w 131349"/>
                  <a:gd name="connsiteY6" fmla="*/ 2286 h 128873"/>
                  <a:gd name="connsiteX7" fmla="*/ 83058 w 131349"/>
                  <a:gd name="connsiteY7" fmla="*/ 2096 h 128873"/>
                  <a:gd name="connsiteX8" fmla="*/ 77343 w 131349"/>
                  <a:gd name="connsiteY8" fmla="*/ 12097 h 128873"/>
                  <a:gd name="connsiteX9" fmla="*/ 71628 w 131349"/>
                  <a:gd name="connsiteY9" fmla="*/ 28575 h 128873"/>
                  <a:gd name="connsiteX10" fmla="*/ 60388 w 131349"/>
                  <a:gd name="connsiteY10" fmla="*/ 40862 h 128873"/>
                  <a:gd name="connsiteX11" fmla="*/ 60960 w 131349"/>
                  <a:gd name="connsiteY11" fmla="*/ 29432 h 128873"/>
                  <a:gd name="connsiteX12" fmla="*/ 66675 w 131349"/>
                  <a:gd name="connsiteY12" fmla="*/ 19241 h 128873"/>
                  <a:gd name="connsiteX13" fmla="*/ 68770 w 131349"/>
                  <a:gd name="connsiteY13" fmla="*/ 6096 h 128873"/>
                  <a:gd name="connsiteX14" fmla="*/ 69151 w 131349"/>
                  <a:gd name="connsiteY14" fmla="*/ 0 h 128873"/>
                  <a:gd name="connsiteX15" fmla="*/ 48292 w 131349"/>
                  <a:gd name="connsiteY15" fmla="*/ 1238 h 128873"/>
                  <a:gd name="connsiteX16" fmla="*/ 47244 w 131349"/>
                  <a:gd name="connsiteY16" fmla="*/ 9239 h 128873"/>
                  <a:gd name="connsiteX17" fmla="*/ 36671 w 131349"/>
                  <a:gd name="connsiteY17" fmla="*/ 17431 h 128873"/>
                  <a:gd name="connsiteX18" fmla="*/ 24955 w 131349"/>
                  <a:gd name="connsiteY18" fmla="*/ 17526 h 128873"/>
                  <a:gd name="connsiteX19" fmla="*/ 20860 w 131349"/>
                  <a:gd name="connsiteY19" fmla="*/ 32957 h 128873"/>
                  <a:gd name="connsiteX20" fmla="*/ 16288 w 131349"/>
                  <a:gd name="connsiteY20" fmla="*/ 55245 h 128873"/>
                  <a:gd name="connsiteX21" fmla="*/ 18478 w 131349"/>
                  <a:gd name="connsiteY21" fmla="*/ 73247 h 128873"/>
                  <a:gd name="connsiteX22" fmla="*/ 16954 w 131349"/>
                  <a:gd name="connsiteY22" fmla="*/ 83249 h 128873"/>
                  <a:gd name="connsiteX23" fmla="*/ 7144 w 131349"/>
                  <a:gd name="connsiteY23" fmla="*/ 96203 h 128873"/>
                  <a:gd name="connsiteX24" fmla="*/ 0 w 131349"/>
                  <a:gd name="connsiteY24" fmla="*/ 110871 h 128873"/>
                  <a:gd name="connsiteX25" fmla="*/ 7525 w 131349"/>
                  <a:gd name="connsiteY25" fmla="*/ 115538 h 128873"/>
                  <a:gd name="connsiteX26" fmla="*/ 17240 w 131349"/>
                  <a:gd name="connsiteY26" fmla="*/ 112014 h 128873"/>
                  <a:gd name="connsiteX27" fmla="*/ 16192 w 131349"/>
                  <a:gd name="connsiteY27" fmla="*/ 126111 h 128873"/>
                  <a:gd name="connsiteX28" fmla="*/ 25908 w 131349"/>
                  <a:gd name="connsiteY28" fmla="*/ 128873 h 128873"/>
                  <a:gd name="connsiteX29" fmla="*/ 39529 w 131349"/>
                  <a:gd name="connsiteY29" fmla="*/ 116586 h 128873"/>
                  <a:gd name="connsiteX30" fmla="*/ 53816 w 131349"/>
                  <a:gd name="connsiteY30" fmla="*/ 106204 h 128873"/>
                  <a:gd name="connsiteX31" fmla="*/ 70199 w 131349"/>
                  <a:gd name="connsiteY31" fmla="*/ 107918 h 128873"/>
                  <a:gd name="connsiteX32" fmla="*/ 93250 w 131349"/>
                  <a:gd name="connsiteY32" fmla="*/ 109347 h 128873"/>
                  <a:gd name="connsiteX33" fmla="*/ 104489 w 131349"/>
                  <a:gd name="connsiteY33" fmla="*/ 104204 h 128873"/>
                  <a:gd name="connsiteX34" fmla="*/ 110109 w 131349"/>
                  <a:gd name="connsiteY34" fmla="*/ 98584 h 128873"/>
                  <a:gd name="connsiteX35" fmla="*/ 108775 w 131349"/>
                  <a:gd name="connsiteY35" fmla="*/ 91631 h 128873"/>
                  <a:gd name="connsiteX36" fmla="*/ 84487 w 131349"/>
                  <a:gd name="connsiteY36" fmla="*/ 89154 h 128873"/>
                  <a:gd name="connsiteX37" fmla="*/ 76486 w 131349"/>
                  <a:gd name="connsiteY37" fmla="*/ 82582 h 128873"/>
                  <a:gd name="connsiteX38" fmla="*/ 100108 w 131349"/>
                  <a:gd name="connsiteY38" fmla="*/ 84011 h 128873"/>
                  <a:gd name="connsiteX39" fmla="*/ 109442 w 131349"/>
                  <a:gd name="connsiteY39" fmla="*/ 80391 h 128873"/>
                  <a:gd name="connsiteX40" fmla="*/ 101251 w 131349"/>
                  <a:gd name="connsiteY40" fmla="*/ 68580 h 128873"/>
                  <a:gd name="connsiteX41" fmla="*/ 115824 w 131349"/>
                  <a:gd name="connsiteY41" fmla="*/ 63532 h 128873"/>
                  <a:gd name="connsiteX42" fmla="*/ 115824 w 131349"/>
                  <a:gd name="connsiteY42" fmla="*/ 46006 h 128873"/>
                  <a:gd name="connsiteX43" fmla="*/ 124301 w 131349"/>
                  <a:gd name="connsiteY43" fmla="*/ 53816 h 128873"/>
                  <a:gd name="connsiteX44" fmla="*/ 131350 w 131349"/>
                  <a:gd name="connsiteY44" fmla="*/ 49149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349" h="128873">
                    <a:moveTo>
                      <a:pt x="131350" y="49149"/>
                    </a:moveTo>
                    <a:lnTo>
                      <a:pt x="127159" y="25718"/>
                    </a:lnTo>
                    <a:lnTo>
                      <a:pt x="121444" y="16859"/>
                    </a:lnTo>
                    <a:lnTo>
                      <a:pt x="109347" y="2953"/>
                    </a:lnTo>
                    <a:lnTo>
                      <a:pt x="97536" y="11906"/>
                    </a:lnTo>
                    <a:lnTo>
                      <a:pt x="92392" y="22765"/>
                    </a:lnTo>
                    <a:lnTo>
                      <a:pt x="92583" y="2286"/>
                    </a:lnTo>
                    <a:lnTo>
                      <a:pt x="83058" y="2096"/>
                    </a:lnTo>
                    <a:lnTo>
                      <a:pt x="77343" y="12097"/>
                    </a:lnTo>
                    <a:lnTo>
                      <a:pt x="71628" y="28575"/>
                    </a:lnTo>
                    <a:lnTo>
                      <a:pt x="60388" y="40862"/>
                    </a:lnTo>
                    <a:lnTo>
                      <a:pt x="60960" y="29432"/>
                    </a:lnTo>
                    <a:lnTo>
                      <a:pt x="66675" y="19241"/>
                    </a:lnTo>
                    <a:lnTo>
                      <a:pt x="68770" y="6096"/>
                    </a:lnTo>
                    <a:lnTo>
                      <a:pt x="69151" y="0"/>
                    </a:lnTo>
                    <a:lnTo>
                      <a:pt x="48292" y="1238"/>
                    </a:lnTo>
                    <a:lnTo>
                      <a:pt x="47244" y="9239"/>
                    </a:lnTo>
                    <a:lnTo>
                      <a:pt x="36671" y="17431"/>
                    </a:lnTo>
                    <a:lnTo>
                      <a:pt x="24955" y="17526"/>
                    </a:lnTo>
                    <a:lnTo>
                      <a:pt x="20860" y="32957"/>
                    </a:lnTo>
                    <a:lnTo>
                      <a:pt x="16288" y="55245"/>
                    </a:lnTo>
                    <a:lnTo>
                      <a:pt x="18478" y="73247"/>
                    </a:lnTo>
                    <a:lnTo>
                      <a:pt x="16954" y="83249"/>
                    </a:lnTo>
                    <a:lnTo>
                      <a:pt x="7144" y="96203"/>
                    </a:lnTo>
                    <a:lnTo>
                      <a:pt x="0" y="110871"/>
                    </a:lnTo>
                    <a:lnTo>
                      <a:pt x="7525" y="115538"/>
                    </a:lnTo>
                    <a:lnTo>
                      <a:pt x="17240" y="112014"/>
                    </a:lnTo>
                    <a:lnTo>
                      <a:pt x="16192" y="126111"/>
                    </a:lnTo>
                    <a:lnTo>
                      <a:pt x="25908" y="128873"/>
                    </a:lnTo>
                    <a:lnTo>
                      <a:pt x="39529" y="116586"/>
                    </a:lnTo>
                    <a:lnTo>
                      <a:pt x="53816" y="106204"/>
                    </a:lnTo>
                    <a:lnTo>
                      <a:pt x="70199" y="107918"/>
                    </a:lnTo>
                    <a:lnTo>
                      <a:pt x="93250" y="109347"/>
                    </a:lnTo>
                    <a:lnTo>
                      <a:pt x="104489" y="104204"/>
                    </a:lnTo>
                    <a:lnTo>
                      <a:pt x="110109" y="98584"/>
                    </a:lnTo>
                    <a:lnTo>
                      <a:pt x="108775" y="91631"/>
                    </a:lnTo>
                    <a:lnTo>
                      <a:pt x="84487" y="89154"/>
                    </a:lnTo>
                    <a:lnTo>
                      <a:pt x="76486" y="82582"/>
                    </a:lnTo>
                    <a:lnTo>
                      <a:pt x="100108" y="84011"/>
                    </a:lnTo>
                    <a:lnTo>
                      <a:pt x="109442" y="80391"/>
                    </a:lnTo>
                    <a:lnTo>
                      <a:pt x="101251" y="68580"/>
                    </a:lnTo>
                    <a:lnTo>
                      <a:pt x="115824" y="63532"/>
                    </a:lnTo>
                    <a:lnTo>
                      <a:pt x="115824" y="46006"/>
                    </a:lnTo>
                    <a:lnTo>
                      <a:pt x="124301" y="53816"/>
                    </a:lnTo>
                    <a:lnTo>
                      <a:pt x="131350" y="4914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55" name="Freeform: Shape 254">
                <a:extLst>
                  <a:ext uri="{FF2B5EF4-FFF2-40B4-BE49-F238E27FC236}">
                    <a16:creationId xmlns:a16="http://schemas.microsoft.com/office/drawing/2014/main" id="{88C02664-E731-4068-8951-CA37A66CA972}"/>
                  </a:ext>
                </a:extLst>
              </p:cNvPr>
              <p:cNvSpPr/>
              <p:nvPr/>
            </p:nvSpPr>
            <p:spPr>
              <a:xfrm>
                <a:off x="13630451" y="4022137"/>
                <a:ext cx="52387" cy="73056"/>
              </a:xfrm>
              <a:custGeom>
                <a:avLst/>
                <a:gdLst>
                  <a:gd name="connsiteX0" fmla="*/ 32004 w 52387"/>
                  <a:gd name="connsiteY0" fmla="*/ 0 h 73056"/>
                  <a:gd name="connsiteX1" fmla="*/ 24194 w 52387"/>
                  <a:gd name="connsiteY1" fmla="*/ 5905 h 73056"/>
                  <a:gd name="connsiteX2" fmla="*/ 15240 w 52387"/>
                  <a:gd name="connsiteY2" fmla="*/ 32861 h 73056"/>
                  <a:gd name="connsiteX3" fmla="*/ 10763 w 52387"/>
                  <a:gd name="connsiteY3" fmla="*/ 16764 h 73056"/>
                  <a:gd name="connsiteX4" fmla="*/ 3429 w 52387"/>
                  <a:gd name="connsiteY4" fmla="*/ 14383 h 73056"/>
                  <a:gd name="connsiteX5" fmla="*/ 0 w 52387"/>
                  <a:gd name="connsiteY5" fmla="*/ 23813 h 73056"/>
                  <a:gd name="connsiteX6" fmla="*/ 3715 w 52387"/>
                  <a:gd name="connsiteY6" fmla="*/ 42672 h 73056"/>
                  <a:gd name="connsiteX7" fmla="*/ 571 w 52387"/>
                  <a:gd name="connsiteY7" fmla="*/ 64198 h 73056"/>
                  <a:gd name="connsiteX8" fmla="*/ 10287 w 52387"/>
                  <a:gd name="connsiteY8" fmla="*/ 70866 h 73056"/>
                  <a:gd name="connsiteX9" fmla="*/ 21717 w 52387"/>
                  <a:gd name="connsiteY9" fmla="*/ 73057 h 73056"/>
                  <a:gd name="connsiteX10" fmla="*/ 24384 w 52387"/>
                  <a:gd name="connsiteY10" fmla="*/ 67342 h 73056"/>
                  <a:gd name="connsiteX11" fmla="*/ 22193 w 52387"/>
                  <a:gd name="connsiteY11" fmla="*/ 61150 h 73056"/>
                  <a:gd name="connsiteX12" fmla="*/ 30956 w 52387"/>
                  <a:gd name="connsiteY12" fmla="*/ 61627 h 73056"/>
                  <a:gd name="connsiteX13" fmla="*/ 42291 w 52387"/>
                  <a:gd name="connsiteY13" fmla="*/ 63341 h 73056"/>
                  <a:gd name="connsiteX14" fmla="*/ 46768 w 52387"/>
                  <a:gd name="connsiteY14" fmla="*/ 58769 h 73056"/>
                  <a:gd name="connsiteX15" fmla="*/ 40386 w 52387"/>
                  <a:gd name="connsiteY15" fmla="*/ 50959 h 73056"/>
                  <a:gd name="connsiteX16" fmla="*/ 16288 w 52387"/>
                  <a:gd name="connsiteY16" fmla="*/ 51244 h 73056"/>
                  <a:gd name="connsiteX17" fmla="*/ 21527 w 52387"/>
                  <a:gd name="connsiteY17" fmla="*/ 41815 h 73056"/>
                  <a:gd name="connsiteX18" fmla="*/ 38481 w 52387"/>
                  <a:gd name="connsiteY18" fmla="*/ 37147 h 73056"/>
                  <a:gd name="connsiteX19" fmla="*/ 52388 w 52387"/>
                  <a:gd name="connsiteY19" fmla="*/ 25622 h 73056"/>
                  <a:gd name="connsiteX20" fmla="*/ 48768 w 52387"/>
                  <a:gd name="connsiteY20" fmla="*/ 17812 h 73056"/>
                  <a:gd name="connsiteX21" fmla="*/ 32004 w 52387"/>
                  <a:gd name="connsiteY21" fmla="*/ 0 h 7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387" h="73056">
                    <a:moveTo>
                      <a:pt x="32004" y="0"/>
                    </a:moveTo>
                    <a:lnTo>
                      <a:pt x="24194" y="5905"/>
                    </a:lnTo>
                    <a:lnTo>
                      <a:pt x="15240" y="32861"/>
                    </a:lnTo>
                    <a:lnTo>
                      <a:pt x="10763" y="16764"/>
                    </a:lnTo>
                    <a:lnTo>
                      <a:pt x="3429" y="14383"/>
                    </a:lnTo>
                    <a:lnTo>
                      <a:pt x="0" y="23813"/>
                    </a:lnTo>
                    <a:lnTo>
                      <a:pt x="3715" y="42672"/>
                    </a:lnTo>
                    <a:lnTo>
                      <a:pt x="571" y="64198"/>
                    </a:lnTo>
                    <a:lnTo>
                      <a:pt x="10287" y="70866"/>
                    </a:lnTo>
                    <a:lnTo>
                      <a:pt x="21717" y="73057"/>
                    </a:lnTo>
                    <a:lnTo>
                      <a:pt x="24384" y="67342"/>
                    </a:lnTo>
                    <a:lnTo>
                      <a:pt x="22193" y="61150"/>
                    </a:lnTo>
                    <a:lnTo>
                      <a:pt x="30956" y="61627"/>
                    </a:lnTo>
                    <a:lnTo>
                      <a:pt x="42291" y="63341"/>
                    </a:lnTo>
                    <a:lnTo>
                      <a:pt x="46768" y="58769"/>
                    </a:lnTo>
                    <a:lnTo>
                      <a:pt x="40386" y="50959"/>
                    </a:lnTo>
                    <a:lnTo>
                      <a:pt x="16288" y="51244"/>
                    </a:lnTo>
                    <a:lnTo>
                      <a:pt x="21527" y="41815"/>
                    </a:lnTo>
                    <a:lnTo>
                      <a:pt x="38481" y="37147"/>
                    </a:lnTo>
                    <a:lnTo>
                      <a:pt x="52388" y="25622"/>
                    </a:lnTo>
                    <a:lnTo>
                      <a:pt x="48768" y="17812"/>
                    </a:lnTo>
                    <a:lnTo>
                      <a:pt x="32004"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56" name="Freeform: Shape 255">
                <a:extLst>
                  <a:ext uri="{FF2B5EF4-FFF2-40B4-BE49-F238E27FC236}">
                    <a16:creationId xmlns:a16="http://schemas.microsoft.com/office/drawing/2014/main" id="{3FFFB349-CE92-49CA-BFE9-5BFCACE3519A}"/>
                  </a:ext>
                </a:extLst>
              </p:cNvPr>
              <p:cNvSpPr/>
              <p:nvPr/>
            </p:nvSpPr>
            <p:spPr>
              <a:xfrm>
                <a:off x="13474812" y="4104243"/>
                <a:ext cx="33528" cy="34575"/>
              </a:xfrm>
              <a:custGeom>
                <a:avLst/>
                <a:gdLst>
                  <a:gd name="connsiteX0" fmla="*/ 7334 w 33528"/>
                  <a:gd name="connsiteY0" fmla="*/ 34576 h 34575"/>
                  <a:gd name="connsiteX1" fmla="*/ 16574 w 33528"/>
                  <a:gd name="connsiteY1" fmla="*/ 30194 h 34575"/>
                  <a:gd name="connsiteX2" fmla="*/ 21146 w 33528"/>
                  <a:gd name="connsiteY2" fmla="*/ 28194 h 34575"/>
                  <a:gd name="connsiteX3" fmla="*/ 25908 w 33528"/>
                  <a:gd name="connsiteY3" fmla="*/ 23622 h 34575"/>
                  <a:gd name="connsiteX4" fmla="*/ 33528 w 33528"/>
                  <a:gd name="connsiteY4" fmla="*/ 15716 h 34575"/>
                  <a:gd name="connsiteX5" fmla="*/ 24575 w 33528"/>
                  <a:gd name="connsiteY5" fmla="*/ 8477 h 34575"/>
                  <a:gd name="connsiteX6" fmla="*/ 18764 w 33528"/>
                  <a:gd name="connsiteY6" fmla="*/ 0 h 34575"/>
                  <a:gd name="connsiteX7" fmla="*/ 6763 w 33528"/>
                  <a:gd name="connsiteY7" fmla="*/ 10001 h 34575"/>
                  <a:gd name="connsiteX8" fmla="*/ 8287 w 33528"/>
                  <a:gd name="connsiteY8" fmla="*/ 17431 h 34575"/>
                  <a:gd name="connsiteX9" fmla="*/ 0 w 33528"/>
                  <a:gd name="connsiteY9" fmla="*/ 28289 h 34575"/>
                  <a:gd name="connsiteX10" fmla="*/ 7334 w 33528"/>
                  <a:gd name="connsiteY10" fmla="*/ 34576 h 3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8" h="34575">
                    <a:moveTo>
                      <a:pt x="7334" y="34576"/>
                    </a:moveTo>
                    <a:lnTo>
                      <a:pt x="16574" y="30194"/>
                    </a:lnTo>
                    <a:lnTo>
                      <a:pt x="21146" y="28194"/>
                    </a:lnTo>
                    <a:lnTo>
                      <a:pt x="25908" y="23622"/>
                    </a:lnTo>
                    <a:lnTo>
                      <a:pt x="33528" y="15716"/>
                    </a:lnTo>
                    <a:lnTo>
                      <a:pt x="24575" y="8477"/>
                    </a:lnTo>
                    <a:lnTo>
                      <a:pt x="18764" y="0"/>
                    </a:lnTo>
                    <a:lnTo>
                      <a:pt x="6763" y="10001"/>
                    </a:lnTo>
                    <a:lnTo>
                      <a:pt x="8287" y="17431"/>
                    </a:lnTo>
                    <a:lnTo>
                      <a:pt x="0" y="28289"/>
                    </a:lnTo>
                    <a:lnTo>
                      <a:pt x="7334" y="3457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57" name="Freeform: Shape 256">
                <a:extLst>
                  <a:ext uri="{FF2B5EF4-FFF2-40B4-BE49-F238E27FC236}">
                    <a16:creationId xmlns:a16="http://schemas.microsoft.com/office/drawing/2014/main" id="{11A42BC8-3E02-4A4B-A0A1-07B99F084525}"/>
                  </a:ext>
                </a:extLst>
              </p:cNvPr>
              <p:cNvSpPr/>
              <p:nvPr/>
            </p:nvSpPr>
            <p:spPr>
              <a:xfrm>
                <a:off x="13578730" y="4071953"/>
                <a:ext cx="21145" cy="16097"/>
              </a:xfrm>
              <a:custGeom>
                <a:avLst/>
                <a:gdLst>
                  <a:gd name="connsiteX0" fmla="*/ 21146 w 21145"/>
                  <a:gd name="connsiteY0" fmla="*/ 3238 h 16097"/>
                  <a:gd name="connsiteX1" fmla="*/ 18764 w 21145"/>
                  <a:gd name="connsiteY1" fmla="*/ 0 h 16097"/>
                  <a:gd name="connsiteX2" fmla="*/ 0 w 21145"/>
                  <a:gd name="connsiteY2" fmla="*/ 6096 h 16097"/>
                  <a:gd name="connsiteX3" fmla="*/ 13240 w 21145"/>
                  <a:gd name="connsiteY3" fmla="*/ 16097 h 16097"/>
                  <a:gd name="connsiteX4" fmla="*/ 19526 w 21145"/>
                  <a:gd name="connsiteY4" fmla="*/ 12287 h 16097"/>
                  <a:gd name="connsiteX5" fmla="*/ 21146 w 21145"/>
                  <a:gd name="connsiteY5" fmla="*/ 3238 h 16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45" h="16097">
                    <a:moveTo>
                      <a:pt x="21146" y="3238"/>
                    </a:moveTo>
                    <a:lnTo>
                      <a:pt x="18764" y="0"/>
                    </a:lnTo>
                    <a:lnTo>
                      <a:pt x="0" y="6096"/>
                    </a:lnTo>
                    <a:lnTo>
                      <a:pt x="13240" y="16097"/>
                    </a:lnTo>
                    <a:lnTo>
                      <a:pt x="19526" y="12287"/>
                    </a:lnTo>
                    <a:lnTo>
                      <a:pt x="21146" y="323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58" name="Freeform: Shape 257">
                <a:extLst>
                  <a:ext uri="{FF2B5EF4-FFF2-40B4-BE49-F238E27FC236}">
                    <a16:creationId xmlns:a16="http://schemas.microsoft.com/office/drawing/2014/main" id="{1C2375DC-624D-4BF1-9A3A-4E7D2DB3B2CC}"/>
                  </a:ext>
                </a:extLst>
              </p:cNvPr>
              <p:cNvSpPr/>
              <p:nvPr/>
            </p:nvSpPr>
            <p:spPr>
              <a:xfrm>
                <a:off x="12662806" y="4657741"/>
                <a:ext cx="2000" cy="5524"/>
              </a:xfrm>
              <a:custGeom>
                <a:avLst/>
                <a:gdLst>
                  <a:gd name="connsiteX0" fmla="*/ 2000 w 2000"/>
                  <a:gd name="connsiteY0" fmla="*/ 5525 h 5524"/>
                  <a:gd name="connsiteX1" fmla="*/ 0 w 2000"/>
                  <a:gd name="connsiteY1" fmla="*/ 0 h 5524"/>
                  <a:gd name="connsiteX2" fmla="*/ 1429 w 2000"/>
                  <a:gd name="connsiteY2" fmla="*/ 3905 h 5524"/>
                  <a:gd name="connsiteX3" fmla="*/ 2000 w 2000"/>
                  <a:gd name="connsiteY3" fmla="*/ 5525 h 5524"/>
                </a:gdLst>
                <a:ahLst/>
                <a:cxnLst>
                  <a:cxn ang="0">
                    <a:pos x="connsiteX0" y="connsiteY0"/>
                  </a:cxn>
                  <a:cxn ang="0">
                    <a:pos x="connsiteX1" y="connsiteY1"/>
                  </a:cxn>
                  <a:cxn ang="0">
                    <a:pos x="connsiteX2" y="connsiteY2"/>
                  </a:cxn>
                  <a:cxn ang="0">
                    <a:pos x="connsiteX3" y="connsiteY3"/>
                  </a:cxn>
                </a:cxnLst>
                <a:rect l="l" t="t" r="r" b="b"/>
                <a:pathLst>
                  <a:path w="2000" h="5524">
                    <a:moveTo>
                      <a:pt x="2000" y="5525"/>
                    </a:moveTo>
                    <a:lnTo>
                      <a:pt x="0" y="0"/>
                    </a:lnTo>
                    <a:lnTo>
                      <a:pt x="1429" y="3905"/>
                    </a:lnTo>
                    <a:lnTo>
                      <a:pt x="2000" y="552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59" name="Freeform: Shape 258">
                <a:extLst>
                  <a:ext uri="{FF2B5EF4-FFF2-40B4-BE49-F238E27FC236}">
                    <a16:creationId xmlns:a16="http://schemas.microsoft.com/office/drawing/2014/main" id="{89406C81-D22F-47F7-BA17-FCCA53C2A317}"/>
                  </a:ext>
                </a:extLst>
              </p:cNvPr>
              <p:cNvSpPr/>
              <p:nvPr/>
            </p:nvSpPr>
            <p:spPr>
              <a:xfrm>
                <a:off x="12679284" y="4701460"/>
                <a:ext cx="285" cy="666"/>
              </a:xfrm>
              <a:custGeom>
                <a:avLst/>
                <a:gdLst>
                  <a:gd name="connsiteX0" fmla="*/ 286 w 285"/>
                  <a:gd name="connsiteY0" fmla="*/ 667 h 666"/>
                  <a:gd name="connsiteX1" fmla="*/ 191 w 285"/>
                  <a:gd name="connsiteY1" fmla="*/ 476 h 666"/>
                  <a:gd name="connsiteX2" fmla="*/ 0 w 285"/>
                  <a:gd name="connsiteY2" fmla="*/ 0 h 666"/>
                  <a:gd name="connsiteX3" fmla="*/ 286 w 285"/>
                  <a:gd name="connsiteY3" fmla="*/ 667 h 666"/>
                </a:gdLst>
                <a:ahLst/>
                <a:cxnLst>
                  <a:cxn ang="0">
                    <a:pos x="connsiteX0" y="connsiteY0"/>
                  </a:cxn>
                  <a:cxn ang="0">
                    <a:pos x="connsiteX1" y="connsiteY1"/>
                  </a:cxn>
                  <a:cxn ang="0">
                    <a:pos x="connsiteX2" y="connsiteY2"/>
                  </a:cxn>
                  <a:cxn ang="0">
                    <a:pos x="connsiteX3" y="connsiteY3"/>
                  </a:cxn>
                </a:cxnLst>
                <a:rect l="l" t="t" r="r" b="b"/>
                <a:pathLst>
                  <a:path w="285" h="666">
                    <a:moveTo>
                      <a:pt x="286" y="667"/>
                    </a:moveTo>
                    <a:lnTo>
                      <a:pt x="191" y="476"/>
                    </a:lnTo>
                    <a:lnTo>
                      <a:pt x="0" y="0"/>
                    </a:lnTo>
                    <a:lnTo>
                      <a:pt x="286" y="66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60" name="Freeform: Shape 259">
                <a:extLst>
                  <a:ext uri="{FF2B5EF4-FFF2-40B4-BE49-F238E27FC236}">
                    <a16:creationId xmlns:a16="http://schemas.microsoft.com/office/drawing/2014/main" id="{10B21E43-18FF-41A1-867E-895C84B7211C}"/>
                  </a:ext>
                </a:extLst>
              </p:cNvPr>
              <p:cNvSpPr/>
              <p:nvPr/>
            </p:nvSpPr>
            <p:spPr>
              <a:xfrm>
                <a:off x="15203886" y="3716480"/>
                <a:ext cx="28384" cy="50577"/>
              </a:xfrm>
              <a:custGeom>
                <a:avLst/>
                <a:gdLst>
                  <a:gd name="connsiteX0" fmla="*/ 8001 w 28384"/>
                  <a:gd name="connsiteY0" fmla="*/ 8192 h 50577"/>
                  <a:gd name="connsiteX1" fmla="*/ 1143 w 28384"/>
                  <a:gd name="connsiteY1" fmla="*/ 0 h 50577"/>
                  <a:gd name="connsiteX2" fmla="*/ 0 w 28384"/>
                  <a:gd name="connsiteY2" fmla="*/ 5906 h 50577"/>
                  <a:gd name="connsiteX3" fmla="*/ 4381 w 28384"/>
                  <a:gd name="connsiteY3" fmla="*/ 18288 h 50577"/>
                  <a:gd name="connsiteX4" fmla="*/ 15049 w 28384"/>
                  <a:gd name="connsiteY4" fmla="*/ 41053 h 50577"/>
                  <a:gd name="connsiteX5" fmla="*/ 22193 w 28384"/>
                  <a:gd name="connsiteY5" fmla="*/ 50578 h 50577"/>
                  <a:gd name="connsiteX6" fmla="*/ 28385 w 28384"/>
                  <a:gd name="connsiteY6" fmla="*/ 47815 h 50577"/>
                  <a:gd name="connsiteX7" fmla="*/ 24479 w 28384"/>
                  <a:gd name="connsiteY7" fmla="*/ 29051 h 50577"/>
                  <a:gd name="connsiteX8" fmla="*/ 14192 w 28384"/>
                  <a:gd name="connsiteY8" fmla="*/ 11525 h 50577"/>
                  <a:gd name="connsiteX9" fmla="*/ 8001 w 28384"/>
                  <a:gd name="connsiteY9" fmla="*/ 8192 h 5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384" h="50577">
                    <a:moveTo>
                      <a:pt x="8001" y="8192"/>
                    </a:moveTo>
                    <a:lnTo>
                      <a:pt x="1143" y="0"/>
                    </a:lnTo>
                    <a:lnTo>
                      <a:pt x="0" y="5906"/>
                    </a:lnTo>
                    <a:lnTo>
                      <a:pt x="4381" y="18288"/>
                    </a:lnTo>
                    <a:lnTo>
                      <a:pt x="15049" y="41053"/>
                    </a:lnTo>
                    <a:lnTo>
                      <a:pt x="22193" y="50578"/>
                    </a:lnTo>
                    <a:lnTo>
                      <a:pt x="28385" y="47815"/>
                    </a:lnTo>
                    <a:lnTo>
                      <a:pt x="24479" y="29051"/>
                    </a:lnTo>
                    <a:lnTo>
                      <a:pt x="14192" y="11525"/>
                    </a:lnTo>
                    <a:lnTo>
                      <a:pt x="8001" y="819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61" name="Freeform: Shape 260">
                <a:extLst>
                  <a:ext uri="{FF2B5EF4-FFF2-40B4-BE49-F238E27FC236}">
                    <a16:creationId xmlns:a16="http://schemas.microsoft.com/office/drawing/2014/main" id="{095EF539-DC26-4F44-A8B2-D86152A380FA}"/>
                  </a:ext>
                </a:extLst>
              </p:cNvPr>
              <p:cNvSpPr/>
              <p:nvPr/>
            </p:nvSpPr>
            <p:spPr>
              <a:xfrm>
                <a:off x="14642959" y="5415264"/>
                <a:ext cx="571" cy="285"/>
              </a:xfrm>
              <a:custGeom>
                <a:avLst/>
                <a:gdLst>
                  <a:gd name="connsiteX0" fmla="*/ 0 w 571"/>
                  <a:gd name="connsiteY0" fmla="*/ 286 h 285"/>
                  <a:gd name="connsiteX1" fmla="*/ 571 w 571"/>
                  <a:gd name="connsiteY1" fmla="*/ 0 h 285"/>
                  <a:gd name="connsiteX2" fmla="*/ 571 w 571"/>
                  <a:gd name="connsiteY2" fmla="*/ 0 h 285"/>
                  <a:gd name="connsiteX3" fmla="*/ 0 w 571"/>
                  <a:gd name="connsiteY3" fmla="*/ 286 h 285"/>
                </a:gdLst>
                <a:ahLst/>
                <a:cxnLst>
                  <a:cxn ang="0">
                    <a:pos x="connsiteX0" y="connsiteY0"/>
                  </a:cxn>
                  <a:cxn ang="0">
                    <a:pos x="connsiteX1" y="connsiteY1"/>
                  </a:cxn>
                  <a:cxn ang="0">
                    <a:pos x="connsiteX2" y="connsiteY2"/>
                  </a:cxn>
                  <a:cxn ang="0">
                    <a:pos x="connsiteX3" y="connsiteY3"/>
                  </a:cxn>
                </a:cxnLst>
                <a:rect l="l" t="t" r="r" b="b"/>
                <a:pathLst>
                  <a:path w="571" h="285">
                    <a:moveTo>
                      <a:pt x="0" y="286"/>
                    </a:moveTo>
                    <a:lnTo>
                      <a:pt x="571" y="0"/>
                    </a:lnTo>
                    <a:lnTo>
                      <a:pt x="571" y="0"/>
                    </a:lnTo>
                    <a:lnTo>
                      <a:pt x="0" y="28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62" name="Freeform: Shape 261">
                <a:extLst>
                  <a:ext uri="{FF2B5EF4-FFF2-40B4-BE49-F238E27FC236}">
                    <a16:creationId xmlns:a16="http://schemas.microsoft.com/office/drawing/2014/main" id="{EB693037-9B36-4C81-B0A6-601BF19A6CD7}"/>
                  </a:ext>
                </a:extLst>
              </p:cNvPr>
              <p:cNvSpPr/>
              <p:nvPr/>
            </p:nvSpPr>
            <p:spPr>
              <a:xfrm>
                <a:off x="14467127" y="5494893"/>
                <a:ext cx="1904" cy="761"/>
              </a:xfrm>
              <a:custGeom>
                <a:avLst/>
                <a:gdLst>
                  <a:gd name="connsiteX0" fmla="*/ 1905 w 1904"/>
                  <a:gd name="connsiteY0" fmla="*/ 0 h 761"/>
                  <a:gd name="connsiteX1" fmla="*/ 381 w 1904"/>
                  <a:gd name="connsiteY1" fmla="*/ 571 h 761"/>
                  <a:gd name="connsiteX2" fmla="*/ 0 w 1904"/>
                  <a:gd name="connsiteY2" fmla="*/ 762 h 761"/>
                  <a:gd name="connsiteX3" fmla="*/ 1905 w 1904"/>
                  <a:gd name="connsiteY3" fmla="*/ 0 h 761"/>
                </a:gdLst>
                <a:ahLst/>
                <a:cxnLst>
                  <a:cxn ang="0">
                    <a:pos x="connsiteX0" y="connsiteY0"/>
                  </a:cxn>
                  <a:cxn ang="0">
                    <a:pos x="connsiteX1" y="connsiteY1"/>
                  </a:cxn>
                  <a:cxn ang="0">
                    <a:pos x="connsiteX2" y="connsiteY2"/>
                  </a:cxn>
                  <a:cxn ang="0">
                    <a:pos x="connsiteX3" y="connsiteY3"/>
                  </a:cxn>
                </a:cxnLst>
                <a:rect l="l" t="t" r="r" b="b"/>
                <a:pathLst>
                  <a:path w="1904" h="761">
                    <a:moveTo>
                      <a:pt x="1905" y="0"/>
                    </a:moveTo>
                    <a:lnTo>
                      <a:pt x="381" y="571"/>
                    </a:lnTo>
                    <a:lnTo>
                      <a:pt x="0" y="762"/>
                    </a:lnTo>
                    <a:lnTo>
                      <a:pt x="1905"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63" name="Freeform: Shape 262">
                <a:extLst>
                  <a:ext uri="{FF2B5EF4-FFF2-40B4-BE49-F238E27FC236}">
                    <a16:creationId xmlns:a16="http://schemas.microsoft.com/office/drawing/2014/main" id="{9E5687EE-1BFC-4BB5-B578-823ED3EF4446}"/>
                  </a:ext>
                </a:extLst>
              </p:cNvPr>
              <p:cNvSpPr/>
              <p:nvPr/>
            </p:nvSpPr>
            <p:spPr>
              <a:xfrm>
                <a:off x="14361971" y="5530040"/>
                <a:ext cx="762" cy="190"/>
              </a:xfrm>
              <a:custGeom>
                <a:avLst/>
                <a:gdLst>
                  <a:gd name="connsiteX0" fmla="*/ 762 w 762"/>
                  <a:gd name="connsiteY0" fmla="*/ 0 h 190"/>
                  <a:gd name="connsiteX1" fmla="*/ 190 w 762"/>
                  <a:gd name="connsiteY1" fmla="*/ 191 h 190"/>
                  <a:gd name="connsiteX2" fmla="*/ 0 w 762"/>
                  <a:gd name="connsiteY2" fmla="*/ 191 h 190"/>
                  <a:gd name="connsiteX3" fmla="*/ 762 w 762"/>
                  <a:gd name="connsiteY3" fmla="*/ 0 h 190"/>
                </a:gdLst>
                <a:ahLst/>
                <a:cxnLst>
                  <a:cxn ang="0">
                    <a:pos x="connsiteX0" y="connsiteY0"/>
                  </a:cxn>
                  <a:cxn ang="0">
                    <a:pos x="connsiteX1" y="connsiteY1"/>
                  </a:cxn>
                  <a:cxn ang="0">
                    <a:pos x="connsiteX2" y="connsiteY2"/>
                  </a:cxn>
                  <a:cxn ang="0">
                    <a:pos x="connsiteX3" y="connsiteY3"/>
                  </a:cxn>
                </a:cxnLst>
                <a:rect l="l" t="t" r="r" b="b"/>
                <a:pathLst>
                  <a:path w="762" h="190">
                    <a:moveTo>
                      <a:pt x="762" y="0"/>
                    </a:moveTo>
                    <a:lnTo>
                      <a:pt x="190" y="191"/>
                    </a:lnTo>
                    <a:lnTo>
                      <a:pt x="0" y="191"/>
                    </a:lnTo>
                    <a:lnTo>
                      <a:pt x="762"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64" name="Freeform: Shape 263">
                <a:extLst>
                  <a:ext uri="{FF2B5EF4-FFF2-40B4-BE49-F238E27FC236}">
                    <a16:creationId xmlns:a16="http://schemas.microsoft.com/office/drawing/2014/main" id="{1079D3DE-903F-4811-82D2-A9C36131289A}"/>
                  </a:ext>
                </a:extLst>
              </p:cNvPr>
              <p:cNvSpPr/>
              <p:nvPr/>
            </p:nvSpPr>
            <p:spPr>
              <a:xfrm>
                <a:off x="12687095" y="4301315"/>
                <a:ext cx="30479" cy="243554"/>
              </a:xfrm>
              <a:custGeom>
                <a:avLst/>
                <a:gdLst>
                  <a:gd name="connsiteX0" fmla="*/ 7144 w 30479"/>
                  <a:gd name="connsiteY0" fmla="*/ 165068 h 243554"/>
                  <a:gd name="connsiteX1" fmla="*/ 15335 w 30479"/>
                  <a:gd name="connsiteY1" fmla="*/ 196787 h 243554"/>
                  <a:gd name="connsiteX2" fmla="*/ 18478 w 30479"/>
                  <a:gd name="connsiteY2" fmla="*/ 212312 h 243554"/>
                  <a:gd name="connsiteX3" fmla="*/ 22860 w 30479"/>
                  <a:gd name="connsiteY3" fmla="*/ 227076 h 243554"/>
                  <a:gd name="connsiteX4" fmla="*/ 27908 w 30479"/>
                  <a:gd name="connsiteY4" fmla="*/ 241554 h 243554"/>
                  <a:gd name="connsiteX5" fmla="*/ 30480 w 30479"/>
                  <a:gd name="connsiteY5" fmla="*/ 243554 h 243554"/>
                  <a:gd name="connsiteX6" fmla="*/ 29242 w 30479"/>
                  <a:gd name="connsiteY6" fmla="*/ 226028 h 243554"/>
                  <a:gd name="connsiteX7" fmla="*/ 25336 w 30479"/>
                  <a:gd name="connsiteY7" fmla="*/ 209645 h 243554"/>
                  <a:gd name="connsiteX8" fmla="*/ 28099 w 30479"/>
                  <a:gd name="connsiteY8" fmla="*/ 210693 h 243554"/>
                  <a:gd name="connsiteX9" fmla="*/ 26575 w 30479"/>
                  <a:gd name="connsiteY9" fmla="*/ 197072 h 243554"/>
                  <a:gd name="connsiteX10" fmla="*/ 24670 w 30479"/>
                  <a:gd name="connsiteY10" fmla="*/ 189833 h 243554"/>
                  <a:gd name="connsiteX11" fmla="*/ 25336 w 30479"/>
                  <a:gd name="connsiteY11" fmla="*/ 175165 h 243554"/>
                  <a:gd name="connsiteX12" fmla="*/ 26765 w 30479"/>
                  <a:gd name="connsiteY12" fmla="*/ 155258 h 243554"/>
                  <a:gd name="connsiteX13" fmla="*/ 27241 w 30479"/>
                  <a:gd name="connsiteY13" fmla="*/ 147066 h 243554"/>
                  <a:gd name="connsiteX14" fmla="*/ 22193 w 30479"/>
                  <a:gd name="connsiteY14" fmla="*/ 126587 h 243554"/>
                  <a:gd name="connsiteX15" fmla="*/ 23908 w 30479"/>
                  <a:gd name="connsiteY15" fmla="*/ 117158 h 243554"/>
                  <a:gd name="connsiteX16" fmla="*/ 23432 w 30479"/>
                  <a:gd name="connsiteY16" fmla="*/ 95821 h 243554"/>
                  <a:gd name="connsiteX17" fmla="*/ 20860 w 30479"/>
                  <a:gd name="connsiteY17" fmla="*/ 78391 h 243554"/>
                  <a:gd name="connsiteX18" fmla="*/ 18764 w 30479"/>
                  <a:gd name="connsiteY18" fmla="*/ 59150 h 243554"/>
                  <a:gd name="connsiteX19" fmla="*/ 16954 w 30479"/>
                  <a:gd name="connsiteY19" fmla="*/ 53912 h 243554"/>
                  <a:gd name="connsiteX20" fmla="*/ 14002 w 30479"/>
                  <a:gd name="connsiteY20" fmla="*/ 37243 h 243554"/>
                  <a:gd name="connsiteX21" fmla="*/ 10858 w 30479"/>
                  <a:gd name="connsiteY21" fmla="*/ 26003 h 243554"/>
                  <a:gd name="connsiteX22" fmla="*/ 7715 w 30479"/>
                  <a:gd name="connsiteY22" fmla="*/ 16097 h 243554"/>
                  <a:gd name="connsiteX23" fmla="*/ 3905 w 30479"/>
                  <a:gd name="connsiteY23" fmla="*/ 11621 h 243554"/>
                  <a:gd name="connsiteX24" fmla="*/ 0 w 30479"/>
                  <a:gd name="connsiteY24" fmla="*/ 0 h 243554"/>
                  <a:gd name="connsiteX25" fmla="*/ 0 w 30479"/>
                  <a:gd name="connsiteY25" fmla="*/ 9716 h 243554"/>
                  <a:gd name="connsiteX26" fmla="*/ 2095 w 30479"/>
                  <a:gd name="connsiteY26" fmla="*/ 20764 h 243554"/>
                  <a:gd name="connsiteX27" fmla="*/ 4667 w 30479"/>
                  <a:gd name="connsiteY27" fmla="*/ 23717 h 243554"/>
                  <a:gd name="connsiteX28" fmla="*/ 5810 w 30479"/>
                  <a:gd name="connsiteY28" fmla="*/ 32956 h 243554"/>
                  <a:gd name="connsiteX29" fmla="*/ 12573 w 30479"/>
                  <a:gd name="connsiteY29" fmla="*/ 48482 h 243554"/>
                  <a:gd name="connsiteX30" fmla="*/ 15049 w 30479"/>
                  <a:gd name="connsiteY30" fmla="*/ 70390 h 243554"/>
                  <a:gd name="connsiteX31" fmla="*/ 11525 w 30479"/>
                  <a:gd name="connsiteY31" fmla="*/ 62389 h 243554"/>
                  <a:gd name="connsiteX32" fmla="*/ 10858 w 30479"/>
                  <a:gd name="connsiteY32" fmla="*/ 70390 h 243554"/>
                  <a:gd name="connsiteX33" fmla="*/ 14002 w 30479"/>
                  <a:gd name="connsiteY33" fmla="*/ 99727 h 243554"/>
                  <a:gd name="connsiteX34" fmla="*/ 13240 w 30479"/>
                  <a:gd name="connsiteY34" fmla="*/ 106775 h 243554"/>
                  <a:gd name="connsiteX35" fmla="*/ 14573 w 30479"/>
                  <a:gd name="connsiteY35" fmla="*/ 127921 h 243554"/>
                  <a:gd name="connsiteX36" fmla="*/ 17431 w 30479"/>
                  <a:gd name="connsiteY36" fmla="*/ 140494 h 243554"/>
                  <a:gd name="connsiteX37" fmla="*/ 13526 w 30479"/>
                  <a:gd name="connsiteY37" fmla="*/ 146685 h 243554"/>
                  <a:gd name="connsiteX38" fmla="*/ 12668 w 30479"/>
                  <a:gd name="connsiteY38" fmla="*/ 154972 h 243554"/>
                  <a:gd name="connsiteX39" fmla="*/ 15240 w 30479"/>
                  <a:gd name="connsiteY39" fmla="*/ 169450 h 243554"/>
                  <a:gd name="connsiteX40" fmla="*/ 15049 w 30479"/>
                  <a:gd name="connsiteY40" fmla="*/ 178975 h 243554"/>
                  <a:gd name="connsiteX41" fmla="*/ 7144 w 30479"/>
                  <a:gd name="connsiteY41" fmla="*/ 165068 h 243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0479" h="243554">
                    <a:moveTo>
                      <a:pt x="7144" y="165068"/>
                    </a:moveTo>
                    <a:lnTo>
                      <a:pt x="15335" y="196787"/>
                    </a:lnTo>
                    <a:lnTo>
                      <a:pt x="18478" y="212312"/>
                    </a:lnTo>
                    <a:lnTo>
                      <a:pt x="22860" y="227076"/>
                    </a:lnTo>
                    <a:lnTo>
                      <a:pt x="27908" y="241554"/>
                    </a:lnTo>
                    <a:lnTo>
                      <a:pt x="30480" y="243554"/>
                    </a:lnTo>
                    <a:lnTo>
                      <a:pt x="29242" y="226028"/>
                    </a:lnTo>
                    <a:lnTo>
                      <a:pt x="25336" y="209645"/>
                    </a:lnTo>
                    <a:lnTo>
                      <a:pt x="28099" y="210693"/>
                    </a:lnTo>
                    <a:lnTo>
                      <a:pt x="26575" y="197072"/>
                    </a:lnTo>
                    <a:lnTo>
                      <a:pt x="24670" y="189833"/>
                    </a:lnTo>
                    <a:lnTo>
                      <a:pt x="25336" y="175165"/>
                    </a:lnTo>
                    <a:lnTo>
                      <a:pt x="26765" y="155258"/>
                    </a:lnTo>
                    <a:lnTo>
                      <a:pt x="27241" y="147066"/>
                    </a:lnTo>
                    <a:lnTo>
                      <a:pt x="22193" y="126587"/>
                    </a:lnTo>
                    <a:lnTo>
                      <a:pt x="23908" y="117158"/>
                    </a:lnTo>
                    <a:lnTo>
                      <a:pt x="23432" y="95821"/>
                    </a:lnTo>
                    <a:lnTo>
                      <a:pt x="20860" y="78391"/>
                    </a:lnTo>
                    <a:lnTo>
                      <a:pt x="18764" y="59150"/>
                    </a:lnTo>
                    <a:lnTo>
                      <a:pt x="16954" y="53912"/>
                    </a:lnTo>
                    <a:lnTo>
                      <a:pt x="14002" y="37243"/>
                    </a:lnTo>
                    <a:lnTo>
                      <a:pt x="10858" y="26003"/>
                    </a:lnTo>
                    <a:lnTo>
                      <a:pt x="7715" y="16097"/>
                    </a:lnTo>
                    <a:lnTo>
                      <a:pt x="3905" y="11621"/>
                    </a:lnTo>
                    <a:lnTo>
                      <a:pt x="0" y="0"/>
                    </a:lnTo>
                    <a:lnTo>
                      <a:pt x="0" y="9716"/>
                    </a:lnTo>
                    <a:lnTo>
                      <a:pt x="2095" y="20764"/>
                    </a:lnTo>
                    <a:lnTo>
                      <a:pt x="4667" y="23717"/>
                    </a:lnTo>
                    <a:lnTo>
                      <a:pt x="5810" y="32956"/>
                    </a:lnTo>
                    <a:lnTo>
                      <a:pt x="12573" y="48482"/>
                    </a:lnTo>
                    <a:lnTo>
                      <a:pt x="15049" y="70390"/>
                    </a:lnTo>
                    <a:lnTo>
                      <a:pt x="11525" y="62389"/>
                    </a:lnTo>
                    <a:lnTo>
                      <a:pt x="10858" y="70390"/>
                    </a:lnTo>
                    <a:lnTo>
                      <a:pt x="14002" y="99727"/>
                    </a:lnTo>
                    <a:lnTo>
                      <a:pt x="13240" y="106775"/>
                    </a:lnTo>
                    <a:lnTo>
                      <a:pt x="14573" y="127921"/>
                    </a:lnTo>
                    <a:lnTo>
                      <a:pt x="17431" y="140494"/>
                    </a:lnTo>
                    <a:lnTo>
                      <a:pt x="13526" y="146685"/>
                    </a:lnTo>
                    <a:lnTo>
                      <a:pt x="12668" y="154972"/>
                    </a:lnTo>
                    <a:lnTo>
                      <a:pt x="15240" y="169450"/>
                    </a:lnTo>
                    <a:lnTo>
                      <a:pt x="15049" y="178975"/>
                    </a:lnTo>
                    <a:lnTo>
                      <a:pt x="7144" y="16506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65" name="Freeform: Shape 264">
                <a:extLst>
                  <a:ext uri="{FF2B5EF4-FFF2-40B4-BE49-F238E27FC236}">
                    <a16:creationId xmlns:a16="http://schemas.microsoft.com/office/drawing/2014/main" id="{478AC7C3-246D-4615-BD4A-BDA5C9EA164C}"/>
                  </a:ext>
                </a:extLst>
              </p:cNvPr>
              <p:cNvSpPr/>
              <p:nvPr/>
            </p:nvSpPr>
            <p:spPr>
              <a:xfrm>
                <a:off x="14587428" y="5121799"/>
                <a:ext cx="34099" cy="34290"/>
              </a:xfrm>
              <a:custGeom>
                <a:avLst/>
                <a:gdLst>
                  <a:gd name="connsiteX0" fmla="*/ 21526 w 34099"/>
                  <a:gd name="connsiteY0" fmla="*/ 13621 h 34290"/>
                  <a:gd name="connsiteX1" fmla="*/ 9430 w 34099"/>
                  <a:gd name="connsiteY1" fmla="*/ 21336 h 34290"/>
                  <a:gd name="connsiteX2" fmla="*/ 8858 w 34099"/>
                  <a:gd name="connsiteY2" fmla="*/ 25717 h 34290"/>
                  <a:gd name="connsiteX3" fmla="*/ 7715 w 34099"/>
                  <a:gd name="connsiteY3" fmla="*/ 26575 h 34290"/>
                  <a:gd name="connsiteX4" fmla="*/ 0 w 34099"/>
                  <a:gd name="connsiteY4" fmla="*/ 32099 h 34290"/>
                  <a:gd name="connsiteX5" fmla="*/ 6953 w 34099"/>
                  <a:gd name="connsiteY5" fmla="*/ 34290 h 34290"/>
                  <a:gd name="connsiteX6" fmla="*/ 16192 w 34099"/>
                  <a:gd name="connsiteY6" fmla="*/ 30480 h 34290"/>
                  <a:gd name="connsiteX7" fmla="*/ 30194 w 34099"/>
                  <a:gd name="connsiteY7" fmla="*/ 14478 h 34290"/>
                  <a:gd name="connsiteX8" fmla="*/ 29051 w 34099"/>
                  <a:gd name="connsiteY8" fmla="*/ 13906 h 34290"/>
                  <a:gd name="connsiteX9" fmla="*/ 26384 w 34099"/>
                  <a:gd name="connsiteY9" fmla="*/ 12573 h 34290"/>
                  <a:gd name="connsiteX10" fmla="*/ 34100 w 34099"/>
                  <a:gd name="connsiteY10" fmla="*/ 0 h 34290"/>
                  <a:gd name="connsiteX11" fmla="*/ 21526 w 34099"/>
                  <a:gd name="connsiteY11" fmla="*/ 13621 h 3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099" h="34290">
                    <a:moveTo>
                      <a:pt x="21526" y="13621"/>
                    </a:moveTo>
                    <a:lnTo>
                      <a:pt x="9430" y="21336"/>
                    </a:lnTo>
                    <a:lnTo>
                      <a:pt x="8858" y="25717"/>
                    </a:lnTo>
                    <a:lnTo>
                      <a:pt x="7715" y="26575"/>
                    </a:lnTo>
                    <a:lnTo>
                      <a:pt x="0" y="32099"/>
                    </a:lnTo>
                    <a:lnTo>
                      <a:pt x="6953" y="34290"/>
                    </a:lnTo>
                    <a:lnTo>
                      <a:pt x="16192" y="30480"/>
                    </a:lnTo>
                    <a:lnTo>
                      <a:pt x="30194" y="14478"/>
                    </a:lnTo>
                    <a:lnTo>
                      <a:pt x="29051" y="13906"/>
                    </a:lnTo>
                    <a:lnTo>
                      <a:pt x="26384" y="12573"/>
                    </a:lnTo>
                    <a:lnTo>
                      <a:pt x="34100" y="0"/>
                    </a:lnTo>
                    <a:lnTo>
                      <a:pt x="21526" y="1362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66" name="Freeform: Shape 265">
                <a:extLst>
                  <a:ext uri="{FF2B5EF4-FFF2-40B4-BE49-F238E27FC236}">
                    <a16:creationId xmlns:a16="http://schemas.microsoft.com/office/drawing/2014/main" id="{BD9E579C-7B77-4FAE-BA07-E92D8F603E2C}"/>
                  </a:ext>
                </a:extLst>
              </p:cNvPr>
              <p:cNvSpPr/>
              <p:nvPr/>
            </p:nvSpPr>
            <p:spPr>
              <a:xfrm>
                <a:off x="14126322" y="4948348"/>
                <a:ext cx="24669" cy="26479"/>
              </a:xfrm>
              <a:custGeom>
                <a:avLst/>
                <a:gdLst>
                  <a:gd name="connsiteX0" fmla="*/ 24670 w 24669"/>
                  <a:gd name="connsiteY0" fmla="*/ 8858 h 26479"/>
                  <a:gd name="connsiteX1" fmla="*/ 18193 w 24669"/>
                  <a:gd name="connsiteY1" fmla="*/ 0 h 26479"/>
                  <a:gd name="connsiteX2" fmla="*/ 0 w 24669"/>
                  <a:gd name="connsiteY2" fmla="*/ 10573 h 26479"/>
                  <a:gd name="connsiteX3" fmla="*/ 3429 w 24669"/>
                  <a:gd name="connsiteY3" fmla="*/ 18383 h 26479"/>
                  <a:gd name="connsiteX4" fmla="*/ 20003 w 24669"/>
                  <a:gd name="connsiteY4" fmla="*/ 26479 h 26479"/>
                  <a:gd name="connsiteX5" fmla="*/ 24670 w 24669"/>
                  <a:gd name="connsiteY5" fmla="*/ 8858 h 26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69" h="26479">
                    <a:moveTo>
                      <a:pt x="24670" y="8858"/>
                    </a:moveTo>
                    <a:lnTo>
                      <a:pt x="18193" y="0"/>
                    </a:lnTo>
                    <a:lnTo>
                      <a:pt x="0" y="10573"/>
                    </a:lnTo>
                    <a:lnTo>
                      <a:pt x="3429" y="18383"/>
                    </a:lnTo>
                    <a:lnTo>
                      <a:pt x="20003" y="26479"/>
                    </a:lnTo>
                    <a:lnTo>
                      <a:pt x="24670" y="885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67" name="Freeform: Shape 266">
                <a:extLst>
                  <a:ext uri="{FF2B5EF4-FFF2-40B4-BE49-F238E27FC236}">
                    <a16:creationId xmlns:a16="http://schemas.microsoft.com/office/drawing/2014/main" id="{B472C4F0-6E09-4C22-A201-D36942FBC741}"/>
                  </a:ext>
                </a:extLst>
              </p:cNvPr>
              <p:cNvSpPr/>
              <p:nvPr/>
            </p:nvSpPr>
            <p:spPr>
              <a:xfrm>
                <a:off x="12700811" y="4542964"/>
                <a:ext cx="47244" cy="133731"/>
              </a:xfrm>
              <a:custGeom>
                <a:avLst/>
                <a:gdLst>
                  <a:gd name="connsiteX0" fmla="*/ 29718 w 47244"/>
                  <a:gd name="connsiteY0" fmla="*/ 95536 h 133731"/>
                  <a:gd name="connsiteX1" fmla="*/ 32480 w 47244"/>
                  <a:gd name="connsiteY1" fmla="*/ 98965 h 133731"/>
                  <a:gd name="connsiteX2" fmla="*/ 34671 w 47244"/>
                  <a:gd name="connsiteY2" fmla="*/ 106204 h 133731"/>
                  <a:gd name="connsiteX3" fmla="*/ 38767 w 47244"/>
                  <a:gd name="connsiteY3" fmla="*/ 116015 h 133731"/>
                  <a:gd name="connsiteX4" fmla="*/ 41148 w 47244"/>
                  <a:gd name="connsiteY4" fmla="*/ 126873 h 133731"/>
                  <a:gd name="connsiteX5" fmla="*/ 47244 w 47244"/>
                  <a:gd name="connsiteY5" fmla="*/ 133731 h 133731"/>
                  <a:gd name="connsiteX6" fmla="*/ 45720 w 47244"/>
                  <a:gd name="connsiteY6" fmla="*/ 122111 h 133731"/>
                  <a:gd name="connsiteX7" fmla="*/ 42386 w 47244"/>
                  <a:gd name="connsiteY7" fmla="*/ 112490 h 133731"/>
                  <a:gd name="connsiteX8" fmla="*/ 44863 w 47244"/>
                  <a:gd name="connsiteY8" fmla="*/ 112300 h 133731"/>
                  <a:gd name="connsiteX9" fmla="*/ 40291 w 47244"/>
                  <a:gd name="connsiteY9" fmla="*/ 100584 h 133731"/>
                  <a:gd name="connsiteX10" fmla="*/ 41529 w 47244"/>
                  <a:gd name="connsiteY10" fmla="*/ 95726 h 133731"/>
                  <a:gd name="connsiteX11" fmla="*/ 39338 w 47244"/>
                  <a:gd name="connsiteY11" fmla="*/ 90107 h 133731"/>
                  <a:gd name="connsiteX12" fmla="*/ 36766 w 47244"/>
                  <a:gd name="connsiteY12" fmla="*/ 76581 h 133731"/>
                  <a:gd name="connsiteX13" fmla="*/ 31052 w 47244"/>
                  <a:gd name="connsiteY13" fmla="*/ 59627 h 133731"/>
                  <a:gd name="connsiteX14" fmla="*/ 28766 w 47244"/>
                  <a:gd name="connsiteY14" fmla="*/ 57341 h 133731"/>
                  <a:gd name="connsiteX15" fmla="*/ 23908 w 47244"/>
                  <a:gd name="connsiteY15" fmla="*/ 38005 h 133731"/>
                  <a:gd name="connsiteX16" fmla="*/ 20193 w 47244"/>
                  <a:gd name="connsiteY16" fmla="*/ 24479 h 133731"/>
                  <a:gd name="connsiteX17" fmla="*/ 16478 w 47244"/>
                  <a:gd name="connsiteY17" fmla="*/ 20193 h 133731"/>
                  <a:gd name="connsiteX18" fmla="*/ 19526 w 47244"/>
                  <a:gd name="connsiteY18" fmla="*/ 34481 h 133731"/>
                  <a:gd name="connsiteX19" fmla="*/ 16478 w 47244"/>
                  <a:gd name="connsiteY19" fmla="*/ 35242 h 133731"/>
                  <a:gd name="connsiteX20" fmla="*/ 16383 w 47244"/>
                  <a:gd name="connsiteY20" fmla="*/ 46292 h 133731"/>
                  <a:gd name="connsiteX21" fmla="*/ 12287 w 47244"/>
                  <a:gd name="connsiteY21" fmla="*/ 38862 h 133731"/>
                  <a:gd name="connsiteX22" fmla="*/ 7810 w 47244"/>
                  <a:gd name="connsiteY22" fmla="*/ 22003 h 133731"/>
                  <a:gd name="connsiteX23" fmla="*/ 2953 w 47244"/>
                  <a:gd name="connsiteY23" fmla="*/ 1238 h 133731"/>
                  <a:gd name="connsiteX24" fmla="*/ 0 w 47244"/>
                  <a:gd name="connsiteY24" fmla="*/ 0 h 133731"/>
                  <a:gd name="connsiteX25" fmla="*/ 1048 w 47244"/>
                  <a:gd name="connsiteY25" fmla="*/ 12573 h 133731"/>
                  <a:gd name="connsiteX26" fmla="*/ 5429 w 47244"/>
                  <a:gd name="connsiteY26" fmla="*/ 22574 h 133731"/>
                  <a:gd name="connsiteX27" fmla="*/ 9049 w 47244"/>
                  <a:gd name="connsiteY27" fmla="*/ 36195 h 133731"/>
                  <a:gd name="connsiteX28" fmla="*/ 12764 w 47244"/>
                  <a:gd name="connsiteY28" fmla="*/ 46482 h 133731"/>
                  <a:gd name="connsiteX29" fmla="*/ 16288 w 47244"/>
                  <a:gd name="connsiteY29" fmla="*/ 61532 h 133731"/>
                  <a:gd name="connsiteX30" fmla="*/ 14669 w 47244"/>
                  <a:gd name="connsiteY30" fmla="*/ 63341 h 133731"/>
                  <a:gd name="connsiteX31" fmla="*/ 15430 w 47244"/>
                  <a:gd name="connsiteY31" fmla="*/ 69342 h 133731"/>
                  <a:gd name="connsiteX32" fmla="*/ 23336 w 47244"/>
                  <a:gd name="connsiteY32" fmla="*/ 76486 h 133731"/>
                  <a:gd name="connsiteX33" fmla="*/ 26860 w 47244"/>
                  <a:gd name="connsiteY33" fmla="*/ 83344 h 133731"/>
                  <a:gd name="connsiteX34" fmla="*/ 26289 w 47244"/>
                  <a:gd name="connsiteY34" fmla="*/ 87344 h 133731"/>
                  <a:gd name="connsiteX35" fmla="*/ 29718 w 47244"/>
                  <a:gd name="connsiteY35" fmla="*/ 95536 h 13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244" h="133731">
                    <a:moveTo>
                      <a:pt x="29718" y="95536"/>
                    </a:moveTo>
                    <a:lnTo>
                      <a:pt x="32480" y="98965"/>
                    </a:lnTo>
                    <a:lnTo>
                      <a:pt x="34671" y="106204"/>
                    </a:lnTo>
                    <a:lnTo>
                      <a:pt x="38767" y="116015"/>
                    </a:lnTo>
                    <a:lnTo>
                      <a:pt x="41148" y="126873"/>
                    </a:lnTo>
                    <a:lnTo>
                      <a:pt x="47244" y="133731"/>
                    </a:lnTo>
                    <a:lnTo>
                      <a:pt x="45720" y="122111"/>
                    </a:lnTo>
                    <a:lnTo>
                      <a:pt x="42386" y="112490"/>
                    </a:lnTo>
                    <a:lnTo>
                      <a:pt x="44863" y="112300"/>
                    </a:lnTo>
                    <a:lnTo>
                      <a:pt x="40291" y="100584"/>
                    </a:lnTo>
                    <a:lnTo>
                      <a:pt x="41529" y="95726"/>
                    </a:lnTo>
                    <a:lnTo>
                      <a:pt x="39338" y="90107"/>
                    </a:lnTo>
                    <a:lnTo>
                      <a:pt x="36766" y="76581"/>
                    </a:lnTo>
                    <a:lnTo>
                      <a:pt x="31052" y="59627"/>
                    </a:lnTo>
                    <a:lnTo>
                      <a:pt x="28766" y="57341"/>
                    </a:lnTo>
                    <a:lnTo>
                      <a:pt x="23908" y="38005"/>
                    </a:lnTo>
                    <a:lnTo>
                      <a:pt x="20193" y="24479"/>
                    </a:lnTo>
                    <a:lnTo>
                      <a:pt x="16478" y="20193"/>
                    </a:lnTo>
                    <a:lnTo>
                      <a:pt x="19526" y="34481"/>
                    </a:lnTo>
                    <a:lnTo>
                      <a:pt x="16478" y="35242"/>
                    </a:lnTo>
                    <a:lnTo>
                      <a:pt x="16383" y="46292"/>
                    </a:lnTo>
                    <a:lnTo>
                      <a:pt x="12287" y="38862"/>
                    </a:lnTo>
                    <a:lnTo>
                      <a:pt x="7810" y="22003"/>
                    </a:lnTo>
                    <a:lnTo>
                      <a:pt x="2953" y="1238"/>
                    </a:lnTo>
                    <a:lnTo>
                      <a:pt x="0" y="0"/>
                    </a:lnTo>
                    <a:lnTo>
                      <a:pt x="1048" y="12573"/>
                    </a:lnTo>
                    <a:lnTo>
                      <a:pt x="5429" y="22574"/>
                    </a:lnTo>
                    <a:lnTo>
                      <a:pt x="9049" y="36195"/>
                    </a:lnTo>
                    <a:lnTo>
                      <a:pt x="12764" y="46482"/>
                    </a:lnTo>
                    <a:lnTo>
                      <a:pt x="16288" y="61532"/>
                    </a:lnTo>
                    <a:lnTo>
                      <a:pt x="14669" y="63341"/>
                    </a:lnTo>
                    <a:lnTo>
                      <a:pt x="15430" y="69342"/>
                    </a:lnTo>
                    <a:lnTo>
                      <a:pt x="23336" y="76486"/>
                    </a:lnTo>
                    <a:lnTo>
                      <a:pt x="26860" y="83344"/>
                    </a:lnTo>
                    <a:lnTo>
                      <a:pt x="26289" y="87344"/>
                    </a:lnTo>
                    <a:lnTo>
                      <a:pt x="29718" y="9553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68" name="Freeform: Shape 267">
                <a:extLst>
                  <a:ext uri="{FF2B5EF4-FFF2-40B4-BE49-F238E27FC236}">
                    <a16:creationId xmlns:a16="http://schemas.microsoft.com/office/drawing/2014/main" id="{D54B08CD-C6F9-4198-8DF5-9A8897A26A5E}"/>
                  </a:ext>
                </a:extLst>
              </p:cNvPr>
              <p:cNvSpPr/>
              <p:nvPr/>
            </p:nvSpPr>
            <p:spPr>
              <a:xfrm>
                <a:off x="12769391" y="4887579"/>
                <a:ext cx="7334" cy="12572"/>
              </a:xfrm>
              <a:custGeom>
                <a:avLst/>
                <a:gdLst>
                  <a:gd name="connsiteX0" fmla="*/ 857 w 7334"/>
                  <a:gd name="connsiteY0" fmla="*/ 1524 h 12572"/>
                  <a:gd name="connsiteX1" fmla="*/ 6477 w 7334"/>
                  <a:gd name="connsiteY1" fmla="*/ 11049 h 12572"/>
                  <a:gd name="connsiteX2" fmla="*/ 7334 w 7334"/>
                  <a:gd name="connsiteY2" fmla="*/ 12573 h 12572"/>
                  <a:gd name="connsiteX3" fmla="*/ 0 w 7334"/>
                  <a:gd name="connsiteY3" fmla="*/ 0 h 12572"/>
                  <a:gd name="connsiteX4" fmla="*/ 857 w 7334"/>
                  <a:gd name="connsiteY4" fmla="*/ 1524 h 12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4" h="12572">
                    <a:moveTo>
                      <a:pt x="857" y="1524"/>
                    </a:moveTo>
                    <a:lnTo>
                      <a:pt x="6477" y="11049"/>
                    </a:lnTo>
                    <a:lnTo>
                      <a:pt x="7334" y="12573"/>
                    </a:lnTo>
                    <a:lnTo>
                      <a:pt x="0" y="0"/>
                    </a:lnTo>
                    <a:lnTo>
                      <a:pt x="857" y="152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69" name="Freeform: Shape 268">
                <a:extLst>
                  <a:ext uri="{FF2B5EF4-FFF2-40B4-BE49-F238E27FC236}">
                    <a16:creationId xmlns:a16="http://schemas.microsoft.com/office/drawing/2014/main" id="{317537BF-053A-4851-8659-75589F5C0F67}"/>
                  </a:ext>
                </a:extLst>
              </p:cNvPr>
              <p:cNvSpPr/>
              <p:nvPr/>
            </p:nvSpPr>
            <p:spPr>
              <a:xfrm>
                <a:off x="14131276" y="5195141"/>
                <a:ext cx="18383" cy="26860"/>
              </a:xfrm>
              <a:custGeom>
                <a:avLst/>
                <a:gdLst>
                  <a:gd name="connsiteX0" fmla="*/ 18383 w 18383"/>
                  <a:gd name="connsiteY0" fmla="*/ 13525 h 26860"/>
                  <a:gd name="connsiteX1" fmla="*/ 13049 w 18383"/>
                  <a:gd name="connsiteY1" fmla="*/ 0 h 26860"/>
                  <a:gd name="connsiteX2" fmla="*/ 2667 w 18383"/>
                  <a:gd name="connsiteY2" fmla="*/ 8096 h 26860"/>
                  <a:gd name="connsiteX3" fmla="*/ 0 w 18383"/>
                  <a:gd name="connsiteY3" fmla="*/ 14669 h 26860"/>
                  <a:gd name="connsiteX4" fmla="*/ 5810 w 18383"/>
                  <a:gd name="connsiteY4" fmla="*/ 24860 h 26860"/>
                  <a:gd name="connsiteX5" fmla="*/ 14478 w 18383"/>
                  <a:gd name="connsiteY5" fmla="*/ 26861 h 26860"/>
                  <a:gd name="connsiteX6" fmla="*/ 18383 w 18383"/>
                  <a:gd name="connsiteY6" fmla="*/ 13525 h 2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83" h="26860">
                    <a:moveTo>
                      <a:pt x="18383" y="13525"/>
                    </a:moveTo>
                    <a:lnTo>
                      <a:pt x="13049" y="0"/>
                    </a:lnTo>
                    <a:lnTo>
                      <a:pt x="2667" y="8096"/>
                    </a:lnTo>
                    <a:lnTo>
                      <a:pt x="0" y="14669"/>
                    </a:lnTo>
                    <a:lnTo>
                      <a:pt x="5810" y="24860"/>
                    </a:lnTo>
                    <a:lnTo>
                      <a:pt x="14478" y="26861"/>
                    </a:lnTo>
                    <a:lnTo>
                      <a:pt x="18383" y="1352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70" name="Freeform: Shape 269">
                <a:extLst>
                  <a:ext uri="{FF2B5EF4-FFF2-40B4-BE49-F238E27FC236}">
                    <a16:creationId xmlns:a16="http://schemas.microsoft.com/office/drawing/2014/main" id="{C700AD22-C9E8-41FA-9A31-301AE3F4DA76}"/>
                  </a:ext>
                </a:extLst>
              </p:cNvPr>
              <p:cNvSpPr/>
              <p:nvPr/>
            </p:nvSpPr>
            <p:spPr>
              <a:xfrm>
                <a:off x="14191283" y="5565854"/>
                <a:ext cx="11620" cy="1905"/>
              </a:xfrm>
              <a:custGeom>
                <a:avLst/>
                <a:gdLst>
                  <a:gd name="connsiteX0" fmla="*/ 762 w 11620"/>
                  <a:gd name="connsiteY0" fmla="*/ 1810 h 1905"/>
                  <a:gd name="connsiteX1" fmla="*/ 6096 w 11620"/>
                  <a:gd name="connsiteY1" fmla="*/ 953 h 1905"/>
                  <a:gd name="connsiteX2" fmla="*/ 11621 w 11620"/>
                  <a:gd name="connsiteY2" fmla="*/ 0 h 1905"/>
                  <a:gd name="connsiteX3" fmla="*/ 0 w 11620"/>
                  <a:gd name="connsiteY3" fmla="*/ 1905 h 1905"/>
                  <a:gd name="connsiteX4" fmla="*/ 762 w 11620"/>
                  <a:gd name="connsiteY4" fmla="*/ 1810 h 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20" h="1905">
                    <a:moveTo>
                      <a:pt x="762" y="1810"/>
                    </a:moveTo>
                    <a:lnTo>
                      <a:pt x="6096" y="953"/>
                    </a:lnTo>
                    <a:lnTo>
                      <a:pt x="11621" y="0"/>
                    </a:lnTo>
                    <a:lnTo>
                      <a:pt x="0" y="1905"/>
                    </a:lnTo>
                    <a:lnTo>
                      <a:pt x="762" y="181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71" name="Freeform: Shape 270">
                <a:extLst>
                  <a:ext uri="{FF2B5EF4-FFF2-40B4-BE49-F238E27FC236}">
                    <a16:creationId xmlns:a16="http://schemas.microsoft.com/office/drawing/2014/main" id="{4223BF91-3362-4F4F-A802-44B1F9C17387}"/>
                  </a:ext>
                </a:extLst>
              </p:cNvPr>
              <p:cNvSpPr/>
              <p:nvPr/>
            </p:nvSpPr>
            <p:spPr>
              <a:xfrm>
                <a:off x="13887721" y="4911963"/>
                <a:ext cx="114776" cy="170402"/>
              </a:xfrm>
              <a:custGeom>
                <a:avLst/>
                <a:gdLst>
                  <a:gd name="connsiteX0" fmla="*/ 36481 w 114776"/>
                  <a:gd name="connsiteY0" fmla="*/ 2381 h 170402"/>
                  <a:gd name="connsiteX1" fmla="*/ 26575 w 114776"/>
                  <a:gd name="connsiteY1" fmla="*/ 0 h 170402"/>
                  <a:gd name="connsiteX2" fmla="*/ 15050 w 114776"/>
                  <a:gd name="connsiteY2" fmla="*/ 15716 h 170402"/>
                  <a:gd name="connsiteX3" fmla="*/ 8096 w 114776"/>
                  <a:gd name="connsiteY3" fmla="*/ 36385 h 170402"/>
                  <a:gd name="connsiteX4" fmla="*/ 13716 w 114776"/>
                  <a:gd name="connsiteY4" fmla="*/ 47339 h 170402"/>
                  <a:gd name="connsiteX5" fmla="*/ 12668 w 114776"/>
                  <a:gd name="connsiteY5" fmla="*/ 66770 h 170402"/>
                  <a:gd name="connsiteX6" fmla="*/ 20955 w 114776"/>
                  <a:gd name="connsiteY6" fmla="*/ 58007 h 170402"/>
                  <a:gd name="connsiteX7" fmla="*/ 24956 w 114776"/>
                  <a:gd name="connsiteY7" fmla="*/ 63913 h 170402"/>
                  <a:gd name="connsiteX8" fmla="*/ 19145 w 114776"/>
                  <a:gd name="connsiteY8" fmla="*/ 72390 h 170402"/>
                  <a:gd name="connsiteX9" fmla="*/ 22003 w 114776"/>
                  <a:gd name="connsiteY9" fmla="*/ 78010 h 170402"/>
                  <a:gd name="connsiteX10" fmla="*/ 38862 w 114776"/>
                  <a:gd name="connsiteY10" fmla="*/ 82772 h 170402"/>
                  <a:gd name="connsiteX11" fmla="*/ 39053 w 114776"/>
                  <a:gd name="connsiteY11" fmla="*/ 83058 h 170402"/>
                  <a:gd name="connsiteX12" fmla="*/ 47816 w 114776"/>
                  <a:gd name="connsiteY12" fmla="*/ 95821 h 170402"/>
                  <a:gd name="connsiteX13" fmla="*/ 45149 w 114776"/>
                  <a:gd name="connsiteY13" fmla="*/ 107061 h 170402"/>
                  <a:gd name="connsiteX14" fmla="*/ 45053 w 114776"/>
                  <a:gd name="connsiteY14" fmla="*/ 107061 h 170402"/>
                  <a:gd name="connsiteX15" fmla="*/ 23717 w 114776"/>
                  <a:gd name="connsiteY15" fmla="*/ 103918 h 170402"/>
                  <a:gd name="connsiteX16" fmla="*/ 19907 w 114776"/>
                  <a:gd name="connsiteY16" fmla="*/ 116396 h 170402"/>
                  <a:gd name="connsiteX17" fmla="*/ 27146 w 114776"/>
                  <a:gd name="connsiteY17" fmla="*/ 127445 h 170402"/>
                  <a:gd name="connsiteX18" fmla="*/ 11049 w 114776"/>
                  <a:gd name="connsiteY18" fmla="*/ 132017 h 170402"/>
                  <a:gd name="connsiteX19" fmla="*/ 14669 w 114776"/>
                  <a:gd name="connsiteY19" fmla="*/ 140017 h 170402"/>
                  <a:gd name="connsiteX20" fmla="*/ 38005 w 114776"/>
                  <a:gd name="connsiteY20" fmla="*/ 144971 h 170402"/>
                  <a:gd name="connsiteX21" fmla="*/ 38195 w 114776"/>
                  <a:gd name="connsiteY21" fmla="*/ 144971 h 170402"/>
                  <a:gd name="connsiteX22" fmla="*/ 24289 w 114776"/>
                  <a:gd name="connsiteY22" fmla="*/ 148114 h 170402"/>
                  <a:gd name="connsiteX23" fmla="*/ 0 w 114776"/>
                  <a:gd name="connsiteY23" fmla="*/ 165925 h 170402"/>
                  <a:gd name="connsiteX24" fmla="*/ 7906 w 114776"/>
                  <a:gd name="connsiteY24" fmla="*/ 170402 h 170402"/>
                  <a:gd name="connsiteX25" fmla="*/ 19431 w 114776"/>
                  <a:gd name="connsiteY25" fmla="*/ 164211 h 170402"/>
                  <a:gd name="connsiteX26" fmla="*/ 33623 w 114776"/>
                  <a:gd name="connsiteY26" fmla="*/ 167354 h 170402"/>
                  <a:gd name="connsiteX27" fmla="*/ 44387 w 114776"/>
                  <a:gd name="connsiteY27" fmla="*/ 159163 h 170402"/>
                  <a:gd name="connsiteX28" fmla="*/ 51435 w 114776"/>
                  <a:gd name="connsiteY28" fmla="*/ 163163 h 170402"/>
                  <a:gd name="connsiteX29" fmla="*/ 77915 w 114776"/>
                  <a:gd name="connsiteY29" fmla="*/ 158782 h 170402"/>
                  <a:gd name="connsiteX30" fmla="*/ 98489 w 114776"/>
                  <a:gd name="connsiteY30" fmla="*/ 158972 h 170402"/>
                  <a:gd name="connsiteX31" fmla="*/ 112109 w 114776"/>
                  <a:gd name="connsiteY31" fmla="*/ 148876 h 170402"/>
                  <a:gd name="connsiteX32" fmla="*/ 105823 w 114776"/>
                  <a:gd name="connsiteY32" fmla="*/ 139065 h 170402"/>
                  <a:gd name="connsiteX33" fmla="*/ 113348 w 114776"/>
                  <a:gd name="connsiteY33" fmla="*/ 133255 h 170402"/>
                  <a:gd name="connsiteX34" fmla="*/ 114776 w 114776"/>
                  <a:gd name="connsiteY34" fmla="*/ 120872 h 170402"/>
                  <a:gd name="connsiteX35" fmla="*/ 96965 w 114776"/>
                  <a:gd name="connsiteY35" fmla="*/ 117538 h 170402"/>
                  <a:gd name="connsiteX36" fmla="*/ 92678 w 114776"/>
                  <a:gd name="connsiteY36" fmla="*/ 109823 h 170402"/>
                  <a:gd name="connsiteX37" fmla="*/ 83915 w 114776"/>
                  <a:gd name="connsiteY37" fmla="*/ 87439 h 170402"/>
                  <a:gd name="connsiteX38" fmla="*/ 74295 w 114776"/>
                  <a:gd name="connsiteY38" fmla="*/ 84106 h 170402"/>
                  <a:gd name="connsiteX39" fmla="*/ 62579 w 114776"/>
                  <a:gd name="connsiteY39" fmla="*/ 60103 h 170402"/>
                  <a:gd name="connsiteX40" fmla="*/ 61532 w 114776"/>
                  <a:gd name="connsiteY40" fmla="*/ 58007 h 170402"/>
                  <a:gd name="connsiteX41" fmla="*/ 47530 w 114776"/>
                  <a:gd name="connsiteY41" fmla="*/ 56007 h 170402"/>
                  <a:gd name="connsiteX42" fmla="*/ 60484 w 114776"/>
                  <a:gd name="connsiteY42" fmla="*/ 38481 h 170402"/>
                  <a:gd name="connsiteX43" fmla="*/ 64484 w 114776"/>
                  <a:gd name="connsiteY43" fmla="*/ 21908 h 170402"/>
                  <a:gd name="connsiteX44" fmla="*/ 50197 w 114776"/>
                  <a:gd name="connsiteY44" fmla="*/ 21146 h 170402"/>
                  <a:gd name="connsiteX45" fmla="*/ 36767 w 114776"/>
                  <a:gd name="connsiteY45" fmla="*/ 23146 h 170402"/>
                  <a:gd name="connsiteX46" fmla="*/ 51911 w 114776"/>
                  <a:gd name="connsiteY46" fmla="*/ 1619 h 170402"/>
                  <a:gd name="connsiteX47" fmla="*/ 36481 w 114776"/>
                  <a:gd name="connsiteY47" fmla="*/ 2381 h 17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14776" h="170402">
                    <a:moveTo>
                      <a:pt x="36481" y="2381"/>
                    </a:moveTo>
                    <a:lnTo>
                      <a:pt x="26575" y="0"/>
                    </a:lnTo>
                    <a:lnTo>
                      <a:pt x="15050" y="15716"/>
                    </a:lnTo>
                    <a:lnTo>
                      <a:pt x="8096" y="36385"/>
                    </a:lnTo>
                    <a:lnTo>
                      <a:pt x="13716" y="47339"/>
                    </a:lnTo>
                    <a:lnTo>
                      <a:pt x="12668" y="66770"/>
                    </a:lnTo>
                    <a:lnTo>
                      <a:pt x="20955" y="58007"/>
                    </a:lnTo>
                    <a:lnTo>
                      <a:pt x="24956" y="63913"/>
                    </a:lnTo>
                    <a:lnTo>
                      <a:pt x="19145" y="72390"/>
                    </a:lnTo>
                    <a:lnTo>
                      <a:pt x="22003" y="78010"/>
                    </a:lnTo>
                    <a:lnTo>
                      <a:pt x="38862" y="82772"/>
                    </a:lnTo>
                    <a:lnTo>
                      <a:pt x="39053" y="83058"/>
                    </a:lnTo>
                    <a:lnTo>
                      <a:pt x="47816" y="95821"/>
                    </a:lnTo>
                    <a:lnTo>
                      <a:pt x="45149" y="107061"/>
                    </a:lnTo>
                    <a:lnTo>
                      <a:pt x="45053" y="107061"/>
                    </a:lnTo>
                    <a:lnTo>
                      <a:pt x="23717" y="103918"/>
                    </a:lnTo>
                    <a:lnTo>
                      <a:pt x="19907" y="116396"/>
                    </a:lnTo>
                    <a:lnTo>
                      <a:pt x="27146" y="127445"/>
                    </a:lnTo>
                    <a:lnTo>
                      <a:pt x="11049" y="132017"/>
                    </a:lnTo>
                    <a:lnTo>
                      <a:pt x="14669" y="140017"/>
                    </a:lnTo>
                    <a:lnTo>
                      <a:pt x="38005" y="144971"/>
                    </a:lnTo>
                    <a:lnTo>
                      <a:pt x="38195" y="144971"/>
                    </a:lnTo>
                    <a:lnTo>
                      <a:pt x="24289" y="148114"/>
                    </a:lnTo>
                    <a:lnTo>
                      <a:pt x="0" y="165925"/>
                    </a:lnTo>
                    <a:lnTo>
                      <a:pt x="7906" y="170402"/>
                    </a:lnTo>
                    <a:lnTo>
                      <a:pt x="19431" y="164211"/>
                    </a:lnTo>
                    <a:lnTo>
                      <a:pt x="33623" y="167354"/>
                    </a:lnTo>
                    <a:lnTo>
                      <a:pt x="44387" y="159163"/>
                    </a:lnTo>
                    <a:lnTo>
                      <a:pt x="51435" y="163163"/>
                    </a:lnTo>
                    <a:lnTo>
                      <a:pt x="77915" y="158782"/>
                    </a:lnTo>
                    <a:lnTo>
                      <a:pt x="98489" y="158972"/>
                    </a:lnTo>
                    <a:lnTo>
                      <a:pt x="112109" y="148876"/>
                    </a:lnTo>
                    <a:lnTo>
                      <a:pt x="105823" y="139065"/>
                    </a:lnTo>
                    <a:lnTo>
                      <a:pt x="113348" y="133255"/>
                    </a:lnTo>
                    <a:lnTo>
                      <a:pt x="114776" y="120872"/>
                    </a:lnTo>
                    <a:lnTo>
                      <a:pt x="96965" y="117538"/>
                    </a:lnTo>
                    <a:lnTo>
                      <a:pt x="92678" y="109823"/>
                    </a:lnTo>
                    <a:lnTo>
                      <a:pt x="83915" y="87439"/>
                    </a:lnTo>
                    <a:lnTo>
                      <a:pt x="74295" y="84106"/>
                    </a:lnTo>
                    <a:lnTo>
                      <a:pt x="62579" y="60103"/>
                    </a:lnTo>
                    <a:lnTo>
                      <a:pt x="61532" y="58007"/>
                    </a:lnTo>
                    <a:lnTo>
                      <a:pt x="47530" y="56007"/>
                    </a:lnTo>
                    <a:lnTo>
                      <a:pt x="60484" y="38481"/>
                    </a:lnTo>
                    <a:lnTo>
                      <a:pt x="64484" y="21908"/>
                    </a:lnTo>
                    <a:lnTo>
                      <a:pt x="50197" y="21146"/>
                    </a:lnTo>
                    <a:lnTo>
                      <a:pt x="36767" y="23146"/>
                    </a:lnTo>
                    <a:lnTo>
                      <a:pt x="51911" y="1619"/>
                    </a:lnTo>
                    <a:lnTo>
                      <a:pt x="36481" y="238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72" name="Freeform: Shape 271">
                <a:extLst>
                  <a:ext uri="{FF2B5EF4-FFF2-40B4-BE49-F238E27FC236}">
                    <a16:creationId xmlns:a16="http://schemas.microsoft.com/office/drawing/2014/main" id="{EAF63CB0-ED55-4E3F-9658-62E940B6080E}"/>
                  </a:ext>
                </a:extLst>
              </p:cNvPr>
              <p:cNvSpPr/>
              <p:nvPr/>
            </p:nvSpPr>
            <p:spPr>
              <a:xfrm>
                <a:off x="14432551" y="5209524"/>
                <a:ext cx="49911" cy="23526"/>
              </a:xfrm>
              <a:custGeom>
                <a:avLst/>
                <a:gdLst>
                  <a:gd name="connsiteX0" fmla="*/ 24098 w 49911"/>
                  <a:gd name="connsiteY0" fmla="*/ 18288 h 23526"/>
                  <a:gd name="connsiteX1" fmla="*/ 49530 w 49911"/>
                  <a:gd name="connsiteY1" fmla="*/ 4858 h 23526"/>
                  <a:gd name="connsiteX2" fmla="*/ 49911 w 49911"/>
                  <a:gd name="connsiteY2" fmla="*/ 0 h 23526"/>
                  <a:gd name="connsiteX3" fmla="*/ 40958 w 49911"/>
                  <a:gd name="connsiteY3" fmla="*/ 6287 h 23526"/>
                  <a:gd name="connsiteX4" fmla="*/ 40291 w 49911"/>
                  <a:gd name="connsiteY4" fmla="*/ 3905 h 23526"/>
                  <a:gd name="connsiteX5" fmla="*/ 26480 w 49911"/>
                  <a:gd name="connsiteY5" fmla="*/ 9335 h 23526"/>
                  <a:gd name="connsiteX6" fmla="*/ 12764 w 49911"/>
                  <a:gd name="connsiteY6" fmla="*/ 16478 h 23526"/>
                  <a:gd name="connsiteX7" fmla="*/ 953 w 49911"/>
                  <a:gd name="connsiteY7" fmla="*/ 16574 h 23526"/>
                  <a:gd name="connsiteX8" fmla="*/ 0 w 49911"/>
                  <a:gd name="connsiteY8" fmla="*/ 23527 h 23526"/>
                  <a:gd name="connsiteX9" fmla="*/ 23336 w 49911"/>
                  <a:gd name="connsiteY9" fmla="*/ 16097 h 23526"/>
                  <a:gd name="connsiteX10" fmla="*/ 24098 w 49911"/>
                  <a:gd name="connsiteY10" fmla="*/ 18288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911" h="23526">
                    <a:moveTo>
                      <a:pt x="24098" y="18288"/>
                    </a:moveTo>
                    <a:lnTo>
                      <a:pt x="49530" y="4858"/>
                    </a:lnTo>
                    <a:lnTo>
                      <a:pt x="49911" y="0"/>
                    </a:lnTo>
                    <a:lnTo>
                      <a:pt x="40958" y="6287"/>
                    </a:lnTo>
                    <a:lnTo>
                      <a:pt x="40291" y="3905"/>
                    </a:lnTo>
                    <a:lnTo>
                      <a:pt x="26480" y="9335"/>
                    </a:lnTo>
                    <a:lnTo>
                      <a:pt x="12764" y="16478"/>
                    </a:lnTo>
                    <a:lnTo>
                      <a:pt x="953" y="16574"/>
                    </a:lnTo>
                    <a:lnTo>
                      <a:pt x="0" y="23527"/>
                    </a:lnTo>
                    <a:lnTo>
                      <a:pt x="23336" y="16097"/>
                    </a:lnTo>
                    <a:lnTo>
                      <a:pt x="24098" y="1828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73" name="Freeform: Shape 272">
                <a:extLst>
                  <a:ext uri="{FF2B5EF4-FFF2-40B4-BE49-F238E27FC236}">
                    <a16:creationId xmlns:a16="http://schemas.microsoft.com/office/drawing/2014/main" id="{7593D23C-30CF-4954-9559-BBC9FEDD9D0C}"/>
                  </a:ext>
                </a:extLst>
              </p:cNvPr>
              <p:cNvSpPr/>
              <p:nvPr/>
            </p:nvSpPr>
            <p:spPr>
              <a:xfrm>
                <a:off x="13470336" y="4268930"/>
                <a:ext cx="462914" cy="424815"/>
              </a:xfrm>
              <a:custGeom>
                <a:avLst/>
                <a:gdLst>
                  <a:gd name="connsiteX0" fmla="*/ 120491 w 462914"/>
                  <a:gd name="connsiteY0" fmla="*/ 369189 h 424815"/>
                  <a:gd name="connsiteX1" fmla="*/ 136017 w 462914"/>
                  <a:gd name="connsiteY1" fmla="*/ 364427 h 424815"/>
                  <a:gd name="connsiteX2" fmla="*/ 150590 w 462914"/>
                  <a:gd name="connsiteY2" fmla="*/ 369475 h 424815"/>
                  <a:gd name="connsiteX3" fmla="*/ 164401 w 462914"/>
                  <a:gd name="connsiteY3" fmla="*/ 373285 h 424815"/>
                  <a:gd name="connsiteX4" fmla="*/ 170497 w 462914"/>
                  <a:gd name="connsiteY4" fmla="*/ 376714 h 424815"/>
                  <a:gd name="connsiteX5" fmla="*/ 196691 w 462914"/>
                  <a:gd name="connsiteY5" fmla="*/ 376047 h 424815"/>
                  <a:gd name="connsiteX6" fmla="*/ 220694 w 462914"/>
                  <a:gd name="connsiteY6" fmla="*/ 363569 h 424815"/>
                  <a:gd name="connsiteX7" fmla="*/ 233363 w 462914"/>
                  <a:gd name="connsiteY7" fmla="*/ 361188 h 424815"/>
                  <a:gd name="connsiteX8" fmla="*/ 242030 w 462914"/>
                  <a:gd name="connsiteY8" fmla="*/ 366332 h 424815"/>
                  <a:gd name="connsiteX9" fmla="*/ 268795 w 462914"/>
                  <a:gd name="connsiteY9" fmla="*/ 372428 h 424815"/>
                  <a:gd name="connsiteX10" fmla="*/ 298132 w 462914"/>
                  <a:gd name="connsiteY10" fmla="*/ 366998 h 424815"/>
                  <a:gd name="connsiteX11" fmla="*/ 326898 w 462914"/>
                  <a:gd name="connsiteY11" fmla="*/ 357854 h 424815"/>
                  <a:gd name="connsiteX12" fmla="*/ 316897 w 462914"/>
                  <a:gd name="connsiteY12" fmla="*/ 352235 h 424815"/>
                  <a:gd name="connsiteX13" fmla="*/ 297656 w 462914"/>
                  <a:gd name="connsiteY13" fmla="*/ 342138 h 424815"/>
                  <a:gd name="connsiteX14" fmla="*/ 311372 w 462914"/>
                  <a:gd name="connsiteY14" fmla="*/ 335375 h 424815"/>
                  <a:gd name="connsiteX15" fmla="*/ 315659 w 462914"/>
                  <a:gd name="connsiteY15" fmla="*/ 320040 h 424815"/>
                  <a:gd name="connsiteX16" fmla="*/ 318897 w 462914"/>
                  <a:gd name="connsiteY16" fmla="*/ 336233 h 424815"/>
                  <a:gd name="connsiteX17" fmla="*/ 320992 w 462914"/>
                  <a:gd name="connsiteY17" fmla="*/ 346805 h 424815"/>
                  <a:gd name="connsiteX18" fmla="*/ 336042 w 462914"/>
                  <a:gd name="connsiteY18" fmla="*/ 348329 h 424815"/>
                  <a:gd name="connsiteX19" fmla="*/ 340233 w 462914"/>
                  <a:gd name="connsiteY19" fmla="*/ 329946 h 424815"/>
                  <a:gd name="connsiteX20" fmla="*/ 336518 w 462914"/>
                  <a:gd name="connsiteY20" fmla="*/ 313087 h 424815"/>
                  <a:gd name="connsiteX21" fmla="*/ 329660 w 462914"/>
                  <a:gd name="connsiteY21" fmla="*/ 303657 h 424815"/>
                  <a:gd name="connsiteX22" fmla="*/ 335661 w 462914"/>
                  <a:gd name="connsiteY22" fmla="*/ 299561 h 424815"/>
                  <a:gd name="connsiteX23" fmla="*/ 345281 w 462914"/>
                  <a:gd name="connsiteY23" fmla="*/ 314135 h 424815"/>
                  <a:gd name="connsiteX24" fmla="*/ 349091 w 462914"/>
                  <a:gd name="connsiteY24" fmla="*/ 304514 h 424815"/>
                  <a:gd name="connsiteX25" fmla="*/ 346996 w 462914"/>
                  <a:gd name="connsiteY25" fmla="*/ 286512 h 424815"/>
                  <a:gd name="connsiteX26" fmla="*/ 356044 w 462914"/>
                  <a:gd name="connsiteY26" fmla="*/ 290227 h 424815"/>
                  <a:gd name="connsiteX27" fmla="*/ 366522 w 462914"/>
                  <a:gd name="connsiteY27" fmla="*/ 290513 h 424815"/>
                  <a:gd name="connsiteX28" fmla="*/ 371570 w 462914"/>
                  <a:gd name="connsiteY28" fmla="*/ 283559 h 424815"/>
                  <a:gd name="connsiteX29" fmla="*/ 367665 w 462914"/>
                  <a:gd name="connsiteY29" fmla="*/ 271844 h 424815"/>
                  <a:gd name="connsiteX30" fmla="*/ 382048 w 462914"/>
                  <a:gd name="connsiteY30" fmla="*/ 275463 h 424815"/>
                  <a:gd name="connsiteX31" fmla="*/ 381095 w 462914"/>
                  <a:gd name="connsiteY31" fmla="*/ 253556 h 424815"/>
                  <a:gd name="connsiteX32" fmla="*/ 388144 w 462914"/>
                  <a:gd name="connsiteY32" fmla="*/ 253841 h 424815"/>
                  <a:gd name="connsiteX33" fmla="*/ 393573 w 462914"/>
                  <a:gd name="connsiteY33" fmla="*/ 234506 h 424815"/>
                  <a:gd name="connsiteX34" fmla="*/ 388144 w 462914"/>
                  <a:gd name="connsiteY34" fmla="*/ 218980 h 424815"/>
                  <a:gd name="connsiteX35" fmla="*/ 399288 w 462914"/>
                  <a:gd name="connsiteY35" fmla="*/ 215265 h 424815"/>
                  <a:gd name="connsiteX36" fmla="*/ 407765 w 462914"/>
                  <a:gd name="connsiteY36" fmla="*/ 217170 h 424815"/>
                  <a:gd name="connsiteX37" fmla="*/ 406717 w 462914"/>
                  <a:gd name="connsiteY37" fmla="*/ 200311 h 424815"/>
                  <a:gd name="connsiteX38" fmla="*/ 415576 w 462914"/>
                  <a:gd name="connsiteY38" fmla="*/ 175260 h 424815"/>
                  <a:gd name="connsiteX39" fmla="*/ 424243 w 462914"/>
                  <a:gd name="connsiteY39" fmla="*/ 161925 h 424815"/>
                  <a:gd name="connsiteX40" fmla="*/ 434530 w 462914"/>
                  <a:gd name="connsiteY40" fmla="*/ 146876 h 424815"/>
                  <a:gd name="connsiteX41" fmla="*/ 425767 w 462914"/>
                  <a:gd name="connsiteY41" fmla="*/ 142685 h 424815"/>
                  <a:gd name="connsiteX42" fmla="*/ 439579 w 462914"/>
                  <a:gd name="connsiteY42" fmla="*/ 142875 h 424815"/>
                  <a:gd name="connsiteX43" fmla="*/ 443293 w 462914"/>
                  <a:gd name="connsiteY43" fmla="*/ 138208 h 424815"/>
                  <a:gd name="connsiteX44" fmla="*/ 462725 w 462914"/>
                  <a:gd name="connsiteY44" fmla="*/ 125540 h 424815"/>
                  <a:gd name="connsiteX45" fmla="*/ 462915 w 462914"/>
                  <a:gd name="connsiteY45" fmla="*/ 115062 h 424815"/>
                  <a:gd name="connsiteX46" fmla="*/ 454057 w 462914"/>
                  <a:gd name="connsiteY46" fmla="*/ 107918 h 424815"/>
                  <a:gd name="connsiteX47" fmla="*/ 434912 w 462914"/>
                  <a:gd name="connsiteY47" fmla="*/ 111443 h 424815"/>
                  <a:gd name="connsiteX48" fmla="*/ 422910 w 462914"/>
                  <a:gd name="connsiteY48" fmla="*/ 116300 h 424815"/>
                  <a:gd name="connsiteX49" fmla="*/ 431959 w 462914"/>
                  <a:gd name="connsiteY49" fmla="*/ 104870 h 424815"/>
                  <a:gd name="connsiteX50" fmla="*/ 432625 w 462914"/>
                  <a:gd name="connsiteY50" fmla="*/ 95822 h 424815"/>
                  <a:gd name="connsiteX51" fmla="*/ 423577 w 462914"/>
                  <a:gd name="connsiteY51" fmla="*/ 99917 h 424815"/>
                  <a:gd name="connsiteX52" fmla="*/ 418052 w 462914"/>
                  <a:gd name="connsiteY52" fmla="*/ 87916 h 424815"/>
                  <a:gd name="connsiteX53" fmla="*/ 406432 w 462914"/>
                  <a:gd name="connsiteY53" fmla="*/ 84296 h 424815"/>
                  <a:gd name="connsiteX54" fmla="*/ 407289 w 462914"/>
                  <a:gd name="connsiteY54" fmla="*/ 79724 h 424815"/>
                  <a:gd name="connsiteX55" fmla="*/ 423863 w 462914"/>
                  <a:gd name="connsiteY55" fmla="*/ 86297 h 424815"/>
                  <a:gd name="connsiteX56" fmla="*/ 435578 w 462914"/>
                  <a:gd name="connsiteY56" fmla="*/ 90583 h 424815"/>
                  <a:gd name="connsiteX57" fmla="*/ 444532 w 462914"/>
                  <a:gd name="connsiteY57" fmla="*/ 84106 h 424815"/>
                  <a:gd name="connsiteX58" fmla="*/ 435578 w 462914"/>
                  <a:gd name="connsiteY58" fmla="*/ 59150 h 424815"/>
                  <a:gd name="connsiteX59" fmla="*/ 418529 w 462914"/>
                  <a:gd name="connsiteY59" fmla="*/ 45339 h 424815"/>
                  <a:gd name="connsiteX60" fmla="*/ 409480 w 462914"/>
                  <a:gd name="connsiteY60" fmla="*/ 41434 h 424815"/>
                  <a:gd name="connsiteX61" fmla="*/ 401002 w 462914"/>
                  <a:gd name="connsiteY61" fmla="*/ 46101 h 424815"/>
                  <a:gd name="connsiteX62" fmla="*/ 394240 w 462914"/>
                  <a:gd name="connsiteY62" fmla="*/ 38576 h 424815"/>
                  <a:gd name="connsiteX63" fmla="*/ 376904 w 462914"/>
                  <a:gd name="connsiteY63" fmla="*/ 41624 h 424815"/>
                  <a:gd name="connsiteX64" fmla="*/ 368998 w 462914"/>
                  <a:gd name="connsiteY64" fmla="*/ 48387 h 424815"/>
                  <a:gd name="connsiteX65" fmla="*/ 365379 w 462914"/>
                  <a:gd name="connsiteY65" fmla="*/ 63246 h 424815"/>
                  <a:gd name="connsiteX66" fmla="*/ 365950 w 462914"/>
                  <a:gd name="connsiteY66" fmla="*/ 52673 h 424815"/>
                  <a:gd name="connsiteX67" fmla="*/ 364141 w 462914"/>
                  <a:gd name="connsiteY67" fmla="*/ 47816 h 424815"/>
                  <a:gd name="connsiteX68" fmla="*/ 365855 w 462914"/>
                  <a:gd name="connsiteY68" fmla="*/ 36005 h 424815"/>
                  <a:gd name="connsiteX69" fmla="*/ 349948 w 462914"/>
                  <a:gd name="connsiteY69" fmla="*/ 37338 h 424815"/>
                  <a:gd name="connsiteX70" fmla="*/ 353854 w 462914"/>
                  <a:gd name="connsiteY70" fmla="*/ 29909 h 424815"/>
                  <a:gd name="connsiteX71" fmla="*/ 347948 w 462914"/>
                  <a:gd name="connsiteY71" fmla="*/ 21622 h 424815"/>
                  <a:gd name="connsiteX72" fmla="*/ 339280 w 462914"/>
                  <a:gd name="connsiteY72" fmla="*/ 14764 h 424815"/>
                  <a:gd name="connsiteX73" fmla="*/ 329851 w 462914"/>
                  <a:gd name="connsiteY73" fmla="*/ 10668 h 424815"/>
                  <a:gd name="connsiteX74" fmla="*/ 320992 w 462914"/>
                  <a:gd name="connsiteY74" fmla="*/ 17050 h 424815"/>
                  <a:gd name="connsiteX75" fmla="*/ 316230 w 462914"/>
                  <a:gd name="connsiteY75" fmla="*/ 13430 h 424815"/>
                  <a:gd name="connsiteX76" fmla="*/ 295370 w 462914"/>
                  <a:gd name="connsiteY76" fmla="*/ 8192 h 424815"/>
                  <a:gd name="connsiteX77" fmla="*/ 285178 w 462914"/>
                  <a:gd name="connsiteY77" fmla="*/ 8573 h 424815"/>
                  <a:gd name="connsiteX78" fmla="*/ 281749 w 462914"/>
                  <a:gd name="connsiteY78" fmla="*/ 22479 h 424815"/>
                  <a:gd name="connsiteX79" fmla="*/ 273177 w 462914"/>
                  <a:gd name="connsiteY79" fmla="*/ 24575 h 424815"/>
                  <a:gd name="connsiteX80" fmla="*/ 256127 w 462914"/>
                  <a:gd name="connsiteY80" fmla="*/ 13430 h 424815"/>
                  <a:gd name="connsiteX81" fmla="*/ 239363 w 462914"/>
                  <a:gd name="connsiteY81" fmla="*/ 0 h 424815"/>
                  <a:gd name="connsiteX82" fmla="*/ 230314 w 462914"/>
                  <a:gd name="connsiteY82" fmla="*/ 2000 h 424815"/>
                  <a:gd name="connsiteX83" fmla="*/ 224599 w 462914"/>
                  <a:gd name="connsiteY83" fmla="*/ 16002 h 424815"/>
                  <a:gd name="connsiteX84" fmla="*/ 226981 w 462914"/>
                  <a:gd name="connsiteY84" fmla="*/ 39243 h 424815"/>
                  <a:gd name="connsiteX85" fmla="*/ 221742 w 462914"/>
                  <a:gd name="connsiteY85" fmla="*/ 29813 h 424815"/>
                  <a:gd name="connsiteX86" fmla="*/ 209836 w 462914"/>
                  <a:gd name="connsiteY86" fmla="*/ 18955 h 424815"/>
                  <a:gd name="connsiteX87" fmla="*/ 199072 w 462914"/>
                  <a:gd name="connsiteY87" fmla="*/ 33147 h 424815"/>
                  <a:gd name="connsiteX88" fmla="*/ 194405 w 462914"/>
                  <a:gd name="connsiteY88" fmla="*/ 42101 h 424815"/>
                  <a:gd name="connsiteX89" fmla="*/ 201549 w 462914"/>
                  <a:gd name="connsiteY89" fmla="*/ 54674 h 424815"/>
                  <a:gd name="connsiteX90" fmla="*/ 209074 w 462914"/>
                  <a:gd name="connsiteY90" fmla="*/ 68294 h 424815"/>
                  <a:gd name="connsiteX91" fmla="*/ 213265 w 462914"/>
                  <a:gd name="connsiteY91" fmla="*/ 80105 h 424815"/>
                  <a:gd name="connsiteX92" fmla="*/ 209359 w 462914"/>
                  <a:gd name="connsiteY92" fmla="*/ 100870 h 424815"/>
                  <a:gd name="connsiteX93" fmla="*/ 200882 w 462914"/>
                  <a:gd name="connsiteY93" fmla="*/ 106013 h 424815"/>
                  <a:gd name="connsiteX94" fmla="*/ 197453 w 462914"/>
                  <a:gd name="connsiteY94" fmla="*/ 117634 h 424815"/>
                  <a:gd name="connsiteX95" fmla="*/ 181070 w 462914"/>
                  <a:gd name="connsiteY95" fmla="*/ 138017 h 424815"/>
                  <a:gd name="connsiteX96" fmla="*/ 170878 w 462914"/>
                  <a:gd name="connsiteY96" fmla="*/ 151638 h 424815"/>
                  <a:gd name="connsiteX97" fmla="*/ 166306 w 462914"/>
                  <a:gd name="connsiteY97" fmla="*/ 160211 h 424815"/>
                  <a:gd name="connsiteX98" fmla="*/ 143732 w 462914"/>
                  <a:gd name="connsiteY98" fmla="*/ 165735 h 424815"/>
                  <a:gd name="connsiteX99" fmla="*/ 142684 w 462914"/>
                  <a:gd name="connsiteY99" fmla="*/ 174212 h 424815"/>
                  <a:gd name="connsiteX100" fmla="*/ 149828 w 462914"/>
                  <a:gd name="connsiteY100" fmla="*/ 178594 h 424815"/>
                  <a:gd name="connsiteX101" fmla="*/ 147542 w 462914"/>
                  <a:gd name="connsiteY101" fmla="*/ 188976 h 424815"/>
                  <a:gd name="connsiteX102" fmla="*/ 144399 w 462914"/>
                  <a:gd name="connsiteY102" fmla="*/ 208693 h 424815"/>
                  <a:gd name="connsiteX103" fmla="*/ 139255 w 462914"/>
                  <a:gd name="connsiteY103" fmla="*/ 191929 h 424815"/>
                  <a:gd name="connsiteX104" fmla="*/ 134588 w 462914"/>
                  <a:gd name="connsiteY104" fmla="*/ 186214 h 424815"/>
                  <a:gd name="connsiteX105" fmla="*/ 122777 w 462914"/>
                  <a:gd name="connsiteY105" fmla="*/ 190691 h 424815"/>
                  <a:gd name="connsiteX106" fmla="*/ 110395 w 462914"/>
                  <a:gd name="connsiteY106" fmla="*/ 200120 h 424815"/>
                  <a:gd name="connsiteX107" fmla="*/ 110585 w 462914"/>
                  <a:gd name="connsiteY107" fmla="*/ 212979 h 424815"/>
                  <a:gd name="connsiteX108" fmla="*/ 117824 w 462914"/>
                  <a:gd name="connsiteY108" fmla="*/ 217170 h 424815"/>
                  <a:gd name="connsiteX109" fmla="*/ 123349 w 462914"/>
                  <a:gd name="connsiteY109" fmla="*/ 218789 h 424815"/>
                  <a:gd name="connsiteX110" fmla="*/ 135636 w 462914"/>
                  <a:gd name="connsiteY110" fmla="*/ 221266 h 424815"/>
                  <a:gd name="connsiteX111" fmla="*/ 120682 w 462914"/>
                  <a:gd name="connsiteY111" fmla="*/ 231172 h 424815"/>
                  <a:gd name="connsiteX112" fmla="*/ 111061 w 462914"/>
                  <a:gd name="connsiteY112" fmla="*/ 234410 h 424815"/>
                  <a:gd name="connsiteX113" fmla="*/ 96202 w 462914"/>
                  <a:gd name="connsiteY113" fmla="*/ 228981 h 424815"/>
                  <a:gd name="connsiteX114" fmla="*/ 69628 w 462914"/>
                  <a:gd name="connsiteY114" fmla="*/ 237268 h 424815"/>
                  <a:gd name="connsiteX115" fmla="*/ 66961 w 462914"/>
                  <a:gd name="connsiteY115" fmla="*/ 247079 h 424815"/>
                  <a:gd name="connsiteX116" fmla="*/ 51721 w 462914"/>
                  <a:gd name="connsiteY116" fmla="*/ 254127 h 424815"/>
                  <a:gd name="connsiteX117" fmla="*/ 43720 w 462914"/>
                  <a:gd name="connsiteY117" fmla="*/ 277559 h 424815"/>
                  <a:gd name="connsiteX118" fmla="*/ 28956 w 462914"/>
                  <a:gd name="connsiteY118" fmla="*/ 290798 h 424815"/>
                  <a:gd name="connsiteX119" fmla="*/ 21050 w 462914"/>
                  <a:gd name="connsiteY119" fmla="*/ 303848 h 424815"/>
                  <a:gd name="connsiteX120" fmla="*/ 12287 w 462914"/>
                  <a:gd name="connsiteY120" fmla="*/ 335756 h 424815"/>
                  <a:gd name="connsiteX121" fmla="*/ 1238 w 462914"/>
                  <a:gd name="connsiteY121" fmla="*/ 355283 h 424815"/>
                  <a:gd name="connsiteX122" fmla="*/ 0 w 462914"/>
                  <a:gd name="connsiteY122" fmla="*/ 371570 h 424815"/>
                  <a:gd name="connsiteX123" fmla="*/ 16002 w 462914"/>
                  <a:gd name="connsiteY123" fmla="*/ 389096 h 424815"/>
                  <a:gd name="connsiteX124" fmla="*/ 16097 w 462914"/>
                  <a:gd name="connsiteY124" fmla="*/ 413861 h 424815"/>
                  <a:gd name="connsiteX125" fmla="*/ 29337 w 462914"/>
                  <a:gd name="connsiteY125" fmla="*/ 424815 h 424815"/>
                  <a:gd name="connsiteX126" fmla="*/ 47911 w 462914"/>
                  <a:gd name="connsiteY126" fmla="*/ 413861 h 424815"/>
                  <a:gd name="connsiteX127" fmla="*/ 63817 w 462914"/>
                  <a:gd name="connsiteY127" fmla="*/ 404432 h 424815"/>
                  <a:gd name="connsiteX128" fmla="*/ 71818 w 462914"/>
                  <a:gd name="connsiteY128" fmla="*/ 388906 h 424815"/>
                  <a:gd name="connsiteX129" fmla="*/ 96869 w 462914"/>
                  <a:gd name="connsiteY129" fmla="*/ 388049 h 424815"/>
                  <a:gd name="connsiteX130" fmla="*/ 110395 w 462914"/>
                  <a:gd name="connsiteY130" fmla="*/ 380714 h 424815"/>
                  <a:gd name="connsiteX131" fmla="*/ 120491 w 462914"/>
                  <a:gd name="connsiteY131" fmla="*/ 369189 h 42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462914" h="424815">
                    <a:moveTo>
                      <a:pt x="120491" y="369189"/>
                    </a:moveTo>
                    <a:lnTo>
                      <a:pt x="136017" y="364427"/>
                    </a:lnTo>
                    <a:lnTo>
                      <a:pt x="150590" y="369475"/>
                    </a:lnTo>
                    <a:lnTo>
                      <a:pt x="164401" y="373285"/>
                    </a:lnTo>
                    <a:lnTo>
                      <a:pt x="170497" y="376714"/>
                    </a:lnTo>
                    <a:lnTo>
                      <a:pt x="196691" y="376047"/>
                    </a:lnTo>
                    <a:lnTo>
                      <a:pt x="220694" y="363569"/>
                    </a:lnTo>
                    <a:lnTo>
                      <a:pt x="233363" y="361188"/>
                    </a:lnTo>
                    <a:lnTo>
                      <a:pt x="242030" y="366332"/>
                    </a:lnTo>
                    <a:lnTo>
                      <a:pt x="268795" y="372428"/>
                    </a:lnTo>
                    <a:lnTo>
                      <a:pt x="298132" y="366998"/>
                    </a:lnTo>
                    <a:lnTo>
                      <a:pt x="326898" y="357854"/>
                    </a:lnTo>
                    <a:lnTo>
                      <a:pt x="316897" y="352235"/>
                    </a:lnTo>
                    <a:lnTo>
                      <a:pt x="297656" y="342138"/>
                    </a:lnTo>
                    <a:lnTo>
                      <a:pt x="311372" y="335375"/>
                    </a:lnTo>
                    <a:lnTo>
                      <a:pt x="315659" y="320040"/>
                    </a:lnTo>
                    <a:lnTo>
                      <a:pt x="318897" y="336233"/>
                    </a:lnTo>
                    <a:lnTo>
                      <a:pt x="320992" y="346805"/>
                    </a:lnTo>
                    <a:lnTo>
                      <a:pt x="336042" y="348329"/>
                    </a:lnTo>
                    <a:lnTo>
                      <a:pt x="340233" y="329946"/>
                    </a:lnTo>
                    <a:lnTo>
                      <a:pt x="336518" y="313087"/>
                    </a:lnTo>
                    <a:lnTo>
                      <a:pt x="329660" y="303657"/>
                    </a:lnTo>
                    <a:lnTo>
                      <a:pt x="335661" y="299561"/>
                    </a:lnTo>
                    <a:lnTo>
                      <a:pt x="345281" y="314135"/>
                    </a:lnTo>
                    <a:lnTo>
                      <a:pt x="349091" y="304514"/>
                    </a:lnTo>
                    <a:lnTo>
                      <a:pt x="346996" y="286512"/>
                    </a:lnTo>
                    <a:lnTo>
                      <a:pt x="356044" y="290227"/>
                    </a:lnTo>
                    <a:lnTo>
                      <a:pt x="366522" y="290513"/>
                    </a:lnTo>
                    <a:lnTo>
                      <a:pt x="371570" y="283559"/>
                    </a:lnTo>
                    <a:lnTo>
                      <a:pt x="367665" y="271844"/>
                    </a:lnTo>
                    <a:lnTo>
                      <a:pt x="382048" y="275463"/>
                    </a:lnTo>
                    <a:lnTo>
                      <a:pt x="381095" y="253556"/>
                    </a:lnTo>
                    <a:lnTo>
                      <a:pt x="388144" y="253841"/>
                    </a:lnTo>
                    <a:lnTo>
                      <a:pt x="393573" y="234506"/>
                    </a:lnTo>
                    <a:lnTo>
                      <a:pt x="388144" y="218980"/>
                    </a:lnTo>
                    <a:lnTo>
                      <a:pt x="399288" y="215265"/>
                    </a:lnTo>
                    <a:lnTo>
                      <a:pt x="407765" y="217170"/>
                    </a:lnTo>
                    <a:lnTo>
                      <a:pt x="406717" y="200311"/>
                    </a:lnTo>
                    <a:lnTo>
                      <a:pt x="415576" y="175260"/>
                    </a:lnTo>
                    <a:lnTo>
                      <a:pt x="424243" y="161925"/>
                    </a:lnTo>
                    <a:lnTo>
                      <a:pt x="434530" y="146876"/>
                    </a:lnTo>
                    <a:lnTo>
                      <a:pt x="425767" y="142685"/>
                    </a:lnTo>
                    <a:lnTo>
                      <a:pt x="439579" y="142875"/>
                    </a:lnTo>
                    <a:lnTo>
                      <a:pt x="443293" y="138208"/>
                    </a:lnTo>
                    <a:lnTo>
                      <a:pt x="462725" y="125540"/>
                    </a:lnTo>
                    <a:lnTo>
                      <a:pt x="462915" y="115062"/>
                    </a:lnTo>
                    <a:lnTo>
                      <a:pt x="454057" y="107918"/>
                    </a:lnTo>
                    <a:lnTo>
                      <a:pt x="434912" y="111443"/>
                    </a:lnTo>
                    <a:lnTo>
                      <a:pt x="422910" y="116300"/>
                    </a:lnTo>
                    <a:lnTo>
                      <a:pt x="431959" y="104870"/>
                    </a:lnTo>
                    <a:lnTo>
                      <a:pt x="432625" y="95822"/>
                    </a:lnTo>
                    <a:lnTo>
                      <a:pt x="423577" y="99917"/>
                    </a:lnTo>
                    <a:lnTo>
                      <a:pt x="418052" y="87916"/>
                    </a:lnTo>
                    <a:lnTo>
                      <a:pt x="406432" y="84296"/>
                    </a:lnTo>
                    <a:lnTo>
                      <a:pt x="407289" y="79724"/>
                    </a:lnTo>
                    <a:lnTo>
                      <a:pt x="423863" y="86297"/>
                    </a:lnTo>
                    <a:lnTo>
                      <a:pt x="435578" y="90583"/>
                    </a:lnTo>
                    <a:lnTo>
                      <a:pt x="444532" y="84106"/>
                    </a:lnTo>
                    <a:lnTo>
                      <a:pt x="435578" y="59150"/>
                    </a:lnTo>
                    <a:lnTo>
                      <a:pt x="418529" y="45339"/>
                    </a:lnTo>
                    <a:lnTo>
                      <a:pt x="409480" y="41434"/>
                    </a:lnTo>
                    <a:lnTo>
                      <a:pt x="401002" y="46101"/>
                    </a:lnTo>
                    <a:lnTo>
                      <a:pt x="394240" y="38576"/>
                    </a:lnTo>
                    <a:lnTo>
                      <a:pt x="376904" y="41624"/>
                    </a:lnTo>
                    <a:lnTo>
                      <a:pt x="368998" y="48387"/>
                    </a:lnTo>
                    <a:lnTo>
                      <a:pt x="365379" y="63246"/>
                    </a:lnTo>
                    <a:lnTo>
                      <a:pt x="365950" y="52673"/>
                    </a:lnTo>
                    <a:lnTo>
                      <a:pt x="364141" y="47816"/>
                    </a:lnTo>
                    <a:lnTo>
                      <a:pt x="365855" y="36005"/>
                    </a:lnTo>
                    <a:lnTo>
                      <a:pt x="349948" y="37338"/>
                    </a:lnTo>
                    <a:lnTo>
                      <a:pt x="353854" y="29909"/>
                    </a:lnTo>
                    <a:lnTo>
                      <a:pt x="347948" y="21622"/>
                    </a:lnTo>
                    <a:lnTo>
                      <a:pt x="339280" y="14764"/>
                    </a:lnTo>
                    <a:lnTo>
                      <a:pt x="329851" y="10668"/>
                    </a:lnTo>
                    <a:lnTo>
                      <a:pt x="320992" y="17050"/>
                    </a:lnTo>
                    <a:lnTo>
                      <a:pt x="316230" y="13430"/>
                    </a:lnTo>
                    <a:lnTo>
                      <a:pt x="295370" y="8192"/>
                    </a:lnTo>
                    <a:lnTo>
                      <a:pt x="285178" y="8573"/>
                    </a:lnTo>
                    <a:lnTo>
                      <a:pt x="281749" y="22479"/>
                    </a:lnTo>
                    <a:lnTo>
                      <a:pt x="273177" y="24575"/>
                    </a:lnTo>
                    <a:lnTo>
                      <a:pt x="256127" y="13430"/>
                    </a:lnTo>
                    <a:lnTo>
                      <a:pt x="239363" y="0"/>
                    </a:lnTo>
                    <a:lnTo>
                      <a:pt x="230314" y="2000"/>
                    </a:lnTo>
                    <a:lnTo>
                      <a:pt x="224599" y="16002"/>
                    </a:lnTo>
                    <a:lnTo>
                      <a:pt x="226981" y="39243"/>
                    </a:lnTo>
                    <a:lnTo>
                      <a:pt x="221742" y="29813"/>
                    </a:lnTo>
                    <a:lnTo>
                      <a:pt x="209836" y="18955"/>
                    </a:lnTo>
                    <a:lnTo>
                      <a:pt x="199072" y="33147"/>
                    </a:lnTo>
                    <a:lnTo>
                      <a:pt x="194405" y="42101"/>
                    </a:lnTo>
                    <a:lnTo>
                      <a:pt x="201549" y="54674"/>
                    </a:lnTo>
                    <a:lnTo>
                      <a:pt x="209074" y="68294"/>
                    </a:lnTo>
                    <a:lnTo>
                      <a:pt x="213265" y="80105"/>
                    </a:lnTo>
                    <a:lnTo>
                      <a:pt x="209359" y="100870"/>
                    </a:lnTo>
                    <a:lnTo>
                      <a:pt x="200882" y="106013"/>
                    </a:lnTo>
                    <a:lnTo>
                      <a:pt x="197453" y="117634"/>
                    </a:lnTo>
                    <a:lnTo>
                      <a:pt x="181070" y="138017"/>
                    </a:lnTo>
                    <a:lnTo>
                      <a:pt x="170878" y="151638"/>
                    </a:lnTo>
                    <a:lnTo>
                      <a:pt x="166306" y="160211"/>
                    </a:lnTo>
                    <a:lnTo>
                      <a:pt x="143732" y="165735"/>
                    </a:lnTo>
                    <a:lnTo>
                      <a:pt x="142684" y="174212"/>
                    </a:lnTo>
                    <a:lnTo>
                      <a:pt x="149828" y="178594"/>
                    </a:lnTo>
                    <a:lnTo>
                      <a:pt x="147542" y="188976"/>
                    </a:lnTo>
                    <a:lnTo>
                      <a:pt x="144399" y="208693"/>
                    </a:lnTo>
                    <a:lnTo>
                      <a:pt x="139255" y="191929"/>
                    </a:lnTo>
                    <a:lnTo>
                      <a:pt x="134588" y="186214"/>
                    </a:lnTo>
                    <a:lnTo>
                      <a:pt x="122777" y="190691"/>
                    </a:lnTo>
                    <a:lnTo>
                      <a:pt x="110395" y="200120"/>
                    </a:lnTo>
                    <a:lnTo>
                      <a:pt x="110585" y="212979"/>
                    </a:lnTo>
                    <a:lnTo>
                      <a:pt x="117824" y="217170"/>
                    </a:lnTo>
                    <a:lnTo>
                      <a:pt x="123349" y="218789"/>
                    </a:lnTo>
                    <a:lnTo>
                      <a:pt x="135636" y="221266"/>
                    </a:lnTo>
                    <a:lnTo>
                      <a:pt x="120682" y="231172"/>
                    </a:lnTo>
                    <a:lnTo>
                      <a:pt x="111061" y="234410"/>
                    </a:lnTo>
                    <a:lnTo>
                      <a:pt x="96202" y="228981"/>
                    </a:lnTo>
                    <a:lnTo>
                      <a:pt x="69628" y="237268"/>
                    </a:lnTo>
                    <a:lnTo>
                      <a:pt x="66961" y="247079"/>
                    </a:lnTo>
                    <a:lnTo>
                      <a:pt x="51721" y="254127"/>
                    </a:lnTo>
                    <a:lnTo>
                      <a:pt x="43720" y="277559"/>
                    </a:lnTo>
                    <a:lnTo>
                      <a:pt x="28956" y="290798"/>
                    </a:lnTo>
                    <a:lnTo>
                      <a:pt x="21050" y="303848"/>
                    </a:lnTo>
                    <a:lnTo>
                      <a:pt x="12287" y="335756"/>
                    </a:lnTo>
                    <a:lnTo>
                      <a:pt x="1238" y="355283"/>
                    </a:lnTo>
                    <a:lnTo>
                      <a:pt x="0" y="371570"/>
                    </a:lnTo>
                    <a:lnTo>
                      <a:pt x="16002" y="389096"/>
                    </a:lnTo>
                    <a:lnTo>
                      <a:pt x="16097" y="413861"/>
                    </a:lnTo>
                    <a:lnTo>
                      <a:pt x="29337" y="424815"/>
                    </a:lnTo>
                    <a:lnTo>
                      <a:pt x="47911" y="413861"/>
                    </a:lnTo>
                    <a:lnTo>
                      <a:pt x="63817" y="404432"/>
                    </a:lnTo>
                    <a:lnTo>
                      <a:pt x="71818" y="388906"/>
                    </a:lnTo>
                    <a:lnTo>
                      <a:pt x="96869" y="388049"/>
                    </a:lnTo>
                    <a:lnTo>
                      <a:pt x="110395" y="380714"/>
                    </a:lnTo>
                    <a:lnTo>
                      <a:pt x="120491" y="36918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74" name="Freeform: Shape 273">
                <a:extLst>
                  <a:ext uri="{FF2B5EF4-FFF2-40B4-BE49-F238E27FC236}">
                    <a16:creationId xmlns:a16="http://schemas.microsoft.com/office/drawing/2014/main" id="{D2D653F4-4451-4A84-A418-496D98D0EE9B}"/>
                  </a:ext>
                </a:extLst>
              </p:cNvPr>
              <p:cNvSpPr/>
              <p:nvPr/>
            </p:nvSpPr>
            <p:spPr>
              <a:xfrm>
                <a:off x="15321520" y="3808206"/>
                <a:ext cx="6572" cy="24288"/>
              </a:xfrm>
              <a:custGeom>
                <a:avLst/>
                <a:gdLst>
                  <a:gd name="connsiteX0" fmla="*/ 952 w 6572"/>
                  <a:gd name="connsiteY0" fmla="*/ 3524 h 24288"/>
                  <a:gd name="connsiteX1" fmla="*/ 0 w 6572"/>
                  <a:gd name="connsiteY1" fmla="*/ 0 h 24288"/>
                  <a:gd name="connsiteX2" fmla="*/ 6572 w 6572"/>
                  <a:gd name="connsiteY2" fmla="*/ 24289 h 24288"/>
                  <a:gd name="connsiteX3" fmla="*/ 5715 w 6572"/>
                  <a:gd name="connsiteY3" fmla="*/ 20860 h 24288"/>
                  <a:gd name="connsiteX4" fmla="*/ 952 w 6572"/>
                  <a:gd name="connsiteY4" fmla="*/ 3524 h 24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2" h="24288">
                    <a:moveTo>
                      <a:pt x="952" y="3524"/>
                    </a:moveTo>
                    <a:lnTo>
                      <a:pt x="0" y="0"/>
                    </a:lnTo>
                    <a:lnTo>
                      <a:pt x="6572" y="24289"/>
                    </a:lnTo>
                    <a:lnTo>
                      <a:pt x="5715" y="20860"/>
                    </a:lnTo>
                    <a:lnTo>
                      <a:pt x="952" y="352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75" name="Freeform: Shape 274">
                <a:extLst>
                  <a:ext uri="{FF2B5EF4-FFF2-40B4-BE49-F238E27FC236}">
                    <a16:creationId xmlns:a16="http://schemas.microsoft.com/office/drawing/2014/main" id="{1D9B2AE1-2DD6-433D-A00F-48A400DC9E1E}"/>
                  </a:ext>
                </a:extLst>
              </p:cNvPr>
              <p:cNvSpPr/>
              <p:nvPr/>
            </p:nvSpPr>
            <p:spPr>
              <a:xfrm>
                <a:off x="15328092" y="3832495"/>
                <a:ext cx="476" cy="1619"/>
              </a:xfrm>
              <a:custGeom>
                <a:avLst/>
                <a:gdLst>
                  <a:gd name="connsiteX0" fmla="*/ 0 w 476"/>
                  <a:gd name="connsiteY0" fmla="*/ 0 h 1619"/>
                  <a:gd name="connsiteX1" fmla="*/ 476 w 476"/>
                  <a:gd name="connsiteY1" fmla="*/ 1619 h 1619"/>
                  <a:gd name="connsiteX2" fmla="*/ 190 w 476"/>
                  <a:gd name="connsiteY2" fmla="*/ 762 h 1619"/>
                  <a:gd name="connsiteX3" fmla="*/ 0 w 476"/>
                  <a:gd name="connsiteY3" fmla="*/ 0 h 1619"/>
                </a:gdLst>
                <a:ahLst/>
                <a:cxnLst>
                  <a:cxn ang="0">
                    <a:pos x="connsiteX0" y="connsiteY0"/>
                  </a:cxn>
                  <a:cxn ang="0">
                    <a:pos x="connsiteX1" y="connsiteY1"/>
                  </a:cxn>
                  <a:cxn ang="0">
                    <a:pos x="connsiteX2" y="connsiteY2"/>
                  </a:cxn>
                  <a:cxn ang="0">
                    <a:pos x="connsiteX3" y="connsiteY3"/>
                  </a:cxn>
                </a:cxnLst>
                <a:rect l="l" t="t" r="r" b="b"/>
                <a:pathLst>
                  <a:path w="476" h="1619">
                    <a:moveTo>
                      <a:pt x="0" y="0"/>
                    </a:moveTo>
                    <a:lnTo>
                      <a:pt x="476" y="1619"/>
                    </a:lnTo>
                    <a:lnTo>
                      <a:pt x="190" y="762"/>
                    </a:lnTo>
                    <a:lnTo>
                      <a:pt x="0"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76" name="Freeform: Shape 275">
                <a:extLst>
                  <a:ext uri="{FF2B5EF4-FFF2-40B4-BE49-F238E27FC236}">
                    <a16:creationId xmlns:a16="http://schemas.microsoft.com/office/drawing/2014/main" id="{D32D77AE-9D00-470B-9E73-24E4F5E9FD83}"/>
                  </a:ext>
                </a:extLst>
              </p:cNvPr>
              <p:cNvSpPr/>
              <p:nvPr/>
            </p:nvSpPr>
            <p:spPr>
              <a:xfrm>
                <a:off x="15328568" y="3834114"/>
                <a:ext cx="4572" cy="17907"/>
              </a:xfrm>
              <a:custGeom>
                <a:avLst/>
                <a:gdLst>
                  <a:gd name="connsiteX0" fmla="*/ 1810 w 4572"/>
                  <a:gd name="connsiteY0" fmla="*/ 7144 h 17907"/>
                  <a:gd name="connsiteX1" fmla="*/ 762 w 4572"/>
                  <a:gd name="connsiteY1" fmla="*/ 3143 h 17907"/>
                  <a:gd name="connsiteX2" fmla="*/ 0 w 4572"/>
                  <a:gd name="connsiteY2" fmla="*/ 0 h 17907"/>
                  <a:gd name="connsiteX3" fmla="*/ 4572 w 4572"/>
                  <a:gd name="connsiteY3" fmla="*/ 17907 h 17907"/>
                  <a:gd name="connsiteX4" fmla="*/ 4001 w 4572"/>
                  <a:gd name="connsiteY4" fmla="*/ 15621 h 17907"/>
                  <a:gd name="connsiteX5" fmla="*/ 1810 w 4572"/>
                  <a:gd name="connsiteY5" fmla="*/ 7144 h 1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 h="17907">
                    <a:moveTo>
                      <a:pt x="1810" y="7144"/>
                    </a:moveTo>
                    <a:lnTo>
                      <a:pt x="762" y="3143"/>
                    </a:lnTo>
                    <a:lnTo>
                      <a:pt x="0" y="0"/>
                    </a:lnTo>
                    <a:lnTo>
                      <a:pt x="4572" y="17907"/>
                    </a:lnTo>
                    <a:lnTo>
                      <a:pt x="4001" y="15621"/>
                    </a:lnTo>
                    <a:lnTo>
                      <a:pt x="1810" y="714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77" name="Freeform: Shape 276">
                <a:extLst>
                  <a:ext uri="{FF2B5EF4-FFF2-40B4-BE49-F238E27FC236}">
                    <a16:creationId xmlns:a16="http://schemas.microsoft.com/office/drawing/2014/main" id="{A93800F0-34C8-4B27-AFF6-10893587CE87}"/>
                  </a:ext>
                </a:extLst>
              </p:cNvPr>
              <p:cNvSpPr/>
              <p:nvPr/>
            </p:nvSpPr>
            <p:spPr>
              <a:xfrm>
                <a:off x="15319233" y="3800395"/>
                <a:ext cx="2286" cy="7810"/>
              </a:xfrm>
              <a:custGeom>
                <a:avLst/>
                <a:gdLst>
                  <a:gd name="connsiteX0" fmla="*/ 1715 w 2286"/>
                  <a:gd name="connsiteY0" fmla="*/ 5906 h 7810"/>
                  <a:gd name="connsiteX1" fmla="*/ 0 w 2286"/>
                  <a:gd name="connsiteY1" fmla="*/ 0 h 7810"/>
                  <a:gd name="connsiteX2" fmla="*/ 2286 w 2286"/>
                  <a:gd name="connsiteY2" fmla="*/ 7810 h 7810"/>
                  <a:gd name="connsiteX3" fmla="*/ 2000 w 2286"/>
                  <a:gd name="connsiteY3" fmla="*/ 6763 h 7810"/>
                  <a:gd name="connsiteX4" fmla="*/ 1715 w 2286"/>
                  <a:gd name="connsiteY4" fmla="*/ 5906 h 7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 h="7810">
                    <a:moveTo>
                      <a:pt x="1715" y="5906"/>
                    </a:moveTo>
                    <a:lnTo>
                      <a:pt x="0" y="0"/>
                    </a:lnTo>
                    <a:lnTo>
                      <a:pt x="2286" y="7810"/>
                    </a:lnTo>
                    <a:lnTo>
                      <a:pt x="2000" y="6763"/>
                    </a:lnTo>
                    <a:lnTo>
                      <a:pt x="1715" y="590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78" name="Freeform: Shape 277">
                <a:extLst>
                  <a:ext uri="{FF2B5EF4-FFF2-40B4-BE49-F238E27FC236}">
                    <a16:creationId xmlns:a16="http://schemas.microsoft.com/office/drawing/2014/main" id="{CAEBA5DF-7C1A-4E9A-92D6-16D0D03C3509}"/>
                  </a:ext>
                </a:extLst>
              </p:cNvPr>
              <p:cNvSpPr/>
              <p:nvPr/>
            </p:nvSpPr>
            <p:spPr>
              <a:xfrm>
                <a:off x="15337903" y="3872309"/>
                <a:ext cx="24764" cy="187261"/>
              </a:xfrm>
              <a:custGeom>
                <a:avLst/>
                <a:gdLst>
                  <a:gd name="connsiteX0" fmla="*/ 24289 w 24764"/>
                  <a:gd name="connsiteY0" fmla="*/ 159639 h 187261"/>
                  <a:gd name="connsiteX1" fmla="*/ 22955 w 24764"/>
                  <a:gd name="connsiteY1" fmla="*/ 141351 h 187261"/>
                  <a:gd name="connsiteX2" fmla="*/ 22288 w 24764"/>
                  <a:gd name="connsiteY2" fmla="*/ 128588 h 187261"/>
                  <a:gd name="connsiteX3" fmla="*/ 19812 w 24764"/>
                  <a:gd name="connsiteY3" fmla="*/ 106775 h 187261"/>
                  <a:gd name="connsiteX4" fmla="*/ 18859 w 24764"/>
                  <a:gd name="connsiteY4" fmla="*/ 97822 h 187261"/>
                  <a:gd name="connsiteX5" fmla="*/ 18002 w 24764"/>
                  <a:gd name="connsiteY5" fmla="*/ 90678 h 187261"/>
                  <a:gd name="connsiteX6" fmla="*/ 14383 w 24764"/>
                  <a:gd name="connsiteY6" fmla="*/ 69628 h 187261"/>
                  <a:gd name="connsiteX7" fmla="*/ 10954 w 24764"/>
                  <a:gd name="connsiteY7" fmla="*/ 51435 h 187261"/>
                  <a:gd name="connsiteX8" fmla="*/ 8668 w 24764"/>
                  <a:gd name="connsiteY8" fmla="*/ 39529 h 187261"/>
                  <a:gd name="connsiteX9" fmla="*/ 4858 w 24764"/>
                  <a:gd name="connsiteY9" fmla="*/ 21431 h 187261"/>
                  <a:gd name="connsiteX10" fmla="*/ 2667 w 24764"/>
                  <a:gd name="connsiteY10" fmla="*/ 11240 h 187261"/>
                  <a:gd name="connsiteX11" fmla="*/ 0 w 24764"/>
                  <a:gd name="connsiteY11" fmla="*/ 0 h 187261"/>
                  <a:gd name="connsiteX12" fmla="*/ 2667 w 24764"/>
                  <a:gd name="connsiteY12" fmla="*/ 13430 h 187261"/>
                  <a:gd name="connsiteX13" fmla="*/ 6477 w 24764"/>
                  <a:gd name="connsiteY13" fmla="*/ 33528 h 187261"/>
                  <a:gd name="connsiteX14" fmla="*/ 11239 w 24764"/>
                  <a:gd name="connsiteY14" fmla="*/ 57817 h 187261"/>
                  <a:gd name="connsiteX15" fmla="*/ 14097 w 24764"/>
                  <a:gd name="connsiteY15" fmla="*/ 80772 h 187261"/>
                  <a:gd name="connsiteX16" fmla="*/ 15716 w 24764"/>
                  <a:gd name="connsiteY16" fmla="*/ 94107 h 187261"/>
                  <a:gd name="connsiteX17" fmla="*/ 17526 w 24764"/>
                  <a:gd name="connsiteY17" fmla="*/ 112776 h 187261"/>
                  <a:gd name="connsiteX18" fmla="*/ 18479 w 24764"/>
                  <a:gd name="connsiteY18" fmla="*/ 134398 h 187261"/>
                  <a:gd name="connsiteX19" fmla="*/ 22479 w 24764"/>
                  <a:gd name="connsiteY19" fmla="*/ 171736 h 187261"/>
                  <a:gd name="connsiteX20" fmla="*/ 23908 w 24764"/>
                  <a:gd name="connsiteY20" fmla="*/ 187261 h 187261"/>
                  <a:gd name="connsiteX21" fmla="*/ 24765 w 24764"/>
                  <a:gd name="connsiteY21" fmla="*/ 185071 h 187261"/>
                  <a:gd name="connsiteX22" fmla="*/ 24289 w 24764"/>
                  <a:gd name="connsiteY22" fmla="*/ 159639 h 18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764" h="187261">
                    <a:moveTo>
                      <a:pt x="24289" y="159639"/>
                    </a:moveTo>
                    <a:lnTo>
                      <a:pt x="22955" y="141351"/>
                    </a:lnTo>
                    <a:lnTo>
                      <a:pt x="22288" y="128588"/>
                    </a:lnTo>
                    <a:lnTo>
                      <a:pt x="19812" y="106775"/>
                    </a:lnTo>
                    <a:lnTo>
                      <a:pt x="18859" y="97822"/>
                    </a:lnTo>
                    <a:lnTo>
                      <a:pt x="18002" y="90678"/>
                    </a:lnTo>
                    <a:lnTo>
                      <a:pt x="14383" y="69628"/>
                    </a:lnTo>
                    <a:lnTo>
                      <a:pt x="10954" y="51435"/>
                    </a:lnTo>
                    <a:lnTo>
                      <a:pt x="8668" y="39529"/>
                    </a:lnTo>
                    <a:lnTo>
                      <a:pt x="4858" y="21431"/>
                    </a:lnTo>
                    <a:lnTo>
                      <a:pt x="2667" y="11240"/>
                    </a:lnTo>
                    <a:lnTo>
                      <a:pt x="0" y="0"/>
                    </a:lnTo>
                    <a:lnTo>
                      <a:pt x="2667" y="13430"/>
                    </a:lnTo>
                    <a:lnTo>
                      <a:pt x="6477" y="33528"/>
                    </a:lnTo>
                    <a:lnTo>
                      <a:pt x="11239" y="57817"/>
                    </a:lnTo>
                    <a:lnTo>
                      <a:pt x="14097" y="80772"/>
                    </a:lnTo>
                    <a:lnTo>
                      <a:pt x="15716" y="94107"/>
                    </a:lnTo>
                    <a:lnTo>
                      <a:pt x="17526" y="112776"/>
                    </a:lnTo>
                    <a:lnTo>
                      <a:pt x="18479" y="134398"/>
                    </a:lnTo>
                    <a:lnTo>
                      <a:pt x="22479" y="171736"/>
                    </a:lnTo>
                    <a:lnTo>
                      <a:pt x="23908" y="187261"/>
                    </a:lnTo>
                    <a:lnTo>
                      <a:pt x="24765" y="185071"/>
                    </a:lnTo>
                    <a:lnTo>
                      <a:pt x="24289" y="15963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79" name="Freeform: Shape 278">
                <a:extLst>
                  <a:ext uri="{FF2B5EF4-FFF2-40B4-BE49-F238E27FC236}">
                    <a16:creationId xmlns:a16="http://schemas.microsoft.com/office/drawing/2014/main" id="{AA2DE8F1-67B8-44E3-9802-72F4B1AB0398}"/>
                  </a:ext>
                </a:extLst>
              </p:cNvPr>
              <p:cNvSpPr/>
              <p:nvPr/>
            </p:nvSpPr>
            <p:spPr>
              <a:xfrm>
                <a:off x="15333616" y="3854211"/>
                <a:ext cx="4286" cy="18097"/>
              </a:xfrm>
              <a:custGeom>
                <a:avLst/>
                <a:gdLst>
                  <a:gd name="connsiteX0" fmla="*/ 286 w 4286"/>
                  <a:gd name="connsiteY0" fmla="*/ 1143 h 18097"/>
                  <a:gd name="connsiteX1" fmla="*/ 0 w 4286"/>
                  <a:gd name="connsiteY1" fmla="*/ 0 h 18097"/>
                  <a:gd name="connsiteX2" fmla="*/ 4286 w 4286"/>
                  <a:gd name="connsiteY2" fmla="*/ 18098 h 18097"/>
                  <a:gd name="connsiteX3" fmla="*/ 4191 w 4286"/>
                  <a:gd name="connsiteY3" fmla="*/ 17717 h 18097"/>
                  <a:gd name="connsiteX4" fmla="*/ 286 w 4286"/>
                  <a:gd name="connsiteY4" fmla="*/ 1143 h 18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 h="18097">
                    <a:moveTo>
                      <a:pt x="286" y="1143"/>
                    </a:moveTo>
                    <a:lnTo>
                      <a:pt x="0" y="0"/>
                    </a:lnTo>
                    <a:lnTo>
                      <a:pt x="4286" y="18098"/>
                    </a:lnTo>
                    <a:lnTo>
                      <a:pt x="4191" y="17717"/>
                    </a:lnTo>
                    <a:lnTo>
                      <a:pt x="286" y="114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80" name="Freeform: Shape 279">
                <a:extLst>
                  <a:ext uri="{FF2B5EF4-FFF2-40B4-BE49-F238E27FC236}">
                    <a16:creationId xmlns:a16="http://schemas.microsoft.com/office/drawing/2014/main" id="{EE9D0303-A61C-46D2-9144-8AADDC91576B}"/>
                  </a:ext>
                </a:extLst>
              </p:cNvPr>
              <p:cNvSpPr/>
              <p:nvPr/>
            </p:nvSpPr>
            <p:spPr>
              <a:xfrm>
                <a:off x="15333140" y="3852021"/>
                <a:ext cx="476" cy="2190"/>
              </a:xfrm>
              <a:custGeom>
                <a:avLst/>
                <a:gdLst>
                  <a:gd name="connsiteX0" fmla="*/ 0 w 476"/>
                  <a:gd name="connsiteY0" fmla="*/ 0 h 2190"/>
                  <a:gd name="connsiteX1" fmla="*/ 476 w 476"/>
                  <a:gd name="connsiteY1" fmla="*/ 2191 h 2190"/>
                  <a:gd name="connsiteX2" fmla="*/ 286 w 476"/>
                  <a:gd name="connsiteY2" fmla="*/ 1048 h 2190"/>
                  <a:gd name="connsiteX3" fmla="*/ 0 w 476"/>
                  <a:gd name="connsiteY3" fmla="*/ 0 h 2190"/>
                </a:gdLst>
                <a:ahLst/>
                <a:cxnLst>
                  <a:cxn ang="0">
                    <a:pos x="connsiteX0" y="connsiteY0"/>
                  </a:cxn>
                  <a:cxn ang="0">
                    <a:pos x="connsiteX1" y="connsiteY1"/>
                  </a:cxn>
                  <a:cxn ang="0">
                    <a:pos x="connsiteX2" y="connsiteY2"/>
                  </a:cxn>
                  <a:cxn ang="0">
                    <a:pos x="connsiteX3" y="connsiteY3"/>
                  </a:cxn>
                </a:cxnLst>
                <a:rect l="l" t="t" r="r" b="b"/>
                <a:pathLst>
                  <a:path w="476" h="2190">
                    <a:moveTo>
                      <a:pt x="0" y="0"/>
                    </a:moveTo>
                    <a:lnTo>
                      <a:pt x="476" y="2191"/>
                    </a:lnTo>
                    <a:lnTo>
                      <a:pt x="286" y="1048"/>
                    </a:lnTo>
                    <a:lnTo>
                      <a:pt x="0"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81" name="Freeform: Shape 280">
                <a:extLst>
                  <a:ext uri="{FF2B5EF4-FFF2-40B4-BE49-F238E27FC236}">
                    <a16:creationId xmlns:a16="http://schemas.microsoft.com/office/drawing/2014/main" id="{28B23A9B-469D-4E12-AF73-4ADAFE3BC530}"/>
                  </a:ext>
                </a:extLst>
              </p:cNvPr>
              <p:cNvSpPr/>
              <p:nvPr/>
            </p:nvSpPr>
            <p:spPr>
              <a:xfrm>
                <a:off x="15333521" y="3853830"/>
                <a:ext cx="2381" cy="9429"/>
              </a:xfrm>
              <a:custGeom>
                <a:avLst/>
                <a:gdLst>
                  <a:gd name="connsiteX0" fmla="*/ 0 w 2381"/>
                  <a:gd name="connsiteY0" fmla="*/ 0 h 9429"/>
                  <a:gd name="connsiteX1" fmla="*/ 381 w 2381"/>
                  <a:gd name="connsiteY1" fmla="*/ 1524 h 9429"/>
                  <a:gd name="connsiteX2" fmla="*/ 2381 w 2381"/>
                  <a:gd name="connsiteY2" fmla="*/ 9430 h 9429"/>
                  <a:gd name="connsiteX3" fmla="*/ 0 w 2381"/>
                  <a:gd name="connsiteY3" fmla="*/ 0 h 9429"/>
                </a:gdLst>
                <a:ahLst/>
                <a:cxnLst>
                  <a:cxn ang="0">
                    <a:pos x="connsiteX0" y="connsiteY0"/>
                  </a:cxn>
                  <a:cxn ang="0">
                    <a:pos x="connsiteX1" y="connsiteY1"/>
                  </a:cxn>
                  <a:cxn ang="0">
                    <a:pos x="connsiteX2" y="connsiteY2"/>
                  </a:cxn>
                  <a:cxn ang="0">
                    <a:pos x="connsiteX3" y="connsiteY3"/>
                  </a:cxn>
                </a:cxnLst>
                <a:rect l="l" t="t" r="r" b="b"/>
                <a:pathLst>
                  <a:path w="2381" h="9429">
                    <a:moveTo>
                      <a:pt x="0" y="0"/>
                    </a:moveTo>
                    <a:lnTo>
                      <a:pt x="381" y="1524"/>
                    </a:lnTo>
                    <a:lnTo>
                      <a:pt x="2381" y="9430"/>
                    </a:lnTo>
                    <a:lnTo>
                      <a:pt x="0"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82" name="Freeform: Shape 281">
                <a:extLst>
                  <a:ext uri="{FF2B5EF4-FFF2-40B4-BE49-F238E27FC236}">
                    <a16:creationId xmlns:a16="http://schemas.microsoft.com/office/drawing/2014/main" id="{5BFB1CB4-F3A1-4B24-91A5-A80873E08366}"/>
                  </a:ext>
                </a:extLst>
              </p:cNvPr>
              <p:cNvSpPr/>
              <p:nvPr/>
            </p:nvSpPr>
            <p:spPr>
              <a:xfrm>
                <a:off x="13569586" y="3379962"/>
                <a:ext cx="1776793" cy="2197227"/>
              </a:xfrm>
              <a:custGeom>
                <a:avLst/>
                <a:gdLst>
                  <a:gd name="connsiteX0" fmla="*/ 1759363 w 1776793"/>
                  <a:gd name="connsiteY0" fmla="*/ 1073277 h 2197227"/>
                  <a:gd name="connsiteX1" fmla="*/ 1758315 w 1776793"/>
                  <a:gd name="connsiteY1" fmla="*/ 1061942 h 2197227"/>
                  <a:gd name="connsiteX2" fmla="*/ 1760315 w 1776793"/>
                  <a:gd name="connsiteY2" fmla="*/ 1049655 h 2197227"/>
                  <a:gd name="connsiteX3" fmla="*/ 1752410 w 1776793"/>
                  <a:gd name="connsiteY3" fmla="*/ 1048131 h 2197227"/>
                  <a:gd name="connsiteX4" fmla="*/ 1749171 w 1776793"/>
                  <a:gd name="connsiteY4" fmla="*/ 1037368 h 2197227"/>
                  <a:gd name="connsiteX5" fmla="*/ 1744313 w 1776793"/>
                  <a:gd name="connsiteY5" fmla="*/ 1037844 h 2197227"/>
                  <a:gd name="connsiteX6" fmla="*/ 1735645 w 1776793"/>
                  <a:gd name="connsiteY6" fmla="*/ 1041368 h 2197227"/>
                  <a:gd name="connsiteX7" fmla="*/ 1731931 w 1776793"/>
                  <a:gd name="connsiteY7" fmla="*/ 1033558 h 2197227"/>
                  <a:gd name="connsiteX8" fmla="*/ 1733360 w 1776793"/>
                  <a:gd name="connsiteY8" fmla="*/ 1022699 h 2197227"/>
                  <a:gd name="connsiteX9" fmla="*/ 1734122 w 1776793"/>
                  <a:gd name="connsiteY9" fmla="*/ 1001459 h 2197227"/>
                  <a:gd name="connsiteX10" fmla="*/ 1734122 w 1776793"/>
                  <a:gd name="connsiteY10" fmla="*/ 989648 h 2197227"/>
                  <a:gd name="connsiteX11" fmla="*/ 1730883 w 1776793"/>
                  <a:gd name="connsiteY11" fmla="*/ 989171 h 2197227"/>
                  <a:gd name="connsiteX12" fmla="*/ 1729073 w 1776793"/>
                  <a:gd name="connsiteY12" fmla="*/ 965549 h 2197227"/>
                  <a:gd name="connsiteX13" fmla="*/ 1726311 w 1776793"/>
                  <a:gd name="connsiteY13" fmla="*/ 947738 h 2197227"/>
                  <a:gd name="connsiteX14" fmla="*/ 1719548 w 1776793"/>
                  <a:gd name="connsiteY14" fmla="*/ 921163 h 2197227"/>
                  <a:gd name="connsiteX15" fmla="*/ 1716405 w 1776793"/>
                  <a:gd name="connsiteY15" fmla="*/ 887825 h 2197227"/>
                  <a:gd name="connsiteX16" fmla="*/ 1712024 w 1776793"/>
                  <a:gd name="connsiteY16" fmla="*/ 875348 h 2197227"/>
                  <a:gd name="connsiteX17" fmla="*/ 1705356 w 1776793"/>
                  <a:gd name="connsiteY17" fmla="*/ 876300 h 2197227"/>
                  <a:gd name="connsiteX18" fmla="*/ 1704689 w 1776793"/>
                  <a:gd name="connsiteY18" fmla="*/ 848297 h 2197227"/>
                  <a:gd name="connsiteX19" fmla="*/ 1705166 w 1776793"/>
                  <a:gd name="connsiteY19" fmla="*/ 832866 h 2197227"/>
                  <a:gd name="connsiteX20" fmla="*/ 1701927 w 1776793"/>
                  <a:gd name="connsiteY20" fmla="*/ 829532 h 2197227"/>
                  <a:gd name="connsiteX21" fmla="*/ 1702879 w 1776793"/>
                  <a:gd name="connsiteY21" fmla="*/ 820769 h 2197227"/>
                  <a:gd name="connsiteX22" fmla="*/ 1703927 w 1776793"/>
                  <a:gd name="connsiteY22" fmla="*/ 814388 h 2197227"/>
                  <a:gd name="connsiteX23" fmla="*/ 1702308 w 1776793"/>
                  <a:gd name="connsiteY23" fmla="*/ 811054 h 2197227"/>
                  <a:gd name="connsiteX24" fmla="*/ 1704118 w 1776793"/>
                  <a:gd name="connsiteY24" fmla="*/ 801434 h 2197227"/>
                  <a:gd name="connsiteX25" fmla="*/ 1698974 w 1776793"/>
                  <a:gd name="connsiteY25" fmla="*/ 794385 h 2197227"/>
                  <a:gd name="connsiteX26" fmla="*/ 1695164 w 1776793"/>
                  <a:gd name="connsiteY26" fmla="*/ 796481 h 2197227"/>
                  <a:gd name="connsiteX27" fmla="*/ 1695164 w 1776793"/>
                  <a:gd name="connsiteY27" fmla="*/ 775811 h 2197227"/>
                  <a:gd name="connsiteX28" fmla="*/ 1700308 w 1776793"/>
                  <a:gd name="connsiteY28" fmla="*/ 766286 h 2197227"/>
                  <a:gd name="connsiteX29" fmla="*/ 1704499 w 1776793"/>
                  <a:gd name="connsiteY29" fmla="*/ 761810 h 2197227"/>
                  <a:gd name="connsiteX30" fmla="*/ 1708976 w 1776793"/>
                  <a:gd name="connsiteY30" fmla="*/ 760381 h 2197227"/>
                  <a:gd name="connsiteX31" fmla="*/ 1713262 w 1776793"/>
                  <a:gd name="connsiteY31" fmla="*/ 753713 h 2197227"/>
                  <a:gd name="connsiteX32" fmla="*/ 1719358 w 1776793"/>
                  <a:gd name="connsiteY32" fmla="*/ 737140 h 2197227"/>
                  <a:gd name="connsiteX33" fmla="*/ 1719643 w 1776793"/>
                  <a:gd name="connsiteY33" fmla="*/ 723710 h 2197227"/>
                  <a:gd name="connsiteX34" fmla="*/ 1722787 w 1776793"/>
                  <a:gd name="connsiteY34" fmla="*/ 726377 h 2197227"/>
                  <a:gd name="connsiteX35" fmla="*/ 1730597 w 1776793"/>
                  <a:gd name="connsiteY35" fmla="*/ 707707 h 2197227"/>
                  <a:gd name="connsiteX36" fmla="*/ 1737169 w 1776793"/>
                  <a:gd name="connsiteY36" fmla="*/ 702374 h 2197227"/>
                  <a:gd name="connsiteX37" fmla="*/ 1746409 w 1776793"/>
                  <a:gd name="connsiteY37" fmla="*/ 709708 h 2197227"/>
                  <a:gd name="connsiteX38" fmla="*/ 1746790 w 1776793"/>
                  <a:gd name="connsiteY38" fmla="*/ 695135 h 2197227"/>
                  <a:gd name="connsiteX39" fmla="*/ 1746218 w 1776793"/>
                  <a:gd name="connsiteY39" fmla="*/ 681990 h 2197227"/>
                  <a:gd name="connsiteX40" fmla="*/ 1738693 w 1776793"/>
                  <a:gd name="connsiteY40" fmla="*/ 655987 h 2197227"/>
                  <a:gd name="connsiteX41" fmla="*/ 1733360 w 1776793"/>
                  <a:gd name="connsiteY41" fmla="*/ 641128 h 2197227"/>
                  <a:gd name="connsiteX42" fmla="*/ 1737741 w 1776793"/>
                  <a:gd name="connsiteY42" fmla="*/ 630365 h 2197227"/>
                  <a:gd name="connsiteX43" fmla="*/ 1745266 w 1776793"/>
                  <a:gd name="connsiteY43" fmla="*/ 625031 h 2197227"/>
                  <a:gd name="connsiteX44" fmla="*/ 1751267 w 1776793"/>
                  <a:gd name="connsiteY44" fmla="*/ 616458 h 2197227"/>
                  <a:gd name="connsiteX45" fmla="*/ 1752791 w 1776793"/>
                  <a:gd name="connsiteY45" fmla="*/ 606552 h 2197227"/>
                  <a:gd name="connsiteX46" fmla="*/ 1758791 w 1776793"/>
                  <a:gd name="connsiteY46" fmla="*/ 607600 h 2197227"/>
                  <a:gd name="connsiteX47" fmla="*/ 1760506 w 1776793"/>
                  <a:gd name="connsiteY47" fmla="*/ 599218 h 2197227"/>
                  <a:gd name="connsiteX48" fmla="*/ 1765173 w 1776793"/>
                  <a:gd name="connsiteY48" fmla="*/ 605981 h 2197227"/>
                  <a:gd name="connsiteX49" fmla="*/ 1768031 w 1776793"/>
                  <a:gd name="connsiteY49" fmla="*/ 603218 h 2197227"/>
                  <a:gd name="connsiteX50" fmla="*/ 1772888 w 1776793"/>
                  <a:gd name="connsiteY50" fmla="*/ 609695 h 2197227"/>
                  <a:gd name="connsiteX51" fmla="*/ 1775555 w 1776793"/>
                  <a:gd name="connsiteY51" fmla="*/ 611981 h 2197227"/>
                  <a:gd name="connsiteX52" fmla="*/ 1776793 w 1776793"/>
                  <a:gd name="connsiteY52" fmla="*/ 607219 h 2197227"/>
                  <a:gd name="connsiteX53" fmla="*/ 1774222 w 1776793"/>
                  <a:gd name="connsiteY53" fmla="*/ 603599 h 2197227"/>
                  <a:gd name="connsiteX54" fmla="*/ 1774031 w 1776793"/>
                  <a:gd name="connsiteY54" fmla="*/ 591788 h 2197227"/>
                  <a:gd name="connsiteX55" fmla="*/ 1773745 w 1776793"/>
                  <a:gd name="connsiteY55" fmla="*/ 578834 h 2197227"/>
                  <a:gd name="connsiteX56" fmla="*/ 1774508 w 1776793"/>
                  <a:gd name="connsiteY56" fmla="*/ 574548 h 2197227"/>
                  <a:gd name="connsiteX57" fmla="*/ 1773936 w 1776793"/>
                  <a:gd name="connsiteY57" fmla="*/ 564928 h 2197227"/>
                  <a:gd name="connsiteX58" fmla="*/ 1774127 w 1776793"/>
                  <a:gd name="connsiteY58" fmla="*/ 559499 h 2197227"/>
                  <a:gd name="connsiteX59" fmla="*/ 1776317 w 1776793"/>
                  <a:gd name="connsiteY59" fmla="*/ 561785 h 2197227"/>
                  <a:gd name="connsiteX60" fmla="*/ 1775841 w 1776793"/>
                  <a:gd name="connsiteY60" fmla="*/ 552926 h 2197227"/>
                  <a:gd name="connsiteX61" fmla="*/ 1776698 w 1776793"/>
                  <a:gd name="connsiteY61" fmla="*/ 549307 h 2197227"/>
                  <a:gd name="connsiteX62" fmla="*/ 1774984 w 1776793"/>
                  <a:gd name="connsiteY62" fmla="*/ 535305 h 2197227"/>
                  <a:gd name="connsiteX63" fmla="*/ 1774984 w 1776793"/>
                  <a:gd name="connsiteY63" fmla="*/ 532352 h 2197227"/>
                  <a:gd name="connsiteX64" fmla="*/ 1769840 w 1776793"/>
                  <a:gd name="connsiteY64" fmla="*/ 503968 h 2197227"/>
                  <a:gd name="connsiteX65" fmla="*/ 1765078 w 1776793"/>
                  <a:gd name="connsiteY65" fmla="*/ 481394 h 2197227"/>
                  <a:gd name="connsiteX66" fmla="*/ 1760887 w 1776793"/>
                  <a:gd name="connsiteY66" fmla="*/ 464630 h 2197227"/>
                  <a:gd name="connsiteX67" fmla="*/ 1760601 w 1776793"/>
                  <a:gd name="connsiteY67" fmla="*/ 464248 h 2197227"/>
                  <a:gd name="connsiteX68" fmla="*/ 1762125 w 1776793"/>
                  <a:gd name="connsiteY68" fmla="*/ 473773 h 2197227"/>
                  <a:gd name="connsiteX69" fmla="*/ 1763840 w 1776793"/>
                  <a:gd name="connsiteY69" fmla="*/ 482156 h 2197227"/>
                  <a:gd name="connsiteX70" fmla="*/ 1763459 w 1776793"/>
                  <a:gd name="connsiteY70" fmla="*/ 484061 h 2197227"/>
                  <a:gd name="connsiteX71" fmla="*/ 1763459 w 1776793"/>
                  <a:gd name="connsiteY71" fmla="*/ 486442 h 2197227"/>
                  <a:gd name="connsiteX72" fmla="*/ 1762125 w 1776793"/>
                  <a:gd name="connsiteY72" fmla="*/ 484061 h 2197227"/>
                  <a:gd name="connsiteX73" fmla="*/ 1761173 w 1776793"/>
                  <a:gd name="connsiteY73" fmla="*/ 485680 h 2197227"/>
                  <a:gd name="connsiteX74" fmla="*/ 1762030 w 1776793"/>
                  <a:gd name="connsiteY74" fmla="*/ 495967 h 2197227"/>
                  <a:gd name="connsiteX75" fmla="*/ 1763744 w 1776793"/>
                  <a:gd name="connsiteY75" fmla="*/ 510254 h 2197227"/>
                  <a:gd name="connsiteX76" fmla="*/ 1764697 w 1776793"/>
                  <a:gd name="connsiteY76" fmla="*/ 515779 h 2197227"/>
                  <a:gd name="connsiteX77" fmla="*/ 1765840 w 1776793"/>
                  <a:gd name="connsiteY77" fmla="*/ 528352 h 2197227"/>
                  <a:gd name="connsiteX78" fmla="*/ 1768411 w 1776793"/>
                  <a:gd name="connsiteY78" fmla="*/ 542830 h 2197227"/>
                  <a:gd name="connsiteX79" fmla="*/ 1769174 w 1776793"/>
                  <a:gd name="connsiteY79" fmla="*/ 556451 h 2197227"/>
                  <a:gd name="connsiteX80" fmla="*/ 1767078 w 1776793"/>
                  <a:gd name="connsiteY80" fmla="*/ 561213 h 2197227"/>
                  <a:gd name="connsiteX81" fmla="*/ 1765459 w 1776793"/>
                  <a:gd name="connsiteY81" fmla="*/ 571405 h 2197227"/>
                  <a:gd name="connsiteX82" fmla="*/ 1767935 w 1776793"/>
                  <a:gd name="connsiteY82" fmla="*/ 586835 h 2197227"/>
                  <a:gd name="connsiteX83" fmla="*/ 1765268 w 1776793"/>
                  <a:gd name="connsiteY83" fmla="*/ 588931 h 2197227"/>
                  <a:gd name="connsiteX84" fmla="*/ 1760125 w 1776793"/>
                  <a:gd name="connsiteY84" fmla="*/ 581882 h 2197227"/>
                  <a:gd name="connsiteX85" fmla="*/ 1750885 w 1776793"/>
                  <a:gd name="connsiteY85" fmla="*/ 570357 h 2197227"/>
                  <a:gd name="connsiteX86" fmla="*/ 1744694 w 1776793"/>
                  <a:gd name="connsiteY86" fmla="*/ 569595 h 2197227"/>
                  <a:gd name="connsiteX87" fmla="*/ 1740884 w 1776793"/>
                  <a:gd name="connsiteY87" fmla="*/ 549116 h 2197227"/>
                  <a:gd name="connsiteX88" fmla="*/ 1745742 w 1776793"/>
                  <a:gd name="connsiteY88" fmla="*/ 551688 h 2197227"/>
                  <a:gd name="connsiteX89" fmla="*/ 1741646 w 1776793"/>
                  <a:gd name="connsiteY89" fmla="*/ 531781 h 2197227"/>
                  <a:gd name="connsiteX90" fmla="*/ 1739551 w 1776793"/>
                  <a:gd name="connsiteY90" fmla="*/ 510350 h 2197227"/>
                  <a:gd name="connsiteX91" fmla="*/ 1741837 w 1776793"/>
                  <a:gd name="connsiteY91" fmla="*/ 497491 h 2197227"/>
                  <a:gd name="connsiteX92" fmla="*/ 1741837 w 1776793"/>
                  <a:gd name="connsiteY92" fmla="*/ 487490 h 2197227"/>
                  <a:gd name="connsiteX93" fmla="*/ 1737741 w 1776793"/>
                  <a:gd name="connsiteY93" fmla="*/ 467868 h 2197227"/>
                  <a:gd name="connsiteX94" fmla="*/ 1735645 w 1776793"/>
                  <a:gd name="connsiteY94" fmla="*/ 450056 h 2197227"/>
                  <a:gd name="connsiteX95" fmla="*/ 1740027 w 1776793"/>
                  <a:gd name="connsiteY95" fmla="*/ 455867 h 2197227"/>
                  <a:gd name="connsiteX96" fmla="*/ 1740027 w 1776793"/>
                  <a:gd name="connsiteY96" fmla="*/ 446818 h 2197227"/>
                  <a:gd name="connsiteX97" fmla="*/ 1728502 w 1776793"/>
                  <a:gd name="connsiteY97" fmla="*/ 418910 h 2197227"/>
                  <a:gd name="connsiteX98" fmla="*/ 1719453 w 1776793"/>
                  <a:gd name="connsiteY98" fmla="*/ 401193 h 2197227"/>
                  <a:gd name="connsiteX99" fmla="*/ 1708309 w 1776793"/>
                  <a:gd name="connsiteY99" fmla="*/ 375952 h 2197227"/>
                  <a:gd name="connsiteX100" fmla="*/ 1698879 w 1776793"/>
                  <a:gd name="connsiteY100" fmla="*/ 358140 h 2197227"/>
                  <a:gd name="connsiteX101" fmla="*/ 1689068 w 1776793"/>
                  <a:gd name="connsiteY101" fmla="*/ 358140 h 2197227"/>
                  <a:gd name="connsiteX102" fmla="*/ 1682020 w 1776793"/>
                  <a:gd name="connsiteY102" fmla="*/ 372047 h 2197227"/>
                  <a:gd name="connsiteX103" fmla="*/ 1681543 w 1776793"/>
                  <a:gd name="connsiteY103" fmla="*/ 387287 h 2197227"/>
                  <a:gd name="connsiteX104" fmla="*/ 1684020 w 1776793"/>
                  <a:gd name="connsiteY104" fmla="*/ 408813 h 2197227"/>
                  <a:gd name="connsiteX105" fmla="*/ 1681258 w 1776793"/>
                  <a:gd name="connsiteY105" fmla="*/ 432435 h 2197227"/>
                  <a:gd name="connsiteX106" fmla="*/ 1678305 w 1776793"/>
                  <a:gd name="connsiteY106" fmla="*/ 451675 h 2197227"/>
                  <a:gd name="connsiteX107" fmla="*/ 1671542 w 1776793"/>
                  <a:gd name="connsiteY107" fmla="*/ 448342 h 2197227"/>
                  <a:gd name="connsiteX108" fmla="*/ 1658588 w 1776793"/>
                  <a:gd name="connsiteY108" fmla="*/ 432245 h 2197227"/>
                  <a:gd name="connsiteX109" fmla="*/ 1642301 w 1776793"/>
                  <a:gd name="connsiteY109" fmla="*/ 405575 h 2197227"/>
                  <a:gd name="connsiteX110" fmla="*/ 1637538 w 1776793"/>
                  <a:gd name="connsiteY110" fmla="*/ 395859 h 2197227"/>
                  <a:gd name="connsiteX111" fmla="*/ 1630299 w 1776793"/>
                  <a:gd name="connsiteY111" fmla="*/ 366236 h 2197227"/>
                  <a:gd name="connsiteX112" fmla="*/ 1635347 w 1776793"/>
                  <a:gd name="connsiteY112" fmla="*/ 370142 h 2197227"/>
                  <a:gd name="connsiteX113" fmla="*/ 1639157 w 1776793"/>
                  <a:gd name="connsiteY113" fmla="*/ 362426 h 2197227"/>
                  <a:gd name="connsiteX114" fmla="*/ 1634300 w 1776793"/>
                  <a:gd name="connsiteY114" fmla="*/ 350711 h 2197227"/>
                  <a:gd name="connsiteX115" fmla="*/ 1622965 w 1776793"/>
                  <a:gd name="connsiteY115" fmla="*/ 346615 h 2197227"/>
                  <a:gd name="connsiteX116" fmla="*/ 1612964 w 1776793"/>
                  <a:gd name="connsiteY116" fmla="*/ 324803 h 2197227"/>
                  <a:gd name="connsiteX117" fmla="*/ 1596676 w 1776793"/>
                  <a:gd name="connsiteY117" fmla="*/ 297371 h 2197227"/>
                  <a:gd name="connsiteX118" fmla="*/ 1587341 w 1776793"/>
                  <a:gd name="connsiteY118" fmla="*/ 287465 h 2197227"/>
                  <a:gd name="connsiteX119" fmla="*/ 1586960 w 1776793"/>
                  <a:gd name="connsiteY119" fmla="*/ 279083 h 2197227"/>
                  <a:gd name="connsiteX120" fmla="*/ 1577531 w 1776793"/>
                  <a:gd name="connsiteY120" fmla="*/ 268224 h 2197227"/>
                  <a:gd name="connsiteX121" fmla="*/ 1565719 w 1776793"/>
                  <a:gd name="connsiteY121" fmla="*/ 245745 h 2197227"/>
                  <a:gd name="connsiteX122" fmla="*/ 1544574 w 1776793"/>
                  <a:gd name="connsiteY122" fmla="*/ 221456 h 2197227"/>
                  <a:gd name="connsiteX123" fmla="*/ 1522095 w 1776793"/>
                  <a:gd name="connsiteY123" fmla="*/ 198692 h 2197227"/>
                  <a:gd name="connsiteX124" fmla="*/ 1501331 w 1776793"/>
                  <a:gd name="connsiteY124" fmla="*/ 186785 h 2197227"/>
                  <a:gd name="connsiteX125" fmla="*/ 1480185 w 1776793"/>
                  <a:gd name="connsiteY125" fmla="*/ 178594 h 2197227"/>
                  <a:gd name="connsiteX126" fmla="*/ 1461611 w 1776793"/>
                  <a:gd name="connsiteY126" fmla="*/ 171260 h 2197227"/>
                  <a:gd name="connsiteX127" fmla="*/ 1454468 w 1776793"/>
                  <a:gd name="connsiteY127" fmla="*/ 161544 h 2197227"/>
                  <a:gd name="connsiteX128" fmla="*/ 1443704 w 1776793"/>
                  <a:gd name="connsiteY128" fmla="*/ 161830 h 2197227"/>
                  <a:gd name="connsiteX129" fmla="*/ 1433703 w 1776793"/>
                  <a:gd name="connsiteY129" fmla="*/ 164211 h 2197227"/>
                  <a:gd name="connsiteX130" fmla="*/ 1437037 w 1776793"/>
                  <a:gd name="connsiteY130" fmla="*/ 176784 h 2197227"/>
                  <a:gd name="connsiteX131" fmla="*/ 1434084 w 1776793"/>
                  <a:gd name="connsiteY131" fmla="*/ 184499 h 2197227"/>
                  <a:gd name="connsiteX132" fmla="*/ 1424273 w 1776793"/>
                  <a:gd name="connsiteY132" fmla="*/ 175070 h 2197227"/>
                  <a:gd name="connsiteX133" fmla="*/ 1416082 w 1776793"/>
                  <a:gd name="connsiteY133" fmla="*/ 179737 h 2197227"/>
                  <a:gd name="connsiteX134" fmla="*/ 1414939 w 1776793"/>
                  <a:gd name="connsiteY134" fmla="*/ 196882 h 2197227"/>
                  <a:gd name="connsiteX135" fmla="*/ 1410938 w 1776793"/>
                  <a:gd name="connsiteY135" fmla="*/ 213836 h 2197227"/>
                  <a:gd name="connsiteX136" fmla="*/ 1403414 w 1776793"/>
                  <a:gd name="connsiteY136" fmla="*/ 227457 h 2197227"/>
                  <a:gd name="connsiteX137" fmla="*/ 1407509 w 1776793"/>
                  <a:gd name="connsiteY137" fmla="*/ 249936 h 2197227"/>
                  <a:gd name="connsiteX138" fmla="*/ 1393889 w 1776793"/>
                  <a:gd name="connsiteY138" fmla="*/ 245840 h 2197227"/>
                  <a:gd name="connsiteX139" fmla="*/ 1378077 w 1776793"/>
                  <a:gd name="connsiteY139" fmla="*/ 232791 h 2197227"/>
                  <a:gd name="connsiteX140" fmla="*/ 1366647 w 1776793"/>
                  <a:gd name="connsiteY140" fmla="*/ 228886 h 2197227"/>
                  <a:gd name="connsiteX141" fmla="*/ 1348645 w 1776793"/>
                  <a:gd name="connsiteY141" fmla="*/ 207550 h 2197227"/>
                  <a:gd name="connsiteX142" fmla="*/ 1343787 w 1776793"/>
                  <a:gd name="connsiteY142" fmla="*/ 214313 h 2197227"/>
                  <a:gd name="connsiteX143" fmla="*/ 1350074 w 1776793"/>
                  <a:gd name="connsiteY143" fmla="*/ 225171 h 2197227"/>
                  <a:gd name="connsiteX144" fmla="*/ 1353979 w 1776793"/>
                  <a:gd name="connsiteY144" fmla="*/ 242792 h 2197227"/>
                  <a:gd name="connsiteX145" fmla="*/ 1374077 w 1776793"/>
                  <a:gd name="connsiteY145" fmla="*/ 256127 h 2197227"/>
                  <a:gd name="connsiteX146" fmla="*/ 1377791 w 1776793"/>
                  <a:gd name="connsiteY146" fmla="*/ 271558 h 2197227"/>
                  <a:gd name="connsiteX147" fmla="*/ 1372267 w 1776793"/>
                  <a:gd name="connsiteY147" fmla="*/ 275368 h 2197227"/>
                  <a:gd name="connsiteX148" fmla="*/ 1377601 w 1776793"/>
                  <a:gd name="connsiteY148" fmla="*/ 290322 h 2197227"/>
                  <a:gd name="connsiteX149" fmla="*/ 1373219 w 1776793"/>
                  <a:gd name="connsiteY149" fmla="*/ 304038 h 2197227"/>
                  <a:gd name="connsiteX150" fmla="*/ 1362361 w 1776793"/>
                  <a:gd name="connsiteY150" fmla="*/ 298799 h 2197227"/>
                  <a:gd name="connsiteX151" fmla="*/ 1352836 w 1776793"/>
                  <a:gd name="connsiteY151" fmla="*/ 282893 h 2197227"/>
                  <a:gd name="connsiteX152" fmla="*/ 1338453 w 1776793"/>
                  <a:gd name="connsiteY152" fmla="*/ 277749 h 2197227"/>
                  <a:gd name="connsiteX153" fmla="*/ 1318451 w 1776793"/>
                  <a:gd name="connsiteY153" fmla="*/ 265081 h 2197227"/>
                  <a:gd name="connsiteX154" fmla="*/ 1305306 w 1776793"/>
                  <a:gd name="connsiteY154" fmla="*/ 254222 h 2197227"/>
                  <a:gd name="connsiteX155" fmla="*/ 1307211 w 1776793"/>
                  <a:gd name="connsiteY155" fmla="*/ 241554 h 2197227"/>
                  <a:gd name="connsiteX156" fmla="*/ 1323975 w 1776793"/>
                  <a:gd name="connsiteY156" fmla="*/ 248602 h 2197227"/>
                  <a:gd name="connsiteX157" fmla="*/ 1327118 w 1776793"/>
                  <a:gd name="connsiteY157" fmla="*/ 242125 h 2197227"/>
                  <a:gd name="connsiteX158" fmla="*/ 1338453 w 1776793"/>
                  <a:gd name="connsiteY158" fmla="*/ 246983 h 2197227"/>
                  <a:gd name="connsiteX159" fmla="*/ 1324166 w 1776793"/>
                  <a:gd name="connsiteY159" fmla="*/ 231839 h 2197227"/>
                  <a:gd name="connsiteX160" fmla="*/ 1310640 w 1776793"/>
                  <a:gd name="connsiteY160" fmla="*/ 224028 h 2197227"/>
                  <a:gd name="connsiteX161" fmla="*/ 1292352 w 1776793"/>
                  <a:gd name="connsiteY161" fmla="*/ 204692 h 2197227"/>
                  <a:gd name="connsiteX162" fmla="*/ 1290828 w 1776793"/>
                  <a:gd name="connsiteY162" fmla="*/ 195072 h 2197227"/>
                  <a:gd name="connsiteX163" fmla="*/ 1285970 w 1776793"/>
                  <a:gd name="connsiteY163" fmla="*/ 185166 h 2197227"/>
                  <a:gd name="connsiteX164" fmla="*/ 1287304 w 1776793"/>
                  <a:gd name="connsiteY164" fmla="*/ 182690 h 2197227"/>
                  <a:gd name="connsiteX165" fmla="*/ 1296829 w 1776793"/>
                  <a:gd name="connsiteY165" fmla="*/ 181832 h 2197227"/>
                  <a:gd name="connsiteX166" fmla="*/ 1298162 w 1776793"/>
                  <a:gd name="connsiteY166" fmla="*/ 178879 h 2197227"/>
                  <a:gd name="connsiteX167" fmla="*/ 1302163 w 1776793"/>
                  <a:gd name="connsiteY167" fmla="*/ 181547 h 2197227"/>
                  <a:gd name="connsiteX168" fmla="*/ 1310640 w 1776793"/>
                  <a:gd name="connsiteY168" fmla="*/ 182023 h 2197227"/>
                  <a:gd name="connsiteX169" fmla="*/ 1309688 w 1776793"/>
                  <a:gd name="connsiteY169" fmla="*/ 176403 h 2197227"/>
                  <a:gd name="connsiteX170" fmla="*/ 1307973 w 1776793"/>
                  <a:gd name="connsiteY170" fmla="*/ 171545 h 2197227"/>
                  <a:gd name="connsiteX171" fmla="*/ 1309878 w 1776793"/>
                  <a:gd name="connsiteY171" fmla="*/ 169354 h 2197227"/>
                  <a:gd name="connsiteX172" fmla="*/ 1305592 w 1776793"/>
                  <a:gd name="connsiteY172" fmla="*/ 165449 h 2197227"/>
                  <a:gd name="connsiteX173" fmla="*/ 1301972 w 1776793"/>
                  <a:gd name="connsiteY173" fmla="*/ 165164 h 2197227"/>
                  <a:gd name="connsiteX174" fmla="*/ 1298829 w 1776793"/>
                  <a:gd name="connsiteY174" fmla="*/ 155924 h 2197227"/>
                  <a:gd name="connsiteX175" fmla="*/ 1301115 w 1776793"/>
                  <a:gd name="connsiteY175" fmla="*/ 137731 h 2197227"/>
                  <a:gd name="connsiteX176" fmla="*/ 1311688 w 1776793"/>
                  <a:gd name="connsiteY176" fmla="*/ 147923 h 2197227"/>
                  <a:gd name="connsiteX177" fmla="*/ 1318641 w 1776793"/>
                  <a:gd name="connsiteY177" fmla="*/ 132017 h 2197227"/>
                  <a:gd name="connsiteX178" fmla="*/ 1329309 w 1776793"/>
                  <a:gd name="connsiteY178" fmla="*/ 128683 h 2197227"/>
                  <a:gd name="connsiteX179" fmla="*/ 1334072 w 1776793"/>
                  <a:gd name="connsiteY179" fmla="*/ 122396 h 2197227"/>
                  <a:gd name="connsiteX180" fmla="*/ 1322260 w 1776793"/>
                  <a:gd name="connsiteY180" fmla="*/ 108680 h 2197227"/>
                  <a:gd name="connsiteX181" fmla="*/ 1307878 w 1776793"/>
                  <a:gd name="connsiteY181" fmla="*/ 99536 h 2197227"/>
                  <a:gd name="connsiteX182" fmla="*/ 1294448 w 1776793"/>
                  <a:gd name="connsiteY182" fmla="*/ 87058 h 2197227"/>
                  <a:gd name="connsiteX183" fmla="*/ 1283684 w 1776793"/>
                  <a:gd name="connsiteY183" fmla="*/ 86201 h 2197227"/>
                  <a:gd name="connsiteX184" fmla="*/ 1271016 w 1776793"/>
                  <a:gd name="connsiteY184" fmla="*/ 96869 h 2197227"/>
                  <a:gd name="connsiteX185" fmla="*/ 1266730 w 1776793"/>
                  <a:gd name="connsiteY185" fmla="*/ 106585 h 2197227"/>
                  <a:gd name="connsiteX186" fmla="*/ 1263301 w 1776793"/>
                  <a:gd name="connsiteY186" fmla="*/ 130588 h 2197227"/>
                  <a:gd name="connsiteX187" fmla="*/ 1264634 w 1776793"/>
                  <a:gd name="connsiteY187" fmla="*/ 143161 h 2197227"/>
                  <a:gd name="connsiteX188" fmla="*/ 1267206 w 1776793"/>
                  <a:gd name="connsiteY188" fmla="*/ 150686 h 2197227"/>
                  <a:gd name="connsiteX189" fmla="*/ 1264539 w 1776793"/>
                  <a:gd name="connsiteY189" fmla="*/ 149923 h 2197227"/>
                  <a:gd name="connsiteX190" fmla="*/ 1258824 w 1776793"/>
                  <a:gd name="connsiteY190" fmla="*/ 153543 h 2197227"/>
                  <a:gd name="connsiteX191" fmla="*/ 1250537 w 1776793"/>
                  <a:gd name="connsiteY191" fmla="*/ 149733 h 2197227"/>
                  <a:gd name="connsiteX192" fmla="*/ 1240822 w 1776793"/>
                  <a:gd name="connsiteY192" fmla="*/ 141637 h 2197227"/>
                  <a:gd name="connsiteX193" fmla="*/ 1232821 w 1776793"/>
                  <a:gd name="connsiteY193" fmla="*/ 139065 h 2197227"/>
                  <a:gd name="connsiteX194" fmla="*/ 1228535 w 1776793"/>
                  <a:gd name="connsiteY194" fmla="*/ 138303 h 2197227"/>
                  <a:gd name="connsiteX195" fmla="*/ 1219772 w 1776793"/>
                  <a:gd name="connsiteY195" fmla="*/ 133160 h 2197227"/>
                  <a:gd name="connsiteX196" fmla="*/ 1211294 w 1776793"/>
                  <a:gd name="connsiteY196" fmla="*/ 141065 h 2197227"/>
                  <a:gd name="connsiteX197" fmla="*/ 1203579 w 1776793"/>
                  <a:gd name="connsiteY197" fmla="*/ 140398 h 2197227"/>
                  <a:gd name="connsiteX198" fmla="*/ 1194245 w 1776793"/>
                  <a:gd name="connsiteY198" fmla="*/ 138017 h 2197227"/>
                  <a:gd name="connsiteX199" fmla="*/ 1190530 w 1776793"/>
                  <a:gd name="connsiteY199" fmla="*/ 132207 h 2197227"/>
                  <a:gd name="connsiteX200" fmla="*/ 1184529 w 1776793"/>
                  <a:gd name="connsiteY200" fmla="*/ 133636 h 2197227"/>
                  <a:gd name="connsiteX201" fmla="*/ 1159574 w 1776793"/>
                  <a:gd name="connsiteY201" fmla="*/ 123825 h 2197227"/>
                  <a:gd name="connsiteX202" fmla="*/ 1157954 w 1776793"/>
                  <a:gd name="connsiteY202" fmla="*/ 110109 h 2197227"/>
                  <a:gd name="connsiteX203" fmla="*/ 1150049 w 1776793"/>
                  <a:gd name="connsiteY203" fmla="*/ 102013 h 2197227"/>
                  <a:gd name="connsiteX204" fmla="*/ 1126522 w 1776793"/>
                  <a:gd name="connsiteY204" fmla="*/ 91821 h 2197227"/>
                  <a:gd name="connsiteX205" fmla="*/ 1111472 w 1776793"/>
                  <a:gd name="connsiteY205" fmla="*/ 90869 h 2197227"/>
                  <a:gd name="connsiteX206" fmla="*/ 1080897 w 1776793"/>
                  <a:gd name="connsiteY206" fmla="*/ 88964 h 2197227"/>
                  <a:gd name="connsiteX207" fmla="*/ 1050131 w 1776793"/>
                  <a:gd name="connsiteY207" fmla="*/ 88392 h 2197227"/>
                  <a:gd name="connsiteX208" fmla="*/ 1037844 w 1776793"/>
                  <a:gd name="connsiteY208" fmla="*/ 93821 h 2197227"/>
                  <a:gd name="connsiteX209" fmla="*/ 1002125 w 1776793"/>
                  <a:gd name="connsiteY209" fmla="*/ 97536 h 2197227"/>
                  <a:gd name="connsiteX210" fmla="*/ 977741 w 1776793"/>
                  <a:gd name="connsiteY210" fmla="*/ 115633 h 2197227"/>
                  <a:gd name="connsiteX211" fmla="*/ 962406 w 1776793"/>
                  <a:gd name="connsiteY211" fmla="*/ 132207 h 2197227"/>
                  <a:gd name="connsiteX212" fmla="*/ 941165 w 1776793"/>
                  <a:gd name="connsiteY212" fmla="*/ 139637 h 2197227"/>
                  <a:gd name="connsiteX213" fmla="*/ 931259 w 1776793"/>
                  <a:gd name="connsiteY213" fmla="*/ 152781 h 2197227"/>
                  <a:gd name="connsiteX214" fmla="*/ 933641 w 1776793"/>
                  <a:gd name="connsiteY214" fmla="*/ 182690 h 2197227"/>
                  <a:gd name="connsiteX215" fmla="*/ 944689 w 1776793"/>
                  <a:gd name="connsiteY215" fmla="*/ 193834 h 2197227"/>
                  <a:gd name="connsiteX216" fmla="*/ 958120 w 1776793"/>
                  <a:gd name="connsiteY216" fmla="*/ 192500 h 2197227"/>
                  <a:gd name="connsiteX217" fmla="*/ 965454 w 1776793"/>
                  <a:gd name="connsiteY217" fmla="*/ 205169 h 2197227"/>
                  <a:gd name="connsiteX218" fmla="*/ 962120 w 1776793"/>
                  <a:gd name="connsiteY218" fmla="*/ 218980 h 2197227"/>
                  <a:gd name="connsiteX219" fmla="*/ 976313 w 1776793"/>
                  <a:gd name="connsiteY219" fmla="*/ 236220 h 2197227"/>
                  <a:gd name="connsiteX220" fmla="*/ 905637 w 1776793"/>
                  <a:gd name="connsiteY220" fmla="*/ 235363 h 2197227"/>
                  <a:gd name="connsiteX221" fmla="*/ 847725 w 1776793"/>
                  <a:gd name="connsiteY221" fmla="*/ 240030 h 2197227"/>
                  <a:gd name="connsiteX222" fmla="*/ 810959 w 1776793"/>
                  <a:gd name="connsiteY222" fmla="*/ 220790 h 2197227"/>
                  <a:gd name="connsiteX223" fmla="*/ 780955 w 1776793"/>
                  <a:gd name="connsiteY223" fmla="*/ 196977 h 2197227"/>
                  <a:gd name="connsiteX224" fmla="*/ 762476 w 1776793"/>
                  <a:gd name="connsiteY224" fmla="*/ 197929 h 2197227"/>
                  <a:gd name="connsiteX225" fmla="*/ 747331 w 1776793"/>
                  <a:gd name="connsiteY225" fmla="*/ 185738 h 2197227"/>
                  <a:gd name="connsiteX226" fmla="*/ 755428 w 1776793"/>
                  <a:gd name="connsiteY226" fmla="*/ 172879 h 2197227"/>
                  <a:gd name="connsiteX227" fmla="*/ 737235 w 1776793"/>
                  <a:gd name="connsiteY227" fmla="*/ 165640 h 2197227"/>
                  <a:gd name="connsiteX228" fmla="*/ 709708 w 1776793"/>
                  <a:gd name="connsiteY228" fmla="*/ 158210 h 2197227"/>
                  <a:gd name="connsiteX229" fmla="*/ 713422 w 1776793"/>
                  <a:gd name="connsiteY229" fmla="*/ 174212 h 2197227"/>
                  <a:gd name="connsiteX230" fmla="*/ 671417 w 1776793"/>
                  <a:gd name="connsiteY230" fmla="*/ 194120 h 2197227"/>
                  <a:gd name="connsiteX231" fmla="*/ 640937 w 1776793"/>
                  <a:gd name="connsiteY231" fmla="*/ 189643 h 2197227"/>
                  <a:gd name="connsiteX232" fmla="*/ 640937 w 1776793"/>
                  <a:gd name="connsiteY232" fmla="*/ 161639 h 2197227"/>
                  <a:gd name="connsiteX233" fmla="*/ 605218 w 1776793"/>
                  <a:gd name="connsiteY233" fmla="*/ 174308 h 2197227"/>
                  <a:gd name="connsiteX234" fmla="*/ 593503 w 1776793"/>
                  <a:gd name="connsiteY234" fmla="*/ 189262 h 2197227"/>
                  <a:gd name="connsiteX235" fmla="*/ 579882 w 1776793"/>
                  <a:gd name="connsiteY235" fmla="*/ 187262 h 2197227"/>
                  <a:gd name="connsiteX236" fmla="*/ 597122 w 1776793"/>
                  <a:gd name="connsiteY236" fmla="*/ 160687 h 2197227"/>
                  <a:gd name="connsiteX237" fmla="*/ 622554 w 1776793"/>
                  <a:gd name="connsiteY237" fmla="*/ 150781 h 2197227"/>
                  <a:gd name="connsiteX238" fmla="*/ 649510 w 1776793"/>
                  <a:gd name="connsiteY238" fmla="*/ 137160 h 2197227"/>
                  <a:gd name="connsiteX239" fmla="*/ 679990 w 1776793"/>
                  <a:gd name="connsiteY239" fmla="*/ 120682 h 2197227"/>
                  <a:gd name="connsiteX240" fmla="*/ 700373 w 1776793"/>
                  <a:gd name="connsiteY240" fmla="*/ 124111 h 2197227"/>
                  <a:gd name="connsiteX241" fmla="*/ 704755 w 1776793"/>
                  <a:gd name="connsiteY241" fmla="*/ 115538 h 2197227"/>
                  <a:gd name="connsiteX242" fmla="*/ 719900 w 1776793"/>
                  <a:gd name="connsiteY242" fmla="*/ 108871 h 2197227"/>
                  <a:gd name="connsiteX243" fmla="*/ 737426 w 1776793"/>
                  <a:gd name="connsiteY243" fmla="*/ 86011 h 2197227"/>
                  <a:gd name="connsiteX244" fmla="*/ 748284 w 1776793"/>
                  <a:gd name="connsiteY244" fmla="*/ 42672 h 2197227"/>
                  <a:gd name="connsiteX245" fmla="*/ 753809 w 1776793"/>
                  <a:gd name="connsiteY245" fmla="*/ 14288 h 2197227"/>
                  <a:gd name="connsiteX246" fmla="*/ 753809 w 1776793"/>
                  <a:gd name="connsiteY246" fmla="*/ 0 h 2197227"/>
                  <a:gd name="connsiteX247" fmla="*/ 726853 w 1776793"/>
                  <a:gd name="connsiteY247" fmla="*/ 8001 h 2197227"/>
                  <a:gd name="connsiteX248" fmla="*/ 715518 w 1776793"/>
                  <a:gd name="connsiteY248" fmla="*/ 24575 h 2197227"/>
                  <a:gd name="connsiteX249" fmla="*/ 693420 w 1776793"/>
                  <a:gd name="connsiteY249" fmla="*/ 21336 h 2197227"/>
                  <a:gd name="connsiteX250" fmla="*/ 681133 w 1776793"/>
                  <a:gd name="connsiteY250" fmla="*/ 40767 h 2197227"/>
                  <a:gd name="connsiteX251" fmla="*/ 654463 w 1776793"/>
                  <a:gd name="connsiteY251" fmla="*/ 42481 h 2197227"/>
                  <a:gd name="connsiteX252" fmla="*/ 657320 w 1776793"/>
                  <a:gd name="connsiteY252" fmla="*/ 52483 h 2197227"/>
                  <a:gd name="connsiteX253" fmla="*/ 646557 w 1776793"/>
                  <a:gd name="connsiteY253" fmla="*/ 66675 h 2197227"/>
                  <a:gd name="connsiteX254" fmla="*/ 634270 w 1776793"/>
                  <a:gd name="connsiteY254" fmla="*/ 63627 h 2197227"/>
                  <a:gd name="connsiteX255" fmla="*/ 623983 w 1776793"/>
                  <a:gd name="connsiteY255" fmla="*/ 91535 h 2197227"/>
                  <a:gd name="connsiteX256" fmla="*/ 636746 w 1776793"/>
                  <a:gd name="connsiteY256" fmla="*/ 100394 h 2197227"/>
                  <a:gd name="connsiteX257" fmla="*/ 634651 w 1776793"/>
                  <a:gd name="connsiteY257" fmla="*/ 108490 h 2197227"/>
                  <a:gd name="connsiteX258" fmla="*/ 614172 w 1776793"/>
                  <a:gd name="connsiteY258" fmla="*/ 123158 h 2197227"/>
                  <a:gd name="connsiteX259" fmla="*/ 606362 w 1776793"/>
                  <a:gd name="connsiteY259" fmla="*/ 135255 h 2197227"/>
                  <a:gd name="connsiteX260" fmla="*/ 591407 w 1776793"/>
                  <a:gd name="connsiteY260" fmla="*/ 128016 h 2197227"/>
                  <a:gd name="connsiteX261" fmla="*/ 577787 w 1776793"/>
                  <a:gd name="connsiteY261" fmla="*/ 133826 h 2197227"/>
                  <a:gd name="connsiteX262" fmla="*/ 574262 w 1776793"/>
                  <a:gd name="connsiteY262" fmla="*/ 124873 h 2197227"/>
                  <a:gd name="connsiteX263" fmla="*/ 539877 w 1776793"/>
                  <a:gd name="connsiteY263" fmla="*/ 134302 h 2197227"/>
                  <a:gd name="connsiteX264" fmla="*/ 525494 w 1776793"/>
                  <a:gd name="connsiteY264" fmla="*/ 116777 h 2197227"/>
                  <a:gd name="connsiteX265" fmla="*/ 519493 w 1776793"/>
                  <a:gd name="connsiteY265" fmla="*/ 125540 h 2197227"/>
                  <a:gd name="connsiteX266" fmla="*/ 500443 w 1776793"/>
                  <a:gd name="connsiteY266" fmla="*/ 135827 h 2197227"/>
                  <a:gd name="connsiteX267" fmla="*/ 480822 w 1776793"/>
                  <a:gd name="connsiteY267" fmla="*/ 148495 h 2197227"/>
                  <a:gd name="connsiteX268" fmla="*/ 470345 w 1776793"/>
                  <a:gd name="connsiteY268" fmla="*/ 149923 h 2197227"/>
                  <a:gd name="connsiteX269" fmla="*/ 437483 w 1776793"/>
                  <a:gd name="connsiteY269" fmla="*/ 163830 h 2197227"/>
                  <a:gd name="connsiteX270" fmla="*/ 416624 w 1776793"/>
                  <a:gd name="connsiteY270" fmla="*/ 158496 h 2197227"/>
                  <a:gd name="connsiteX271" fmla="*/ 413671 w 1776793"/>
                  <a:gd name="connsiteY271" fmla="*/ 164211 h 2197227"/>
                  <a:gd name="connsiteX272" fmla="*/ 414909 w 1776793"/>
                  <a:gd name="connsiteY272" fmla="*/ 173165 h 2197227"/>
                  <a:gd name="connsiteX273" fmla="*/ 419957 w 1776793"/>
                  <a:gd name="connsiteY273" fmla="*/ 179070 h 2197227"/>
                  <a:gd name="connsiteX274" fmla="*/ 425958 w 1776793"/>
                  <a:gd name="connsiteY274" fmla="*/ 197168 h 2197227"/>
                  <a:gd name="connsiteX275" fmla="*/ 435007 w 1776793"/>
                  <a:gd name="connsiteY275" fmla="*/ 209169 h 2197227"/>
                  <a:gd name="connsiteX276" fmla="*/ 421481 w 1776793"/>
                  <a:gd name="connsiteY276" fmla="*/ 207073 h 2197227"/>
                  <a:gd name="connsiteX277" fmla="*/ 408051 w 1776793"/>
                  <a:gd name="connsiteY277" fmla="*/ 216598 h 2197227"/>
                  <a:gd name="connsiteX278" fmla="*/ 408051 w 1776793"/>
                  <a:gd name="connsiteY278" fmla="*/ 216598 h 2197227"/>
                  <a:gd name="connsiteX279" fmla="*/ 402336 w 1776793"/>
                  <a:gd name="connsiteY279" fmla="*/ 226123 h 2197227"/>
                  <a:gd name="connsiteX280" fmla="*/ 406908 w 1776793"/>
                  <a:gd name="connsiteY280" fmla="*/ 236506 h 2197227"/>
                  <a:gd name="connsiteX281" fmla="*/ 395097 w 1776793"/>
                  <a:gd name="connsiteY281" fmla="*/ 241935 h 2197227"/>
                  <a:gd name="connsiteX282" fmla="*/ 397097 w 1776793"/>
                  <a:gd name="connsiteY282" fmla="*/ 233648 h 2197227"/>
                  <a:gd name="connsiteX283" fmla="*/ 391477 w 1776793"/>
                  <a:gd name="connsiteY283" fmla="*/ 226028 h 2197227"/>
                  <a:gd name="connsiteX284" fmla="*/ 380047 w 1776793"/>
                  <a:gd name="connsiteY284" fmla="*/ 229362 h 2197227"/>
                  <a:gd name="connsiteX285" fmla="*/ 369570 w 1776793"/>
                  <a:gd name="connsiteY285" fmla="*/ 226314 h 2197227"/>
                  <a:gd name="connsiteX286" fmla="*/ 366617 w 1776793"/>
                  <a:gd name="connsiteY286" fmla="*/ 216884 h 2197227"/>
                  <a:gd name="connsiteX287" fmla="*/ 352330 w 1776793"/>
                  <a:gd name="connsiteY287" fmla="*/ 211646 h 2197227"/>
                  <a:gd name="connsiteX288" fmla="*/ 343567 w 1776793"/>
                  <a:gd name="connsiteY288" fmla="*/ 204788 h 2197227"/>
                  <a:gd name="connsiteX289" fmla="*/ 333661 w 1776793"/>
                  <a:gd name="connsiteY289" fmla="*/ 205264 h 2197227"/>
                  <a:gd name="connsiteX290" fmla="*/ 330041 w 1776793"/>
                  <a:gd name="connsiteY290" fmla="*/ 210312 h 2197227"/>
                  <a:gd name="connsiteX291" fmla="*/ 332613 w 1776793"/>
                  <a:gd name="connsiteY291" fmla="*/ 231743 h 2197227"/>
                  <a:gd name="connsiteX292" fmla="*/ 316516 w 1776793"/>
                  <a:gd name="connsiteY292" fmla="*/ 236411 h 2197227"/>
                  <a:gd name="connsiteX293" fmla="*/ 308324 w 1776793"/>
                  <a:gd name="connsiteY293" fmla="*/ 247650 h 2197227"/>
                  <a:gd name="connsiteX294" fmla="*/ 330422 w 1776793"/>
                  <a:gd name="connsiteY294" fmla="*/ 265271 h 2197227"/>
                  <a:gd name="connsiteX295" fmla="*/ 356521 w 1776793"/>
                  <a:gd name="connsiteY295" fmla="*/ 265557 h 2197227"/>
                  <a:gd name="connsiteX296" fmla="*/ 352711 w 1776793"/>
                  <a:gd name="connsiteY296" fmla="*/ 249555 h 2197227"/>
                  <a:gd name="connsiteX297" fmla="*/ 359759 w 1776793"/>
                  <a:gd name="connsiteY297" fmla="*/ 254508 h 2197227"/>
                  <a:gd name="connsiteX298" fmla="*/ 360140 w 1776793"/>
                  <a:gd name="connsiteY298" fmla="*/ 268415 h 2197227"/>
                  <a:gd name="connsiteX299" fmla="*/ 385763 w 1776793"/>
                  <a:gd name="connsiteY299" fmla="*/ 289179 h 2197227"/>
                  <a:gd name="connsiteX300" fmla="*/ 407956 w 1776793"/>
                  <a:gd name="connsiteY300" fmla="*/ 306038 h 2197227"/>
                  <a:gd name="connsiteX301" fmla="*/ 419957 w 1776793"/>
                  <a:gd name="connsiteY301" fmla="*/ 316135 h 2197227"/>
                  <a:gd name="connsiteX302" fmla="*/ 443770 w 1776793"/>
                  <a:gd name="connsiteY302" fmla="*/ 328232 h 2197227"/>
                  <a:gd name="connsiteX303" fmla="*/ 461296 w 1776793"/>
                  <a:gd name="connsiteY303" fmla="*/ 328517 h 2197227"/>
                  <a:gd name="connsiteX304" fmla="*/ 486823 w 1776793"/>
                  <a:gd name="connsiteY304" fmla="*/ 338519 h 2197227"/>
                  <a:gd name="connsiteX305" fmla="*/ 492252 w 1776793"/>
                  <a:gd name="connsiteY305" fmla="*/ 329089 h 2197227"/>
                  <a:gd name="connsiteX306" fmla="*/ 487871 w 1776793"/>
                  <a:gd name="connsiteY306" fmla="*/ 313563 h 2197227"/>
                  <a:gd name="connsiteX307" fmla="*/ 499872 w 1776793"/>
                  <a:gd name="connsiteY307" fmla="*/ 308229 h 2197227"/>
                  <a:gd name="connsiteX308" fmla="*/ 510730 w 1776793"/>
                  <a:gd name="connsiteY308" fmla="*/ 330994 h 2197227"/>
                  <a:gd name="connsiteX309" fmla="*/ 527018 w 1776793"/>
                  <a:gd name="connsiteY309" fmla="*/ 332232 h 2197227"/>
                  <a:gd name="connsiteX310" fmla="*/ 541401 w 1776793"/>
                  <a:gd name="connsiteY310" fmla="*/ 340709 h 2197227"/>
                  <a:gd name="connsiteX311" fmla="*/ 555974 w 1776793"/>
                  <a:gd name="connsiteY311" fmla="*/ 344519 h 2197227"/>
                  <a:gd name="connsiteX312" fmla="*/ 568262 w 1776793"/>
                  <a:gd name="connsiteY312" fmla="*/ 343662 h 2197227"/>
                  <a:gd name="connsiteX313" fmla="*/ 575977 w 1776793"/>
                  <a:gd name="connsiteY313" fmla="*/ 353282 h 2197227"/>
                  <a:gd name="connsiteX314" fmla="*/ 569214 w 1776793"/>
                  <a:gd name="connsiteY314" fmla="*/ 368618 h 2197227"/>
                  <a:gd name="connsiteX315" fmla="*/ 572167 w 1776793"/>
                  <a:gd name="connsiteY315" fmla="*/ 379857 h 2197227"/>
                  <a:gd name="connsiteX316" fmla="*/ 585406 w 1776793"/>
                  <a:gd name="connsiteY316" fmla="*/ 389287 h 2197227"/>
                  <a:gd name="connsiteX317" fmla="*/ 616363 w 1776793"/>
                  <a:gd name="connsiteY317" fmla="*/ 398907 h 2197227"/>
                  <a:gd name="connsiteX318" fmla="*/ 626078 w 1776793"/>
                  <a:gd name="connsiteY318" fmla="*/ 424148 h 2197227"/>
                  <a:gd name="connsiteX319" fmla="*/ 624745 w 1776793"/>
                  <a:gd name="connsiteY319" fmla="*/ 439293 h 2197227"/>
                  <a:gd name="connsiteX320" fmla="*/ 670179 w 1776793"/>
                  <a:gd name="connsiteY320" fmla="*/ 489490 h 2197227"/>
                  <a:gd name="connsiteX321" fmla="*/ 683990 w 1776793"/>
                  <a:gd name="connsiteY321" fmla="*/ 487966 h 2197227"/>
                  <a:gd name="connsiteX322" fmla="*/ 693801 w 1776793"/>
                  <a:gd name="connsiteY322" fmla="*/ 468059 h 2197227"/>
                  <a:gd name="connsiteX323" fmla="*/ 701230 w 1776793"/>
                  <a:gd name="connsiteY323" fmla="*/ 478727 h 2197227"/>
                  <a:gd name="connsiteX324" fmla="*/ 709803 w 1776793"/>
                  <a:gd name="connsiteY324" fmla="*/ 477774 h 2197227"/>
                  <a:gd name="connsiteX325" fmla="*/ 715804 w 1776793"/>
                  <a:gd name="connsiteY325" fmla="*/ 493205 h 2197227"/>
                  <a:gd name="connsiteX326" fmla="*/ 729520 w 1776793"/>
                  <a:gd name="connsiteY326" fmla="*/ 498158 h 2197227"/>
                  <a:gd name="connsiteX327" fmla="*/ 730377 w 1776793"/>
                  <a:gd name="connsiteY327" fmla="*/ 514255 h 2197227"/>
                  <a:gd name="connsiteX328" fmla="*/ 753427 w 1776793"/>
                  <a:gd name="connsiteY328" fmla="*/ 503777 h 2197227"/>
                  <a:gd name="connsiteX329" fmla="*/ 754380 w 1776793"/>
                  <a:gd name="connsiteY329" fmla="*/ 519303 h 2197227"/>
                  <a:gd name="connsiteX330" fmla="*/ 746379 w 1776793"/>
                  <a:gd name="connsiteY330" fmla="*/ 538258 h 2197227"/>
                  <a:gd name="connsiteX331" fmla="*/ 736092 w 1776793"/>
                  <a:gd name="connsiteY331" fmla="*/ 540925 h 2197227"/>
                  <a:gd name="connsiteX332" fmla="*/ 726567 w 1776793"/>
                  <a:gd name="connsiteY332" fmla="*/ 552831 h 2197227"/>
                  <a:gd name="connsiteX333" fmla="*/ 723805 w 1776793"/>
                  <a:gd name="connsiteY333" fmla="*/ 569309 h 2197227"/>
                  <a:gd name="connsiteX334" fmla="*/ 730377 w 1776793"/>
                  <a:gd name="connsiteY334" fmla="*/ 578072 h 2197227"/>
                  <a:gd name="connsiteX335" fmla="*/ 735235 w 1776793"/>
                  <a:gd name="connsiteY335" fmla="*/ 592360 h 2197227"/>
                  <a:gd name="connsiteX336" fmla="*/ 750380 w 1776793"/>
                  <a:gd name="connsiteY336" fmla="*/ 582930 h 2197227"/>
                  <a:gd name="connsiteX337" fmla="*/ 762762 w 1776793"/>
                  <a:gd name="connsiteY337" fmla="*/ 610172 h 2197227"/>
                  <a:gd name="connsiteX338" fmla="*/ 753999 w 1776793"/>
                  <a:gd name="connsiteY338" fmla="*/ 616934 h 2197227"/>
                  <a:gd name="connsiteX339" fmla="*/ 760571 w 1776793"/>
                  <a:gd name="connsiteY339" fmla="*/ 638270 h 2197227"/>
                  <a:gd name="connsiteX340" fmla="*/ 768477 w 1776793"/>
                  <a:gd name="connsiteY340" fmla="*/ 646652 h 2197227"/>
                  <a:gd name="connsiteX341" fmla="*/ 775240 w 1776793"/>
                  <a:gd name="connsiteY341" fmla="*/ 647033 h 2197227"/>
                  <a:gd name="connsiteX342" fmla="*/ 762857 w 1776793"/>
                  <a:gd name="connsiteY342" fmla="*/ 656177 h 2197227"/>
                  <a:gd name="connsiteX343" fmla="*/ 769239 w 1776793"/>
                  <a:gd name="connsiteY343" fmla="*/ 660082 h 2197227"/>
                  <a:gd name="connsiteX344" fmla="*/ 767334 w 1776793"/>
                  <a:gd name="connsiteY344" fmla="*/ 671513 h 2197227"/>
                  <a:gd name="connsiteX345" fmla="*/ 767048 w 1776793"/>
                  <a:gd name="connsiteY345" fmla="*/ 680371 h 2197227"/>
                  <a:gd name="connsiteX346" fmla="*/ 758857 w 1776793"/>
                  <a:gd name="connsiteY346" fmla="*/ 678085 h 2197227"/>
                  <a:gd name="connsiteX347" fmla="*/ 740569 w 1776793"/>
                  <a:gd name="connsiteY347" fmla="*/ 667226 h 2197227"/>
                  <a:gd name="connsiteX348" fmla="*/ 731425 w 1776793"/>
                  <a:gd name="connsiteY348" fmla="*/ 663702 h 2197227"/>
                  <a:gd name="connsiteX349" fmla="*/ 719614 w 1776793"/>
                  <a:gd name="connsiteY349" fmla="*/ 667322 h 2197227"/>
                  <a:gd name="connsiteX350" fmla="*/ 713422 w 1776793"/>
                  <a:gd name="connsiteY350" fmla="*/ 675227 h 2197227"/>
                  <a:gd name="connsiteX351" fmla="*/ 707612 w 1776793"/>
                  <a:gd name="connsiteY351" fmla="*/ 691515 h 2197227"/>
                  <a:gd name="connsiteX352" fmla="*/ 712756 w 1776793"/>
                  <a:gd name="connsiteY352" fmla="*/ 707041 h 2197227"/>
                  <a:gd name="connsiteX353" fmla="*/ 719804 w 1776793"/>
                  <a:gd name="connsiteY353" fmla="*/ 710184 h 2197227"/>
                  <a:gd name="connsiteX354" fmla="*/ 709041 w 1776793"/>
                  <a:gd name="connsiteY354" fmla="*/ 715042 h 2197227"/>
                  <a:gd name="connsiteX355" fmla="*/ 709041 w 1776793"/>
                  <a:gd name="connsiteY355" fmla="*/ 727901 h 2197227"/>
                  <a:gd name="connsiteX356" fmla="*/ 701326 w 1776793"/>
                  <a:gd name="connsiteY356" fmla="*/ 722376 h 2197227"/>
                  <a:gd name="connsiteX357" fmla="*/ 696277 w 1776793"/>
                  <a:gd name="connsiteY357" fmla="*/ 733139 h 2197227"/>
                  <a:gd name="connsiteX358" fmla="*/ 708660 w 1776793"/>
                  <a:gd name="connsiteY358" fmla="*/ 743045 h 2197227"/>
                  <a:gd name="connsiteX359" fmla="*/ 719614 w 1776793"/>
                  <a:gd name="connsiteY359" fmla="*/ 746093 h 2197227"/>
                  <a:gd name="connsiteX360" fmla="*/ 729996 w 1776793"/>
                  <a:gd name="connsiteY360" fmla="*/ 745712 h 2197227"/>
                  <a:gd name="connsiteX361" fmla="*/ 731425 w 1776793"/>
                  <a:gd name="connsiteY361" fmla="*/ 756095 h 2197227"/>
                  <a:gd name="connsiteX362" fmla="*/ 745617 w 1776793"/>
                  <a:gd name="connsiteY362" fmla="*/ 767334 h 2197227"/>
                  <a:gd name="connsiteX363" fmla="*/ 740855 w 1776793"/>
                  <a:gd name="connsiteY363" fmla="*/ 772668 h 2197227"/>
                  <a:gd name="connsiteX364" fmla="*/ 744284 w 1776793"/>
                  <a:gd name="connsiteY364" fmla="*/ 787813 h 2197227"/>
                  <a:gd name="connsiteX365" fmla="*/ 750856 w 1776793"/>
                  <a:gd name="connsiteY365" fmla="*/ 789432 h 2197227"/>
                  <a:gd name="connsiteX366" fmla="*/ 754475 w 1776793"/>
                  <a:gd name="connsiteY366" fmla="*/ 805244 h 2197227"/>
                  <a:gd name="connsiteX367" fmla="*/ 766001 w 1776793"/>
                  <a:gd name="connsiteY367" fmla="*/ 817340 h 2197227"/>
                  <a:gd name="connsiteX368" fmla="*/ 766381 w 1776793"/>
                  <a:gd name="connsiteY368" fmla="*/ 824579 h 2197227"/>
                  <a:gd name="connsiteX369" fmla="*/ 781336 w 1776793"/>
                  <a:gd name="connsiteY369" fmla="*/ 832866 h 2197227"/>
                  <a:gd name="connsiteX370" fmla="*/ 793909 w 1776793"/>
                  <a:gd name="connsiteY370" fmla="*/ 828199 h 2197227"/>
                  <a:gd name="connsiteX371" fmla="*/ 795909 w 1776793"/>
                  <a:gd name="connsiteY371" fmla="*/ 843058 h 2197227"/>
                  <a:gd name="connsiteX372" fmla="*/ 793051 w 1776793"/>
                  <a:gd name="connsiteY372" fmla="*/ 859155 h 2197227"/>
                  <a:gd name="connsiteX373" fmla="*/ 795909 w 1776793"/>
                  <a:gd name="connsiteY373" fmla="*/ 871538 h 2197227"/>
                  <a:gd name="connsiteX374" fmla="*/ 820579 w 1776793"/>
                  <a:gd name="connsiteY374" fmla="*/ 874871 h 2197227"/>
                  <a:gd name="connsiteX375" fmla="*/ 840676 w 1776793"/>
                  <a:gd name="connsiteY375" fmla="*/ 871347 h 2197227"/>
                  <a:gd name="connsiteX376" fmla="*/ 825341 w 1776793"/>
                  <a:gd name="connsiteY376" fmla="*/ 882872 h 2197227"/>
                  <a:gd name="connsiteX377" fmla="*/ 823531 w 1776793"/>
                  <a:gd name="connsiteY377" fmla="*/ 898207 h 2197227"/>
                  <a:gd name="connsiteX378" fmla="*/ 829532 w 1776793"/>
                  <a:gd name="connsiteY378" fmla="*/ 912495 h 2197227"/>
                  <a:gd name="connsiteX379" fmla="*/ 846582 w 1776793"/>
                  <a:gd name="connsiteY379" fmla="*/ 913067 h 2197227"/>
                  <a:gd name="connsiteX380" fmla="*/ 840486 w 1776793"/>
                  <a:gd name="connsiteY380" fmla="*/ 920210 h 2197227"/>
                  <a:gd name="connsiteX381" fmla="*/ 819626 w 1776793"/>
                  <a:gd name="connsiteY381" fmla="*/ 911733 h 2197227"/>
                  <a:gd name="connsiteX382" fmla="*/ 806196 w 1776793"/>
                  <a:gd name="connsiteY382" fmla="*/ 912209 h 2197227"/>
                  <a:gd name="connsiteX383" fmla="*/ 805815 w 1776793"/>
                  <a:gd name="connsiteY383" fmla="*/ 915829 h 2197227"/>
                  <a:gd name="connsiteX384" fmla="*/ 822198 w 1776793"/>
                  <a:gd name="connsiteY384" fmla="*/ 918496 h 2197227"/>
                  <a:gd name="connsiteX385" fmla="*/ 833438 w 1776793"/>
                  <a:gd name="connsiteY385" fmla="*/ 935927 h 2197227"/>
                  <a:gd name="connsiteX386" fmla="*/ 854393 w 1776793"/>
                  <a:gd name="connsiteY386" fmla="*/ 931355 h 2197227"/>
                  <a:gd name="connsiteX387" fmla="*/ 874681 w 1776793"/>
                  <a:gd name="connsiteY387" fmla="*/ 944023 h 2197227"/>
                  <a:gd name="connsiteX388" fmla="*/ 887444 w 1776793"/>
                  <a:gd name="connsiteY388" fmla="*/ 945642 h 2197227"/>
                  <a:gd name="connsiteX389" fmla="*/ 891826 w 1776793"/>
                  <a:gd name="connsiteY389" fmla="*/ 936974 h 2197227"/>
                  <a:gd name="connsiteX390" fmla="*/ 905161 w 1776793"/>
                  <a:gd name="connsiteY390" fmla="*/ 944880 h 2197227"/>
                  <a:gd name="connsiteX391" fmla="*/ 918972 w 1776793"/>
                  <a:gd name="connsiteY391" fmla="*/ 943165 h 2197227"/>
                  <a:gd name="connsiteX392" fmla="*/ 927163 w 1776793"/>
                  <a:gd name="connsiteY392" fmla="*/ 953834 h 2197227"/>
                  <a:gd name="connsiteX393" fmla="*/ 937165 w 1776793"/>
                  <a:gd name="connsiteY393" fmla="*/ 959358 h 2197227"/>
                  <a:gd name="connsiteX394" fmla="*/ 939641 w 1776793"/>
                  <a:gd name="connsiteY394" fmla="*/ 971169 h 2197227"/>
                  <a:gd name="connsiteX395" fmla="*/ 946118 w 1776793"/>
                  <a:gd name="connsiteY395" fmla="*/ 977265 h 2197227"/>
                  <a:gd name="connsiteX396" fmla="*/ 939451 w 1776793"/>
                  <a:gd name="connsiteY396" fmla="*/ 986885 h 2197227"/>
                  <a:gd name="connsiteX397" fmla="*/ 914781 w 1776793"/>
                  <a:gd name="connsiteY397" fmla="*/ 959453 h 2197227"/>
                  <a:gd name="connsiteX398" fmla="*/ 901446 w 1776793"/>
                  <a:gd name="connsiteY398" fmla="*/ 951452 h 2197227"/>
                  <a:gd name="connsiteX399" fmla="*/ 885254 w 1776793"/>
                  <a:gd name="connsiteY399" fmla="*/ 956786 h 2197227"/>
                  <a:gd name="connsiteX400" fmla="*/ 855917 w 1776793"/>
                  <a:gd name="connsiteY400" fmla="*/ 945642 h 2197227"/>
                  <a:gd name="connsiteX401" fmla="*/ 839819 w 1776793"/>
                  <a:gd name="connsiteY401" fmla="*/ 943261 h 2197227"/>
                  <a:gd name="connsiteX402" fmla="*/ 831342 w 1776793"/>
                  <a:gd name="connsiteY402" fmla="*/ 945642 h 2197227"/>
                  <a:gd name="connsiteX403" fmla="*/ 815626 w 1776793"/>
                  <a:gd name="connsiteY403" fmla="*/ 933069 h 2197227"/>
                  <a:gd name="connsiteX404" fmla="*/ 802862 w 1776793"/>
                  <a:gd name="connsiteY404" fmla="*/ 930688 h 2197227"/>
                  <a:gd name="connsiteX405" fmla="*/ 790956 w 1776793"/>
                  <a:gd name="connsiteY405" fmla="*/ 946690 h 2197227"/>
                  <a:gd name="connsiteX406" fmla="*/ 793433 w 1776793"/>
                  <a:gd name="connsiteY406" fmla="*/ 953262 h 2197227"/>
                  <a:gd name="connsiteX407" fmla="*/ 811339 w 1776793"/>
                  <a:gd name="connsiteY407" fmla="*/ 965359 h 2197227"/>
                  <a:gd name="connsiteX408" fmla="*/ 825246 w 1776793"/>
                  <a:gd name="connsiteY408" fmla="*/ 986504 h 2197227"/>
                  <a:gd name="connsiteX409" fmla="*/ 832104 w 1776793"/>
                  <a:gd name="connsiteY409" fmla="*/ 989171 h 2197227"/>
                  <a:gd name="connsiteX410" fmla="*/ 850297 w 1776793"/>
                  <a:gd name="connsiteY410" fmla="*/ 992124 h 2197227"/>
                  <a:gd name="connsiteX411" fmla="*/ 859155 w 1776793"/>
                  <a:gd name="connsiteY411" fmla="*/ 998887 h 2197227"/>
                  <a:gd name="connsiteX412" fmla="*/ 865156 w 1776793"/>
                  <a:gd name="connsiteY412" fmla="*/ 990219 h 2197227"/>
                  <a:gd name="connsiteX413" fmla="*/ 869728 w 1776793"/>
                  <a:gd name="connsiteY413" fmla="*/ 991743 h 2197227"/>
                  <a:gd name="connsiteX414" fmla="*/ 884206 w 1776793"/>
                  <a:gd name="connsiteY414" fmla="*/ 987838 h 2197227"/>
                  <a:gd name="connsiteX415" fmla="*/ 893064 w 1776793"/>
                  <a:gd name="connsiteY415" fmla="*/ 997744 h 2197227"/>
                  <a:gd name="connsiteX416" fmla="*/ 856583 w 1776793"/>
                  <a:gd name="connsiteY416" fmla="*/ 1016984 h 2197227"/>
                  <a:gd name="connsiteX417" fmla="*/ 844963 w 1776793"/>
                  <a:gd name="connsiteY417" fmla="*/ 1024604 h 2197227"/>
                  <a:gd name="connsiteX418" fmla="*/ 827151 w 1776793"/>
                  <a:gd name="connsiteY418" fmla="*/ 1043464 h 2197227"/>
                  <a:gd name="connsiteX419" fmla="*/ 831533 w 1776793"/>
                  <a:gd name="connsiteY419" fmla="*/ 1050989 h 2197227"/>
                  <a:gd name="connsiteX420" fmla="*/ 847439 w 1776793"/>
                  <a:gd name="connsiteY420" fmla="*/ 1049560 h 2197227"/>
                  <a:gd name="connsiteX421" fmla="*/ 855535 w 1776793"/>
                  <a:gd name="connsiteY421" fmla="*/ 1065752 h 2197227"/>
                  <a:gd name="connsiteX422" fmla="*/ 838581 w 1776793"/>
                  <a:gd name="connsiteY422" fmla="*/ 1067562 h 2197227"/>
                  <a:gd name="connsiteX423" fmla="*/ 839629 w 1776793"/>
                  <a:gd name="connsiteY423" fmla="*/ 1083755 h 2197227"/>
                  <a:gd name="connsiteX424" fmla="*/ 830866 w 1776793"/>
                  <a:gd name="connsiteY424" fmla="*/ 1098042 h 2197227"/>
                  <a:gd name="connsiteX425" fmla="*/ 833533 w 1776793"/>
                  <a:gd name="connsiteY425" fmla="*/ 1107758 h 2197227"/>
                  <a:gd name="connsiteX426" fmla="*/ 825055 w 1776793"/>
                  <a:gd name="connsiteY426" fmla="*/ 1115473 h 2197227"/>
                  <a:gd name="connsiteX427" fmla="*/ 819150 w 1776793"/>
                  <a:gd name="connsiteY427" fmla="*/ 1100233 h 2197227"/>
                  <a:gd name="connsiteX428" fmla="*/ 814388 w 1776793"/>
                  <a:gd name="connsiteY428" fmla="*/ 1104995 h 2197227"/>
                  <a:gd name="connsiteX429" fmla="*/ 810482 w 1776793"/>
                  <a:gd name="connsiteY429" fmla="*/ 1141571 h 2197227"/>
                  <a:gd name="connsiteX430" fmla="*/ 806005 w 1776793"/>
                  <a:gd name="connsiteY430" fmla="*/ 1163193 h 2197227"/>
                  <a:gd name="connsiteX431" fmla="*/ 815150 w 1776793"/>
                  <a:gd name="connsiteY431" fmla="*/ 1174528 h 2197227"/>
                  <a:gd name="connsiteX432" fmla="*/ 808577 w 1776793"/>
                  <a:gd name="connsiteY432" fmla="*/ 1188720 h 2197227"/>
                  <a:gd name="connsiteX433" fmla="*/ 797814 w 1776793"/>
                  <a:gd name="connsiteY433" fmla="*/ 1188720 h 2197227"/>
                  <a:gd name="connsiteX434" fmla="*/ 788860 w 1776793"/>
                  <a:gd name="connsiteY434" fmla="*/ 1180052 h 2197227"/>
                  <a:gd name="connsiteX435" fmla="*/ 794956 w 1776793"/>
                  <a:gd name="connsiteY435" fmla="*/ 1169670 h 2197227"/>
                  <a:gd name="connsiteX436" fmla="*/ 782193 w 1776793"/>
                  <a:gd name="connsiteY436" fmla="*/ 1164717 h 2197227"/>
                  <a:gd name="connsiteX437" fmla="*/ 759333 w 1776793"/>
                  <a:gd name="connsiteY437" fmla="*/ 1177290 h 2197227"/>
                  <a:gd name="connsiteX438" fmla="*/ 773811 w 1776793"/>
                  <a:gd name="connsiteY438" fmla="*/ 1182815 h 2197227"/>
                  <a:gd name="connsiteX439" fmla="*/ 779907 w 1776793"/>
                  <a:gd name="connsiteY439" fmla="*/ 1195673 h 2197227"/>
                  <a:gd name="connsiteX440" fmla="*/ 794956 w 1776793"/>
                  <a:gd name="connsiteY440" fmla="*/ 1199769 h 2197227"/>
                  <a:gd name="connsiteX441" fmla="*/ 801624 w 1776793"/>
                  <a:gd name="connsiteY441" fmla="*/ 1214723 h 2197227"/>
                  <a:gd name="connsiteX442" fmla="*/ 789622 w 1776793"/>
                  <a:gd name="connsiteY442" fmla="*/ 1215390 h 2197227"/>
                  <a:gd name="connsiteX443" fmla="*/ 782098 w 1776793"/>
                  <a:gd name="connsiteY443" fmla="*/ 1220534 h 2197227"/>
                  <a:gd name="connsiteX444" fmla="*/ 778955 w 1776793"/>
                  <a:gd name="connsiteY444" fmla="*/ 1252157 h 2197227"/>
                  <a:gd name="connsiteX445" fmla="*/ 794671 w 1776793"/>
                  <a:gd name="connsiteY445" fmla="*/ 1260062 h 2197227"/>
                  <a:gd name="connsiteX446" fmla="*/ 791432 w 1776793"/>
                  <a:gd name="connsiteY446" fmla="*/ 1269778 h 2197227"/>
                  <a:gd name="connsiteX447" fmla="*/ 763238 w 1776793"/>
                  <a:gd name="connsiteY447" fmla="*/ 1274540 h 2197227"/>
                  <a:gd name="connsiteX448" fmla="*/ 762952 w 1776793"/>
                  <a:gd name="connsiteY448" fmla="*/ 1285208 h 2197227"/>
                  <a:gd name="connsiteX449" fmla="*/ 773716 w 1776793"/>
                  <a:gd name="connsiteY449" fmla="*/ 1289018 h 2197227"/>
                  <a:gd name="connsiteX450" fmla="*/ 779050 w 1776793"/>
                  <a:gd name="connsiteY450" fmla="*/ 1298353 h 2197227"/>
                  <a:gd name="connsiteX451" fmla="*/ 768953 w 1776793"/>
                  <a:gd name="connsiteY451" fmla="*/ 1298734 h 2197227"/>
                  <a:gd name="connsiteX452" fmla="*/ 753999 w 1776793"/>
                  <a:gd name="connsiteY452" fmla="*/ 1301210 h 2197227"/>
                  <a:gd name="connsiteX453" fmla="*/ 740569 w 1776793"/>
                  <a:gd name="connsiteY453" fmla="*/ 1283113 h 2197227"/>
                  <a:gd name="connsiteX454" fmla="*/ 734187 w 1776793"/>
                  <a:gd name="connsiteY454" fmla="*/ 1275017 h 2197227"/>
                  <a:gd name="connsiteX455" fmla="*/ 711803 w 1776793"/>
                  <a:gd name="connsiteY455" fmla="*/ 1270445 h 2197227"/>
                  <a:gd name="connsiteX456" fmla="*/ 716089 w 1776793"/>
                  <a:gd name="connsiteY456" fmla="*/ 1264158 h 2197227"/>
                  <a:gd name="connsiteX457" fmla="*/ 761333 w 1776793"/>
                  <a:gd name="connsiteY457" fmla="*/ 1252157 h 2197227"/>
                  <a:gd name="connsiteX458" fmla="*/ 770096 w 1776793"/>
                  <a:gd name="connsiteY458" fmla="*/ 1237393 h 2197227"/>
                  <a:gd name="connsiteX459" fmla="*/ 770668 w 1776793"/>
                  <a:gd name="connsiteY459" fmla="*/ 1221486 h 2197227"/>
                  <a:gd name="connsiteX460" fmla="*/ 760381 w 1776793"/>
                  <a:gd name="connsiteY460" fmla="*/ 1210628 h 2197227"/>
                  <a:gd name="connsiteX461" fmla="*/ 747998 w 1776793"/>
                  <a:gd name="connsiteY461" fmla="*/ 1207103 h 2197227"/>
                  <a:gd name="connsiteX462" fmla="*/ 705612 w 1776793"/>
                  <a:gd name="connsiteY462" fmla="*/ 1207961 h 2197227"/>
                  <a:gd name="connsiteX463" fmla="*/ 683133 w 1776793"/>
                  <a:gd name="connsiteY463" fmla="*/ 1217200 h 2197227"/>
                  <a:gd name="connsiteX464" fmla="*/ 663893 w 1776793"/>
                  <a:gd name="connsiteY464" fmla="*/ 1213199 h 2197227"/>
                  <a:gd name="connsiteX465" fmla="*/ 660654 w 1776793"/>
                  <a:gd name="connsiteY465" fmla="*/ 1224534 h 2197227"/>
                  <a:gd name="connsiteX466" fmla="*/ 645414 w 1776793"/>
                  <a:gd name="connsiteY466" fmla="*/ 1216819 h 2197227"/>
                  <a:gd name="connsiteX467" fmla="*/ 651415 w 1776793"/>
                  <a:gd name="connsiteY467" fmla="*/ 1206151 h 2197227"/>
                  <a:gd name="connsiteX468" fmla="*/ 621316 w 1776793"/>
                  <a:gd name="connsiteY468" fmla="*/ 1203960 h 2197227"/>
                  <a:gd name="connsiteX469" fmla="*/ 610838 w 1776793"/>
                  <a:gd name="connsiteY469" fmla="*/ 1214533 h 2197227"/>
                  <a:gd name="connsiteX470" fmla="*/ 597313 w 1776793"/>
                  <a:gd name="connsiteY470" fmla="*/ 1219867 h 2197227"/>
                  <a:gd name="connsiteX471" fmla="*/ 593693 w 1776793"/>
                  <a:gd name="connsiteY471" fmla="*/ 1242251 h 2197227"/>
                  <a:gd name="connsiteX472" fmla="*/ 580644 w 1776793"/>
                  <a:gd name="connsiteY472" fmla="*/ 1246251 h 2197227"/>
                  <a:gd name="connsiteX473" fmla="*/ 567023 w 1776793"/>
                  <a:gd name="connsiteY473" fmla="*/ 1261967 h 2197227"/>
                  <a:gd name="connsiteX474" fmla="*/ 553117 w 1776793"/>
                  <a:gd name="connsiteY474" fmla="*/ 1296448 h 2197227"/>
                  <a:gd name="connsiteX475" fmla="*/ 543116 w 1776793"/>
                  <a:gd name="connsiteY475" fmla="*/ 1316927 h 2197227"/>
                  <a:gd name="connsiteX476" fmla="*/ 530828 w 1776793"/>
                  <a:gd name="connsiteY476" fmla="*/ 1364361 h 2197227"/>
                  <a:gd name="connsiteX477" fmla="*/ 518541 w 1776793"/>
                  <a:gd name="connsiteY477" fmla="*/ 1398270 h 2197227"/>
                  <a:gd name="connsiteX478" fmla="*/ 501491 w 1776793"/>
                  <a:gd name="connsiteY478" fmla="*/ 1424083 h 2197227"/>
                  <a:gd name="connsiteX479" fmla="*/ 474821 w 1776793"/>
                  <a:gd name="connsiteY479" fmla="*/ 1445800 h 2197227"/>
                  <a:gd name="connsiteX480" fmla="*/ 465772 w 1776793"/>
                  <a:gd name="connsiteY480" fmla="*/ 1460564 h 2197227"/>
                  <a:gd name="connsiteX481" fmla="*/ 473964 w 1776793"/>
                  <a:gd name="connsiteY481" fmla="*/ 1509141 h 2197227"/>
                  <a:gd name="connsiteX482" fmla="*/ 480536 w 1776793"/>
                  <a:gd name="connsiteY482" fmla="*/ 1531049 h 2197227"/>
                  <a:gd name="connsiteX483" fmla="*/ 499300 w 1776793"/>
                  <a:gd name="connsiteY483" fmla="*/ 1539621 h 2197227"/>
                  <a:gd name="connsiteX484" fmla="*/ 515588 w 1776793"/>
                  <a:gd name="connsiteY484" fmla="*/ 1532477 h 2197227"/>
                  <a:gd name="connsiteX485" fmla="*/ 536162 w 1776793"/>
                  <a:gd name="connsiteY485" fmla="*/ 1504664 h 2197227"/>
                  <a:gd name="connsiteX486" fmla="*/ 546735 w 1776793"/>
                  <a:gd name="connsiteY486" fmla="*/ 1515713 h 2197227"/>
                  <a:gd name="connsiteX487" fmla="*/ 562070 w 1776793"/>
                  <a:gd name="connsiteY487" fmla="*/ 1542479 h 2197227"/>
                  <a:gd name="connsiteX488" fmla="*/ 577882 w 1776793"/>
                  <a:gd name="connsiteY488" fmla="*/ 1562767 h 2197227"/>
                  <a:gd name="connsiteX489" fmla="*/ 586359 w 1776793"/>
                  <a:gd name="connsiteY489" fmla="*/ 1580388 h 2197227"/>
                  <a:gd name="connsiteX490" fmla="*/ 601694 w 1776793"/>
                  <a:gd name="connsiteY490" fmla="*/ 1575721 h 2197227"/>
                  <a:gd name="connsiteX491" fmla="*/ 605218 w 1776793"/>
                  <a:gd name="connsiteY491" fmla="*/ 1558290 h 2197227"/>
                  <a:gd name="connsiteX492" fmla="*/ 621601 w 1776793"/>
                  <a:gd name="connsiteY492" fmla="*/ 1555814 h 2197227"/>
                  <a:gd name="connsiteX493" fmla="*/ 623602 w 1776793"/>
                  <a:gd name="connsiteY493" fmla="*/ 1535430 h 2197227"/>
                  <a:gd name="connsiteX494" fmla="*/ 618458 w 1776793"/>
                  <a:gd name="connsiteY494" fmla="*/ 1500854 h 2197227"/>
                  <a:gd name="connsiteX495" fmla="*/ 629507 w 1776793"/>
                  <a:gd name="connsiteY495" fmla="*/ 1492282 h 2197227"/>
                  <a:gd name="connsiteX496" fmla="*/ 632841 w 1776793"/>
                  <a:gd name="connsiteY496" fmla="*/ 1466183 h 2197227"/>
                  <a:gd name="connsiteX497" fmla="*/ 618172 w 1776793"/>
                  <a:gd name="connsiteY497" fmla="*/ 1458659 h 2197227"/>
                  <a:gd name="connsiteX498" fmla="*/ 605600 w 1776793"/>
                  <a:gd name="connsiteY498" fmla="*/ 1446848 h 2197227"/>
                  <a:gd name="connsiteX499" fmla="*/ 604456 w 1776793"/>
                  <a:gd name="connsiteY499" fmla="*/ 1415415 h 2197227"/>
                  <a:gd name="connsiteX500" fmla="*/ 618554 w 1776793"/>
                  <a:gd name="connsiteY500" fmla="*/ 1390841 h 2197227"/>
                  <a:gd name="connsiteX501" fmla="*/ 628269 w 1776793"/>
                  <a:gd name="connsiteY501" fmla="*/ 1368362 h 2197227"/>
                  <a:gd name="connsiteX502" fmla="*/ 621887 w 1776793"/>
                  <a:gd name="connsiteY502" fmla="*/ 1356360 h 2197227"/>
                  <a:gd name="connsiteX503" fmla="*/ 625316 w 1776793"/>
                  <a:gd name="connsiteY503" fmla="*/ 1338358 h 2197227"/>
                  <a:gd name="connsiteX504" fmla="*/ 638651 w 1776793"/>
                  <a:gd name="connsiteY504" fmla="*/ 1325880 h 2197227"/>
                  <a:gd name="connsiteX505" fmla="*/ 655701 w 1776793"/>
                  <a:gd name="connsiteY505" fmla="*/ 1329595 h 2197227"/>
                  <a:gd name="connsiteX506" fmla="*/ 660654 w 1776793"/>
                  <a:gd name="connsiteY506" fmla="*/ 1337596 h 2197227"/>
                  <a:gd name="connsiteX507" fmla="*/ 656368 w 1776793"/>
                  <a:gd name="connsiteY507" fmla="*/ 1344644 h 2197227"/>
                  <a:gd name="connsiteX508" fmla="*/ 643795 w 1776793"/>
                  <a:gd name="connsiteY508" fmla="*/ 1376172 h 2197227"/>
                  <a:gd name="connsiteX509" fmla="*/ 639794 w 1776793"/>
                  <a:gd name="connsiteY509" fmla="*/ 1392555 h 2197227"/>
                  <a:gd name="connsiteX510" fmla="*/ 639413 w 1776793"/>
                  <a:gd name="connsiteY510" fmla="*/ 1406271 h 2197227"/>
                  <a:gd name="connsiteX511" fmla="*/ 651605 w 1776793"/>
                  <a:gd name="connsiteY511" fmla="*/ 1422368 h 2197227"/>
                  <a:gd name="connsiteX512" fmla="*/ 656844 w 1776793"/>
                  <a:gd name="connsiteY512" fmla="*/ 1442942 h 2197227"/>
                  <a:gd name="connsiteX513" fmla="*/ 670179 w 1776793"/>
                  <a:gd name="connsiteY513" fmla="*/ 1445133 h 2197227"/>
                  <a:gd name="connsiteX514" fmla="*/ 681133 w 1776793"/>
                  <a:gd name="connsiteY514" fmla="*/ 1453039 h 2197227"/>
                  <a:gd name="connsiteX515" fmla="*/ 697516 w 1776793"/>
                  <a:gd name="connsiteY515" fmla="*/ 1441037 h 2197227"/>
                  <a:gd name="connsiteX516" fmla="*/ 713422 w 1776793"/>
                  <a:gd name="connsiteY516" fmla="*/ 1424940 h 2197227"/>
                  <a:gd name="connsiteX517" fmla="*/ 732092 w 1776793"/>
                  <a:gd name="connsiteY517" fmla="*/ 1413510 h 2197227"/>
                  <a:gd name="connsiteX518" fmla="*/ 747998 w 1776793"/>
                  <a:gd name="connsiteY518" fmla="*/ 1416272 h 2197227"/>
                  <a:gd name="connsiteX519" fmla="*/ 741331 w 1776793"/>
                  <a:gd name="connsiteY519" fmla="*/ 1433132 h 2197227"/>
                  <a:gd name="connsiteX520" fmla="*/ 730282 w 1776793"/>
                  <a:gd name="connsiteY520" fmla="*/ 1439609 h 2197227"/>
                  <a:gd name="connsiteX521" fmla="*/ 716756 w 1776793"/>
                  <a:gd name="connsiteY521" fmla="*/ 1442466 h 2197227"/>
                  <a:gd name="connsiteX522" fmla="*/ 703993 w 1776793"/>
                  <a:gd name="connsiteY522" fmla="*/ 1451896 h 2197227"/>
                  <a:gd name="connsiteX523" fmla="*/ 691991 w 1776793"/>
                  <a:gd name="connsiteY523" fmla="*/ 1463612 h 2197227"/>
                  <a:gd name="connsiteX524" fmla="*/ 697706 w 1776793"/>
                  <a:gd name="connsiteY524" fmla="*/ 1474184 h 2197227"/>
                  <a:gd name="connsiteX525" fmla="*/ 708088 w 1776793"/>
                  <a:gd name="connsiteY525" fmla="*/ 1477709 h 2197227"/>
                  <a:gd name="connsiteX526" fmla="*/ 711327 w 1776793"/>
                  <a:gd name="connsiteY526" fmla="*/ 1473422 h 2197227"/>
                  <a:gd name="connsiteX527" fmla="*/ 715042 w 1776793"/>
                  <a:gd name="connsiteY527" fmla="*/ 1485138 h 2197227"/>
                  <a:gd name="connsiteX528" fmla="*/ 719233 w 1776793"/>
                  <a:gd name="connsiteY528" fmla="*/ 1500569 h 2197227"/>
                  <a:gd name="connsiteX529" fmla="*/ 709613 w 1776793"/>
                  <a:gd name="connsiteY529" fmla="*/ 1505236 h 2197227"/>
                  <a:gd name="connsiteX530" fmla="*/ 693992 w 1776793"/>
                  <a:gd name="connsiteY530" fmla="*/ 1495139 h 2197227"/>
                  <a:gd name="connsiteX531" fmla="*/ 685229 w 1776793"/>
                  <a:gd name="connsiteY531" fmla="*/ 1506284 h 2197227"/>
                  <a:gd name="connsiteX532" fmla="*/ 683895 w 1776793"/>
                  <a:gd name="connsiteY532" fmla="*/ 1520666 h 2197227"/>
                  <a:gd name="connsiteX533" fmla="*/ 688943 w 1776793"/>
                  <a:gd name="connsiteY533" fmla="*/ 1535049 h 2197227"/>
                  <a:gd name="connsiteX534" fmla="*/ 697801 w 1776793"/>
                  <a:gd name="connsiteY534" fmla="*/ 1549718 h 2197227"/>
                  <a:gd name="connsiteX535" fmla="*/ 681990 w 1776793"/>
                  <a:gd name="connsiteY535" fmla="*/ 1562576 h 2197227"/>
                  <a:gd name="connsiteX536" fmla="*/ 681990 w 1776793"/>
                  <a:gd name="connsiteY536" fmla="*/ 1571911 h 2197227"/>
                  <a:gd name="connsiteX537" fmla="*/ 668941 w 1776793"/>
                  <a:gd name="connsiteY537" fmla="*/ 1576197 h 2197227"/>
                  <a:gd name="connsiteX538" fmla="*/ 666369 w 1776793"/>
                  <a:gd name="connsiteY538" fmla="*/ 1571911 h 2197227"/>
                  <a:gd name="connsiteX539" fmla="*/ 651986 w 1776793"/>
                  <a:gd name="connsiteY539" fmla="*/ 1573054 h 2197227"/>
                  <a:gd name="connsiteX540" fmla="*/ 636937 w 1776793"/>
                  <a:gd name="connsiteY540" fmla="*/ 1584674 h 2197227"/>
                  <a:gd name="connsiteX541" fmla="*/ 617982 w 1776793"/>
                  <a:gd name="connsiteY541" fmla="*/ 1599438 h 2197227"/>
                  <a:gd name="connsiteX542" fmla="*/ 609886 w 1776793"/>
                  <a:gd name="connsiteY542" fmla="*/ 1607534 h 2197227"/>
                  <a:gd name="connsiteX543" fmla="*/ 601789 w 1776793"/>
                  <a:gd name="connsiteY543" fmla="*/ 1603058 h 2197227"/>
                  <a:gd name="connsiteX544" fmla="*/ 584359 w 1776793"/>
                  <a:gd name="connsiteY544" fmla="*/ 1599057 h 2197227"/>
                  <a:gd name="connsiteX545" fmla="*/ 577691 w 1776793"/>
                  <a:gd name="connsiteY545" fmla="*/ 1606010 h 2197227"/>
                  <a:gd name="connsiteX546" fmla="*/ 564166 w 1776793"/>
                  <a:gd name="connsiteY546" fmla="*/ 1612487 h 2197227"/>
                  <a:gd name="connsiteX547" fmla="*/ 563023 w 1776793"/>
                  <a:gd name="connsiteY547" fmla="*/ 1605534 h 2197227"/>
                  <a:gd name="connsiteX548" fmla="*/ 548068 w 1776793"/>
                  <a:gd name="connsiteY548" fmla="*/ 1603534 h 2197227"/>
                  <a:gd name="connsiteX549" fmla="*/ 546545 w 1776793"/>
                  <a:gd name="connsiteY549" fmla="*/ 1596009 h 2197227"/>
                  <a:gd name="connsiteX550" fmla="*/ 541115 w 1776793"/>
                  <a:gd name="connsiteY550" fmla="*/ 1587056 h 2197227"/>
                  <a:gd name="connsiteX551" fmla="*/ 548259 w 1776793"/>
                  <a:gd name="connsiteY551" fmla="*/ 1571054 h 2197227"/>
                  <a:gd name="connsiteX552" fmla="*/ 552641 w 1776793"/>
                  <a:gd name="connsiteY552" fmla="*/ 1572482 h 2197227"/>
                  <a:gd name="connsiteX553" fmla="*/ 554450 w 1776793"/>
                  <a:gd name="connsiteY553" fmla="*/ 1564386 h 2197227"/>
                  <a:gd name="connsiteX554" fmla="*/ 546735 w 1776793"/>
                  <a:gd name="connsiteY554" fmla="*/ 1562672 h 2197227"/>
                  <a:gd name="connsiteX555" fmla="*/ 544163 w 1776793"/>
                  <a:gd name="connsiteY555" fmla="*/ 1557338 h 2197227"/>
                  <a:gd name="connsiteX556" fmla="*/ 546830 w 1776793"/>
                  <a:gd name="connsiteY556" fmla="*/ 1550099 h 2197227"/>
                  <a:gd name="connsiteX557" fmla="*/ 545306 w 1776793"/>
                  <a:gd name="connsiteY557" fmla="*/ 1539621 h 2197227"/>
                  <a:gd name="connsiteX558" fmla="*/ 535972 w 1776793"/>
                  <a:gd name="connsiteY558" fmla="*/ 1547146 h 2197227"/>
                  <a:gd name="connsiteX559" fmla="*/ 532352 w 1776793"/>
                  <a:gd name="connsiteY559" fmla="*/ 1553528 h 2197227"/>
                  <a:gd name="connsiteX560" fmla="*/ 521017 w 1776793"/>
                  <a:gd name="connsiteY560" fmla="*/ 1556576 h 2197227"/>
                  <a:gd name="connsiteX561" fmla="*/ 518160 w 1776793"/>
                  <a:gd name="connsiteY561" fmla="*/ 1563148 h 2197227"/>
                  <a:gd name="connsiteX562" fmla="*/ 516731 w 1776793"/>
                  <a:gd name="connsiteY562" fmla="*/ 1568863 h 2197227"/>
                  <a:gd name="connsiteX563" fmla="*/ 520065 w 1776793"/>
                  <a:gd name="connsiteY563" fmla="*/ 1589246 h 2197227"/>
                  <a:gd name="connsiteX564" fmla="*/ 527209 w 1776793"/>
                  <a:gd name="connsiteY564" fmla="*/ 1599438 h 2197227"/>
                  <a:gd name="connsiteX565" fmla="*/ 529495 w 1776793"/>
                  <a:gd name="connsiteY565" fmla="*/ 1610487 h 2197227"/>
                  <a:gd name="connsiteX566" fmla="*/ 533876 w 1776793"/>
                  <a:gd name="connsiteY566" fmla="*/ 1617345 h 2197227"/>
                  <a:gd name="connsiteX567" fmla="*/ 525589 w 1776793"/>
                  <a:gd name="connsiteY567" fmla="*/ 1628394 h 2197227"/>
                  <a:gd name="connsiteX568" fmla="*/ 522351 w 1776793"/>
                  <a:gd name="connsiteY568" fmla="*/ 1624489 h 2197227"/>
                  <a:gd name="connsiteX569" fmla="*/ 510540 w 1776793"/>
                  <a:gd name="connsiteY569" fmla="*/ 1627156 h 2197227"/>
                  <a:gd name="connsiteX570" fmla="*/ 508254 w 1776793"/>
                  <a:gd name="connsiteY570" fmla="*/ 1631633 h 2197227"/>
                  <a:gd name="connsiteX571" fmla="*/ 496252 w 1776793"/>
                  <a:gd name="connsiteY571" fmla="*/ 1632395 h 2197227"/>
                  <a:gd name="connsiteX572" fmla="*/ 477202 w 1776793"/>
                  <a:gd name="connsiteY572" fmla="*/ 1642396 h 2197227"/>
                  <a:gd name="connsiteX573" fmla="*/ 466344 w 1776793"/>
                  <a:gd name="connsiteY573" fmla="*/ 1671638 h 2197227"/>
                  <a:gd name="connsiteX574" fmla="*/ 458914 w 1776793"/>
                  <a:gd name="connsiteY574" fmla="*/ 1677353 h 2197227"/>
                  <a:gd name="connsiteX575" fmla="*/ 458914 w 1776793"/>
                  <a:gd name="connsiteY575" fmla="*/ 1677353 h 2197227"/>
                  <a:gd name="connsiteX576" fmla="*/ 446913 w 1776793"/>
                  <a:gd name="connsiteY576" fmla="*/ 1681734 h 2197227"/>
                  <a:gd name="connsiteX577" fmla="*/ 433673 w 1776793"/>
                  <a:gd name="connsiteY577" fmla="*/ 1686020 h 2197227"/>
                  <a:gd name="connsiteX578" fmla="*/ 429387 w 1776793"/>
                  <a:gd name="connsiteY578" fmla="*/ 1701546 h 2197227"/>
                  <a:gd name="connsiteX579" fmla="*/ 392716 w 1776793"/>
                  <a:gd name="connsiteY579" fmla="*/ 1716119 h 2197227"/>
                  <a:gd name="connsiteX580" fmla="*/ 378047 w 1776793"/>
                  <a:gd name="connsiteY580" fmla="*/ 1707737 h 2197227"/>
                  <a:gd name="connsiteX581" fmla="*/ 382429 w 1776793"/>
                  <a:gd name="connsiteY581" fmla="*/ 1728788 h 2197227"/>
                  <a:gd name="connsiteX582" fmla="*/ 355663 w 1776793"/>
                  <a:gd name="connsiteY582" fmla="*/ 1722882 h 2197227"/>
                  <a:gd name="connsiteX583" fmla="*/ 334613 w 1776793"/>
                  <a:gd name="connsiteY583" fmla="*/ 1725454 h 2197227"/>
                  <a:gd name="connsiteX584" fmla="*/ 335185 w 1776793"/>
                  <a:gd name="connsiteY584" fmla="*/ 1738789 h 2197227"/>
                  <a:gd name="connsiteX585" fmla="*/ 359759 w 1776793"/>
                  <a:gd name="connsiteY585" fmla="*/ 1747361 h 2197227"/>
                  <a:gd name="connsiteX586" fmla="*/ 371570 w 1776793"/>
                  <a:gd name="connsiteY586" fmla="*/ 1756982 h 2197227"/>
                  <a:gd name="connsiteX587" fmla="*/ 388334 w 1776793"/>
                  <a:gd name="connsiteY587" fmla="*/ 1776032 h 2197227"/>
                  <a:gd name="connsiteX588" fmla="*/ 384334 w 1776793"/>
                  <a:gd name="connsiteY588" fmla="*/ 1810322 h 2197227"/>
                  <a:gd name="connsiteX589" fmla="*/ 374904 w 1776793"/>
                  <a:gd name="connsiteY589" fmla="*/ 1820132 h 2197227"/>
                  <a:gd name="connsiteX590" fmla="*/ 346329 w 1776793"/>
                  <a:gd name="connsiteY590" fmla="*/ 1818227 h 2197227"/>
                  <a:gd name="connsiteX591" fmla="*/ 331660 w 1776793"/>
                  <a:gd name="connsiteY591" fmla="*/ 1818227 h 2197227"/>
                  <a:gd name="connsiteX592" fmla="*/ 313182 w 1776793"/>
                  <a:gd name="connsiteY592" fmla="*/ 1813655 h 2197227"/>
                  <a:gd name="connsiteX593" fmla="*/ 289560 w 1776793"/>
                  <a:gd name="connsiteY593" fmla="*/ 1811274 h 2197227"/>
                  <a:gd name="connsiteX594" fmla="*/ 268510 w 1776793"/>
                  <a:gd name="connsiteY594" fmla="*/ 1805464 h 2197227"/>
                  <a:gd name="connsiteX595" fmla="*/ 241935 w 1776793"/>
                  <a:gd name="connsiteY595" fmla="*/ 1813655 h 2197227"/>
                  <a:gd name="connsiteX596" fmla="*/ 248031 w 1776793"/>
                  <a:gd name="connsiteY596" fmla="*/ 1821942 h 2197227"/>
                  <a:gd name="connsiteX597" fmla="*/ 245269 w 1776793"/>
                  <a:gd name="connsiteY597" fmla="*/ 1833372 h 2197227"/>
                  <a:gd name="connsiteX598" fmla="*/ 245269 w 1776793"/>
                  <a:gd name="connsiteY598" fmla="*/ 1838897 h 2197227"/>
                  <a:gd name="connsiteX599" fmla="*/ 247936 w 1776793"/>
                  <a:gd name="connsiteY599" fmla="*/ 1845183 h 2197227"/>
                  <a:gd name="connsiteX600" fmla="*/ 247269 w 1776793"/>
                  <a:gd name="connsiteY600" fmla="*/ 1851946 h 2197227"/>
                  <a:gd name="connsiteX601" fmla="*/ 242030 w 1776793"/>
                  <a:gd name="connsiteY601" fmla="*/ 1860709 h 2197227"/>
                  <a:gd name="connsiteX602" fmla="*/ 239744 w 1776793"/>
                  <a:gd name="connsiteY602" fmla="*/ 1866709 h 2197227"/>
                  <a:gd name="connsiteX603" fmla="*/ 231458 w 1776793"/>
                  <a:gd name="connsiteY603" fmla="*/ 1871091 h 2197227"/>
                  <a:gd name="connsiteX604" fmla="*/ 228314 w 1776793"/>
                  <a:gd name="connsiteY604" fmla="*/ 1880711 h 2197227"/>
                  <a:gd name="connsiteX605" fmla="*/ 231838 w 1776793"/>
                  <a:gd name="connsiteY605" fmla="*/ 1887093 h 2197227"/>
                  <a:gd name="connsiteX606" fmla="*/ 240030 w 1776793"/>
                  <a:gd name="connsiteY606" fmla="*/ 1889855 h 2197227"/>
                  <a:gd name="connsiteX607" fmla="*/ 240411 w 1776793"/>
                  <a:gd name="connsiteY607" fmla="*/ 1899285 h 2197227"/>
                  <a:gd name="connsiteX608" fmla="*/ 235744 w 1776793"/>
                  <a:gd name="connsiteY608" fmla="*/ 1910239 h 2197227"/>
                  <a:gd name="connsiteX609" fmla="*/ 245935 w 1776793"/>
                  <a:gd name="connsiteY609" fmla="*/ 1910239 h 2197227"/>
                  <a:gd name="connsiteX610" fmla="*/ 255842 w 1776793"/>
                  <a:gd name="connsiteY610" fmla="*/ 1913668 h 2197227"/>
                  <a:gd name="connsiteX611" fmla="*/ 264128 w 1776793"/>
                  <a:gd name="connsiteY611" fmla="*/ 1910906 h 2197227"/>
                  <a:gd name="connsiteX612" fmla="*/ 281845 w 1776793"/>
                  <a:gd name="connsiteY612" fmla="*/ 1915382 h 2197227"/>
                  <a:gd name="connsiteX613" fmla="*/ 286417 w 1776793"/>
                  <a:gd name="connsiteY613" fmla="*/ 1924336 h 2197227"/>
                  <a:gd name="connsiteX614" fmla="*/ 293180 w 1776793"/>
                  <a:gd name="connsiteY614" fmla="*/ 1929956 h 2197227"/>
                  <a:gd name="connsiteX615" fmla="*/ 302705 w 1776793"/>
                  <a:gd name="connsiteY615" fmla="*/ 1932051 h 2197227"/>
                  <a:gd name="connsiteX616" fmla="*/ 310705 w 1776793"/>
                  <a:gd name="connsiteY616" fmla="*/ 1927289 h 2197227"/>
                  <a:gd name="connsiteX617" fmla="*/ 323374 w 1776793"/>
                  <a:gd name="connsiteY617" fmla="*/ 1923193 h 2197227"/>
                  <a:gd name="connsiteX618" fmla="*/ 341947 w 1776793"/>
                  <a:gd name="connsiteY618" fmla="*/ 1924717 h 2197227"/>
                  <a:gd name="connsiteX619" fmla="*/ 366713 w 1776793"/>
                  <a:gd name="connsiteY619" fmla="*/ 1925669 h 2197227"/>
                  <a:gd name="connsiteX620" fmla="*/ 380809 w 1776793"/>
                  <a:gd name="connsiteY620" fmla="*/ 1914811 h 2197227"/>
                  <a:gd name="connsiteX621" fmla="*/ 395478 w 1776793"/>
                  <a:gd name="connsiteY621" fmla="*/ 1912144 h 2197227"/>
                  <a:gd name="connsiteX622" fmla="*/ 399764 w 1776793"/>
                  <a:gd name="connsiteY622" fmla="*/ 1902428 h 2197227"/>
                  <a:gd name="connsiteX623" fmla="*/ 410813 w 1776793"/>
                  <a:gd name="connsiteY623" fmla="*/ 1895666 h 2197227"/>
                  <a:gd name="connsiteX624" fmla="*/ 403479 w 1776793"/>
                  <a:gd name="connsiteY624" fmla="*/ 1886903 h 2197227"/>
                  <a:gd name="connsiteX625" fmla="*/ 410718 w 1776793"/>
                  <a:gd name="connsiteY625" fmla="*/ 1874234 h 2197227"/>
                  <a:gd name="connsiteX626" fmla="*/ 422053 w 1776793"/>
                  <a:gd name="connsiteY626" fmla="*/ 1865376 h 2197227"/>
                  <a:gd name="connsiteX627" fmla="*/ 423672 w 1776793"/>
                  <a:gd name="connsiteY627" fmla="*/ 1860042 h 2197227"/>
                  <a:gd name="connsiteX628" fmla="*/ 447104 w 1776793"/>
                  <a:gd name="connsiteY628" fmla="*/ 1856041 h 2197227"/>
                  <a:gd name="connsiteX629" fmla="*/ 463867 w 1776793"/>
                  <a:gd name="connsiteY629" fmla="*/ 1844516 h 2197227"/>
                  <a:gd name="connsiteX630" fmla="*/ 462439 w 1776793"/>
                  <a:gd name="connsiteY630" fmla="*/ 1835087 h 2197227"/>
                  <a:gd name="connsiteX631" fmla="*/ 463963 w 1776793"/>
                  <a:gd name="connsiteY631" fmla="*/ 1824990 h 2197227"/>
                  <a:gd name="connsiteX632" fmla="*/ 489395 w 1776793"/>
                  <a:gd name="connsiteY632" fmla="*/ 1817846 h 2197227"/>
                  <a:gd name="connsiteX633" fmla="*/ 524637 w 1776793"/>
                  <a:gd name="connsiteY633" fmla="*/ 1818989 h 2197227"/>
                  <a:gd name="connsiteX634" fmla="*/ 539401 w 1776793"/>
                  <a:gd name="connsiteY634" fmla="*/ 1807655 h 2197227"/>
                  <a:gd name="connsiteX635" fmla="*/ 546449 w 1776793"/>
                  <a:gd name="connsiteY635" fmla="*/ 1805464 h 2197227"/>
                  <a:gd name="connsiteX636" fmla="*/ 555403 w 1776793"/>
                  <a:gd name="connsiteY636" fmla="*/ 1796225 h 2197227"/>
                  <a:gd name="connsiteX637" fmla="*/ 563023 w 1776793"/>
                  <a:gd name="connsiteY637" fmla="*/ 1792700 h 2197227"/>
                  <a:gd name="connsiteX638" fmla="*/ 577977 w 1776793"/>
                  <a:gd name="connsiteY638" fmla="*/ 1795939 h 2197227"/>
                  <a:gd name="connsiteX639" fmla="*/ 586930 w 1776793"/>
                  <a:gd name="connsiteY639" fmla="*/ 1796320 h 2197227"/>
                  <a:gd name="connsiteX640" fmla="*/ 595313 w 1776793"/>
                  <a:gd name="connsiteY640" fmla="*/ 1811655 h 2197227"/>
                  <a:gd name="connsiteX641" fmla="*/ 609029 w 1776793"/>
                  <a:gd name="connsiteY641" fmla="*/ 1818704 h 2197227"/>
                  <a:gd name="connsiteX642" fmla="*/ 627412 w 1776793"/>
                  <a:gd name="connsiteY642" fmla="*/ 1825752 h 2197227"/>
                  <a:gd name="connsiteX643" fmla="*/ 642938 w 1776793"/>
                  <a:gd name="connsiteY643" fmla="*/ 1829753 h 2197227"/>
                  <a:gd name="connsiteX644" fmla="*/ 656368 w 1776793"/>
                  <a:gd name="connsiteY644" fmla="*/ 1827657 h 2197227"/>
                  <a:gd name="connsiteX645" fmla="*/ 665607 w 1776793"/>
                  <a:gd name="connsiteY645" fmla="*/ 1832039 h 2197227"/>
                  <a:gd name="connsiteX646" fmla="*/ 677799 w 1776793"/>
                  <a:gd name="connsiteY646" fmla="*/ 1831848 h 2197227"/>
                  <a:gd name="connsiteX647" fmla="*/ 684847 w 1776793"/>
                  <a:gd name="connsiteY647" fmla="*/ 1836992 h 2197227"/>
                  <a:gd name="connsiteX648" fmla="*/ 692849 w 1776793"/>
                  <a:gd name="connsiteY648" fmla="*/ 1836992 h 2197227"/>
                  <a:gd name="connsiteX649" fmla="*/ 700468 w 1776793"/>
                  <a:gd name="connsiteY649" fmla="*/ 1842897 h 2197227"/>
                  <a:gd name="connsiteX650" fmla="*/ 709993 w 1776793"/>
                  <a:gd name="connsiteY650" fmla="*/ 1849469 h 2197227"/>
                  <a:gd name="connsiteX651" fmla="*/ 706946 w 1776793"/>
                  <a:gd name="connsiteY651" fmla="*/ 1853756 h 2197227"/>
                  <a:gd name="connsiteX652" fmla="*/ 705422 w 1776793"/>
                  <a:gd name="connsiteY652" fmla="*/ 1862614 h 2197227"/>
                  <a:gd name="connsiteX653" fmla="*/ 706564 w 1776793"/>
                  <a:gd name="connsiteY653" fmla="*/ 1867091 h 2197227"/>
                  <a:gd name="connsiteX654" fmla="*/ 713994 w 1776793"/>
                  <a:gd name="connsiteY654" fmla="*/ 1863757 h 2197227"/>
                  <a:gd name="connsiteX655" fmla="*/ 720090 w 1776793"/>
                  <a:gd name="connsiteY655" fmla="*/ 1848422 h 2197227"/>
                  <a:gd name="connsiteX656" fmla="*/ 727424 w 1776793"/>
                  <a:gd name="connsiteY656" fmla="*/ 1845278 h 2197227"/>
                  <a:gd name="connsiteX657" fmla="*/ 727234 w 1776793"/>
                  <a:gd name="connsiteY657" fmla="*/ 1836896 h 2197227"/>
                  <a:gd name="connsiteX658" fmla="*/ 712565 w 1776793"/>
                  <a:gd name="connsiteY658" fmla="*/ 1835277 h 2197227"/>
                  <a:gd name="connsiteX659" fmla="*/ 717137 w 1776793"/>
                  <a:gd name="connsiteY659" fmla="*/ 1823276 h 2197227"/>
                  <a:gd name="connsiteX660" fmla="*/ 733330 w 1776793"/>
                  <a:gd name="connsiteY660" fmla="*/ 1820990 h 2197227"/>
                  <a:gd name="connsiteX661" fmla="*/ 745426 w 1776793"/>
                  <a:gd name="connsiteY661" fmla="*/ 1824704 h 2197227"/>
                  <a:gd name="connsiteX662" fmla="*/ 746951 w 1776793"/>
                  <a:gd name="connsiteY662" fmla="*/ 1818323 h 2197227"/>
                  <a:gd name="connsiteX663" fmla="*/ 744188 w 1776793"/>
                  <a:gd name="connsiteY663" fmla="*/ 1816132 h 2197227"/>
                  <a:gd name="connsiteX664" fmla="*/ 726567 w 1776793"/>
                  <a:gd name="connsiteY664" fmla="*/ 1813179 h 2197227"/>
                  <a:gd name="connsiteX665" fmla="*/ 712280 w 1776793"/>
                  <a:gd name="connsiteY665" fmla="*/ 1812512 h 2197227"/>
                  <a:gd name="connsiteX666" fmla="*/ 694944 w 1776793"/>
                  <a:gd name="connsiteY666" fmla="*/ 1811560 h 2197227"/>
                  <a:gd name="connsiteX667" fmla="*/ 698945 w 1776793"/>
                  <a:gd name="connsiteY667" fmla="*/ 1807083 h 2197227"/>
                  <a:gd name="connsiteX668" fmla="*/ 693706 w 1776793"/>
                  <a:gd name="connsiteY668" fmla="*/ 1804892 h 2197227"/>
                  <a:gd name="connsiteX669" fmla="*/ 680085 w 1776793"/>
                  <a:gd name="connsiteY669" fmla="*/ 1808798 h 2197227"/>
                  <a:gd name="connsiteX670" fmla="*/ 657320 w 1776793"/>
                  <a:gd name="connsiteY670" fmla="*/ 1801082 h 2197227"/>
                  <a:gd name="connsiteX671" fmla="*/ 645319 w 1776793"/>
                  <a:gd name="connsiteY671" fmla="*/ 1789843 h 2197227"/>
                  <a:gd name="connsiteX672" fmla="*/ 627317 w 1776793"/>
                  <a:gd name="connsiteY672" fmla="*/ 1785271 h 2197227"/>
                  <a:gd name="connsiteX673" fmla="*/ 619887 w 1776793"/>
                  <a:gd name="connsiteY673" fmla="*/ 1778032 h 2197227"/>
                  <a:gd name="connsiteX674" fmla="*/ 620935 w 1776793"/>
                  <a:gd name="connsiteY674" fmla="*/ 1772793 h 2197227"/>
                  <a:gd name="connsiteX675" fmla="*/ 618172 w 1776793"/>
                  <a:gd name="connsiteY675" fmla="*/ 1764602 h 2197227"/>
                  <a:gd name="connsiteX676" fmla="*/ 630364 w 1776793"/>
                  <a:gd name="connsiteY676" fmla="*/ 1755553 h 2197227"/>
                  <a:gd name="connsiteX677" fmla="*/ 644176 w 1776793"/>
                  <a:gd name="connsiteY677" fmla="*/ 1754886 h 2197227"/>
                  <a:gd name="connsiteX678" fmla="*/ 640842 w 1776793"/>
                  <a:gd name="connsiteY678" fmla="*/ 1757363 h 2197227"/>
                  <a:gd name="connsiteX679" fmla="*/ 640271 w 1776793"/>
                  <a:gd name="connsiteY679" fmla="*/ 1757744 h 2197227"/>
                  <a:gd name="connsiteX680" fmla="*/ 641318 w 1776793"/>
                  <a:gd name="connsiteY680" fmla="*/ 1763649 h 2197227"/>
                  <a:gd name="connsiteX681" fmla="*/ 647605 w 1776793"/>
                  <a:gd name="connsiteY681" fmla="*/ 1768031 h 2197227"/>
                  <a:gd name="connsiteX682" fmla="*/ 650938 w 1776793"/>
                  <a:gd name="connsiteY682" fmla="*/ 1759553 h 2197227"/>
                  <a:gd name="connsiteX683" fmla="*/ 662273 w 1776793"/>
                  <a:gd name="connsiteY683" fmla="*/ 1759363 h 2197227"/>
                  <a:gd name="connsiteX684" fmla="*/ 664083 w 1776793"/>
                  <a:gd name="connsiteY684" fmla="*/ 1764887 h 2197227"/>
                  <a:gd name="connsiteX685" fmla="*/ 673608 w 1776793"/>
                  <a:gd name="connsiteY685" fmla="*/ 1769745 h 2197227"/>
                  <a:gd name="connsiteX686" fmla="*/ 670560 w 1776793"/>
                  <a:gd name="connsiteY686" fmla="*/ 1771936 h 2197227"/>
                  <a:gd name="connsiteX687" fmla="*/ 688086 w 1776793"/>
                  <a:gd name="connsiteY687" fmla="*/ 1779937 h 2197227"/>
                  <a:gd name="connsiteX688" fmla="*/ 705041 w 1776793"/>
                  <a:gd name="connsiteY688" fmla="*/ 1780127 h 2197227"/>
                  <a:gd name="connsiteX689" fmla="*/ 716661 w 1776793"/>
                  <a:gd name="connsiteY689" fmla="*/ 1782794 h 2197227"/>
                  <a:gd name="connsiteX690" fmla="*/ 734568 w 1776793"/>
                  <a:gd name="connsiteY690" fmla="*/ 1783366 h 2197227"/>
                  <a:gd name="connsiteX691" fmla="*/ 742950 w 1776793"/>
                  <a:gd name="connsiteY691" fmla="*/ 1783937 h 2197227"/>
                  <a:gd name="connsiteX692" fmla="*/ 749522 w 1776793"/>
                  <a:gd name="connsiteY692" fmla="*/ 1787366 h 2197227"/>
                  <a:gd name="connsiteX693" fmla="*/ 753523 w 1776793"/>
                  <a:gd name="connsiteY693" fmla="*/ 1787366 h 2197227"/>
                  <a:gd name="connsiteX694" fmla="*/ 757238 w 1776793"/>
                  <a:gd name="connsiteY694" fmla="*/ 1788700 h 2197227"/>
                  <a:gd name="connsiteX695" fmla="*/ 756571 w 1776793"/>
                  <a:gd name="connsiteY695" fmla="*/ 1794224 h 2197227"/>
                  <a:gd name="connsiteX696" fmla="*/ 758762 w 1776793"/>
                  <a:gd name="connsiteY696" fmla="*/ 1805083 h 2197227"/>
                  <a:gd name="connsiteX697" fmla="*/ 762762 w 1776793"/>
                  <a:gd name="connsiteY697" fmla="*/ 1811655 h 2197227"/>
                  <a:gd name="connsiteX698" fmla="*/ 774287 w 1776793"/>
                  <a:gd name="connsiteY698" fmla="*/ 1813179 h 2197227"/>
                  <a:gd name="connsiteX699" fmla="*/ 775811 w 1776793"/>
                  <a:gd name="connsiteY699" fmla="*/ 1816322 h 2197227"/>
                  <a:gd name="connsiteX700" fmla="*/ 779145 w 1776793"/>
                  <a:gd name="connsiteY700" fmla="*/ 1816322 h 2197227"/>
                  <a:gd name="connsiteX701" fmla="*/ 781907 w 1776793"/>
                  <a:gd name="connsiteY701" fmla="*/ 1819942 h 2197227"/>
                  <a:gd name="connsiteX702" fmla="*/ 794099 w 1776793"/>
                  <a:gd name="connsiteY702" fmla="*/ 1824704 h 2197227"/>
                  <a:gd name="connsiteX703" fmla="*/ 803529 w 1776793"/>
                  <a:gd name="connsiteY703" fmla="*/ 1828610 h 2197227"/>
                  <a:gd name="connsiteX704" fmla="*/ 810292 w 1776793"/>
                  <a:gd name="connsiteY704" fmla="*/ 1836706 h 2197227"/>
                  <a:gd name="connsiteX705" fmla="*/ 821341 w 1776793"/>
                  <a:gd name="connsiteY705" fmla="*/ 1844993 h 2197227"/>
                  <a:gd name="connsiteX706" fmla="*/ 838581 w 1776793"/>
                  <a:gd name="connsiteY706" fmla="*/ 1844802 h 2197227"/>
                  <a:gd name="connsiteX707" fmla="*/ 850487 w 1776793"/>
                  <a:gd name="connsiteY707" fmla="*/ 1839563 h 2197227"/>
                  <a:gd name="connsiteX708" fmla="*/ 838676 w 1776793"/>
                  <a:gd name="connsiteY708" fmla="*/ 1830610 h 2197227"/>
                  <a:gd name="connsiteX709" fmla="*/ 849344 w 1776793"/>
                  <a:gd name="connsiteY709" fmla="*/ 1824323 h 2197227"/>
                  <a:gd name="connsiteX710" fmla="*/ 841153 w 1776793"/>
                  <a:gd name="connsiteY710" fmla="*/ 1819561 h 2197227"/>
                  <a:gd name="connsiteX711" fmla="*/ 859060 w 1776793"/>
                  <a:gd name="connsiteY711" fmla="*/ 1816037 h 2197227"/>
                  <a:gd name="connsiteX712" fmla="*/ 855345 w 1776793"/>
                  <a:gd name="connsiteY712" fmla="*/ 1808417 h 2197227"/>
                  <a:gd name="connsiteX713" fmla="*/ 844963 w 1776793"/>
                  <a:gd name="connsiteY713" fmla="*/ 1808226 h 2197227"/>
                  <a:gd name="connsiteX714" fmla="*/ 832485 w 1776793"/>
                  <a:gd name="connsiteY714" fmla="*/ 1805940 h 2197227"/>
                  <a:gd name="connsiteX715" fmla="*/ 837724 w 1776793"/>
                  <a:gd name="connsiteY715" fmla="*/ 1800035 h 2197227"/>
                  <a:gd name="connsiteX716" fmla="*/ 826199 w 1776793"/>
                  <a:gd name="connsiteY716" fmla="*/ 1797082 h 2197227"/>
                  <a:gd name="connsiteX717" fmla="*/ 818769 w 1776793"/>
                  <a:gd name="connsiteY717" fmla="*/ 1790033 h 2197227"/>
                  <a:gd name="connsiteX718" fmla="*/ 820674 w 1776793"/>
                  <a:gd name="connsiteY718" fmla="*/ 1785461 h 2197227"/>
                  <a:gd name="connsiteX719" fmla="*/ 832866 w 1776793"/>
                  <a:gd name="connsiteY719" fmla="*/ 1789081 h 2197227"/>
                  <a:gd name="connsiteX720" fmla="*/ 842391 w 1776793"/>
                  <a:gd name="connsiteY720" fmla="*/ 1784890 h 2197227"/>
                  <a:gd name="connsiteX721" fmla="*/ 850011 w 1776793"/>
                  <a:gd name="connsiteY721" fmla="*/ 1778699 h 2197227"/>
                  <a:gd name="connsiteX722" fmla="*/ 834676 w 1776793"/>
                  <a:gd name="connsiteY722" fmla="*/ 1775841 h 2197227"/>
                  <a:gd name="connsiteX723" fmla="*/ 853345 w 1776793"/>
                  <a:gd name="connsiteY723" fmla="*/ 1762887 h 2197227"/>
                  <a:gd name="connsiteX724" fmla="*/ 862679 w 1776793"/>
                  <a:gd name="connsiteY724" fmla="*/ 1760125 h 2197227"/>
                  <a:gd name="connsiteX725" fmla="*/ 872966 w 1776793"/>
                  <a:gd name="connsiteY725" fmla="*/ 1755648 h 2197227"/>
                  <a:gd name="connsiteX726" fmla="*/ 874205 w 1776793"/>
                  <a:gd name="connsiteY726" fmla="*/ 1758696 h 2197227"/>
                  <a:gd name="connsiteX727" fmla="*/ 882682 w 1776793"/>
                  <a:gd name="connsiteY727" fmla="*/ 1762697 h 2197227"/>
                  <a:gd name="connsiteX728" fmla="*/ 892683 w 1776793"/>
                  <a:gd name="connsiteY728" fmla="*/ 1748123 h 2197227"/>
                  <a:gd name="connsiteX729" fmla="*/ 897446 w 1776793"/>
                  <a:gd name="connsiteY729" fmla="*/ 1740122 h 2197227"/>
                  <a:gd name="connsiteX730" fmla="*/ 916305 w 1776793"/>
                  <a:gd name="connsiteY730" fmla="*/ 1728978 h 2197227"/>
                  <a:gd name="connsiteX731" fmla="*/ 917353 w 1776793"/>
                  <a:gd name="connsiteY731" fmla="*/ 1723930 h 2197227"/>
                  <a:gd name="connsiteX732" fmla="*/ 900875 w 1776793"/>
                  <a:gd name="connsiteY732" fmla="*/ 1726978 h 2197227"/>
                  <a:gd name="connsiteX733" fmla="*/ 896017 w 1776793"/>
                  <a:gd name="connsiteY733" fmla="*/ 1722501 h 2197227"/>
                  <a:gd name="connsiteX734" fmla="*/ 886492 w 1776793"/>
                  <a:gd name="connsiteY734" fmla="*/ 1716977 h 2197227"/>
                  <a:gd name="connsiteX735" fmla="*/ 886682 w 1776793"/>
                  <a:gd name="connsiteY735" fmla="*/ 1703451 h 2197227"/>
                  <a:gd name="connsiteX736" fmla="*/ 891445 w 1776793"/>
                  <a:gd name="connsiteY736" fmla="*/ 1692974 h 2197227"/>
                  <a:gd name="connsiteX737" fmla="*/ 885825 w 1776793"/>
                  <a:gd name="connsiteY737" fmla="*/ 1672590 h 2197227"/>
                  <a:gd name="connsiteX738" fmla="*/ 891159 w 1776793"/>
                  <a:gd name="connsiteY738" fmla="*/ 1671447 h 2197227"/>
                  <a:gd name="connsiteX739" fmla="*/ 896588 w 1776793"/>
                  <a:gd name="connsiteY739" fmla="*/ 1664113 h 2197227"/>
                  <a:gd name="connsiteX740" fmla="*/ 894017 w 1776793"/>
                  <a:gd name="connsiteY740" fmla="*/ 1660398 h 2197227"/>
                  <a:gd name="connsiteX741" fmla="*/ 898970 w 1776793"/>
                  <a:gd name="connsiteY741" fmla="*/ 1642682 h 2197227"/>
                  <a:gd name="connsiteX742" fmla="*/ 899446 w 1776793"/>
                  <a:gd name="connsiteY742" fmla="*/ 1631156 h 2197227"/>
                  <a:gd name="connsiteX743" fmla="*/ 911543 w 1776793"/>
                  <a:gd name="connsiteY743" fmla="*/ 1621250 h 2197227"/>
                  <a:gd name="connsiteX744" fmla="*/ 916019 w 1776793"/>
                  <a:gd name="connsiteY744" fmla="*/ 1626299 h 2197227"/>
                  <a:gd name="connsiteX745" fmla="*/ 940499 w 1776793"/>
                  <a:gd name="connsiteY745" fmla="*/ 1615916 h 2197227"/>
                  <a:gd name="connsiteX746" fmla="*/ 946785 w 1776793"/>
                  <a:gd name="connsiteY746" fmla="*/ 1616583 h 2197227"/>
                  <a:gd name="connsiteX747" fmla="*/ 936308 w 1776793"/>
                  <a:gd name="connsiteY747" fmla="*/ 1630299 h 2197227"/>
                  <a:gd name="connsiteX748" fmla="*/ 935546 w 1776793"/>
                  <a:gd name="connsiteY748" fmla="*/ 1634776 h 2197227"/>
                  <a:gd name="connsiteX749" fmla="*/ 954024 w 1776793"/>
                  <a:gd name="connsiteY749" fmla="*/ 1628775 h 2197227"/>
                  <a:gd name="connsiteX750" fmla="*/ 955262 w 1776793"/>
                  <a:gd name="connsiteY750" fmla="*/ 1637633 h 2197227"/>
                  <a:gd name="connsiteX751" fmla="*/ 965263 w 1776793"/>
                  <a:gd name="connsiteY751" fmla="*/ 1635157 h 2197227"/>
                  <a:gd name="connsiteX752" fmla="*/ 978980 w 1776793"/>
                  <a:gd name="connsiteY752" fmla="*/ 1613630 h 2197227"/>
                  <a:gd name="connsiteX753" fmla="*/ 992505 w 1776793"/>
                  <a:gd name="connsiteY753" fmla="*/ 1600200 h 2197227"/>
                  <a:gd name="connsiteX754" fmla="*/ 991552 w 1776793"/>
                  <a:gd name="connsiteY754" fmla="*/ 1593247 h 2197227"/>
                  <a:gd name="connsiteX755" fmla="*/ 978027 w 1776793"/>
                  <a:gd name="connsiteY755" fmla="*/ 1604391 h 2197227"/>
                  <a:gd name="connsiteX756" fmla="*/ 968788 w 1776793"/>
                  <a:gd name="connsiteY756" fmla="*/ 1605820 h 2197227"/>
                  <a:gd name="connsiteX757" fmla="*/ 961739 w 1776793"/>
                  <a:gd name="connsiteY757" fmla="*/ 1597438 h 2197227"/>
                  <a:gd name="connsiteX758" fmla="*/ 969740 w 1776793"/>
                  <a:gd name="connsiteY758" fmla="*/ 1583722 h 2197227"/>
                  <a:gd name="connsiteX759" fmla="*/ 981837 w 1776793"/>
                  <a:gd name="connsiteY759" fmla="*/ 1573721 h 2197227"/>
                  <a:gd name="connsiteX760" fmla="*/ 987171 w 1776793"/>
                  <a:gd name="connsiteY760" fmla="*/ 1562481 h 2197227"/>
                  <a:gd name="connsiteX761" fmla="*/ 996791 w 1776793"/>
                  <a:gd name="connsiteY761" fmla="*/ 1553242 h 2197227"/>
                  <a:gd name="connsiteX762" fmla="*/ 1006602 w 1776793"/>
                  <a:gd name="connsiteY762" fmla="*/ 1541717 h 2197227"/>
                  <a:gd name="connsiteX763" fmla="*/ 1009364 w 1776793"/>
                  <a:gd name="connsiteY763" fmla="*/ 1544479 h 2197227"/>
                  <a:gd name="connsiteX764" fmla="*/ 994601 w 1776793"/>
                  <a:gd name="connsiteY764" fmla="*/ 1565434 h 2197227"/>
                  <a:gd name="connsiteX765" fmla="*/ 1006316 w 1776793"/>
                  <a:gd name="connsiteY765" fmla="*/ 1565148 h 2197227"/>
                  <a:gd name="connsiteX766" fmla="*/ 1004126 w 1776793"/>
                  <a:gd name="connsiteY766" fmla="*/ 1585341 h 2197227"/>
                  <a:gd name="connsiteX767" fmla="*/ 995839 w 1776793"/>
                  <a:gd name="connsiteY767" fmla="*/ 1595057 h 2197227"/>
                  <a:gd name="connsiteX768" fmla="*/ 1013841 w 1776793"/>
                  <a:gd name="connsiteY768" fmla="*/ 1594104 h 2197227"/>
                  <a:gd name="connsiteX769" fmla="*/ 1033463 w 1776793"/>
                  <a:gd name="connsiteY769" fmla="*/ 1586960 h 2197227"/>
                  <a:gd name="connsiteX770" fmla="*/ 1059847 w 1776793"/>
                  <a:gd name="connsiteY770" fmla="*/ 1583817 h 2197227"/>
                  <a:gd name="connsiteX771" fmla="*/ 1068134 w 1776793"/>
                  <a:gd name="connsiteY771" fmla="*/ 1583531 h 2197227"/>
                  <a:gd name="connsiteX772" fmla="*/ 1076897 w 1776793"/>
                  <a:gd name="connsiteY772" fmla="*/ 1578578 h 2197227"/>
                  <a:gd name="connsiteX773" fmla="*/ 1088708 w 1776793"/>
                  <a:gd name="connsiteY773" fmla="*/ 1576388 h 2197227"/>
                  <a:gd name="connsiteX774" fmla="*/ 1099471 w 1776793"/>
                  <a:gd name="connsiteY774" fmla="*/ 1581817 h 2197227"/>
                  <a:gd name="connsiteX775" fmla="*/ 1102043 w 1776793"/>
                  <a:gd name="connsiteY775" fmla="*/ 1588770 h 2197227"/>
                  <a:gd name="connsiteX776" fmla="*/ 1091184 w 1776793"/>
                  <a:gd name="connsiteY776" fmla="*/ 1609249 h 2197227"/>
                  <a:gd name="connsiteX777" fmla="*/ 1078135 w 1776793"/>
                  <a:gd name="connsiteY777" fmla="*/ 1618298 h 2197227"/>
                  <a:gd name="connsiteX778" fmla="*/ 1062990 w 1776793"/>
                  <a:gd name="connsiteY778" fmla="*/ 1633633 h 2197227"/>
                  <a:gd name="connsiteX779" fmla="*/ 1038320 w 1776793"/>
                  <a:gd name="connsiteY779" fmla="*/ 1644777 h 2197227"/>
                  <a:gd name="connsiteX780" fmla="*/ 1005935 w 1776793"/>
                  <a:gd name="connsiteY780" fmla="*/ 1654207 h 2197227"/>
                  <a:gd name="connsiteX781" fmla="*/ 981361 w 1776793"/>
                  <a:gd name="connsiteY781" fmla="*/ 1671352 h 2197227"/>
                  <a:gd name="connsiteX782" fmla="*/ 966121 w 1776793"/>
                  <a:gd name="connsiteY782" fmla="*/ 1686687 h 2197227"/>
                  <a:gd name="connsiteX783" fmla="*/ 952976 w 1776793"/>
                  <a:gd name="connsiteY783" fmla="*/ 1707166 h 2197227"/>
                  <a:gd name="connsiteX784" fmla="*/ 921639 w 1776793"/>
                  <a:gd name="connsiteY784" fmla="*/ 1722882 h 2197227"/>
                  <a:gd name="connsiteX785" fmla="*/ 920782 w 1776793"/>
                  <a:gd name="connsiteY785" fmla="*/ 1737265 h 2197227"/>
                  <a:gd name="connsiteX786" fmla="*/ 895826 w 1776793"/>
                  <a:gd name="connsiteY786" fmla="*/ 1751267 h 2197227"/>
                  <a:gd name="connsiteX787" fmla="*/ 884015 w 1776793"/>
                  <a:gd name="connsiteY787" fmla="*/ 1773936 h 2197227"/>
                  <a:gd name="connsiteX788" fmla="*/ 898017 w 1776793"/>
                  <a:gd name="connsiteY788" fmla="*/ 1775174 h 2197227"/>
                  <a:gd name="connsiteX789" fmla="*/ 895064 w 1776793"/>
                  <a:gd name="connsiteY789" fmla="*/ 1789843 h 2197227"/>
                  <a:gd name="connsiteX790" fmla="*/ 911352 w 1776793"/>
                  <a:gd name="connsiteY790" fmla="*/ 1790986 h 2197227"/>
                  <a:gd name="connsiteX791" fmla="*/ 928306 w 1776793"/>
                  <a:gd name="connsiteY791" fmla="*/ 1798701 h 2197227"/>
                  <a:gd name="connsiteX792" fmla="*/ 946976 w 1776793"/>
                  <a:gd name="connsiteY792" fmla="*/ 1788414 h 2197227"/>
                  <a:gd name="connsiteX793" fmla="*/ 967264 w 1776793"/>
                  <a:gd name="connsiteY793" fmla="*/ 1785842 h 2197227"/>
                  <a:gd name="connsiteX794" fmla="*/ 978218 w 1776793"/>
                  <a:gd name="connsiteY794" fmla="*/ 1777556 h 2197227"/>
                  <a:gd name="connsiteX795" fmla="*/ 979075 w 1776793"/>
                  <a:gd name="connsiteY795" fmla="*/ 1770031 h 2197227"/>
                  <a:gd name="connsiteX796" fmla="*/ 997363 w 1776793"/>
                  <a:gd name="connsiteY796" fmla="*/ 1759553 h 2197227"/>
                  <a:gd name="connsiteX797" fmla="*/ 1014889 w 1776793"/>
                  <a:gd name="connsiteY797" fmla="*/ 1757648 h 2197227"/>
                  <a:gd name="connsiteX798" fmla="*/ 1038987 w 1776793"/>
                  <a:gd name="connsiteY798" fmla="*/ 1739932 h 2197227"/>
                  <a:gd name="connsiteX799" fmla="*/ 1045369 w 1776793"/>
                  <a:gd name="connsiteY799" fmla="*/ 1725454 h 2197227"/>
                  <a:gd name="connsiteX800" fmla="*/ 1060704 w 1776793"/>
                  <a:gd name="connsiteY800" fmla="*/ 1718786 h 2197227"/>
                  <a:gd name="connsiteX801" fmla="*/ 1069658 w 1776793"/>
                  <a:gd name="connsiteY801" fmla="*/ 1710785 h 2197227"/>
                  <a:gd name="connsiteX802" fmla="*/ 1066895 w 1776793"/>
                  <a:gd name="connsiteY802" fmla="*/ 1719548 h 2197227"/>
                  <a:gd name="connsiteX803" fmla="*/ 1076611 w 1776793"/>
                  <a:gd name="connsiteY803" fmla="*/ 1720596 h 2197227"/>
                  <a:gd name="connsiteX804" fmla="*/ 1076135 w 1776793"/>
                  <a:gd name="connsiteY804" fmla="*/ 1728121 h 2197227"/>
                  <a:gd name="connsiteX805" fmla="*/ 1083945 w 1776793"/>
                  <a:gd name="connsiteY805" fmla="*/ 1735646 h 2197227"/>
                  <a:gd name="connsiteX806" fmla="*/ 1083945 w 1776793"/>
                  <a:gd name="connsiteY806" fmla="*/ 1736217 h 2197227"/>
                  <a:gd name="connsiteX807" fmla="*/ 1081468 w 1776793"/>
                  <a:gd name="connsiteY807" fmla="*/ 1749933 h 2197227"/>
                  <a:gd name="connsiteX808" fmla="*/ 1081850 w 1776793"/>
                  <a:gd name="connsiteY808" fmla="*/ 1763078 h 2197227"/>
                  <a:gd name="connsiteX809" fmla="*/ 1081468 w 1776793"/>
                  <a:gd name="connsiteY809" fmla="*/ 1763554 h 2197227"/>
                  <a:gd name="connsiteX810" fmla="*/ 1080992 w 1776793"/>
                  <a:gd name="connsiteY810" fmla="*/ 1767935 h 2197227"/>
                  <a:gd name="connsiteX811" fmla="*/ 1083183 w 1776793"/>
                  <a:gd name="connsiteY811" fmla="*/ 1778413 h 2197227"/>
                  <a:gd name="connsiteX812" fmla="*/ 1082135 w 1776793"/>
                  <a:gd name="connsiteY812" fmla="*/ 1786509 h 2197227"/>
                  <a:gd name="connsiteX813" fmla="*/ 1083659 w 1776793"/>
                  <a:gd name="connsiteY813" fmla="*/ 1786319 h 2197227"/>
                  <a:gd name="connsiteX814" fmla="*/ 1080992 w 1776793"/>
                  <a:gd name="connsiteY814" fmla="*/ 1793177 h 2197227"/>
                  <a:gd name="connsiteX815" fmla="*/ 1074230 w 1776793"/>
                  <a:gd name="connsiteY815" fmla="*/ 1801559 h 2197227"/>
                  <a:gd name="connsiteX816" fmla="*/ 1060228 w 1776793"/>
                  <a:gd name="connsiteY816" fmla="*/ 1809941 h 2197227"/>
                  <a:gd name="connsiteX817" fmla="*/ 1044512 w 1776793"/>
                  <a:gd name="connsiteY817" fmla="*/ 1816418 h 2197227"/>
                  <a:gd name="connsiteX818" fmla="*/ 1042606 w 1776793"/>
                  <a:gd name="connsiteY818" fmla="*/ 1822514 h 2197227"/>
                  <a:gd name="connsiteX819" fmla="*/ 1034510 w 1776793"/>
                  <a:gd name="connsiteY819" fmla="*/ 1820228 h 2197227"/>
                  <a:gd name="connsiteX820" fmla="*/ 1021080 w 1776793"/>
                  <a:gd name="connsiteY820" fmla="*/ 1826514 h 2197227"/>
                  <a:gd name="connsiteX821" fmla="*/ 1005840 w 1776793"/>
                  <a:gd name="connsiteY821" fmla="*/ 1836706 h 2197227"/>
                  <a:gd name="connsiteX822" fmla="*/ 1000220 w 1776793"/>
                  <a:gd name="connsiteY822" fmla="*/ 1844135 h 2197227"/>
                  <a:gd name="connsiteX823" fmla="*/ 988124 w 1776793"/>
                  <a:gd name="connsiteY823" fmla="*/ 1855470 h 2197227"/>
                  <a:gd name="connsiteX824" fmla="*/ 978694 w 1776793"/>
                  <a:gd name="connsiteY824" fmla="*/ 1858423 h 2197227"/>
                  <a:gd name="connsiteX825" fmla="*/ 958691 w 1776793"/>
                  <a:gd name="connsiteY825" fmla="*/ 1864805 h 2197227"/>
                  <a:gd name="connsiteX826" fmla="*/ 939355 w 1776793"/>
                  <a:gd name="connsiteY826" fmla="*/ 1870900 h 2197227"/>
                  <a:gd name="connsiteX827" fmla="*/ 914591 w 1776793"/>
                  <a:gd name="connsiteY827" fmla="*/ 1883092 h 2197227"/>
                  <a:gd name="connsiteX828" fmla="*/ 908209 w 1776793"/>
                  <a:gd name="connsiteY828" fmla="*/ 1881378 h 2197227"/>
                  <a:gd name="connsiteX829" fmla="*/ 888873 w 1776793"/>
                  <a:gd name="connsiteY829" fmla="*/ 1888522 h 2197227"/>
                  <a:gd name="connsiteX830" fmla="*/ 882015 w 1776793"/>
                  <a:gd name="connsiteY830" fmla="*/ 1889189 h 2197227"/>
                  <a:gd name="connsiteX831" fmla="*/ 874967 w 1776793"/>
                  <a:gd name="connsiteY831" fmla="*/ 1892237 h 2197227"/>
                  <a:gd name="connsiteX832" fmla="*/ 866204 w 1776793"/>
                  <a:gd name="connsiteY832" fmla="*/ 1889570 h 2197227"/>
                  <a:gd name="connsiteX833" fmla="*/ 839534 w 1776793"/>
                  <a:gd name="connsiteY833" fmla="*/ 1897571 h 2197227"/>
                  <a:gd name="connsiteX834" fmla="*/ 827056 w 1776793"/>
                  <a:gd name="connsiteY834" fmla="*/ 1904333 h 2197227"/>
                  <a:gd name="connsiteX835" fmla="*/ 815340 w 1776793"/>
                  <a:gd name="connsiteY835" fmla="*/ 1915287 h 2197227"/>
                  <a:gd name="connsiteX836" fmla="*/ 811435 w 1776793"/>
                  <a:gd name="connsiteY836" fmla="*/ 1923383 h 2197227"/>
                  <a:gd name="connsiteX837" fmla="*/ 819341 w 1776793"/>
                  <a:gd name="connsiteY837" fmla="*/ 1930908 h 2197227"/>
                  <a:gd name="connsiteX838" fmla="*/ 811816 w 1776793"/>
                  <a:gd name="connsiteY838" fmla="*/ 1939671 h 2197227"/>
                  <a:gd name="connsiteX839" fmla="*/ 803243 w 1776793"/>
                  <a:gd name="connsiteY839" fmla="*/ 1946053 h 2197227"/>
                  <a:gd name="connsiteX840" fmla="*/ 780097 w 1776793"/>
                  <a:gd name="connsiteY840" fmla="*/ 1947291 h 2197227"/>
                  <a:gd name="connsiteX841" fmla="*/ 750380 w 1776793"/>
                  <a:gd name="connsiteY841" fmla="*/ 1951006 h 2197227"/>
                  <a:gd name="connsiteX842" fmla="*/ 731710 w 1776793"/>
                  <a:gd name="connsiteY842" fmla="*/ 1953863 h 2197227"/>
                  <a:gd name="connsiteX843" fmla="*/ 719328 w 1776793"/>
                  <a:gd name="connsiteY843" fmla="*/ 1945481 h 2197227"/>
                  <a:gd name="connsiteX844" fmla="*/ 691420 w 1776793"/>
                  <a:gd name="connsiteY844" fmla="*/ 1946720 h 2197227"/>
                  <a:gd name="connsiteX845" fmla="*/ 674275 w 1776793"/>
                  <a:gd name="connsiteY845" fmla="*/ 1948529 h 2197227"/>
                  <a:gd name="connsiteX846" fmla="*/ 666179 w 1776793"/>
                  <a:gd name="connsiteY846" fmla="*/ 1951577 h 2197227"/>
                  <a:gd name="connsiteX847" fmla="*/ 641699 w 1776793"/>
                  <a:gd name="connsiteY847" fmla="*/ 1952149 h 2197227"/>
                  <a:gd name="connsiteX848" fmla="*/ 633698 w 1776793"/>
                  <a:gd name="connsiteY848" fmla="*/ 1951577 h 2197227"/>
                  <a:gd name="connsiteX849" fmla="*/ 627412 w 1776793"/>
                  <a:gd name="connsiteY849" fmla="*/ 1946243 h 2197227"/>
                  <a:gd name="connsiteX850" fmla="*/ 617125 w 1776793"/>
                  <a:gd name="connsiteY850" fmla="*/ 1947958 h 2197227"/>
                  <a:gd name="connsiteX851" fmla="*/ 611981 w 1776793"/>
                  <a:gd name="connsiteY851" fmla="*/ 1941290 h 2197227"/>
                  <a:gd name="connsiteX852" fmla="*/ 623697 w 1776793"/>
                  <a:gd name="connsiteY852" fmla="*/ 1932051 h 2197227"/>
                  <a:gd name="connsiteX853" fmla="*/ 623983 w 1776793"/>
                  <a:gd name="connsiteY853" fmla="*/ 1919573 h 2197227"/>
                  <a:gd name="connsiteX854" fmla="*/ 616649 w 1776793"/>
                  <a:gd name="connsiteY854" fmla="*/ 1917383 h 2197227"/>
                  <a:gd name="connsiteX855" fmla="*/ 615505 w 1776793"/>
                  <a:gd name="connsiteY855" fmla="*/ 1910810 h 2197227"/>
                  <a:gd name="connsiteX856" fmla="*/ 623792 w 1776793"/>
                  <a:gd name="connsiteY856" fmla="*/ 1901952 h 2197227"/>
                  <a:gd name="connsiteX857" fmla="*/ 621887 w 1776793"/>
                  <a:gd name="connsiteY857" fmla="*/ 1899475 h 2197227"/>
                  <a:gd name="connsiteX858" fmla="*/ 606647 w 1776793"/>
                  <a:gd name="connsiteY858" fmla="*/ 1907858 h 2197227"/>
                  <a:gd name="connsiteX859" fmla="*/ 605885 w 1776793"/>
                  <a:gd name="connsiteY859" fmla="*/ 1900428 h 2197227"/>
                  <a:gd name="connsiteX860" fmla="*/ 592169 w 1776793"/>
                  <a:gd name="connsiteY860" fmla="*/ 1901000 h 2197227"/>
                  <a:gd name="connsiteX861" fmla="*/ 572167 w 1776793"/>
                  <a:gd name="connsiteY861" fmla="*/ 1910144 h 2197227"/>
                  <a:gd name="connsiteX862" fmla="*/ 559118 w 1776793"/>
                  <a:gd name="connsiteY862" fmla="*/ 1912906 h 2197227"/>
                  <a:gd name="connsiteX863" fmla="*/ 550831 w 1776793"/>
                  <a:gd name="connsiteY863" fmla="*/ 1910525 h 2197227"/>
                  <a:gd name="connsiteX864" fmla="*/ 530257 w 1776793"/>
                  <a:gd name="connsiteY864" fmla="*/ 1913096 h 2197227"/>
                  <a:gd name="connsiteX865" fmla="*/ 512540 w 1776793"/>
                  <a:gd name="connsiteY865" fmla="*/ 1920716 h 2197227"/>
                  <a:gd name="connsiteX866" fmla="*/ 502539 w 1776793"/>
                  <a:gd name="connsiteY866" fmla="*/ 1919383 h 2197227"/>
                  <a:gd name="connsiteX867" fmla="*/ 470440 w 1776793"/>
                  <a:gd name="connsiteY867" fmla="*/ 1922812 h 2197227"/>
                  <a:gd name="connsiteX868" fmla="*/ 437483 w 1776793"/>
                  <a:gd name="connsiteY868" fmla="*/ 1926717 h 2197227"/>
                  <a:gd name="connsiteX869" fmla="*/ 418719 w 1776793"/>
                  <a:gd name="connsiteY869" fmla="*/ 1931480 h 2197227"/>
                  <a:gd name="connsiteX870" fmla="*/ 406337 w 1776793"/>
                  <a:gd name="connsiteY870" fmla="*/ 1937480 h 2197227"/>
                  <a:gd name="connsiteX871" fmla="*/ 384905 w 1776793"/>
                  <a:gd name="connsiteY871" fmla="*/ 1939671 h 2197227"/>
                  <a:gd name="connsiteX872" fmla="*/ 365570 w 1776793"/>
                  <a:gd name="connsiteY872" fmla="*/ 1946815 h 2197227"/>
                  <a:gd name="connsiteX873" fmla="*/ 356902 w 1776793"/>
                  <a:gd name="connsiteY873" fmla="*/ 1946339 h 2197227"/>
                  <a:gd name="connsiteX874" fmla="*/ 336518 w 1776793"/>
                  <a:gd name="connsiteY874" fmla="*/ 1942148 h 2197227"/>
                  <a:gd name="connsiteX875" fmla="*/ 317563 w 1776793"/>
                  <a:gd name="connsiteY875" fmla="*/ 1941766 h 2197227"/>
                  <a:gd name="connsiteX876" fmla="*/ 306134 w 1776793"/>
                  <a:gd name="connsiteY876" fmla="*/ 1934718 h 2197227"/>
                  <a:gd name="connsiteX877" fmla="*/ 291655 w 1776793"/>
                  <a:gd name="connsiteY877" fmla="*/ 1933194 h 2197227"/>
                  <a:gd name="connsiteX878" fmla="*/ 284512 w 1776793"/>
                  <a:gd name="connsiteY878" fmla="*/ 1941195 h 2197227"/>
                  <a:gd name="connsiteX879" fmla="*/ 269558 w 1776793"/>
                  <a:gd name="connsiteY879" fmla="*/ 1953958 h 2197227"/>
                  <a:gd name="connsiteX880" fmla="*/ 253937 w 1776793"/>
                  <a:gd name="connsiteY880" fmla="*/ 1957673 h 2197227"/>
                  <a:gd name="connsiteX881" fmla="*/ 232886 w 1776793"/>
                  <a:gd name="connsiteY881" fmla="*/ 1960816 h 2197227"/>
                  <a:gd name="connsiteX882" fmla="*/ 218503 w 1776793"/>
                  <a:gd name="connsiteY882" fmla="*/ 1967579 h 2197227"/>
                  <a:gd name="connsiteX883" fmla="*/ 214694 w 1776793"/>
                  <a:gd name="connsiteY883" fmla="*/ 1973866 h 2197227"/>
                  <a:gd name="connsiteX884" fmla="*/ 205073 w 1776793"/>
                  <a:gd name="connsiteY884" fmla="*/ 1983391 h 2197227"/>
                  <a:gd name="connsiteX885" fmla="*/ 207645 w 1776793"/>
                  <a:gd name="connsiteY885" fmla="*/ 1999488 h 2197227"/>
                  <a:gd name="connsiteX886" fmla="*/ 188500 w 1776793"/>
                  <a:gd name="connsiteY886" fmla="*/ 2006251 h 2197227"/>
                  <a:gd name="connsiteX887" fmla="*/ 177451 w 1776793"/>
                  <a:gd name="connsiteY887" fmla="*/ 2007394 h 2197227"/>
                  <a:gd name="connsiteX888" fmla="*/ 159353 w 1776793"/>
                  <a:gd name="connsiteY888" fmla="*/ 2011871 h 2197227"/>
                  <a:gd name="connsiteX889" fmla="*/ 139541 w 1776793"/>
                  <a:gd name="connsiteY889" fmla="*/ 2008918 h 2197227"/>
                  <a:gd name="connsiteX890" fmla="*/ 128016 w 1776793"/>
                  <a:gd name="connsiteY890" fmla="*/ 2010728 h 2197227"/>
                  <a:gd name="connsiteX891" fmla="*/ 127635 w 1776793"/>
                  <a:gd name="connsiteY891" fmla="*/ 2010728 h 2197227"/>
                  <a:gd name="connsiteX892" fmla="*/ 111633 w 1776793"/>
                  <a:gd name="connsiteY892" fmla="*/ 2018633 h 2197227"/>
                  <a:gd name="connsiteX893" fmla="*/ 96583 w 1776793"/>
                  <a:gd name="connsiteY893" fmla="*/ 2018919 h 2197227"/>
                  <a:gd name="connsiteX894" fmla="*/ 87249 w 1776793"/>
                  <a:gd name="connsiteY894" fmla="*/ 2023300 h 2197227"/>
                  <a:gd name="connsiteX895" fmla="*/ 85344 w 1776793"/>
                  <a:gd name="connsiteY895" fmla="*/ 2028539 h 2197227"/>
                  <a:gd name="connsiteX896" fmla="*/ 78105 w 1776793"/>
                  <a:gd name="connsiteY896" fmla="*/ 2032825 h 2197227"/>
                  <a:gd name="connsiteX897" fmla="*/ 70485 w 1776793"/>
                  <a:gd name="connsiteY897" fmla="*/ 2032445 h 2197227"/>
                  <a:gd name="connsiteX898" fmla="*/ 56864 w 1776793"/>
                  <a:gd name="connsiteY898" fmla="*/ 2035207 h 2197227"/>
                  <a:gd name="connsiteX899" fmla="*/ 47625 w 1776793"/>
                  <a:gd name="connsiteY899" fmla="*/ 2039588 h 2197227"/>
                  <a:gd name="connsiteX900" fmla="*/ 48101 w 1776793"/>
                  <a:gd name="connsiteY900" fmla="*/ 2043113 h 2197227"/>
                  <a:gd name="connsiteX901" fmla="*/ 39624 w 1776793"/>
                  <a:gd name="connsiteY901" fmla="*/ 2045684 h 2197227"/>
                  <a:gd name="connsiteX902" fmla="*/ 30575 w 1776793"/>
                  <a:gd name="connsiteY902" fmla="*/ 2045684 h 2197227"/>
                  <a:gd name="connsiteX903" fmla="*/ 28384 w 1776793"/>
                  <a:gd name="connsiteY903" fmla="*/ 2049208 h 2197227"/>
                  <a:gd name="connsiteX904" fmla="*/ 26384 w 1776793"/>
                  <a:gd name="connsiteY904" fmla="*/ 2052447 h 2197227"/>
                  <a:gd name="connsiteX905" fmla="*/ 36767 w 1776793"/>
                  <a:gd name="connsiteY905" fmla="*/ 2059496 h 2197227"/>
                  <a:gd name="connsiteX906" fmla="*/ 41338 w 1776793"/>
                  <a:gd name="connsiteY906" fmla="*/ 2065020 h 2197227"/>
                  <a:gd name="connsiteX907" fmla="*/ 38005 w 1776793"/>
                  <a:gd name="connsiteY907" fmla="*/ 2068354 h 2197227"/>
                  <a:gd name="connsiteX908" fmla="*/ 39529 w 1776793"/>
                  <a:gd name="connsiteY908" fmla="*/ 2073021 h 2197227"/>
                  <a:gd name="connsiteX909" fmla="*/ 39815 w 1776793"/>
                  <a:gd name="connsiteY909" fmla="*/ 2081117 h 2197227"/>
                  <a:gd name="connsiteX910" fmla="*/ 35147 w 1776793"/>
                  <a:gd name="connsiteY910" fmla="*/ 2087023 h 2197227"/>
                  <a:gd name="connsiteX911" fmla="*/ 27908 w 1776793"/>
                  <a:gd name="connsiteY911" fmla="*/ 2088547 h 2197227"/>
                  <a:gd name="connsiteX912" fmla="*/ 28765 w 1776793"/>
                  <a:gd name="connsiteY912" fmla="*/ 2092642 h 2197227"/>
                  <a:gd name="connsiteX913" fmla="*/ 22479 w 1776793"/>
                  <a:gd name="connsiteY913" fmla="*/ 2094357 h 2197227"/>
                  <a:gd name="connsiteX914" fmla="*/ 10287 w 1776793"/>
                  <a:gd name="connsiteY914" fmla="*/ 2095309 h 2197227"/>
                  <a:gd name="connsiteX915" fmla="*/ 0 w 1776793"/>
                  <a:gd name="connsiteY915" fmla="*/ 2093309 h 2197227"/>
                  <a:gd name="connsiteX916" fmla="*/ 10573 w 1776793"/>
                  <a:gd name="connsiteY916" fmla="*/ 2098929 h 2197227"/>
                  <a:gd name="connsiteX917" fmla="*/ 18574 w 1776793"/>
                  <a:gd name="connsiteY917" fmla="*/ 2106168 h 2197227"/>
                  <a:gd name="connsiteX918" fmla="*/ 14954 w 1776793"/>
                  <a:gd name="connsiteY918" fmla="*/ 2107692 h 2197227"/>
                  <a:gd name="connsiteX919" fmla="*/ 17526 w 1776793"/>
                  <a:gd name="connsiteY919" fmla="*/ 2112740 h 2197227"/>
                  <a:gd name="connsiteX920" fmla="*/ 18669 w 1776793"/>
                  <a:gd name="connsiteY920" fmla="*/ 2114264 h 2197227"/>
                  <a:gd name="connsiteX921" fmla="*/ 25336 w 1776793"/>
                  <a:gd name="connsiteY921" fmla="*/ 2117313 h 2197227"/>
                  <a:gd name="connsiteX922" fmla="*/ 24955 w 1776793"/>
                  <a:gd name="connsiteY922" fmla="*/ 2117979 h 2197227"/>
                  <a:gd name="connsiteX923" fmla="*/ 29813 w 1776793"/>
                  <a:gd name="connsiteY923" fmla="*/ 2120837 h 2197227"/>
                  <a:gd name="connsiteX924" fmla="*/ 39433 w 1776793"/>
                  <a:gd name="connsiteY924" fmla="*/ 2123885 h 2197227"/>
                  <a:gd name="connsiteX925" fmla="*/ 51244 w 1776793"/>
                  <a:gd name="connsiteY925" fmla="*/ 2129219 h 2197227"/>
                  <a:gd name="connsiteX926" fmla="*/ 57817 w 1776793"/>
                  <a:gd name="connsiteY926" fmla="*/ 2131790 h 2197227"/>
                  <a:gd name="connsiteX927" fmla="*/ 60960 w 1776793"/>
                  <a:gd name="connsiteY927" fmla="*/ 2133695 h 2197227"/>
                  <a:gd name="connsiteX928" fmla="*/ 63055 w 1776793"/>
                  <a:gd name="connsiteY928" fmla="*/ 2136267 h 2197227"/>
                  <a:gd name="connsiteX929" fmla="*/ 68675 w 1776793"/>
                  <a:gd name="connsiteY929" fmla="*/ 2138553 h 2197227"/>
                  <a:gd name="connsiteX930" fmla="*/ 74486 w 1776793"/>
                  <a:gd name="connsiteY930" fmla="*/ 2140553 h 2197227"/>
                  <a:gd name="connsiteX931" fmla="*/ 83153 w 1776793"/>
                  <a:gd name="connsiteY931" fmla="*/ 2144363 h 2197227"/>
                  <a:gd name="connsiteX932" fmla="*/ 92869 w 1776793"/>
                  <a:gd name="connsiteY932" fmla="*/ 2149031 h 2197227"/>
                  <a:gd name="connsiteX933" fmla="*/ 95155 w 1776793"/>
                  <a:gd name="connsiteY933" fmla="*/ 2152269 h 2197227"/>
                  <a:gd name="connsiteX934" fmla="*/ 98965 w 1776793"/>
                  <a:gd name="connsiteY934" fmla="*/ 2154460 h 2197227"/>
                  <a:gd name="connsiteX935" fmla="*/ 110871 w 1776793"/>
                  <a:gd name="connsiteY935" fmla="*/ 2158937 h 2197227"/>
                  <a:gd name="connsiteX936" fmla="*/ 127635 w 1776793"/>
                  <a:gd name="connsiteY936" fmla="*/ 2163794 h 2197227"/>
                  <a:gd name="connsiteX937" fmla="*/ 134017 w 1776793"/>
                  <a:gd name="connsiteY937" fmla="*/ 2165318 h 2197227"/>
                  <a:gd name="connsiteX938" fmla="*/ 149638 w 1776793"/>
                  <a:gd name="connsiteY938" fmla="*/ 2170176 h 2197227"/>
                  <a:gd name="connsiteX939" fmla="*/ 169736 w 1776793"/>
                  <a:gd name="connsiteY939" fmla="*/ 2175224 h 2197227"/>
                  <a:gd name="connsiteX940" fmla="*/ 191167 w 1776793"/>
                  <a:gd name="connsiteY940" fmla="*/ 2180558 h 2197227"/>
                  <a:gd name="connsiteX941" fmla="*/ 215741 w 1776793"/>
                  <a:gd name="connsiteY941" fmla="*/ 2185130 h 2197227"/>
                  <a:gd name="connsiteX942" fmla="*/ 222028 w 1776793"/>
                  <a:gd name="connsiteY942" fmla="*/ 2185988 h 2197227"/>
                  <a:gd name="connsiteX943" fmla="*/ 226695 w 1776793"/>
                  <a:gd name="connsiteY943" fmla="*/ 2186655 h 2197227"/>
                  <a:gd name="connsiteX944" fmla="*/ 250698 w 1776793"/>
                  <a:gd name="connsiteY944" fmla="*/ 2188940 h 2197227"/>
                  <a:gd name="connsiteX945" fmla="*/ 267557 w 1776793"/>
                  <a:gd name="connsiteY945" fmla="*/ 2190179 h 2197227"/>
                  <a:gd name="connsiteX946" fmla="*/ 296227 w 1776793"/>
                  <a:gd name="connsiteY946" fmla="*/ 2192465 h 2197227"/>
                  <a:gd name="connsiteX947" fmla="*/ 311753 w 1776793"/>
                  <a:gd name="connsiteY947" fmla="*/ 2193608 h 2197227"/>
                  <a:gd name="connsiteX948" fmla="*/ 328613 w 1776793"/>
                  <a:gd name="connsiteY948" fmla="*/ 2195132 h 2197227"/>
                  <a:gd name="connsiteX949" fmla="*/ 339662 w 1776793"/>
                  <a:gd name="connsiteY949" fmla="*/ 2195703 h 2197227"/>
                  <a:gd name="connsiteX950" fmla="*/ 361283 w 1776793"/>
                  <a:gd name="connsiteY950" fmla="*/ 2197227 h 2197227"/>
                  <a:gd name="connsiteX951" fmla="*/ 383191 w 1776793"/>
                  <a:gd name="connsiteY951" fmla="*/ 2197227 h 2197227"/>
                  <a:gd name="connsiteX952" fmla="*/ 396716 w 1776793"/>
                  <a:gd name="connsiteY952" fmla="*/ 2196656 h 2197227"/>
                  <a:gd name="connsiteX953" fmla="*/ 434721 w 1776793"/>
                  <a:gd name="connsiteY953" fmla="*/ 2195036 h 2197227"/>
                  <a:gd name="connsiteX954" fmla="*/ 454247 w 1776793"/>
                  <a:gd name="connsiteY954" fmla="*/ 2193989 h 2197227"/>
                  <a:gd name="connsiteX955" fmla="*/ 474250 w 1776793"/>
                  <a:gd name="connsiteY955" fmla="*/ 2192846 h 2197227"/>
                  <a:gd name="connsiteX956" fmla="*/ 495586 w 1776793"/>
                  <a:gd name="connsiteY956" fmla="*/ 2191703 h 2197227"/>
                  <a:gd name="connsiteX957" fmla="*/ 513779 w 1776793"/>
                  <a:gd name="connsiteY957" fmla="*/ 2190464 h 2197227"/>
                  <a:gd name="connsiteX958" fmla="*/ 531019 w 1776793"/>
                  <a:gd name="connsiteY958" fmla="*/ 2190750 h 2197227"/>
                  <a:gd name="connsiteX959" fmla="*/ 539115 w 1776793"/>
                  <a:gd name="connsiteY959" fmla="*/ 2191607 h 2197227"/>
                  <a:gd name="connsiteX960" fmla="*/ 552164 w 1776793"/>
                  <a:gd name="connsiteY960" fmla="*/ 2191607 h 2197227"/>
                  <a:gd name="connsiteX961" fmla="*/ 571500 w 1776793"/>
                  <a:gd name="connsiteY961" fmla="*/ 2189417 h 2197227"/>
                  <a:gd name="connsiteX962" fmla="*/ 580739 w 1776793"/>
                  <a:gd name="connsiteY962" fmla="*/ 2187893 h 2197227"/>
                  <a:gd name="connsiteX963" fmla="*/ 589883 w 1776793"/>
                  <a:gd name="connsiteY963" fmla="*/ 2186845 h 2197227"/>
                  <a:gd name="connsiteX964" fmla="*/ 614743 w 1776793"/>
                  <a:gd name="connsiteY964" fmla="*/ 2182654 h 2197227"/>
                  <a:gd name="connsiteX965" fmla="*/ 614553 w 1776793"/>
                  <a:gd name="connsiteY965" fmla="*/ 2183225 h 2197227"/>
                  <a:gd name="connsiteX966" fmla="*/ 620744 w 1776793"/>
                  <a:gd name="connsiteY966" fmla="*/ 2182559 h 2197227"/>
                  <a:gd name="connsiteX967" fmla="*/ 625697 w 1776793"/>
                  <a:gd name="connsiteY967" fmla="*/ 2182559 h 2197227"/>
                  <a:gd name="connsiteX968" fmla="*/ 636746 w 1776793"/>
                  <a:gd name="connsiteY968" fmla="*/ 2181035 h 2197227"/>
                  <a:gd name="connsiteX969" fmla="*/ 646271 w 1776793"/>
                  <a:gd name="connsiteY969" fmla="*/ 2180368 h 2197227"/>
                  <a:gd name="connsiteX970" fmla="*/ 642938 w 1776793"/>
                  <a:gd name="connsiteY970" fmla="*/ 2181892 h 2197227"/>
                  <a:gd name="connsiteX971" fmla="*/ 634841 w 1776793"/>
                  <a:gd name="connsiteY971" fmla="*/ 2184083 h 2197227"/>
                  <a:gd name="connsiteX972" fmla="*/ 639318 w 1776793"/>
                  <a:gd name="connsiteY972" fmla="*/ 2183416 h 2197227"/>
                  <a:gd name="connsiteX973" fmla="*/ 634460 w 1776793"/>
                  <a:gd name="connsiteY973" fmla="*/ 2184464 h 2197227"/>
                  <a:gd name="connsiteX974" fmla="*/ 634175 w 1776793"/>
                  <a:gd name="connsiteY974" fmla="*/ 2184464 h 2197227"/>
                  <a:gd name="connsiteX975" fmla="*/ 637222 w 1776793"/>
                  <a:gd name="connsiteY975" fmla="*/ 2183988 h 2197227"/>
                  <a:gd name="connsiteX976" fmla="*/ 653129 w 1776793"/>
                  <a:gd name="connsiteY976" fmla="*/ 2181225 h 2197227"/>
                  <a:gd name="connsiteX977" fmla="*/ 677704 w 1776793"/>
                  <a:gd name="connsiteY977" fmla="*/ 2176653 h 2197227"/>
                  <a:gd name="connsiteX978" fmla="*/ 694944 w 1776793"/>
                  <a:gd name="connsiteY978" fmla="*/ 2173129 h 2197227"/>
                  <a:gd name="connsiteX979" fmla="*/ 694754 w 1776793"/>
                  <a:gd name="connsiteY979" fmla="*/ 2173129 h 2197227"/>
                  <a:gd name="connsiteX980" fmla="*/ 694468 w 1776793"/>
                  <a:gd name="connsiteY980" fmla="*/ 2173224 h 2197227"/>
                  <a:gd name="connsiteX981" fmla="*/ 686848 w 1776793"/>
                  <a:gd name="connsiteY981" fmla="*/ 2174843 h 2197227"/>
                  <a:gd name="connsiteX982" fmla="*/ 694468 w 1776793"/>
                  <a:gd name="connsiteY982" fmla="*/ 2173224 h 2197227"/>
                  <a:gd name="connsiteX983" fmla="*/ 693515 w 1776793"/>
                  <a:gd name="connsiteY983" fmla="*/ 2173415 h 2197227"/>
                  <a:gd name="connsiteX984" fmla="*/ 690753 w 1776793"/>
                  <a:gd name="connsiteY984" fmla="*/ 2173986 h 2197227"/>
                  <a:gd name="connsiteX985" fmla="*/ 693039 w 1776793"/>
                  <a:gd name="connsiteY985" fmla="*/ 2173510 h 2197227"/>
                  <a:gd name="connsiteX986" fmla="*/ 693801 w 1776793"/>
                  <a:gd name="connsiteY986" fmla="*/ 2173319 h 2197227"/>
                  <a:gd name="connsiteX987" fmla="*/ 694182 w 1776793"/>
                  <a:gd name="connsiteY987" fmla="*/ 2173319 h 2197227"/>
                  <a:gd name="connsiteX988" fmla="*/ 695039 w 1776793"/>
                  <a:gd name="connsiteY988" fmla="*/ 2173034 h 2197227"/>
                  <a:gd name="connsiteX989" fmla="*/ 695134 w 1776793"/>
                  <a:gd name="connsiteY989" fmla="*/ 2173034 h 2197227"/>
                  <a:gd name="connsiteX990" fmla="*/ 695134 w 1776793"/>
                  <a:gd name="connsiteY990" fmla="*/ 2173034 h 2197227"/>
                  <a:gd name="connsiteX991" fmla="*/ 695039 w 1776793"/>
                  <a:gd name="connsiteY991" fmla="*/ 2173034 h 2197227"/>
                  <a:gd name="connsiteX992" fmla="*/ 695325 w 1776793"/>
                  <a:gd name="connsiteY992" fmla="*/ 2173034 h 2197227"/>
                  <a:gd name="connsiteX993" fmla="*/ 695230 w 1776793"/>
                  <a:gd name="connsiteY993" fmla="*/ 2173034 h 2197227"/>
                  <a:gd name="connsiteX994" fmla="*/ 695992 w 1776793"/>
                  <a:gd name="connsiteY994" fmla="*/ 2172938 h 2197227"/>
                  <a:gd name="connsiteX995" fmla="*/ 695516 w 1776793"/>
                  <a:gd name="connsiteY995" fmla="*/ 2172938 h 2197227"/>
                  <a:gd name="connsiteX996" fmla="*/ 696277 w 1776793"/>
                  <a:gd name="connsiteY996" fmla="*/ 2172938 h 2197227"/>
                  <a:gd name="connsiteX997" fmla="*/ 697421 w 1776793"/>
                  <a:gd name="connsiteY997" fmla="*/ 2172653 h 2197227"/>
                  <a:gd name="connsiteX998" fmla="*/ 700564 w 1776793"/>
                  <a:gd name="connsiteY998" fmla="*/ 2171986 h 2197227"/>
                  <a:gd name="connsiteX999" fmla="*/ 700468 w 1776793"/>
                  <a:gd name="connsiteY999" fmla="*/ 2171986 h 2197227"/>
                  <a:gd name="connsiteX1000" fmla="*/ 703326 w 1776793"/>
                  <a:gd name="connsiteY1000" fmla="*/ 2171414 h 2197227"/>
                  <a:gd name="connsiteX1001" fmla="*/ 703612 w 1776793"/>
                  <a:gd name="connsiteY1001" fmla="*/ 2171414 h 2197227"/>
                  <a:gd name="connsiteX1002" fmla="*/ 700564 w 1776793"/>
                  <a:gd name="connsiteY1002" fmla="*/ 2171986 h 2197227"/>
                  <a:gd name="connsiteX1003" fmla="*/ 702374 w 1776793"/>
                  <a:gd name="connsiteY1003" fmla="*/ 2171605 h 2197227"/>
                  <a:gd name="connsiteX1004" fmla="*/ 703612 w 1776793"/>
                  <a:gd name="connsiteY1004" fmla="*/ 2171319 h 2197227"/>
                  <a:gd name="connsiteX1005" fmla="*/ 704088 w 1776793"/>
                  <a:gd name="connsiteY1005" fmla="*/ 2171319 h 2197227"/>
                  <a:gd name="connsiteX1006" fmla="*/ 704564 w 1776793"/>
                  <a:gd name="connsiteY1006" fmla="*/ 2171129 h 2197227"/>
                  <a:gd name="connsiteX1007" fmla="*/ 704945 w 1776793"/>
                  <a:gd name="connsiteY1007" fmla="*/ 2171129 h 2197227"/>
                  <a:gd name="connsiteX1008" fmla="*/ 707041 w 1776793"/>
                  <a:gd name="connsiteY1008" fmla="*/ 2170557 h 2197227"/>
                  <a:gd name="connsiteX1009" fmla="*/ 710089 w 1776793"/>
                  <a:gd name="connsiteY1009" fmla="*/ 2169890 h 2197227"/>
                  <a:gd name="connsiteX1010" fmla="*/ 710660 w 1776793"/>
                  <a:gd name="connsiteY1010" fmla="*/ 2169890 h 2197227"/>
                  <a:gd name="connsiteX1011" fmla="*/ 711422 w 1776793"/>
                  <a:gd name="connsiteY1011" fmla="*/ 2169605 h 2197227"/>
                  <a:gd name="connsiteX1012" fmla="*/ 713232 w 1776793"/>
                  <a:gd name="connsiteY1012" fmla="*/ 2169224 h 2197227"/>
                  <a:gd name="connsiteX1013" fmla="*/ 713422 w 1776793"/>
                  <a:gd name="connsiteY1013" fmla="*/ 2169224 h 2197227"/>
                  <a:gd name="connsiteX1014" fmla="*/ 714375 w 1776793"/>
                  <a:gd name="connsiteY1014" fmla="*/ 2168938 h 2197227"/>
                  <a:gd name="connsiteX1015" fmla="*/ 715423 w 1776793"/>
                  <a:gd name="connsiteY1015" fmla="*/ 2168652 h 2197227"/>
                  <a:gd name="connsiteX1016" fmla="*/ 716566 w 1776793"/>
                  <a:gd name="connsiteY1016" fmla="*/ 2168366 h 2197227"/>
                  <a:gd name="connsiteX1017" fmla="*/ 717233 w 1776793"/>
                  <a:gd name="connsiteY1017" fmla="*/ 2168366 h 2197227"/>
                  <a:gd name="connsiteX1018" fmla="*/ 717423 w 1776793"/>
                  <a:gd name="connsiteY1018" fmla="*/ 2168176 h 2197227"/>
                  <a:gd name="connsiteX1019" fmla="*/ 717709 w 1776793"/>
                  <a:gd name="connsiteY1019" fmla="*/ 2168176 h 2197227"/>
                  <a:gd name="connsiteX1020" fmla="*/ 719328 w 1776793"/>
                  <a:gd name="connsiteY1020" fmla="*/ 2167700 h 2197227"/>
                  <a:gd name="connsiteX1021" fmla="*/ 719709 w 1776793"/>
                  <a:gd name="connsiteY1021" fmla="*/ 2167700 h 2197227"/>
                  <a:gd name="connsiteX1022" fmla="*/ 721805 w 1776793"/>
                  <a:gd name="connsiteY1022" fmla="*/ 2167128 h 2197227"/>
                  <a:gd name="connsiteX1023" fmla="*/ 723043 w 1776793"/>
                  <a:gd name="connsiteY1023" fmla="*/ 2166842 h 2197227"/>
                  <a:gd name="connsiteX1024" fmla="*/ 723995 w 1776793"/>
                  <a:gd name="connsiteY1024" fmla="*/ 2166652 h 2197227"/>
                  <a:gd name="connsiteX1025" fmla="*/ 725329 w 1776793"/>
                  <a:gd name="connsiteY1025" fmla="*/ 2166366 h 2197227"/>
                  <a:gd name="connsiteX1026" fmla="*/ 726281 w 1776793"/>
                  <a:gd name="connsiteY1026" fmla="*/ 2166176 h 2197227"/>
                  <a:gd name="connsiteX1027" fmla="*/ 727615 w 1776793"/>
                  <a:gd name="connsiteY1027" fmla="*/ 2165890 h 2197227"/>
                  <a:gd name="connsiteX1028" fmla="*/ 729043 w 1776793"/>
                  <a:gd name="connsiteY1028" fmla="*/ 2165604 h 2197227"/>
                  <a:gd name="connsiteX1029" fmla="*/ 727901 w 1776793"/>
                  <a:gd name="connsiteY1029" fmla="*/ 2165890 h 2197227"/>
                  <a:gd name="connsiteX1030" fmla="*/ 728186 w 1776793"/>
                  <a:gd name="connsiteY1030" fmla="*/ 2165890 h 2197227"/>
                  <a:gd name="connsiteX1031" fmla="*/ 729520 w 1776793"/>
                  <a:gd name="connsiteY1031" fmla="*/ 2165509 h 2197227"/>
                  <a:gd name="connsiteX1032" fmla="*/ 730282 w 1776793"/>
                  <a:gd name="connsiteY1032" fmla="*/ 2165318 h 2197227"/>
                  <a:gd name="connsiteX1033" fmla="*/ 730758 w 1776793"/>
                  <a:gd name="connsiteY1033" fmla="*/ 2165318 h 2197227"/>
                  <a:gd name="connsiteX1034" fmla="*/ 731330 w 1776793"/>
                  <a:gd name="connsiteY1034" fmla="*/ 2165033 h 2197227"/>
                  <a:gd name="connsiteX1035" fmla="*/ 730472 w 1776793"/>
                  <a:gd name="connsiteY1035" fmla="*/ 2165223 h 2197227"/>
                  <a:gd name="connsiteX1036" fmla="*/ 730949 w 1776793"/>
                  <a:gd name="connsiteY1036" fmla="*/ 2165223 h 2197227"/>
                  <a:gd name="connsiteX1037" fmla="*/ 731044 w 1776793"/>
                  <a:gd name="connsiteY1037" fmla="*/ 2165128 h 2197227"/>
                  <a:gd name="connsiteX1038" fmla="*/ 731425 w 1776793"/>
                  <a:gd name="connsiteY1038" fmla="*/ 2165128 h 2197227"/>
                  <a:gd name="connsiteX1039" fmla="*/ 731425 w 1776793"/>
                  <a:gd name="connsiteY1039" fmla="*/ 2165128 h 2197227"/>
                  <a:gd name="connsiteX1040" fmla="*/ 731615 w 1776793"/>
                  <a:gd name="connsiteY1040" fmla="*/ 2165128 h 2197227"/>
                  <a:gd name="connsiteX1041" fmla="*/ 731806 w 1776793"/>
                  <a:gd name="connsiteY1041" fmla="*/ 2165128 h 2197227"/>
                  <a:gd name="connsiteX1042" fmla="*/ 731806 w 1776793"/>
                  <a:gd name="connsiteY1042" fmla="*/ 2165128 h 2197227"/>
                  <a:gd name="connsiteX1043" fmla="*/ 732568 w 1776793"/>
                  <a:gd name="connsiteY1043" fmla="*/ 2164938 h 2197227"/>
                  <a:gd name="connsiteX1044" fmla="*/ 734187 w 1776793"/>
                  <a:gd name="connsiteY1044" fmla="*/ 2164556 h 2197227"/>
                  <a:gd name="connsiteX1045" fmla="*/ 734377 w 1776793"/>
                  <a:gd name="connsiteY1045" fmla="*/ 2164556 h 2197227"/>
                  <a:gd name="connsiteX1046" fmla="*/ 734759 w 1776793"/>
                  <a:gd name="connsiteY1046" fmla="*/ 2164366 h 2197227"/>
                  <a:gd name="connsiteX1047" fmla="*/ 737616 w 1776793"/>
                  <a:gd name="connsiteY1047" fmla="*/ 2163699 h 2197227"/>
                  <a:gd name="connsiteX1048" fmla="*/ 738378 w 1776793"/>
                  <a:gd name="connsiteY1048" fmla="*/ 2163509 h 2197227"/>
                  <a:gd name="connsiteX1049" fmla="*/ 738378 w 1776793"/>
                  <a:gd name="connsiteY1049" fmla="*/ 2163509 h 2197227"/>
                  <a:gd name="connsiteX1050" fmla="*/ 740855 w 1776793"/>
                  <a:gd name="connsiteY1050" fmla="*/ 2162937 h 2197227"/>
                  <a:gd name="connsiteX1051" fmla="*/ 739616 w 1776793"/>
                  <a:gd name="connsiteY1051" fmla="*/ 2163223 h 2197227"/>
                  <a:gd name="connsiteX1052" fmla="*/ 739330 w 1776793"/>
                  <a:gd name="connsiteY1052" fmla="*/ 2163223 h 2197227"/>
                  <a:gd name="connsiteX1053" fmla="*/ 740474 w 1776793"/>
                  <a:gd name="connsiteY1053" fmla="*/ 2163032 h 2197227"/>
                  <a:gd name="connsiteX1054" fmla="*/ 743902 w 1776793"/>
                  <a:gd name="connsiteY1054" fmla="*/ 2162175 h 2197227"/>
                  <a:gd name="connsiteX1055" fmla="*/ 746760 w 1776793"/>
                  <a:gd name="connsiteY1055" fmla="*/ 2161508 h 2197227"/>
                  <a:gd name="connsiteX1056" fmla="*/ 748475 w 1776793"/>
                  <a:gd name="connsiteY1056" fmla="*/ 2161127 h 2197227"/>
                  <a:gd name="connsiteX1057" fmla="*/ 752094 w 1776793"/>
                  <a:gd name="connsiteY1057" fmla="*/ 2160270 h 2197227"/>
                  <a:gd name="connsiteX1058" fmla="*/ 752094 w 1776793"/>
                  <a:gd name="connsiteY1058" fmla="*/ 2160270 h 2197227"/>
                  <a:gd name="connsiteX1059" fmla="*/ 753142 w 1776793"/>
                  <a:gd name="connsiteY1059" fmla="*/ 2159984 h 2197227"/>
                  <a:gd name="connsiteX1060" fmla="*/ 754380 w 1776793"/>
                  <a:gd name="connsiteY1060" fmla="*/ 2159699 h 2197227"/>
                  <a:gd name="connsiteX1061" fmla="*/ 754475 w 1776793"/>
                  <a:gd name="connsiteY1061" fmla="*/ 2159699 h 2197227"/>
                  <a:gd name="connsiteX1062" fmla="*/ 754951 w 1776793"/>
                  <a:gd name="connsiteY1062" fmla="*/ 2159508 h 2197227"/>
                  <a:gd name="connsiteX1063" fmla="*/ 756095 w 1776793"/>
                  <a:gd name="connsiteY1063" fmla="*/ 2159222 h 2197227"/>
                  <a:gd name="connsiteX1064" fmla="*/ 756285 w 1776793"/>
                  <a:gd name="connsiteY1064" fmla="*/ 2159222 h 2197227"/>
                  <a:gd name="connsiteX1065" fmla="*/ 757047 w 1776793"/>
                  <a:gd name="connsiteY1065" fmla="*/ 2158937 h 2197227"/>
                  <a:gd name="connsiteX1066" fmla="*/ 756380 w 1776793"/>
                  <a:gd name="connsiteY1066" fmla="*/ 2159127 h 2197227"/>
                  <a:gd name="connsiteX1067" fmla="*/ 756666 w 1776793"/>
                  <a:gd name="connsiteY1067" fmla="*/ 2159127 h 2197227"/>
                  <a:gd name="connsiteX1068" fmla="*/ 758285 w 1776793"/>
                  <a:gd name="connsiteY1068" fmla="*/ 2158651 h 2197227"/>
                  <a:gd name="connsiteX1069" fmla="*/ 760762 w 1776793"/>
                  <a:gd name="connsiteY1069" fmla="*/ 2157984 h 2197227"/>
                  <a:gd name="connsiteX1070" fmla="*/ 762572 w 1776793"/>
                  <a:gd name="connsiteY1070" fmla="*/ 2157508 h 2197227"/>
                  <a:gd name="connsiteX1071" fmla="*/ 764572 w 1776793"/>
                  <a:gd name="connsiteY1071" fmla="*/ 2157032 h 2197227"/>
                  <a:gd name="connsiteX1072" fmla="*/ 770382 w 1776793"/>
                  <a:gd name="connsiteY1072" fmla="*/ 2155508 h 2197227"/>
                  <a:gd name="connsiteX1073" fmla="*/ 775526 w 1776793"/>
                  <a:gd name="connsiteY1073" fmla="*/ 2154079 h 2197227"/>
                  <a:gd name="connsiteX1074" fmla="*/ 784765 w 1776793"/>
                  <a:gd name="connsiteY1074" fmla="*/ 2151507 h 2197227"/>
                  <a:gd name="connsiteX1075" fmla="*/ 786955 w 1776793"/>
                  <a:gd name="connsiteY1075" fmla="*/ 2150840 h 2197227"/>
                  <a:gd name="connsiteX1076" fmla="*/ 788289 w 1776793"/>
                  <a:gd name="connsiteY1076" fmla="*/ 2150459 h 2197227"/>
                  <a:gd name="connsiteX1077" fmla="*/ 793623 w 1776793"/>
                  <a:gd name="connsiteY1077" fmla="*/ 2148935 h 2197227"/>
                  <a:gd name="connsiteX1078" fmla="*/ 800195 w 1776793"/>
                  <a:gd name="connsiteY1078" fmla="*/ 2147030 h 2197227"/>
                  <a:gd name="connsiteX1079" fmla="*/ 802100 w 1776793"/>
                  <a:gd name="connsiteY1079" fmla="*/ 2146459 h 2197227"/>
                  <a:gd name="connsiteX1080" fmla="*/ 802862 w 1776793"/>
                  <a:gd name="connsiteY1080" fmla="*/ 2146173 h 2197227"/>
                  <a:gd name="connsiteX1081" fmla="*/ 803529 w 1776793"/>
                  <a:gd name="connsiteY1081" fmla="*/ 2145983 h 2197227"/>
                  <a:gd name="connsiteX1082" fmla="*/ 805720 w 1776793"/>
                  <a:gd name="connsiteY1082" fmla="*/ 2145316 h 2197227"/>
                  <a:gd name="connsiteX1083" fmla="*/ 807434 w 1776793"/>
                  <a:gd name="connsiteY1083" fmla="*/ 2144840 h 2197227"/>
                  <a:gd name="connsiteX1084" fmla="*/ 814102 w 1776793"/>
                  <a:gd name="connsiteY1084" fmla="*/ 2142839 h 2197227"/>
                  <a:gd name="connsiteX1085" fmla="*/ 818388 w 1776793"/>
                  <a:gd name="connsiteY1085" fmla="*/ 2141506 h 2197227"/>
                  <a:gd name="connsiteX1086" fmla="*/ 818769 w 1776793"/>
                  <a:gd name="connsiteY1086" fmla="*/ 2141506 h 2197227"/>
                  <a:gd name="connsiteX1087" fmla="*/ 818769 w 1776793"/>
                  <a:gd name="connsiteY1087" fmla="*/ 2141411 h 2197227"/>
                  <a:gd name="connsiteX1088" fmla="*/ 819817 w 1776793"/>
                  <a:gd name="connsiteY1088" fmla="*/ 2141030 h 2197227"/>
                  <a:gd name="connsiteX1089" fmla="*/ 820102 w 1776793"/>
                  <a:gd name="connsiteY1089" fmla="*/ 2141030 h 2197227"/>
                  <a:gd name="connsiteX1090" fmla="*/ 822388 w 1776793"/>
                  <a:gd name="connsiteY1090" fmla="*/ 2140268 h 2197227"/>
                  <a:gd name="connsiteX1091" fmla="*/ 826294 w 1776793"/>
                  <a:gd name="connsiteY1091" fmla="*/ 2139030 h 2197227"/>
                  <a:gd name="connsiteX1092" fmla="*/ 827056 w 1776793"/>
                  <a:gd name="connsiteY1092" fmla="*/ 2138839 h 2197227"/>
                  <a:gd name="connsiteX1093" fmla="*/ 828294 w 1776793"/>
                  <a:gd name="connsiteY1093" fmla="*/ 2138458 h 2197227"/>
                  <a:gd name="connsiteX1094" fmla="*/ 828866 w 1776793"/>
                  <a:gd name="connsiteY1094" fmla="*/ 2138267 h 2197227"/>
                  <a:gd name="connsiteX1095" fmla="*/ 829532 w 1776793"/>
                  <a:gd name="connsiteY1095" fmla="*/ 2138077 h 2197227"/>
                  <a:gd name="connsiteX1096" fmla="*/ 830104 w 1776793"/>
                  <a:gd name="connsiteY1096" fmla="*/ 2137886 h 2197227"/>
                  <a:gd name="connsiteX1097" fmla="*/ 830580 w 1776793"/>
                  <a:gd name="connsiteY1097" fmla="*/ 2137886 h 2197227"/>
                  <a:gd name="connsiteX1098" fmla="*/ 830961 w 1776793"/>
                  <a:gd name="connsiteY1098" fmla="*/ 2137601 h 2197227"/>
                  <a:gd name="connsiteX1099" fmla="*/ 832199 w 1776793"/>
                  <a:gd name="connsiteY1099" fmla="*/ 2137220 h 2197227"/>
                  <a:gd name="connsiteX1100" fmla="*/ 832771 w 1776793"/>
                  <a:gd name="connsiteY1100" fmla="*/ 2137029 h 2197227"/>
                  <a:gd name="connsiteX1101" fmla="*/ 833342 w 1776793"/>
                  <a:gd name="connsiteY1101" fmla="*/ 2136839 h 2197227"/>
                  <a:gd name="connsiteX1102" fmla="*/ 836771 w 1776793"/>
                  <a:gd name="connsiteY1102" fmla="*/ 2135791 h 2197227"/>
                  <a:gd name="connsiteX1103" fmla="*/ 841058 w 1776793"/>
                  <a:gd name="connsiteY1103" fmla="*/ 2134362 h 2197227"/>
                  <a:gd name="connsiteX1104" fmla="*/ 842963 w 1776793"/>
                  <a:gd name="connsiteY1104" fmla="*/ 2133695 h 2197227"/>
                  <a:gd name="connsiteX1105" fmla="*/ 838772 w 1776793"/>
                  <a:gd name="connsiteY1105" fmla="*/ 2135029 h 2197227"/>
                  <a:gd name="connsiteX1106" fmla="*/ 843629 w 1776793"/>
                  <a:gd name="connsiteY1106" fmla="*/ 2133410 h 2197227"/>
                  <a:gd name="connsiteX1107" fmla="*/ 843629 w 1776793"/>
                  <a:gd name="connsiteY1107" fmla="*/ 2133410 h 2197227"/>
                  <a:gd name="connsiteX1108" fmla="*/ 843629 w 1776793"/>
                  <a:gd name="connsiteY1108" fmla="*/ 2133410 h 2197227"/>
                  <a:gd name="connsiteX1109" fmla="*/ 845249 w 1776793"/>
                  <a:gd name="connsiteY1109" fmla="*/ 2132933 h 2197227"/>
                  <a:gd name="connsiteX1110" fmla="*/ 845630 w 1776793"/>
                  <a:gd name="connsiteY1110" fmla="*/ 2132933 h 2197227"/>
                  <a:gd name="connsiteX1111" fmla="*/ 845725 w 1776793"/>
                  <a:gd name="connsiteY1111" fmla="*/ 2132743 h 2197227"/>
                  <a:gd name="connsiteX1112" fmla="*/ 846296 w 1776793"/>
                  <a:gd name="connsiteY1112" fmla="*/ 2132552 h 2197227"/>
                  <a:gd name="connsiteX1113" fmla="*/ 846201 w 1776793"/>
                  <a:gd name="connsiteY1113" fmla="*/ 2132552 h 2197227"/>
                  <a:gd name="connsiteX1114" fmla="*/ 846201 w 1776793"/>
                  <a:gd name="connsiteY1114" fmla="*/ 2132552 h 2197227"/>
                  <a:gd name="connsiteX1115" fmla="*/ 846487 w 1776793"/>
                  <a:gd name="connsiteY1115" fmla="*/ 2132552 h 2197227"/>
                  <a:gd name="connsiteX1116" fmla="*/ 846582 w 1776793"/>
                  <a:gd name="connsiteY1116" fmla="*/ 2132457 h 2197227"/>
                  <a:gd name="connsiteX1117" fmla="*/ 847154 w 1776793"/>
                  <a:gd name="connsiteY1117" fmla="*/ 2132267 h 2197227"/>
                  <a:gd name="connsiteX1118" fmla="*/ 849154 w 1776793"/>
                  <a:gd name="connsiteY1118" fmla="*/ 2131600 h 2197227"/>
                  <a:gd name="connsiteX1119" fmla="*/ 850201 w 1776793"/>
                  <a:gd name="connsiteY1119" fmla="*/ 2131219 h 2197227"/>
                  <a:gd name="connsiteX1120" fmla="*/ 850963 w 1776793"/>
                  <a:gd name="connsiteY1120" fmla="*/ 2130933 h 2197227"/>
                  <a:gd name="connsiteX1121" fmla="*/ 851059 w 1776793"/>
                  <a:gd name="connsiteY1121" fmla="*/ 2130933 h 2197227"/>
                  <a:gd name="connsiteX1122" fmla="*/ 851630 w 1776793"/>
                  <a:gd name="connsiteY1122" fmla="*/ 2130647 h 2197227"/>
                  <a:gd name="connsiteX1123" fmla="*/ 860108 w 1776793"/>
                  <a:gd name="connsiteY1123" fmla="*/ 2127790 h 2197227"/>
                  <a:gd name="connsiteX1124" fmla="*/ 860965 w 1776793"/>
                  <a:gd name="connsiteY1124" fmla="*/ 2127504 h 2197227"/>
                  <a:gd name="connsiteX1125" fmla="*/ 862393 w 1776793"/>
                  <a:gd name="connsiteY1125" fmla="*/ 2127028 h 2197227"/>
                  <a:gd name="connsiteX1126" fmla="*/ 862775 w 1776793"/>
                  <a:gd name="connsiteY1126" fmla="*/ 2127028 h 2197227"/>
                  <a:gd name="connsiteX1127" fmla="*/ 863822 w 1776793"/>
                  <a:gd name="connsiteY1127" fmla="*/ 2126552 h 2197227"/>
                  <a:gd name="connsiteX1128" fmla="*/ 867251 w 1776793"/>
                  <a:gd name="connsiteY1128" fmla="*/ 2125313 h 2197227"/>
                  <a:gd name="connsiteX1129" fmla="*/ 867727 w 1776793"/>
                  <a:gd name="connsiteY1129" fmla="*/ 2125123 h 2197227"/>
                  <a:gd name="connsiteX1130" fmla="*/ 867823 w 1776793"/>
                  <a:gd name="connsiteY1130" fmla="*/ 2125123 h 2197227"/>
                  <a:gd name="connsiteX1131" fmla="*/ 868109 w 1776793"/>
                  <a:gd name="connsiteY1131" fmla="*/ 2125028 h 2197227"/>
                  <a:gd name="connsiteX1132" fmla="*/ 873062 w 1776793"/>
                  <a:gd name="connsiteY1132" fmla="*/ 2123313 h 2197227"/>
                  <a:gd name="connsiteX1133" fmla="*/ 874871 w 1776793"/>
                  <a:gd name="connsiteY1133" fmla="*/ 2122647 h 2197227"/>
                  <a:gd name="connsiteX1134" fmla="*/ 877634 w 1776793"/>
                  <a:gd name="connsiteY1134" fmla="*/ 2121694 h 2197227"/>
                  <a:gd name="connsiteX1135" fmla="*/ 882491 w 1776793"/>
                  <a:gd name="connsiteY1135" fmla="*/ 2119980 h 2197227"/>
                  <a:gd name="connsiteX1136" fmla="*/ 884015 w 1776793"/>
                  <a:gd name="connsiteY1136" fmla="*/ 2119408 h 2197227"/>
                  <a:gd name="connsiteX1137" fmla="*/ 884015 w 1776793"/>
                  <a:gd name="connsiteY1137" fmla="*/ 2119408 h 2197227"/>
                  <a:gd name="connsiteX1138" fmla="*/ 886016 w 1776793"/>
                  <a:gd name="connsiteY1138" fmla="*/ 2118646 h 2197227"/>
                  <a:gd name="connsiteX1139" fmla="*/ 887349 w 1776793"/>
                  <a:gd name="connsiteY1139" fmla="*/ 2118170 h 2197227"/>
                  <a:gd name="connsiteX1140" fmla="*/ 887730 w 1776793"/>
                  <a:gd name="connsiteY1140" fmla="*/ 2118170 h 2197227"/>
                  <a:gd name="connsiteX1141" fmla="*/ 888111 w 1776793"/>
                  <a:gd name="connsiteY1141" fmla="*/ 2117884 h 2197227"/>
                  <a:gd name="connsiteX1142" fmla="*/ 889826 w 1776793"/>
                  <a:gd name="connsiteY1142" fmla="*/ 2117217 h 2197227"/>
                  <a:gd name="connsiteX1143" fmla="*/ 890206 w 1776793"/>
                  <a:gd name="connsiteY1143" fmla="*/ 2117027 h 2197227"/>
                  <a:gd name="connsiteX1144" fmla="*/ 891254 w 1776793"/>
                  <a:gd name="connsiteY1144" fmla="*/ 2116646 h 2197227"/>
                  <a:gd name="connsiteX1145" fmla="*/ 898588 w 1776793"/>
                  <a:gd name="connsiteY1145" fmla="*/ 2113883 h 2197227"/>
                  <a:gd name="connsiteX1146" fmla="*/ 899541 w 1776793"/>
                  <a:gd name="connsiteY1146" fmla="*/ 2113502 h 2197227"/>
                  <a:gd name="connsiteX1147" fmla="*/ 902113 w 1776793"/>
                  <a:gd name="connsiteY1147" fmla="*/ 2112550 h 2197227"/>
                  <a:gd name="connsiteX1148" fmla="*/ 902970 w 1776793"/>
                  <a:gd name="connsiteY1148" fmla="*/ 2112169 h 2197227"/>
                  <a:gd name="connsiteX1149" fmla="*/ 903732 w 1776793"/>
                  <a:gd name="connsiteY1149" fmla="*/ 2111883 h 2197227"/>
                  <a:gd name="connsiteX1150" fmla="*/ 901637 w 1776793"/>
                  <a:gd name="connsiteY1150" fmla="*/ 2112645 h 2197227"/>
                  <a:gd name="connsiteX1151" fmla="*/ 906494 w 1776793"/>
                  <a:gd name="connsiteY1151" fmla="*/ 2110835 h 2197227"/>
                  <a:gd name="connsiteX1152" fmla="*/ 906494 w 1776793"/>
                  <a:gd name="connsiteY1152" fmla="*/ 2110835 h 2197227"/>
                  <a:gd name="connsiteX1153" fmla="*/ 907161 w 1776793"/>
                  <a:gd name="connsiteY1153" fmla="*/ 2110550 h 2197227"/>
                  <a:gd name="connsiteX1154" fmla="*/ 916114 w 1776793"/>
                  <a:gd name="connsiteY1154" fmla="*/ 2107025 h 2197227"/>
                  <a:gd name="connsiteX1155" fmla="*/ 916400 w 1776793"/>
                  <a:gd name="connsiteY1155" fmla="*/ 2107025 h 2197227"/>
                  <a:gd name="connsiteX1156" fmla="*/ 917734 w 1776793"/>
                  <a:gd name="connsiteY1156" fmla="*/ 2106454 h 2197227"/>
                  <a:gd name="connsiteX1157" fmla="*/ 918877 w 1776793"/>
                  <a:gd name="connsiteY1157" fmla="*/ 2105978 h 2197227"/>
                  <a:gd name="connsiteX1158" fmla="*/ 921449 w 1776793"/>
                  <a:gd name="connsiteY1158" fmla="*/ 2104930 h 2197227"/>
                  <a:gd name="connsiteX1159" fmla="*/ 922115 w 1776793"/>
                  <a:gd name="connsiteY1159" fmla="*/ 2104644 h 2197227"/>
                  <a:gd name="connsiteX1160" fmla="*/ 922877 w 1776793"/>
                  <a:gd name="connsiteY1160" fmla="*/ 2104358 h 2197227"/>
                  <a:gd name="connsiteX1161" fmla="*/ 923449 w 1776793"/>
                  <a:gd name="connsiteY1161" fmla="*/ 2104168 h 2197227"/>
                  <a:gd name="connsiteX1162" fmla="*/ 924020 w 1776793"/>
                  <a:gd name="connsiteY1162" fmla="*/ 2103977 h 2197227"/>
                  <a:gd name="connsiteX1163" fmla="*/ 924497 w 1776793"/>
                  <a:gd name="connsiteY1163" fmla="*/ 2103787 h 2197227"/>
                  <a:gd name="connsiteX1164" fmla="*/ 924973 w 1776793"/>
                  <a:gd name="connsiteY1164" fmla="*/ 2103597 h 2197227"/>
                  <a:gd name="connsiteX1165" fmla="*/ 925639 w 1776793"/>
                  <a:gd name="connsiteY1165" fmla="*/ 2103311 h 2197227"/>
                  <a:gd name="connsiteX1166" fmla="*/ 926021 w 1776793"/>
                  <a:gd name="connsiteY1166" fmla="*/ 2103120 h 2197227"/>
                  <a:gd name="connsiteX1167" fmla="*/ 929068 w 1776793"/>
                  <a:gd name="connsiteY1167" fmla="*/ 2101882 h 2197227"/>
                  <a:gd name="connsiteX1168" fmla="*/ 930497 w 1776793"/>
                  <a:gd name="connsiteY1168" fmla="*/ 2101310 h 2197227"/>
                  <a:gd name="connsiteX1169" fmla="*/ 929640 w 1776793"/>
                  <a:gd name="connsiteY1169" fmla="*/ 2101691 h 2197227"/>
                  <a:gd name="connsiteX1170" fmla="*/ 929068 w 1776793"/>
                  <a:gd name="connsiteY1170" fmla="*/ 2101977 h 2197227"/>
                  <a:gd name="connsiteX1171" fmla="*/ 928973 w 1776793"/>
                  <a:gd name="connsiteY1171" fmla="*/ 2101977 h 2197227"/>
                  <a:gd name="connsiteX1172" fmla="*/ 927354 w 1776793"/>
                  <a:gd name="connsiteY1172" fmla="*/ 2102739 h 2197227"/>
                  <a:gd name="connsiteX1173" fmla="*/ 929354 w 1776793"/>
                  <a:gd name="connsiteY1173" fmla="*/ 2101882 h 2197227"/>
                  <a:gd name="connsiteX1174" fmla="*/ 929354 w 1776793"/>
                  <a:gd name="connsiteY1174" fmla="*/ 2101882 h 2197227"/>
                  <a:gd name="connsiteX1175" fmla="*/ 930402 w 1776793"/>
                  <a:gd name="connsiteY1175" fmla="*/ 2101501 h 2197227"/>
                  <a:gd name="connsiteX1176" fmla="*/ 930402 w 1776793"/>
                  <a:gd name="connsiteY1176" fmla="*/ 2101501 h 2197227"/>
                  <a:gd name="connsiteX1177" fmla="*/ 930688 w 1776793"/>
                  <a:gd name="connsiteY1177" fmla="*/ 2101406 h 2197227"/>
                  <a:gd name="connsiteX1178" fmla="*/ 930402 w 1776793"/>
                  <a:gd name="connsiteY1178" fmla="*/ 2101406 h 2197227"/>
                  <a:gd name="connsiteX1179" fmla="*/ 930783 w 1776793"/>
                  <a:gd name="connsiteY1179" fmla="*/ 2101406 h 2197227"/>
                  <a:gd name="connsiteX1180" fmla="*/ 931831 w 1776793"/>
                  <a:gd name="connsiteY1180" fmla="*/ 2101025 h 2197227"/>
                  <a:gd name="connsiteX1181" fmla="*/ 934307 w 1776793"/>
                  <a:gd name="connsiteY1181" fmla="*/ 2100072 h 2197227"/>
                  <a:gd name="connsiteX1182" fmla="*/ 935450 w 1776793"/>
                  <a:gd name="connsiteY1182" fmla="*/ 2099596 h 2197227"/>
                  <a:gd name="connsiteX1183" fmla="*/ 936593 w 1776793"/>
                  <a:gd name="connsiteY1183" fmla="*/ 2099120 h 2197227"/>
                  <a:gd name="connsiteX1184" fmla="*/ 936117 w 1776793"/>
                  <a:gd name="connsiteY1184" fmla="*/ 2099310 h 2197227"/>
                  <a:gd name="connsiteX1185" fmla="*/ 935450 w 1776793"/>
                  <a:gd name="connsiteY1185" fmla="*/ 2099596 h 2197227"/>
                  <a:gd name="connsiteX1186" fmla="*/ 935831 w 1776793"/>
                  <a:gd name="connsiteY1186" fmla="*/ 2099405 h 2197227"/>
                  <a:gd name="connsiteX1187" fmla="*/ 936022 w 1776793"/>
                  <a:gd name="connsiteY1187" fmla="*/ 2099405 h 2197227"/>
                  <a:gd name="connsiteX1188" fmla="*/ 940880 w 1776793"/>
                  <a:gd name="connsiteY1188" fmla="*/ 2097310 h 2197227"/>
                  <a:gd name="connsiteX1189" fmla="*/ 943166 w 1776793"/>
                  <a:gd name="connsiteY1189" fmla="*/ 2096357 h 2197227"/>
                  <a:gd name="connsiteX1190" fmla="*/ 944023 w 1776793"/>
                  <a:gd name="connsiteY1190" fmla="*/ 2095976 h 2197227"/>
                  <a:gd name="connsiteX1191" fmla="*/ 944499 w 1776793"/>
                  <a:gd name="connsiteY1191" fmla="*/ 2095786 h 2197227"/>
                  <a:gd name="connsiteX1192" fmla="*/ 944594 w 1776793"/>
                  <a:gd name="connsiteY1192" fmla="*/ 2095786 h 2197227"/>
                  <a:gd name="connsiteX1193" fmla="*/ 944880 w 1776793"/>
                  <a:gd name="connsiteY1193" fmla="*/ 2095595 h 2197227"/>
                  <a:gd name="connsiteX1194" fmla="*/ 948976 w 1776793"/>
                  <a:gd name="connsiteY1194" fmla="*/ 2093881 h 2197227"/>
                  <a:gd name="connsiteX1195" fmla="*/ 950690 w 1776793"/>
                  <a:gd name="connsiteY1195" fmla="*/ 2093119 h 2197227"/>
                  <a:gd name="connsiteX1196" fmla="*/ 952119 w 1776793"/>
                  <a:gd name="connsiteY1196" fmla="*/ 2092452 h 2197227"/>
                  <a:gd name="connsiteX1197" fmla="*/ 954024 w 1776793"/>
                  <a:gd name="connsiteY1197" fmla="*/ 2091690 h 2197227"/>
                  <a:gd name="connsiteX1198" fmla="*/ 956596 w 1776793"/>
                  <a:gd name="connsiteY1198" fmla="*/ 2090547 h 2197227"/>
                  <a:gd name="connsiteX1199" fmla="*/ 957453 w 1776793"/>
                  <a:gd name="connsiteY1199" fmla="*/ 2090166 h 2197227"/>
                  <a:gd name="connsiteX1200" fmla="*/ 958215 w 1776793"/>
                  <a:gd name="connsiteY1200" fmla="*/ 2089785 h 2197227"/>
                  <a:gd name="connsiteX1201" fmla="*/ 958596 w 1776793"/>
                  <a:gd name="connsiteY1201" fmla="*/ 2089595 h 2197227"/>
                  <a:gd name="connsiteX1202" fmla="*/ 958977 w 1776793"/>
                  <a:gd name="connsiteY1202" fmla="*/ 2089404 h 2197227"/>
                  <a:gd name="connsiteX1203" fmla="*/ 958977 w 1776793"/>
                  <a:gd name="connsiteY1203" fmla="*/ 2089404 h 2197227"/>
                  <a:gd name="connsiteX1204" fmla="*/ 959072 w 1776793"/>
                  <a:gd name="connsiteY1204" fmla="*/ 2089404 h 2197227"/>
                  <a:gd name="connsiteX1205" fmla="*/ 959453 w 1776793"/>
                  <a:gd name="connsiteY1205" fmla="*/ 2089214 h 2197227"/>
                  <a:gd name="connsiteX1206" fmla="*/ 961072 w 1776793"/>
                  <a:gd name="connsiteY1206" fmla="*/ 2088547 h 2197227"/>
                  <a:gd name="connsiteX1207" fmla="*/ 963549 w 1776793"/>
                  <a:gd name="connsiteY1207" fmla="*/ 2087499 h 2197227"/>
                  <a:gd name="connsiteX1208" fmla="*/ 964311 w 1776793"/>
                  <a:gd name="connsiteY1208" fmla="*/ 2087213 h 2197227"/>
                  <a:gd name="connsiteX1209" fmla="*/ 965549 w 1776793"/>
                  <a:gd name="connsiteY1209" fmla="*/ 2086642 h 2197227"/>
                  <a:gd name="connsiteX1210" fmla="*/ 967359 w 1776793"/>
                  <a:gd name="connsiteY1210" fmla="*/ 2085880 h 2197227"/>
                  <a:gd name="connsiteX1211" fmla="*/ 968407 w 1776793"/>
                  <a:gd name="connsiteY1211" fmla="*/ 2085404 h 2197227"/>
                  <a:gd name="connsiteX1212" fmla="*/ 970407 w 1776793"/>
                  <a:gd name="connsiteY1212" fmla="*/ 2084546 h 2197227"/>
                  <a:gd name="connsiteX1213" fmla="*/ 971836 w 1776793"/>
                  <a:gd name="connsiteY1213" fmla="*/ 2083975 h 2197227"/>
                  <a:gd name="connsiteX1214" fmla="*/ 974408 w 1776793"/>
                  <a:gd name="connsiteY1214" fmla="*/ 2082832 h 2197227"/>
                  <a:gd name="connsiteX1215" fmla="*/ 976789 w 1776793"/>
                  <a:gd name="connsiteY1215" fmla="*/ 2081784 h 2197227"/>
                  <a:gd name="connsiteX1216" fmla="*/ 976408 w 1776793"/>
                  <a:gd name="connsiteY1216" fmla="*/ 2081975 h 2197227"/>
                  <a:gd name="connsiteX1217" fmla="*/ 976408 w 1776793"/>
                  <a:gd name="connsiteY1217" fmla="*/ 2081975 h 2197227"/>
                  <a:gd name="connsiteX1218" fmla="*/ 976408 w 1776793"/>
                  <a:gd name="connsiteY1218" fmla="*/ 2081975 h 2197227"/>
                  <a:gd name="connsiteX1219" fmla="*/ 976408 w 1776793"/>
                  <a:gd name="connsiteY1219" fmla="*/ 2081975 h 2197227"/>
                  <a:gd name="connsiteX1220" fmla="*/ 977075 w 1776793"/>
                  <a:gd name="connsiteY1220" fmla="*/ 2081689 h 2197227"/>
                  <a:gd name="connsiteX1221" fmla="*/ 977075 w 1776793"/>
                  <a:gd name="connsiteY1221" fmla="*/ 2081689 h 2197227"/>
                  <a:gd name="connsiteX1222" fmla="*/ 978122 w 1776793"/>
                  <a:gd name="connsiteY1222" fmla="*/ 2081213 h 2197227"/>
                  <a:gd name="connsiteX1223" fmla="*/ 977265 w 1776793"/>
                  <a:gd name="connsiteY1223" fmla="*/ 2081594 h 2197227"/>
                  <a:gd name="connsiteX1224" fmla="*/ 977360 w 1776793"/>
                  <a:gd name="connsiteY1224" fmla="*/ 2081594 h 2197227"/>
                  <a:gd name="connsiteX1225" fmla="*/ 980122 w 1776793"/>
                  <a:gd name="connsiteY1225" fmla="*/ 2080260 h 2197227"/>
                  <a:gd name="connsiteX1226" fmla="*/ 981075 w 1776793"/>
                  <a:gd name="connsiteY1226" fmla="*/ 2079784 h 2197227"/>
                  <a:gd name="connsiteX1227" fmla="*/ 981932 w 1776793"/>
                  <a:gd name="connsiteY1227" fmla="*/ 2079403 h 2197227"/>
                  <a:gd name="connsiteX1228" fmla="*/ 981932 w 1776793"/>
                  <a:gd name="connsiteY1228" fmla="*/ 2079403 h 2197227"/>
                  <a:gd name="connsiteX1229" fmla="*/ 983171 w 1776793"/>
                  <a:gd name="connsiteY1229" fmla="*/ 2078831 h 2197227"/>
                  <a:gd name="connsiteX1230" fmla="*/ 983456 w 1776793"/>
                  <a:gd name="connsiteY1230" fmla="*/ 2078831 h 2197227"/>
                  <a:gd name="connsiteX1231" fmla="*/ 987743 w 1776793"/>
                  <a:gd name="connsiteY1231" fmla="*/ 2076736 h 2197227"/>
                  <a:gd name="connsiteX1232" fmla="*/ 989457 w 1776793"/>
                  <a:gd name="connsiteY1232" fmla="*/ 2075974 h 2197227"/>
                  <a:gd name="connsiteX1233" fmla="*/ 991362 w 1776793"/>
                  <a:gd name="connsiteY1233" fmla="*/ 2075116 h 2197227"/>
                  <a:gd name="connsiteX1234" fmla="*/ 993172 w 1776793"/>
                  <a:gd name="connsiteY1234" fmla="*/ 2074259 h 2197227"/>
                  <a:gd name="connsiteX1235" fmla="*/ 993553 w 1776793"/>
                  <a:gd name="connsiteY1235" fmla="*/ 2074069 h 2197227"/>
                  <a:gd name="connsiteX1236" fmla="*/ 994124 w 1776793"/>
                  <a:gd name="connsiteY1236" fmla="*/ 2073783 h 2197227"/>
                  <a:gd name="connsiteX1237" fmla="*/ 1000030 w 1776793"/>
                  <a:gd name="connsiteY1237" fmla="*/ 2071021 h 2197227"/>
                  <a:gd name="connsiteX1238" fmla="*/ 1000220 w 1776793"/>
                  <a:gd name="connsiteY1238" fmla="*/ 2071021 h 2197227"/>
                  <a:gd name="connsiteX1239" fmla="*/ 1001363 w 1776793"/>
                  <a:gd name="connsiteY1239" fmla="*/ 2070449 h 2197227"/>
                  <a:gd name="connsiteX1240" fmla="*/ 1002221 w 1776793"/>
                  <a:gd name="connsiteY1240" fmla="*/ 2070068 h 2197227"/>
                  <a:gd name="connsiteX1241" fmla="*/ 1002601 w 1776793"/>
                  <a:gd name="connsiteY1241" fmla="*/ 2069878 h 2197227"/>
                  <a:gd name="connsiteX1242" fmla="*/ 1004221 w 1776793"/>
                  <a:gd name="connsiteY1242" fmla="*/ 2069116 h 2197227"/>
                  <a:gd name="connsiteX1243" fmla="*/ 1006888 w 1776793"/>
                  <a:gd name="connsiteY1243" fmla="*/ 2067878 h 2197227"/>
                  <a:gd name="connsiteX1244" fmla="*/ 1007555 w 1776793"/>
                  <a:gd name="connsiteY1244" fmla="*/ 2067592 h 2197227"/>
                  <a:gd name="connsiteX1245" fmla="*/ 1011174 w 1776793"/>
                  <a:gd name="connsiteY1245" fmla="*/ 2065877 h 2197227"/>
                  <a:gd name="connsiteX1246" fmla="*/ 1011174 w 1776793"/>
                  <a:gd name="connsiteY1246" fmla="*/ 2065877 h 2197227"/>
                  <a:gd name="connsiteX1247" fmla="*/ 1012984 w 1776793"/>
                  <a:gd name="connsiteY1247" fmla="*/ 2065020 h 2197227"/>
                  <a:gd name="connsiteX1248" fmla="*/ 1015175 w 1776793"/>
                  <a:gd name="connsiteY1248" fmla="*/ 2063972 h 2197227"/>
                  <a:gd name="connsiteX1249" fmla="*/ 1015555 w 1776793"/>
                  <a:gd name="connsiteY1249" fmla="*/ 2063782 h 2197227"/>
                  <a:gd name="connsiteX1250" fmla="*/ 1018318 w 1776793"/>
                  <a:gd name="connsiteY1250" fmla="*/ 2062448 h 2197227"/>
                  <a:gd name="connsiteX1251" fmla="*/ 1021842 w 1776793"/>
                  <a:gd name="connsiteY1251" fmla="*/ 2060734 h 2197227"/>
                  <a:gd name="connsiteX1252" fmla="*/ 1023842 w 1776793"/>
                  <a:gd name="connsiteY1252" fmla="*/ 2059781 h 2197227"/>
                  <a:gd name="connsiteX1253" fmla="*/ 1024414 w 1776793"/>
                  <a:gd name="connsiteY1253" fmla="*/ 2059496 h 2197227"/>
                  <a:gd name="connsiteX1254" fmla="*/ 1029462 w 1776793"/>
                  <a:gd name="connsiteY1254" fmla="*/ 2057019 h 2197227"/>
                  <a:gd name="connsiteX1255" fmla="*/ 1030414 w 1776793"/>
                  <a:gd name="connsiteY1255" fmla="*/ 2056543 h 2197227"/>
                  <a:gd name="connsiteX1256" fmla="*/ 1030414 w 1776793"/>
                  <a:gd name="connsiteY1256" fmla="*/ 2056543 h 2197227"/>
                  <a:gd name="connsiteX1257" fmla="*/ 1030891 w 1776793"/>
                  <a:gd name="connsiteY1257" fmla="*/ 2056352 h 2197227"/>
                  <a:gd name="connsiteX1258" fmla="*/ 1032129 w 1776793"/>
                  <a:gd name="connsiteY1258" fmla="*/ 2055686 h 2197227"/>
                  <a:gd name="connsiteX1259" fmla="*/ 1032320 w 1776793"/>
                  <a:gd name="connsiteY1259" fmla="*/ 2055686 h 2197227"/>
                  <a:gd name="connsiteX1260" fmla="*/ 1032701 w 1776793"/>
                  <a:gd name="connsiteY1260" fmla="*/ 2055400 h 2197227"/>
                  <a:gd name="connsiteX1261" fmla="*/ 1035749 w 1776793"/>
                  <a:gd name="connsiteY1261" fmla="*/ 2053876 h 2197227"/>
                  <a:gd name="connsiteX1262" fmla="*/ 1036987 w 1776793"/>
                  <a:gd name="connsiteY1262" fmla="*/ 2053209 h 2197227"/>
                  <a:gd name="connsiteX1263" fmla="*/ 1037463 w 1776793"/>
                  <a:gd name="connsiteY1263" fmla="*/ 2052923 h 2197227"/>
                  <a:gd name="connsiteX1264" fmla="*/ 1041178 w 1776793"/>
                  <a:gd name="connsiteY1264" fmla="*/ 2051018 h 2197227"/>
                  <a:gd name="connsiteX1265" fmla="*/ 1042702 w 1776793"/>
                  <a:gd name="connsiteY1265" fmla="*/ 2050256 h 2197227"/>
                  <a:gd name="connsiteX1266" fmla="*/ 1042035 w 1776793"/>
                  <a:gd name="connsiteY1266" fmla="*/ 2050637 h 2197227"/>
                  <a:gd name="connsiteX1267" fmla="*/ 1042892 w 1776793"/>
                  <a:gd name="connsiteY1267" fmla="*/ 2050161 h 2197227"/>
                  <a:gd name="connsiteX1268" fmla="*/ 1042988 w 1776793"/>
                  <a:gd name="connsiteY1268" fmla="*/ 2050161 h 2197227"/>
                  <a:gd name="connsiteX1269" fmla="*/ 1043178 w 1776793"/>
                  <a:gd name="connsiteY1269" fmla="*/ 2050066 h 2197227"/>
                  <a:gd name="connsiteX1270" fmla="*/ 1044607 w 1776793"/>
                  <a:gd name="connsiteY1270" fmla="*/ 2049304 h 2197227"/>
                  <a:gd name="connsiteX1271" fmla="*/ 1045083 w 1776793"/>
                  <a:gd name="connsiteY1271" fmla="*/ 2049018 h 2197227"/>
                  <a:gd name="connsiteX1272" fmla="*/ 1045559 w 1776793"/>
                  <a:gd name="connsiteY1272" fmla="*/ 2048732 h 2197227"/>
                  <a:gd name="connsiteX1273" fmla="*/ 1048417 w 1776793"/>
                  <a:gd name="connsiteY1273" fmla="*/ 2047208 h 2197227"/>
                  <a:gd name="connsiteX1274" fmla="*/ 1048417 w 1776793"/>
                  <a:gd name="connsiteY1274" fmla="*/ 2047208 h 2197227"/>
                  <a:gd name="connsiteX1275" fmla="*/ 1050417 w 1776793"/>
                  <a:gd name="connsiteY1275" fmla="*/ 2046161 h 2197227"/>
                  <a:gd name="connsiteX1276" fmla="*/ 1051179 w 1776793"/>
                  <a:gd name="connsiteY1276" fmla="*/ 2045780 h 2197227"/>
                  <a:gd name="connsiteX1277" fmla="*/ 1051274 w 1776793"/>
                  <a:gd name="connsiteY1277" fmla="*/ 2045780 h 2197227"/>
                  <a:gd name="connsiteX1278" fmla="*/ 1052036 w 1776793"/>
                  <a:gd name="connsiteY1278" fmla="*/ 2045303 h 2197227"/>
                  <a:gd name="connsiteX1279" fmla="*/ 1052417 w 1776793"/>
                  <a:gd name="connsiteY1279" fmla="*/ 2045113 h 2197227"/>
                  <a:gd name="connsiteX1280" fmla="*/ 1053465 w 1776793"/>
                  <a:gd name="connsiteY1280" fmla="*/ 2044541 h 2197227"/>
                  <a:gd name="connsiteX1281" fmla="*/ 1054703 w 1776793"/>
                  <a:gd name="connsiteY1281" fmla="*/ 2043875 h 2197227"/>
                  <a:gd name="connsiteX1282" fmla="*/ 1054894 w 1776793"/>
                  <a:gd name="connsiteY1282" fmla="*/ 2043875 h 2197227"/>
                  <a:gd name="connsiteX1283" fmla="*/ 1055180 w 1776793"/>
                  <a:gd name="connsiteY1283" fmla="*/ 2043589 h 2197227"/>
                  <a:gd name="connsiteX1284" fmla="*/ 1055846 w 1776793"/>
                  <a:gd name="connsiteY1284" fmla="*/ 2043208 h 2197227"/>
                  <a:gd name="connsiteX1285" fmla="*/ 1057561 w 1776793"/>
                  <a:gd name="connsiteY1285" fmla="*/ 2042350 h 2197227"/>
                  <a:gd name="connsiteX1286" fmla="*/ 1057561 w 1776793"/>
                  <a:gd name="connsiteY1286" fmla="*/ 2042350 h 2197227"/>
                  <a:gd name="connsiteX1287" fmla="*/ 1063847 w 1776793"/>
                  <a:gd name="connsiteY1287" fmla="*/ 2039017 h 2197227"/>
                  <a:gd name="connsiteX1288" fmla="*/ 1064324 w 1776793"/>
                  <a:gd name="connsiteY1288" fmla="*/ 2038731 h 2197227"/>
                  <a:gd name="connsiteX1289" fmla="*/ 1064990 w 1776793"/>
                  <a:gd name="connsiteY1289" fmla="*/ 2038350 h 2197227"/>
                  <a:gd name="connsiteX1290" fmla="*/ 1065848 w 1776793"/>
                  <a:gd name="connsiteY1290" fmla="*/ 2037874 h 2197227"/>
                  <a:gd name="connsiteX1291" fmla="*/ 1065657 w 1776793"/>
                  <a:gd name="connsiteY1291" fmla="*/ 2037874 h 2197227"/>
                  <a:gd name="connsiteX1292" fmla="*/ 1064705 w 1776793"/>
                  <a:gd name="connsiteY1292" fmla="*/ 2038445 h 2197227"/>
                  <a:gd name="connsiteX1293" fmla="*/ 1065276 w 1776793"/>
                  <a:gd name="connsiteY1293" fmla="*/ 2038064 h 2197227"/>
                  <a:gd name="connsiteX1294" fmla="*/ 1066038 w 1776793"/>
                  <a:gd name="connsiteY1294" fmla="*/ 2037683 h 2197227"/>
                  <a:gd name="connsiteX1295" fmla="*/ 1065752 w 1776793"/>
                  <a:gd name="connsiteY1295" fmla="*/ 2037874 h 2197227"/>
                  <a:gd name="connsiteX1296" fmla="*/ 1066133 w 1776793"/>
                  <a:gd name="connsiteY1296" fmla="*/ 2037683 h 2197227"/>
                  <a:gd name="connsiteX1297" fmla="*/ 1066610 w 1776793"/>
                  <a:gd name="connsiteY1297" fmla="*/ 2037398 h 2197227"/>
                  <a:gd name="connsiteX1298" fmla="*/ 1067752 w 1776793"/>
                  <a:gd name="connsiteY1298" fmla="*/ 2036826 h 2197227"/>
                  <a:gd name="connsiteX1299" fmla="*/ 1068038 w 1776793"/>
                  <a:gd name="connsiteY1299" fmla="*/ 2036826 h 2197227"/>
                  <a:gd name="connsiteX1300" fmla="*/ 1068419 w 1776793"/>
                  <a:gd name="connsiteY1300" fmla="*/ 2036445 h 2197227"/>
                  <a:gd name="connsiteX1301" fmla="*/ 1068800 w 1776793"/>
                  <a:gd name="connsiteY1301" fmla="*/ 2036255 h 2197227"/>
                  <a:gd name="connsiteX1302" fmla="*/ 1069562 w 1776793"/>
                  <a:gd name="connsiteY1302" fmla="*/ 2035874 h 2197227"/>
                  <a:gd name="connsiteX1303" fmla="*/ 1069848 w 1776793"/>
                  <a:gd name="connsiteY1303" fmla="*/ 2035683 h 2197227"/>
                  <a:gd name="connsiteX1304" fmla="*/ 1073468 w 1776793"/>
                  <a:gd name="connsiteY1304" fmla="*/ 2033683 h 2197227"/>
                  <a:gd name="connsiteX1305" fmla="*/ 1074706 w 1776793"/>
                  <a:gd name="connsiteY1305" fmla="*/ 2033016 h 2197227"/>
                  <a:gd name="connsiteX1306" fmla="*/ 1074706 w 1776793"/>
                  <a:gd name="connsiteY1306" fmla="*/ 2033016 h 2197227"/>
                  <a:gd name="connsiteX1307" fmla="*/ 1073468 w 1776793"/>
                  <a:gd name="connsiteY1307" fmla="*/ 2033683 h 2197227"/>
                  <a:gd name="connsiteX1308" fmla="*/ 1074515 w 1776793"/>
                  <a:gd name="connsiteY1308" fmla="*/ 2033111 h 2197227"/>
                  <a:gd name="connsiteX1309" fmla="*/ 1075849 w 1776793"/>
                  <a:gd name="connsiteY1309" fmla="*/ 2032349 h 2197227"/>
                  <a:gd name="connsiteX1310" fmla="*/ 1075277 w 1776793"/>
                  <a:gd name="connsiteY1310" fmla="*/ 2032635 h 2197227"/>
                  <a:gd name="connsiteX1311" fmla="*/ 1075277 w 1776793"/>
                  <a:gd name="connsiteY1311" fmla="*/ 2032635 h 2197227"/>
                  <a:gd name="connsiteX1312" fmla="*/ 1076420 w 1776793"/>
                  <a:gd name="connsiteY1312" fmla="*/ 2032064 h 2197227"/>
                  <a:gd name="connsiteX1313" fmla="*/ 1075849 w 1776793"/>
                  <a:gd name="connsiteY1313" fmla="*/ 2032349 h 2197227"/>
                  <a:gd name="connsiteX1314" fmla="*/ 1076992 w 1776793"/>
                  <a:gd name="connsiteY1314" fmla="*/ 2031683 h 2197227"/>
                  <a:gd name="connsiteX1315" fmla="*/ 1077849 w 1776793"/>
                  <a:gd name="connsiteY1315" fmla="*/ 2031206 h 2197227"/>
                  <a:gd name="connsiteX1316" fmla="*/ 1076706 w 1776793"/>
                  <a:gd name="connsiteY1316" fmla="*/ 2031778 h 2197227"/>
                  <a:gd name="connsiteX1317" fmla="*/ 1076516 w 1776793"/>
                  <a:gd name="connsiteY1317" fmla="*/ 2031778 h 2197227"/>
                  <a:gd name="connsiteX1318" fmla="*/ 1076516 w 1776793"/>
                  <a:gd name="connsiteY1318" fmla="*/ 2031873 h 2197227"/>
                  <a:gd name="connsiteX1319" fmla="*/ 1075373 w 1776793"/>
                  <a:gd name="connsiteY1319" fmla="*/ 2032445 h 2197227"/>
                  <a:gd name="connsiteX1320" fmla="*/ 1075563 w 1776793"/>
                  <a:gd name="connsiteY1320" fmla="*/ 2032445 h 2197227"/>
                  <a:gd name="connsiteX1321" fmla="*/ 1076516 w 1776793"/>
                  <a:gd name="connsiteY1321" fmla="*/ 2031873 h 2197227"/>
                  <a:gd name="connsiteX1322" fmla="*/ 1077182 w 1776793"/>
                  <a:gd name="connsiteY1322" fmla="*/ 2031492 h 2197227"/>
                  <a:gd name="connsiteX1323" fmla="*/ 1078039 w 1776793"/>
                  <a:gd name="connsiteY1323" fmla="*/ 2031016 h 2197227"/>
                  <a:gd name="connsiteX1324" fmla="*/ 1077849 w 1776793"/>
                  <a:gd name="connsiteY1324" fmla="*/ 2031016 h 2197227"/>
                  <a:gd name="connsiteX1325" fmla="*/ 1078992 w 1776793"/>
                  <a:gd name="connsiteY1325" fmla="*/ 2030540 h 2197227"/>
                  <a:gd name="connsiteX1326" fmla="*/ 1079183 w 1776793"/>
                  <a:gd name="connsiteY1326" fmla="*/ 2030540 h 2197227"/>
                  <a:gd name="connsiteX1327" fmla="*/ 1080992 w 1776793"/>
                  <a:gd name="connsiteY1327" fmla="*/ 2029492 h 2197227"/>
                  <a:gd name="connsiteX1328" fmla="*/ 1083564 w 1776793"/>
                  <a:gd name="connsiteY1328" fmla="*/ 2028063 h 2197227"/>
                  <a:gd name="connsiteX1329" fmla="*/ 1084040 w 1776793"/>
                  <a:gd name="connsiteY1329" fmla="*/ 2027777 h 2197227"/>
                  <a:gd name="connsiteX1330" fmla="*/ 1084231 w 1776793"/>
                  <a:gd name="connsiteY1330" fmla="*/ 2027777 h 2197227"/>
                  <a:gd name="connsiteX1331" fmla="*/ 1084612 w 1776793"/>
                  <a:gd name="connsiteY1331" fmla="*/ 2027491 h 2197227"/>
                  <a:gd name="connsiteX1332" fmla="*/ 1084231 w 1776793"/>
                  <a:gd name="connsiteY1332" fmla="*/ 2027682 h 2197227"/>
                  <a:gd name="connsiteX1333" fmla="*/ 1084517 w 1776793"/>
                  <a:gd name="connsiteY1333" fmla="*/ 2027491 h 2197227"/>
                  <a:gd name="connsiteX1334" fmla="*/ 1084707 w 1776793"/>
                  <a:gd name="connsiteY1334" fmla="*/ 2027491 h 2197227"/>
                  <a:gd name="connsiteX1335" fmla="*/ 1084898 w 1776793"/>
                  <a:gd name="connsiteY1335" fmla="*/ 2027301 h 2197227"/>
                  <a:gd name="connsiteX1336" fmla="*/ 1086517 w 1776793"/>
                  <a:gd name="connsiteY1336" fmla="*/ 2026444 h 2197227"/>
                  <a:gd name="connsiteX1337" fmla="*/ 1085279 w 1776793"/>
                  <a:gd name="connsiteY1337" fmla="*/ 2027206 h 2197227"/>
                  <a:gd name="connsiteX1338" fmla="*/ 1087279 w 1776793"/>
                  <a:gd name="connsiteY1338" fmla="*/ 2026063 h 2197227"/>
                  <a:gd name="connsiteX1339" fmla="*/ 1087564 w 1776793"/>
                  <a:gd name="connsiteY1339" fmla="*/ 2025872 h 2197227"/>
                  <a:gd name="connsiteX1340" fmla="*/ 1084707 w 1776793"/>
                  <a:gd name="connsiteY1340" fmla="*/ 2027491 h 2197227"/>
                  <a:gd name="connsiteX1341" fmla="*/ 1085183 w 1776793"/>
                  <a:gd name="connsiteY1341" fmla="*/ 2027206 h 2197227"/>
                  <a:gd name="connsiteX1342" fmla="*/ 1089374 w 1776793"/>
                  <a:gd name="connsiteY1342" fmla="*/ 2024825 h 2197227"/>
                  <a:gd name="connsiteX1343" fmla="*/ 1090231 w 1776793"/>
                  <a:gd name="connsiteY1343" fmla="*/ 2024348 h 2197227"/>
                  <a:gd name="connsiteX1344" fmla="*/ 1090993 w 1776793"/>
                  <a:gd name="connsiteY1344" fmla="*/ 2023872 h 2197227"/>
                  <a:gd name="connsiteX1345" fmla="*/ 1091851 w 1776793"/>
                  <a:gd name="connsiteY1345" fmla="*/ 2023396 h 2197227"/>
                  <a:gd name="connsiteX1346" fmla="*/ 1092041 w 1776793"/>
                  <a:gd name="connsiteY1346" fmla="*/ 2023396 h 2197227"/>
                  <a:gd name="connsiteX1347" fmla="*/ 1095851 w 1776793"/>
                  <a:gd name="connsiteY1347" fmla="*/ 2021110 h 2197227"/>
                  <a:gd name="connsiteX1348" fmla="*/ 1093756 w 1776793"/>
                  <a:gd name="connsiteY1348" fmla="*/ 2022348 h 2197227"/>
                  <a:gd name="connsiteX1349" fmla="*/ 1095756 w 1776793"/>
                  <a:gd name="connsiteY1349" fmla="*/ 2021205 h 2197227"/>
                  <a:gd name="connsiteX1350" fmla="*/ 1095756 w 1776793"/>
                  <a:gd name="connsiteY1350" fmla="*/ 2021205 h 2197227"/>
                  <a:gd name="connsiteX1351" fmla="*/ 1095756 w 1776793"/>
                  <a:gd name="connsiteY1351" fmla="*/ 2021205 h 2197227"/>
                  <a:gd name="connsiteX1352" fmla="*/ 1097947 w 1776793"/>
                  <a:gd name="connsiteY1352" fmla="*/ 2019967 h 2197227"/>
                  <a:gd name="connsiteX1353" fmla="*/ 1097947 w 1776793"/>
                  <a:gd name="connsiteY1353" fmla="*/ 2019967 h 2197227"/>
                  <a:gd name="connsiteX1354" fmla="*/ 1099566 w 1776793"/>
                  <a:gd name="connsiteY1354" fmla="*/ 2019014 h 2197227"/>
                  <a:gd name="connsiteX1355" fmla="*/ 1098709 w 1776793"/>
                  <a:gd name="connsiteY1355" fmla="*/ 2019491 h 2197227"/>
                  <a:gd name="connsiteX1356" fmla="*/ 1099185 w 1776793"/>
                  <a:gd name="connsiteY1356" fmla="*/ 2019205 h 2197227"/>
                  <a:gd name="connsiteX1357" fmla="*/ 1100709 w 1776793"/>
                  <a:gd name="connsiteY1357" fmla="*/ 2018348 h 2197227"/>
                  <a:gd name="connsiteX1358" fmla="*/ 1101471 w 1776793"/>
                  <a:gd name="connsiteY1358" fmla="*/ 2017871 h 2197227"/>
                  <a:gd name="connsiteX1359" fmla="*/ 1102043 w 1776793"/>
                  <a:gd name="connsiteY1359" fmla="*/ 2017490 h 2197227"/>
                  <a:gd name="connsiteX1360" fmla="*/ 1102043 w 1776793"/>
                  <a:gd name="connsiteY1360" fmla="*/ 2017490 h 2197227"/>
                  <a:gd name="connsiteX1361" fmla="*/ 1102043 w 1776793"/>
                  <a:gd name="connsiteY1361" fmla="*/ 2017490 h 2197227"/>
                  <a:gd name="connsiteX1362" fmla="*/ 1102233 w 1776793"/>
                  <a:gd name="connsiteY1362" fmla="*/ 2017490 h 2197227"/>
                  <a:gd name="connsiteX1363" fmla="*/ 1102424 w 1776793"/>
                  <a:gd name="connsiteY1363" fmla="*/ 2017300 h 2197227"/>
                  <a:gd name="connsiteX1364" fmla="*/ 1102900 w 1776793"/>
                  <a:gd name="connsiteY1364" fmla="*/ 2017014 h 2197227"/>
                  <a:gd name="connsiteX1365" fmla="*/ 1104519 w 1776793"/>
                  <a:gd name="connsiteY1365" fmla="*/ 2016062 h 2197227"/>
                  <a:gd name="connsiteX1366" fmla="*/ 1106234 w 1776793"/>
                  <a:gd name="connsiteY1366" fmla="*/ 2015109 h 2197227"/>
                  <a:gd name="connsiteX1367" fmla="*/ 1106996 w 1776793"/>
                  <a:gd name="connsiteY1367" fmla="*/ 2014633 h 2197227"/>
                  <a:gd name="connsiteX1368" fmla="*/ 1108043 w 1776793"/>
                  <a:gd name="connsiteY1368" fmla="*/ 2014061 h 2197227"/>
                  <a:gd name="connsiteX1369" fmla="*/ 1108329 w 1776793"/>
                  <a:gd name="connsiteY1369" fmla="*/ 2013871 h 2197227"/>
                  <a:gd name="connsiteX1370" fmla="*/ 1109091 w 1776793"/>
                  <a:gd name="connsiteY1370" fmla="*/ 2013395 h 2197227"/>
                  <a:gd name="connsiteX1371" fmla="*/ 1110139 w 1776793"/>
                  <a:gd name="connsiteY1371" fmla="*/ 2012823 h 2197227"/>
                  <a:gd name="connsiteX1372" fmla="*/ 1110615 w 1776793"/>
                  <a:gd name="connsiteY1372" fmla="*/ 2012537 h 2197227"/>
                  <a:gd name="connsiteX1373" fmla="*/ 1111758 w 1776793"/>
                  <a:gd name="connsiteY1373" fmla="*/ 2011871 h 2197227"/>
                  <a:gd name="connsiteX1374" fmla="*/ 1112710 w 1776793"/>
                  <a:gd name="connsiteY1374" fmla="*/ 2011299 h 2197227"/>
                  <a:gd name="connsiteX1375" fmla="*/ 1112806 w 1776793"/>
                  <a:gd name="connsiteY1375" fmla="*/ 2011299 h 2197227"/>
                  <a:gd name="connsiteX1376" fmla="*/ 1112806 w 1776793"/>
                  <a:gd name="connsiteY1376" fmla="*/ 2011204 h 2197227"/>
                  <a:gd name="connsiteX1377" fmla="*/ 1113092 w 1776793"/>
                  <a:gd name="connsiteY1377" fmla="*/ 2011013 h 2197227"/>
                  <a:gd name="connsiteX1378" fmla="*/ 1113377 w 1776793"/>
                  <a:gd name="connsiteY1378" fmla="*/ 2010823 h 2197227"/>
                  <a:gd name="connsiteX1379" fmla="*/ 1115187 w 1776793"/>
                  <a:gd name="connsiteY1379" fmla="*/ 2009775 h 2197227"/>
                  <a:gd name="connsiteX1380" fmla="*/ 1115854 w 1776793"/>
                  <a:gd name="connsiteY1380" fmla="*/ 2009394 h 2197227"/>
                  <a:gd name="connsiteX1381" fmla="*/ 1116139 w 1776793"/>
                  <a:gd name="connsiteY1381" fmla="*/ 2009204 h 2197227"/>
                  <a:gd name="connsiteX1382" fmla="*/ 1116616 w 1776793"/>
                  <a:gd name="connsiteY1382" fmla="*/ 2008918 h 2197227"/>
                  <a:gd name="connsiteX1383" fmla="*/ 1117949 w 1776793"/>
                  <a:gd name="connsiteY1383" fmla="*/ 2008156 h 2197227"/>
                  <a:gd name="connsiteX1384" fmla="*/ 1119854 w 1776793"/>
                  <a:gd name="connsiteY1384" fmla="*/ 2007013 h 2197227"/>
                  <a:gd name="connsiteX1385" fmla="*/ 1120426 w 1776793"/>
                  <a:gd name="connsiteY1385" fmla="*/ 2006632 h 2197227"/>
                  <a:gd name="connsiteX1386" fmla="*/ 1121569 w 1776793"/>
                  <a:gd name="connsiteY1386" fmla="*/ 2005965 h 2197227"/>
                  <a:gd name="connsiteX1387" fmla="*/ 1121569 w 1776793"/>
                  <a:gd name="connsiteY1387" fmla="*/ 2005965 h 2197227"/>
                  <a:gd name="connsiteX1388" fmla="*/ 1121855 w 1776793"/>
                  <a:gd name="connsiteY1388" fmla="*/ 2005775 h 2197227"/>
                  <a:gd name="connsiteX1389" fmla="*/ 1122045 w 1776793"/>
                  <a:gd name="connsiteY1389" fmla="*/ 2005775 h 2197227"/>
                  <a:gd name="connsiteX1390" fmla="*/ 1122235 w 1776793"/>
                  <a:gd name="connsiteY1390" fmla="*/ 2005584 h 2197227"/>
                  <a:gd name="connsiteX1391" fmla="*/ 1122331 w 1776793"/>
                  <a:gd name="connsiteY1391" fmla="*/ 2005584 h 2197227"/>
                  <a:gd name="connsiteX1392" fmla="*/ 1122998 w 1776793"/>
                  <a:gd name="connsiteY1392" fmla="*/ 2005108 h 2197227"/>
                  <a:gd name="connsiteX1393" fmla="*/ 1122426 w 1776793"/>
                  <a:gd name="connsiteY1393" fmla="*/ 2005489 h 2197227"/>
                  <a:gd name="connsiteX1394" fmla="*/ 1123760 w 1776793"/>
                  <a:gd name="connsiteY1394" fmla="*/ 2004727 h 2197227"/>
                  <a:gd name="connsiteX1395" fmla="*/ 1125855 w 1776793"/>
                  <a:gd name="connsiteY1395" fmla="*/ 2003489 h 2197227"/>
                  <a:gd name="connsiteX1396" fmla="*/ 1127855 w 1776793"/>
                  <a:gd name="connsiteY1396" fmla="*/ 2002346 h 2197227"/>
                  <a:gd name="connsiteX1397" fmla="*/ 1129379 w 1776793"/>
                  <a:gd name="connsiteY1397" fmla="*/ 2001488 h 2197227"/>
                  <a:gd name="connsiteX1398" fmla="*/ 1130237 w 1776793"/>
                  <a:gd name="connsiteY1398" fmla="*/ 2000917 h 2197227"/>
                  <a:gd name="connsiteX1399" fmla="*/ 1132046 w 1776793"/>
                  <a:gd name="connsiteY1399" fmla="*/ 1999774 h 2197227"/>
                  <a:gd name="connsiteX1400" fmla="*/ 1132046 w 1776793"/>
                  <a:gd name="connsiteY1400" fmla="*/ 1999774 h 2197227"/>
                  <a:gd name="connsiteX1401" fmla="*/ 1132046 w 1776793"/>
                  <a:gd name="connsiteY1401" fmla="*/ 1999774 h 2197227"/>
                  <a:gd name="connsiteX1402" fmla="*/ 1132713 w 1776793"/>
                  <a:gd name="connsiteY1402" fmla="*/ 1999393 h 2197227"/>
                  <a:gd name="connsiteX1403" fmla="*/ 1132808 w 1776793"/>
                  <a:gd name="connsiteY1403" fmla="*/ 1999393 h 2197227"/>
                  <a:gd name="connsiteX1404" fmla="*/ 1133570 w 1776793"/>
                  <a:gd name="connsiteY1404" fmla="*/ 1998821 h 2197227"/>
                  <a:gd name="connsiteX1405" fmla="*/ 1137666 w 1776793"/>
                  <a:gd name="connsiteY1405" fmla="*/ 1996345 h 2197227"/>
                  <a:gd name="connsiteX1406" fmla="*/ 1138333 w 1776793"/>
                  <a:gd name="connsiteY1406" fmla="*/ 1995964 h 2197227"/>
                  <a:gd name="connsiteX1407" fmla="*/ 1138428 w 1776793"/>
                  <a:gd name="connsiteY1407" fmla="*/ 1995964 h 2197227"/>
                  <a:gd name="connsiteX1408" fmla="*/ 1139190 w 1776793"/>
                  <a:gd name="connsiteY1408" fmla="*/ 1995392 h 2197227"/>
                  <a:gd name="connsiteX1409" fmla="*/ 1140809 w 1776793"/>
                  <a:gd name="connsiteY1409" fmla="*/ 1994440 h 2197227"/>
                  <a:gd name="connsiteX1410" fmla="*/ 1142810 w 1776793"/>
                  <a:gd name="connsiteY1410" fmla="*/ 1993201 h 2197227"/>
                  <a:gd name="connsiteX1411" fmla="*/ 1143476 w 1776793"/>
                  <a:gd name="connsiteY1411" fmla="*/ 1992821 h 2197227"/>
                  <a:gd name="connsiteX1412" fmla="*/ 1143762 w 1776793"/>
                  <a:gd name="connsiteY1412" fmla="*/ 1992630 h 2197227"/>
                  <a:gd name="connsiteX1413" fmla="*/ 1142524 w 1776793"/>
                  <a:gd name="connsiteY1413" fmla="*/ 1993392 h 2197227"/>
                  <a:gd name="connsiteX1414" fmla="*/ 1144334 w 1776793"/>
                  <a:gd name="connsiteY1414" fmla="*/ 1992249 h 2197227"/>
                  <a:gd name="connsiteX1415" fmla="*/ 1144714 w 1776793"/>
                  <a:gd name="connsiteY1415" fmla="*/ 1991963 h 2197227"/>
                  <a:gd name="connsiteX1416" fmla="*/ 1144905 w 1776793"/>
                  <a:gd name="connsiteY1416" fmla="*/ 1991963 h 2197227"/>
                  <a:gd name="connsiteX1417" fmla="*/ 1145000 w 1776793"/>
                  <a:gd name="connsiteY1417" fmla="*/ 1991773 h 2197227"/>
                  <a:gd name="connsiteX1418" fmla="*/ 1147381 w 1776793"/>
                  <a:gd name="connsiteY1418" fmla="*/ 1990249 h 2197227"/>
                  <a:gd name="connsiteX1419" fmla="*/ 1149191 w 1776793"/>
                  <a:gd name="connsiteY1419" fmla="*/ 1989106 h 2197227"/>
                  <a:gd name="connsiteX1420" fmla="*/ 1150430 w 1776793"/>
                  <a:gd name="connsiteY1420" fmla="*/ 1988249 h 2197227"/>
                  <a:gd name="connsiteX1421" fmla="*/ 1151668 w 1776793"/>
                  <a:gd name="connsiteY1421" fmla="*/ 1987487 h 2197227"/>
                  <a:gd name="connsiteX1422" fmla="*/ 1152239 w 1776793"/>
                  <a:gd name="connsiteY1422" fmla="*/ 1987106 h 2197227"/>
                  <a:gd name="connsiteX1423" fmla="*/ 1152620 w 1776793"/>
                  <a:gd name="connsiteY1423" fmla="*/ 1986820 h 2197227"/>
                  <a:gd name="connsiteX1424" fmla="*/ 1152811 w 1776793"/>
                  <a:gd name="connsiteY1424" fmla="*/ 1986820 h 2197227"/>
                  <a:gd name="connsiteX1425" fmla="*/ 1154239 w 1776793"/>
                  <a:gd name="connsiteY1425" fmla="*/ 1985867 h 2197227"/>
                  <a:gd name="connsiteX1426" fmla="*/ 1153859 w 1776793"/>
                  <a:gd name="connsiteY1426" fmla="*/ 1986153 h 2197227"/>
                  <a:gd name="connsiteX1427" fmla="*/ 1155287 w 1776793"/>
                  <a:gd name="connsiteY1427" fmla="*/ 1985200 h 2197227"/>
                  <a:gd name="connsiteX1428" fmla="*/ 1154906 w 1776793"/>
                  <a:gd name="connsiteY1428" fmla="*/ 1985486 h 2197227"/>
                  <a:gd name="connsiteX1429" fmla="*/ 1158335 w 1776793"/>
                  <a:gd name="connsiteY1429" fmla="*/ 1983296 h 2197227"/>
                  <a:gd name="connsiteX1430" fmla="*/ 1159669 w 1776793"/>
                  <a:gd name="connsiteY1430" fmla="*/ 1982438 h 2197227"/>
                  <a:gd name="connsiteX1431" fmla="*/ 1159859 w 1776793"/>
                  <a:gd name="connsiteY1431" fmla="*/ 1982438 h 2197227"/>
                  <a:gd name="connsiteX1432" fmla="*/ 1160050 w 1776793"/>
                  <a:gd name="connsiteY1432" fmla="*/ 1982248 h 2197227"/>
                  <a:gd name="connsiteX1433" fmla="*/ 1160526 w 1776793"/>
                  <a:gd name="connsiteY1433" fmla="*/ 1981867 h 2197227"/>
                  <a:gd name="connsiteX1434" fmla="*/ 1160717 w 1776793"/>
                  <a:gd name="connsiteY1434" fmla="*/ 1981867 h 2197227"/>
                  <a:gd name="connsiteX1435" fmla="*/ 1161383 w 1776793"/>
                  <a:gd name="connsiteY1435" fmla="*/ 1981391 h 2197227"/>
                  <a:gd name="connsiteX1436" fmla="*/ 1163002 w 1776793"/>
                  <a:gd name="connsiteY1436" fmla="*/ 1980343 h 2197227"/>
                  <a:gd name="connsiteX1437" fmla="*/ 1163479 w 1776793"/>
                  <a:gd name="connsiteY1437" fmla="*/ 1980057 h 2197227"/>
                  <a:gd name="connsiteX1438" fmla="*/ 1164431 w 1776793"/>
                  <a:gd name="connsiteY1438" fmla="*/ 1979390 h 2197227"/>
                  <a:gd name="connsiteX1439" fmla="*/ 1164908 w 1776793"/>
                  <a:gd name="connsiteY1439" fmla="*/ 1979105 h 2197227"/>
                  <a:gd name="connsiteX1440" fmla="*/ 1166622 w 1776793"/>
                  <a:gd name="connsiteY1440" fmla="*/ 1977962 h 2197227"/>
                  <a:gd name="connsiteX1441" fmla="*/ 1164717 w 1776793"/>
                  <a:gd name="connsiteY1441" fmla="*/ 1979200 h 2197227"/>
                  <a:gd name="connsiteX1442" fmla="*/ 1164717 w 1776793"/>
                  <a:gd name="connsiteY1442" fmla="*/ 1979200 h 2197227"/>
                  <a:gd name="connsiteX1443" fmla="*/ 1165384 w 1776793"/>
                  <a:gd name="connsiteY1443" fmla="*/ 1978819 h 2197227"/>
                  <a:gd name="connsiteX1444" fmla="*/ 1165384 w 1776793"/>
                  <a:gd name="connsiteY1444" fmla="*/ 1978819 h 2197227"/>
                  <a:gd name="connsiteX1445" fmla="*/ 1165384 w 1776793"/>
                  <a:gd name="connsiteY1445" fmla="*/ 1978819 h 2197227"/>
                  <a:gd name="connsiteX1446" fmla="*/ 1166241 w 1776793"/>
                  <a:gd name="connsiteY1446" fmla="*/ 1978247 h 2197227"/>
                  <a:gd name="connsiteX1447" fmla="*/ 1164812 w 1776793"/>
                  <a:gd name="connsiteY1447" fmla="*/ 1979200 h 2197227"/>
                  <a:gd name="connsiteX1448" fmla="*/ 1165003 w 1776793"/>
                  <a:gd name="connsiteY1448" fmla="*/ 1979200 h 2197227"/>
                  <a:gd name="connsiteX1449" fmla="*/ 1166336 w 1776793"/>
                  <a:gd name="connsiteY1449" fmla="*/ 1978247 h 2197227"/>
                  <a:gd name="connsiteX1450" fmla="*/ 1166336 w 1776793"/>
                  <a:gd name="connsiteY1450" fmla="*/ 1978247 h 2197227"/>
                  <a:gd name="connsiteX1451" fmla="*/ 1166717 w 1776793"/>
                  <a:gd name="connsiteY1451" fmla="*/ 1978057 h 2197227"/>
                  <a:gd name="connsiteX1452" fmla="*/ 1169003 w 1776793"/>
                  <a:gd name="connsiteY1452" fmla="*/ 1976533 h 2197227"/>
                  <a:gd name="connsiteX1453" fmla="*/ 1169480 w 1776793"/>
                  <a:gd name="connsiteY1453" fmla="*/ 1976152 h 2197227"/>
                  <a:gd name="connsiteX1454" fmla="*/ 1172051 w 1776793"/>
                  <a:gd name="connsiteY1454" fmla="*/ 1974437 h 2197227"/>
                  <a:gd name="connsiteX1455" fmla="*/ 1171670 w 1776793"/>
                  <a:gd name="connsiteY1455" fmla="*/ 1974723 h 2197227"/>
                  <a:gd name="connsiteX1456" fmla="*/ 1169956 w 1776793"/>
                  <a:gd name="connsiteY1456" fmla="*/ 1975866 h 2197227"/>
                  <a:gd name="connsiteX1457" fmla="*/ 1170146 w 1776793"/>
                  <a:gd name="connsiteY1457" fmla="*/ 1975866 h 2197227"/>
                  <a:gd name="connsiteX1458" fmla="*/ 1171670 w 1776793"/>
                  <a:gd name="connsiteY1458" fmla="*/ 1974723 h 2197227"/>
                  <a:gd name="connsiteX1459" fmla="*/ 1172337 w 1776793"/>
                  <a:gd name="connsiteY1459" fmla="*/ 1974247 h 2197227"/>
                  <a:gd name="connsiteX1460" fmla="*/ 1172051 w 1776793"/>
                  <a:gd name="connsiteY1460" fmla="*/ 1974437 h 2197227"/>
                  <a:gd name="connsiteX1461" fmla="*/ 1172718 w 1776793"/>
                  <a:gd name="connsiteY1461" fmla="*/ 1974056 h 2197227"/>
                  <a:gd name="connsiteX1462" fmla="*/ 1173004 w 1776793"/>
                  <a:gd name="connsiteY1462" fmla="*/ 1973866 h 2197227"/>
                  <a:gd name="connsiteX1463" fmla="*/ 1173004 w 1776793"/>
                  <a:gd name="connsiteY1463" fmla="*/ 1973866 h 2197227"/>
                  <a:gd name="connsiteX1464" fmla="*/ 1173004 w 1776793"/>
                  <a:gd name="connsiteY1464" fmla="*/ 1973866 h 2197227"/>
                  <a:gd name="connsiteX1465" fmla="*/ 1173004 w 1776793"/>
                  <a:gd name="connsiteY1465" fmla="*/ 1973866 h 2197227"/>
                  <a:gd name="connsiteX1466" fmla="*/ 1173004 w 1776793"/>
                  <a:gd name="connsiteY1466" fmla="*/ 1973866 h 2197227"/>
                  <a:gd name="connsiteX1467" fmla="*/ 1175004 w 1776793"/>
                  <a:gd name="connsiteY1467" fmla="*/ 1972532 h 2197227"/>
                  <a:gd name="connsiteX1468" fmla="*/ 1178433 w 1776793"/>
                  <a:gd name="connsiteY1468" fmla="*/ 1970246 h 2197227"/>
                  <a:gd name="connsiteX1469" fmla="*/ 1173861 w 1776793"/>
                  <a:gd name="connsiteY1469" fmla="*/ 1973199 h 2197227"/>
                  <a:gd name="connsiteX1470" fmla="*/ 1174718 w 1776793"/>
                  <a:gd name="connsiteY1470" fmla="*/ 1972628 h 2197227"/>
                  <a:gd name="connsiteX1471" fmla="*/ 1173480 w 1776793"/>
                  <a:gd name="connsiteY1471" fmla="*/ 1973485 h 2197227"/>
                  <a:gd name="connsiteX1472" fmla="*/ 1173194 w 1776793"/>
                  <a:gd name="connsiteY1472" fmla="*/ 1973675 h 2197227"/>
                  <a:gd name="connsiteX1473" fmla="*/ 1173099 w 1776793"/>
                  <a:gd name="connsiteY1473" fmla="*/ 1973675 h 2197227"/>
                  <a:gd name="connsiteX1474" fmla="*/ 1173099 w 1776793"/>
                  <a:gd name="connsiteY1474" fmla="*/ 1973675 h 2197227"/>
                  <a:gd name="connsiteX1475" fmla="*/ 1173385 w 1776793"/>
                  <a:gd name="connsiteY1475" fmla="*/ 1973485 h 2197227"/>
                  <a:gd name="connsiteX1476" fmla="*/ 1173766 w 1776793"/>
                  <a:gd name="connsiteY1476" fmla="*/ 1973199 h 2197227"/>
                  <a:gd name="connsiteX1477" fmla="*/ 1173289 w 1776793"/>
                  <a:gd name="connsiteY1477" fmla="*/ 1973485 h 2197227"/>
                  <a:gd name="connsiteX1478" fmla="*/ 1184434 w 1776793"/>
                  <a:gd name="connsiteY1478" fmla="*/ 1966055 h 2197227"/>
                  <a:gd name="connsiteX1479" fmla="*/ 1186148 w 1776793"/>
                  <a:gd name="connsiteY1479" fmla="*/ 1964912 h 2197227"/>
                  <a:gd name="connsiteX1480" fmla="*/ 1186625 w 1776793"/>
                  <a:gd name="connsiteY1480" fmla="*/ 1964626 h 2197227"/>
                  <a:gd name="connsiteX1481" fmla="*/ 1186625 w 1776793"/>
                  <a:gd name="connsiteY1481" fmla="*/ 1964626 h 2197227"/>
                  <a:gd name="connsiteX1482" fmla="*/ 1186625 w 1776793"/>
                  <a:gd name="connsiteY1482" fmla="*/ 1964626 h 2197227"/>
                  <a:gd name="connsiteX1483" fmla="*/ 1187482 w 1776793"/>
                  <a:gd name="connsiteY1483" fmla="*/ 1964055 h 2197227"/>
                  <a:gd name="connsiteX1484" fmla="*/ 1188530 w 1776793"/>
                  <a:gd name="connsiteY1484" fmla="*/ 1963293 h 2197227"/>
                  <a:gd name="connsiteX1485" fmla="*/ 1190149 w 1776793"/>
                  <a:gd name="connsiteY1485" fmla="*/ 1962245 h 2197227"/>
                  <a:gd name="connsiteX1486" fmla="*/ 1190244 w 1776793"/>
                  <a:gd name="connsiteY1486" fmla="*/ 1962245 h 2197227"/>
                  <a:gd name="connsiteX1487" fmla="*/ 1190720 w 1776793"/>
                  <a:gd name="connsiteY1487" fmla="*/ 1961864 h 2197227"/>
                  <a:gd name="connsiteX1488" fmla="*/ 1194245 w 1776793"/>
                  <a:gd name="connsiteY1488" fmla="*/ 1959483 h 2197227"/>
                  <a:gd name="connsiteX1489" fmla="*/ 1195483 w 1776793"/>
                  <a:gd name="connsiteY1489" fmla="*/ 1958626 h 2197227"/>
                  <a:gd name="connsiteX1490" fmla="*/ 1196245 w 1776793"/>
                  <a:gd name="connsiteY1490" fmla="*/ 1958054 h 2197227"/>
                  <a:gd name="connsiteX1491" fmla="*/ 1197007 w 1776793"/>
                  <a:gd name="connsiteY1491" fmla="*/ 1957578 h 2197227"/>
                  <a:gd name="connsiteX1492" fmla="*/ 1197864 w 1776793"/>
                  <a:gd name="connsiteY1492" fmla="*/ 1957007 h 2197227"/>
                  <a:gd name="connsiteX1493" fmla="*/ 1199007 w 1776793"/>
                  <a:gd name="connsiteY1493" fmla="*/ 1956245 h 2197227"/>
                  <a:gd name="connsiteX1494" fmla="*/ 1199864 w 1776793"/>
                  <a:gd name="connsiteY1494" fmla="*/ 1955673 h 2197227"/>
                  <a:gd name="connsiteX1495" fmla="*/ 1203579 w 1776793"/>
                  <a:gd name="connsiteY1495" fmla="*/ 1953101 h 2197227"/>
                  <a:gd name="connsiteX1496" fmla="*/ 1202722 w 1776793"/>
                  <a:gd name="connsiteY1496" fmla="*/ 1953673 h 2197227"/>
                  <a:gd name="connsiteX1497" fmla="*/ 1203770 w 1776793"/>
                  <a:gd name="connsiteY1497" fmla="*/ 1952911 h 2197227"/>
                  <a:gd name="connsiteX1498" fmla="*/ 1206818 w 1776793"/>
                  <a:gd name="connsiteY1498" fmla="*/ 1950815 h 2197227"/>
                  <a:gd name="connsiteX1499" fmla="*/ 1208913 w 1776793"/>
                  <a:gd name="connsiteY1499" fmla="*/ 1949291 h 2197227"/>
                  <a:gd name="connsiteX1500" fmla="*/ 1209485 w 1776793"/>
                  <a:gd name="connsiteY1500" fmla="*/ 1948910 h 2197227"/>
                  <a:gd name="connsiteX1501" fmla="*/ 1210913 w 1776793"/>
                  <a:gd name="connsiteY1501" fmla="*/ 1947863 h 2197227"/>
                  <a:gd name="connsiteX1502" fmla="*/ 1211104 w 1776793"/>
                  <a:gd name="connsiteY1502" fmla="*/ 1947672 h 2197227"/>
                  <a:gd name="connsiteX1503" fmla="*/ 1212152 w 1776793"/>
                  <a:gd name="connsiteY1503" fmla="*/ 1946910 h 2197227"/>
                  <a:gd name="connsiteX1504" fmla="*/ 1212628 w 1776793"/>
                  <a:gd name="connsiteY1504" fmla="*/ 1946624 h 2197227"/>
                  <a:gd name="connsiteX1505" fmla="*/ 1211961 w 1776793"/>
                  <a:gd name="connsiteY1505" fmla="*/ 1947100 h 2197227"/>
                  <a:gd name="connsiteX1506" fmla="*/ 1212437 w 1776793"/>
                  <a:gd name="connsiteY1506" fmla="*/ 1946720 h 2197227"/>
                  <a:gd name="connsiteX1507" fmla="*/ 1211866 w 1776793"/>
                  <a:gd name="connsiteY1507" fmla="*/ 1947100 h 2197227"/>
                  <a:gd name="connsiteX1508" fmla="*/ 1211485 w 1776793"/>
                  <a:gd name="connsiteY1508" fmla="*/ 1947386 h 2197227"/>
                  <a:gd name="connsiteX1509" fmla="*/ 1211104 w 1776793"/>
                  <a:gd name="connsiteY1509" fmla="*/ 1947672 h 2197227"/>
                  <a:gd name="connsiteX1510" fmla="*/ 1210913 w 1776793"/>
                  <a:gd name="connsiteY1510" fmla="*/ 1947672 h 2197227"/>
                  <a:gd name="connsiteX1511" fmla="*/ 1207960 w 1776793"/>
                  <a:gd name="connsiteY1511" fmla="*/ 1949863 h 2197227"/>
                  <a:gd name="connsiteX1512" fmla="*/ 1208246 w 1776793"/>
                  <a:gd name="connsiteY1512" fmla="*/ 1949672 h 2197227"/>
                  <a:gd name="connsiteX1513" fmla="*/ 1207865 w 1776793"/>
                  <a:gd name="connsiteY1513" fmla="*/ 1949958 h 2197227"/>
                  <a:gd name="connsiteX1514" fmla="*/ 1207960 w 1776793"/>
                  <a:gd name="connsiteY1514" fmla="*/ 1949958 h 2197227"/>
                  <a:gd name="connsiteX1515" fmla="*/ 1207865 w 1776793"/>
                  <a:gd name="connsiteY1515" fmla="*/ 1949958 h 2197227"/>
                  <a:gd name="connsiteX1516" fmla="*/ 1207675 w 1776793"/>
                  <a:gd name="connsiteY1516" fmla="*/ 1949958 h 2197227"/>
                  <a:gd name="connsiteX1517" fmla="*/ 1204341 w 1776793"/>
                  <a:gd name="connsiteY1517" fmla="*/ 1952434 h 2197227"/>
                  <a:gd name="connsiteX1518" fmla="*/ 1205675 w 1776793"/>
                  <a:gd name="connsiteY1518" fmla="*/ 1951482 h 2197227"/>
                  <a:gd name="connsiteX1519" fmla="*/ 1207865 w 1776793"/>
                  <a:gd name="connsiteY1519" fmla="*/ 1949958 h 2197227"/>
                  <a:gd name="connsiteX1520" fmla="*/ 1211485 w 1776793"/>
                  <a:gd name="connsiteY1520" fmla="*/ 1947482 h 2197227"/>
                  <a:gd name="connsiteX1521" fmla="*/ 1213295 w 1776793"/>
                  <a:gd name="connsiteY1521" fmla="*/ 1946148 h 2197227"/>
                  <a:gd name="connsiteX1522" fmla="*/ 1213580 w 1776793"/>
                  <a:gd name="connsiteY1522" fmla="*/ 1945958 h 2197227"/>
                  <a:gd name="connsiteX1523" fmla="*/ 1212914 w 1776793"/>
                  <a:gd name="connsiteY1523" fmla="*/ 1946434 h 2197227"/>
                  <a:gd name="connsiteX1524" fmla="*/ 1212437 w 1776793"/>
                  <a:gd name="connsiteY1524" fmla="*/ 1946720 h 2197227"/>
                  <a:gd name="connsiteX1525" fmla="*/ 1212818 w 1776793"/>
                  <a:gd name="connsiteY1525" fmla="*/ 1946434 h 2197227"/>
                  <a:gd name="connsiteX1526" fmla="*/ 1212628 w 1776793"/>
                  <a:gd name="connsiteY1526" fmla="*/ 1946624 h 2197227"/>
                  <a:gd name="connsiteX1527" fmla="*/ 1213009 w 1776793"/>
                  <a:gd name="connsiteY1527" fmla="*/ 1946339 h 2197227"/>
                  <a:gd name="connsiteX1528" fmla="*/ 1213961 w 1776793"/>
                  <a:gd name="connsiteY1528" fmla="*/ 1945672 h 2197227"/>
                  <a:gd name="connsiteX1529" fmla="*/ 1213961 w 1776793"/>
                  <a:gd name="connsiteY1529" fmla="*/ 1945672 h 2197227"/>
                  <a:gd name="connsiteX1530" fmla="*/ 1213009 w 1776793"/>
                  <a:gd name="connsiteY1530" fmla="*/ 1946339 h 2197227"/>
                  <a:gd name="connsiteX1531" fmla="*/ 1213961 w 1776793"/>
                  <a:gd name="connsiteY1531" fmla="*/ 1945672 h 2197227"/>
                  <a:gd name="connsiteX1532" fmla="*/ 1214342 w 1776793"/>
                  <a:gd name="connsiteY1532" fmla="*/ 1945386 h 2197227"/>
                  <a:gd name="connsiteX1533" fmla="*/ 1214056 w 1776793"/>
                  <a:gd name="connsiteY1533" fmla="*/ 1945576 h 2197227"/>
                  <a:gd name="connsiteX1534" fmla="*/ 1215390 w 1776793"/>
                  <a:gd name="connsiteY1534" fmla="*/ 1944624 h 2197227"/>
                  <a:gd name="connsiteX1535" fmla="*/ 1216247 w 1776793"/>
                  <a:gd name="connsiteY1535" fmla="*/ 1944053 h 2197227"/>
                  <a:gd name="connsiteX1536" fmla="*/ 1216247 w 1776793"/>
                  <a:gd name="connsiteY1536" fmla="*/ 1944053 h 2197227"/>
                  <a:gd name="connsiteX1537" fmla="*/ 1217390 w 1776793"/>
                  <a:gd name="connsiteY1537" fmla="*/ 1943195 h 2197227"/>
                  <a:gd name="connsiteX1538" fmla="*/ 1217200 w 1776793"/>
                  <a:gd name="connsiteY1538" fmla="*/ 1943386 h 2197227"/>
                  <a:gd name="connsiteX1539" fmla="*/ 1220629 w 1776793"/>
                  <a:gd name="connsiteY1539" fmla="*/ 1940909 h 2197227"/>
                  <a:gd name="connsiteX1540" fmla="*/ 1215771 w 1776793"/>
                  <a:gd name="connsiteY1540" fmla="*/ 1944338 h 2197227"/>
                  <a:gd name="connsiteX1541" fmla="*/ 1215581 w 1776793"/>
                  <a:gd name="connsiteY1541" fmla="*/ 1944338 h 2197227"/>
                  <a:gd name="connsiteX1542" fmla="*/ 1217009 w 1776793"/>
                  <a:gd name="connsiteY1542" fmla="*/ 1943481 h 2197227"/>
                  <a:gd name="connsiteX1543" fmla="*/ 1226439 w 1776793"/>
                  <a:gd name="connsiteY1543" fmla="*/ 1936718 h 2197227"/>
                  <a:gd name="connsiteX1544" fmla="*/ 1234059 w 1776793"/>
                  <a:gd name="connsiteY1544" fmla="*/ 1931194 h 2197227"/>
                  <a:gd name="connsiteX1545" fmla="*/ 1236440 w 1776793"/>
                  <a:gd name="connsiteY1545" fmla="*/ 1929384 h 2197227"/>
                  <a:gd name="connsiteX1546" fmla="*/ 1238631 w 1776793"/>
                  <a:gd name="connsiteY1546" fmla="*/ 1927765 h 2197227"/>
                  <a:gd name="connsiteX1547" fmla="*/ 1243775 w 1776793"/>
                  <a:gd name="connsiteY1547" fmla="*/ 1923955 h 2197227"/>
                  <a:gd name="connsiteX1548" fmla="*/ 1254347 w 1776793"/>
                  <a:gd name="connsiteY1548" fmla="*/ 1915954 h 2197227"/>
                  <a:gd name="connsiteX1549" fmla="*/ 1256157 w 1776793"/>
                  <a:gd name="connsiteY1549" fmla="*/ 1914620 h 2197227"/>
                  <a:gd name="connsiteX1550" fmla="*/ 1256729 w 1776793"/>
                  <a:gd name="connsiteY1550" fmla="*/ 1914239 h 2197227"/>
                  <a:gd name="connsiteX1551" fmla="*/ 1257300 w 1776793"/>
                  <a:gd name="connsiteY1551" fmla="*/ 1913763 h 2197227"/>
                  <a:gd name="connsiteX1552" fmla="*/ 1261491 w 1776793"/>
                  <a:gd name="connsiteY1552" fmla="*/ 1910525 h 2197227"/>
                  <a:gd name="connsiteX1553" fmla="*/ 1261681 w 1776793"/>
                  <a:gd name="connsiteY1553" fmla="*/ 1910334 h 2197227"/>
                  <a:gd name="connsiteX1554" fmla="*/ 1262825 w 1776793"/>
                  <a:gd name="connsiteY1554" fmla="*/ 1909477 h 2197227"/>
                  <a:gd name="connsiteX1555" fmla="*/ 1264158 w 1776793"/>
                  <a:gd name="connsiteY1555" fmla="*/ 1908429 h 2197227"/>
                  <a:gd name="connsiteX1556" fmla="*/ 1275683 w 1776793"/>
                  <a:gd name="connsiteY1556" fmla="*/ 1899380 h 2197227"/>
                  <a:gd name="connsiteX1557" fmla="*/ 1276350 w 1776793"/>
                  <a:gd name="connsiteY1557" fmla="*/ 1898809 h 2197227"/>
                  <a:gd name="connsiteX1558" fmla="*/ 1277779 w 1776793"/>
                  <a:gd name="connsiteY1558" fmla="*/ 1897666 h 2197227"/>
                  <a:gd name="connsiteX1559" fmla="*/ 1287589 w 1776793"/>
                  <a:gd name="connsiteY1559" fmla="*/ 1889665 h 2197227"/>
                  <a:gd name="connsiteX1560" fmla="*/ 1288828 w 1776793"/>
                  <a:gd name="connsiteY1560" fmla="*/ 1888617 h 2197227"/>
                  <a:gd name="connsiteX1561" fmla="*/ 1284446 w 1776793"/>
                  <a:gd name="connsiteY1561" fmla="*/ 1892237 h 2197227"/>
                  <a:gd name="connsiteX1562" fmla="*/ 1290161 w 1776793"/>
                  <a:gd name="connsiteY1562" fmla="*/ 1887665 h 2197227"/>
                  <a:gd name="connsiteX1563" fmla="*/ 1290161 w 1776793"/>
                  <a:gd name="connsiteY1563" fmla="*/ 1887665 h 2197227"/>
                  <a:gd name="connsiteX1564" fmla="*/ 1291400 w 1776793"/>
                  <a:gd name="connsiteY1564" fmla="*/ 1886712 h 2197227"/>
                  <a:gd name="connsiteX1565" fmla="*/ 1290352 w 1776793"/>
                  <a:gd name="connsiteY1565" fmla="*/ 1887569 h 2197227"/>
                  <a:gd name="connsiteX1566" fmla="*/ 1290352 w 1776793"/>
                  <a:gd name="connsiteY1566" fmla="*/ 1887569 h 2197227"/>
                  <a:gd name="connsiteX1567" fmla="*/ 1290352 w 1776793"/>
                  <a:gd name="connsiteY1567" fmla="*/ 1887474 h 2197227"/>
                  <a:gd name="connsiteX1568" fmla="*/ 1290828 w 1776793"/>
                  <a:gd name="connsiteY1568" fmla="*/ 1887093 h 2197227"/>
                  <a:gd name="connsiteX1569" fmla="*/ 1294733 w 1776793"/>
                  <a:gd name="connsiteY1569" fmla="*/ 1883950 h 2197227"/>
                  <a:gd name="connsiteX1570" fmla="*/ 1295114 w 1776793"/>
                  <a:gd name="connsiteY1570" fmla="*/ 1883664 h 2197227"/>
                  <a:gd name="connsiteX1571" fmla="*/ 1295305 w 1776793"/>
                  <a:gd name="connsiteY1571" fmla="*/ 1883474 h 2197227"/>
                  <a:gd name="connsiteX1572" fmla="*/ 1295400 w 1776793"/>
                  <a:gd name="connsiteY1572" fmla="*/ 1883474 h 2197227"/>
                  <a:gd name="connsiteX1573" fmla="*/ 1295400 w 1776793"/>
                  <a:gd name="connsiteY1573" fmla="*/ 1883474 h 2197227"/>
                  <a:gd name="connsiteX1574" fmla="*/ 1295781 w 1776793"/>
                  <a:gd name="connsiteY1574" fmla="*/ 1883188 h 2197227"/>
                  <a:gd name="connsiteX1575" fmla="*/ 1296448 w 1776793"/>
                  <a:gd name="connsiteY1575" fmla="*/ 1882616 h 2197227"/>
                  <a:gd name="connsiteX1576" fmla="*/ 1297210 w 1776793"/>
                  <a:gd name="connsiteY1576" fmla="*/ 1882045 h 2197227"/>
                  <a:gd name="connsiteX1577" fmla="*/ 1298067 w 1776793"/>
                  <a:gd name="connsiteY1577" fmla="*/ 1881378 h 2197227"/>
                  <a:gd name="connsiteX1578" fmla="*/ 1301687 w 1776793"/>
                  <a:gd name="connsiteY1578" fmla="*/ 1878330 h 2197227"/>
                  <a:gd name="connsiteX1579" fmla="*/ 1303020 w 1776793"/>
                  <a:gd name="connsiteY1579" fmla="*/ 1877187 h 2197227"/>
                  <a:gd name="connsiteX1580" fmla="*/ 1304544 w 1776793"/>
                  <a:gd name="connsiteY1580" fmla="*/ 1875949 h 2197227"/>
                  <a:gd name="connsiteX1581" fmla="*/ 1305973 w 1776793"/>
                  <a:gd name="connsiteY1581" fmla="*/ 1874711 h 2197227"/>
                  <a:gd name="connsiteX1582" fmla="*/ 1307687 w 1776793"/>
                  <a:gd name="connsiteY1582" fmla="*/ 1873282 h 2197227"/>
                  <a:gd name="connsiteX1583" fmla="*/ 1310354 w 1776793"/>
                  <a:gd name="connsiteY1583" fmla="*/ 1871091 h 2197227"/>
                  <a:gd name="connsiteX1584" fmla="*/ 1311116 w 1776793"/>
                  <a:gd name="connsiteY1584" fmla="*/ 1870424 h 2197227"/>
                  <a:gd name="connsiteX1585" fmla="*/ 1311402 w 1776793"/>
                  <a:gd name="connsiteY1585" fmla="*/ 1870234 h 2197227"/>
                  <a:gd name="connsiteX1586" fmla="*/ 1313783 w 1776793"/>
                  <a:gd name="connsiteY1586" fmla="*/ 1868233 h 2197227"/>
                  <a:gd name="connsiteX1587" fmla="*/ 1312926 w 1776793"/>
                  <a:gd name="connsiteY1587" fmla="*/ 1868996 h 2197227"/>
                  <a:gd name="connsiteX1588" fmla="*/ 1316069 w 1776793"/>
                  <a:gd name="connsiteY1588" fmla="*/ 1866329 h 2197227"/>
                  <a:gd name="connsiteX1589" fmla="*/ 1315022 w 1776793"/>
                  <a:gd name="connsiteY1589" fmla="*/ 1867186 h 2197227"/>
                  <a:gd name="connsiteX1590" fmla="*/ 1315974 w 1776793"/>
                  <a:gd name="connsiteY1590" fmla="*/ 1866329 h 2197227"/>
                  <a:gd name="connsiteX1591" fmla="*/ 1316736 w 1776793"/>
                  <a:gd name="connsiteY1591" fmla="*/ 1865757 h 2197227"/>
                  <a:gd name="connsiteX1592" fmla="*/ 1317022 w 1776793"/>
                  <a:gd name="connsiteY1592" fmla="*/ 1865566 h 2197227"/>
                  <a:gd name="connsiteX1593" fmla="*/ 1317498 w 1776793"/>
                  <a:gd name="connsiteY1593" fmla="*/ 1865186 h 2197227"/>
                  <a:gd name="connsiteX1594" fmla="*/ 1319689 w 1776793"/>
                  <a:gd name="connsiteY1594" fmla="*/ 1863281 h 2197227"/>
                  <a:gd name="connsiteX1595" fmla="*/ 1319975 w 1776793"/>
                  <a:gd name="connsiteY1595" fmla="*/ 1862995 h 2197227"/>
                  <a:gd name="connsiteX1596" fmla="*/ 1319784 w 1776793"/>
                  <a:gd name="connsiteY1596" fmla="*/ 1862995 h 2197227"/>
                  <a:gd name="connsiteX1597" fmla="*/ 1321975 w 1776793"/>
                  <a:gd name="connsiteY1597" fmla="*/ 1861280 h 2197227"/>
                  <a:gd name="connsiteX1598" fmla="*/ 1323975 w 1776793"/>
                  <a:gd name="connsiteY1598" fmla="*/ 1859566 h 2197227"/>
                  <a:gd name="connsiteX1599" fmla="*/ 1323975 w 1776793"/>
                  <a:gd name="connsiteY1599" fmla="*/ 1859566 h 2197227"/>
                  <a:gd name="connsiteX1600" fmla="*/ 1334834 w 1776793"/>
                  <a:gd name="connsiteY1600" fmla="*/ 1850041 h 2197227"/>
                  <a:gd name="connsiteX1601" fmla="*/ 1338929 w 1776793"/>
                  <a:gd name="connsiteY1601" fmla="*/ 1846421 h 2197227"/>
                  <a:gd name="connsiteX1602" fmla="*/ 1343120 w 1776793"/>
                  <a:gd name="connsiteY1602" fmla="*/ 1842707 h 2197227"/>
                  <a:gd name="connsiteX1603" fmla="*/ 1362742 w 1776793"/>
                  <a:gd name="connsiteY1603" fmla="*/ 1824609 h 2197227"/>
                  <a:gd name="connsiteX1604" fmla="*/ 1379030 w 1776793"/>
                  <a:gd name="connsiteY1604" fmla="*/ 1808798 h 2197227"/>
                  <a:gd name="connsiteX1605" fmla="*/ 1404461 w 1776793"/>
                  <a:gd name="connsiteY1605" fmla="*/ 1782604 h 2197227"/>
                  <a:gd name="connsiteX1606" fmla="*/ 1420749 w 1776793"/>
                  <a:gd name="connsiteY1606" fmla="*/ 1764506 h 2197227"/>
                  <a:gd name="connsiteX1607" fmla="*/ 1438656 w 1776793"/>
                  <a:gd name="connsiteY1607" fmla="*/ 1742123 h 2197227"/>
                  <a:gd name="connsiteX1608" fmla="*/ 1450753 w 1776793"/>
                  <a:gd name="connsiteY1608" fmla="*/ 1725168 h 2197227"/>
                  <a:gd name="connsiteX1609" fmla="*/ 1461516 w 1776793"/>
                  <a:gd name="connsiteY1609" fmla="*/ 1706975 h 2197227"/>
                  <a:gd name="connsiteX1610" fmla="*/ 1468088 w 1776793"/>
                  <a:gd name="connsiteY1610" fmla="*/ 1692974 h 2197227"/>
                  <a:gd name="connsiteX1611" fmla="*/ 1472375 w 1776793"/>
                  <a:gd name="connsiteY1611" fmla="*/ 1681448 h 2197227"/>
                  <a:gd name="connsiteX1612" fmla="*/ 1473232 w 1776793"/>
                  <a:gd name="connsiteY1612" fmla="*/ 1673352 h 2197227"/>
                  <a:gd name="connsiteX1613" fmla="*/ 1475137 w 1776793"/>
                  <a:gd name="connsiteY1613" fmla="*/ 1668399 h 2197227"/>
                  <a:gd name="connsiteX1614" fmla="*/ 1473232 w 1776793"/>
                  <a:gd name="connsiteY1614" fmla="*/ 1666970 h 2197227"/>
                  <a:gd name="connsiteX1615" fmla="*/ 1472470 w 1776793"/>
                  <a:gd name="connsiteY1615" fmla="*/ 1663446 h 2197227"/>
                  <a:gd name="connsiteX1616" fmla="*/ 1471041 w 1776793"/>
                  <a:gd name="connsiteY1616" fmla="*/ 1662970 h 2197227"/>
                  <a:gd name="connsiteX1617" fmla="*/ 1465326 w 1776793"/>
                  <a:gd name="connsiteY1617" fmla="*/ 1670018 h 2197227"/>
                  <a:gd name="connsiteX1618" fmla="*/ 1459420 w 1776793"/>
                  <a:gd name="connsiteY1618" fmla="*/ 1679829 h 2197227"/>
                  <a:gd name="connsiteX1619" fmla="*/ 1451705 w 1776793"/>
                  <a:gd name="connsiteY1619" fmla="*/ 1689830 h 2197227"/>
                  <a:gd name="connsiteX1620" fmla="*/ 1445133 w 1776793"/>
                  <a:gd name="connsiteY1620" fmla="*/ 1698689 h 2197227"/>
                  <a:gd name="connsiteX1621" fmla="*/ 1440180 w 1776793"/>
                  <a:gd name="connsiteY1621" fmla="*/ 1704499 h 2197227"/>
                  <a:gd name="connsiteX1622" fmla="*/ 1431322 w 1776793"/>
                  <a:gd name="connsiteY1622" fmla="*/ 1714786 h 2197227"/>
                  <a:gd name="connsiteX1623" fmla="*/ 1426274 w 1776793"/>
                  <a:gd name="connsiteY1623" fmla="*/ 1721739 h 2197227"/>
                  <a:gd name="connsiteX1624" fmla="*/ 1418558 w 1776793"/>
                  <a:gd name="connsiteY1624" fmla="*/ 1730693 h 2197227"/>
                  <a:gd name="connsiteX1625" fmla="*/ 1405318 w 1776793"/>
                  <a:gd name="connsiteY1625" fmla="*/ 1747076 h 2197227"/>
                  <a:gd name="connsiteX1626" fmla="*/ 1387602 w 1776793"/>
                  <a:gd name="connsiteY1626" fmla="*/ 1766221 h 2197227"/>
                  <a:gd name="connsiteX1627" fmla="*/ 1372457 w 1776793"/>
                  <a:gd name="connsiteY1627" fmla="*/ 1782985 h 2197227"/>
                  <a:gd name="connsiteX1628" fmla="*/ 1363980 w 1776793"/>
                  <a:gd name="connsiteY1628" fmla="*/ 1791272 h 2197227"/>
                  <a:gd name="connsiteX1629" fmla="*/ 1354836 w 1776793"/>
                  <a:gd name="connsiteY1629" fmla="*/ 1797368 h 2197227"/>
                  <a:gd name="connsiteX1630" fmla="*/ 1350074 w 1776793"/>
                  <a:gd name="connsiteY1630" fmla="*/ 1799177 h 2197227"/>
                  <a:gd name="connsiteX1631" fmla="*/ 1343787 w 1776793"/>
                  <a:gd name="connsiteY1631" fmla="*/ 1803845 h 2197227"/>
                  <a:gd name="connsiteX1632" fmla="*/ 1335405 w 1776793"/>
                  <a:gd name="connsiteY1632" fmla="*/ 1809845 h 2197227"/>
                  <a:gd name="connsiteX1633" fmla="*/ 1344549 w 1776793"/>
                  <a:gd name="connsiteY1633" fmla="*/ 1799654 h 2197227"/>
                  <a:gd name="connsiteX1634" fmla="*/ 1343597 w 1776793"/>
                  <a:gd name="connsiteY1634" fmla="*/ 1797558 h 2197227"/>
                  <a:gd name="connsiteX1635" fmla="*/ 1338358 w 1776793"/>
                  <a:gd name="connsiteY1635" fmla="*/ 1800225 h 2197227"/>
                  <a:gd name="connsiteX1636" fmla="*/ 1328642 w 1776793"/>
                  <a:gd name="connsiteY1636" fmla="*/ 1806988 h 2197227"/>
                  <a:gd name="connsiteX1637" fmla="*/ 1321880 w 1776793"/>
                  <a:gd name="connsiteY1637" fmla="*/ 1810607 h 2197227"/>
                  <a:gd name="connsiteX1638" fmla="*/ 1310164 w 1776793"/>
                  <a:gd name="connsiteY1638" fmla="*/ 1816703 h 2197227"/>
                  <a:gd name="connsiteX1639" fmla="*/ 1298067 w 1776793"/>
                  <a:gd name="connsiteY1639" fmla="*/ 1822799 h 2197227"/>
                  <a:gd name="connsiteX1640" fmla="*/ 1269778 w 1776793"/>
                  <a:gd name="connsiteY1640" fmla="*/ 1839182 h 2197227"/>
                  <a:gd name="connsiteX1641" fmla="*/ 1257776 w 1776793"/>
                  <a:gd name="connsiteY1641" fmla="*/ 1844897 h 2197227"/>
                  <a:gd name="connsiteX1642" fmla="*/ 1248823 w 1776793"/>
                  <a:gd name="connsiteY1642" fmla="*/ 1844040 h 2197227"/>
                  <a:gd name="connsiteX1643" fmla="*/ 1233011 w 1776793"/>
                  <a:gd name="connsiteY1643" fmla="*/ 1845850 h 2197227"/>
                  <a:gd name="connsiteX1644" fmla="*/ 1221296 w 1776793"/>
                  <a:gd name="connsiteY1644" fmla="*/ 1851470 h 2197227"/>
                  <a:gd name="connsiteX1645" fmla="*/ 1213199 w 1776793"/>
                  <a:gd name="connsiteY1645" fmla="*/ 1855375 h 2197227"/>
                  <a:gd name="connsiteX1646" fmla="*/ 1200722 w 1776793"/>
                  <a:gd name="connsiteY1646" fmla="*/ 1852898 h 2197227"/>
                  <a:gd name="connsiteX1647" fmla="*/ 1192816 w 1776793"/>
                  <a:gd name="connsiteY1647" fmla="*/ 1847945 h 2197227"/>
                  <a:gd name="connsiteX1648" fmla="*/ 1195864 w 1776793"/>
                  <a:gd name="connsiteY1648" fmla="*/ 1843659 h 2197227"/>
                  <a:gd name="connsiteX1649" fmla="*/ 1184720 w 1776793"/>
                  <a:gd name="connsiteY1649" fmla="*/ 1841087 h 2197227"/>
                  <a:gd name="connsiteX1650" fmla="*/ 1180433 w 1776793"/>
                  <a:gd name="connsiteY1650" fmla="*/ 1841945 h 2197227"/>
                  <a:gd name="connsiteX1651" fmla="*/ 1154335 w 1776793"/>
                  <a:gd name="connsiteY1651" fmla="*/ 1850612 h 2197227"/>
                  <a:gd name="connsiteX1652" fmla="*/ 1150049 w 1776793"/>
                  <a:gd name="connsiteY1652" fmla="*/ 1845945 h 2197227"/>
                  <a:gd name="connsiteX1653" fmla="*/ 1152620 w 1776793"/>
                  <a:gd name="connsiteY1653" fmla="*/ 1841945 h 2197227"/>
                  <a:gd name="connsiteX1654" fmla="*/ 1129951 w 1776793"/>
                  <a:gd name="connsiteY1654" fmla="*/ 1844326 h 2197227"/>
                  <a:gd name="connsiteX1655" fmla="*/ 1120807 w 1776793"/>
                  <a:gd name="connsiteY1655" fmla="*/ 1843469 h 2197227"/>
                  <a:gd name="connsiteX1656" fmla="*/ 1110901 w 1776793"/>
                  <a:gd name="connsiteY1656" fmla="*/ 1843278 h 2197227"/>
                  <a:gd name="connsiteX1657" fmla="*/ 1087660 w 1776793"/>
                  <a:gd name="connsiteY1657" fmla="*/ 1838135 h 2197227"/>
                  <a:gd name="connsiteX1658" fmla="*/ 1070324 w 1776793"/>
                  <a:gd name="connsiteY1658" fmla="*/ 1835658 h 2197227"/>
                  <a:gd name="connsiteX1659" fmla="*/ 1056132 w 1776793"/>
                  <a:gd name="connsiteY1659" fmla="*/ 1829848 h 2197227"/>
                  <a:gd name="connsiteX1660" fmla="*/ 1057370 w 1776793"/>
                  <a:gd name="connsiteY1660" fmla="*/ 1827752 h 2197227"/>
                  <a:gd name="connsiteX1661" fmla="*/ 1079373 w 1776793"/>
                  <a:gd name="connsiteY1661" fmla="*/ 1833848 h 2197227"/>
                  <a:gd name="connsiteX1662" fmla="*/ 1090327 w 1776793"/>
                  <a:gd name="connsiteY1662" fmla="*/ 1832801 h 2197227"/>
                  <a:gd name="connsiteX1663" fmla="*/ 1098328 w 1776793"/>
                  <a:gd name="connsiteY1663" fmla="*/ 1831848 h 2197227"/>
                  <a:gd name="connsiteX1664" fmla="*/ 1101376 w 1776793"/>
                  <a:gd name="connsiteY1664" fmla="*/ 1827371 h 2197227"/>
                  <a:gd name="connsiteX1665" fmla="*/ 1102805 w 1776793"/>
                  <a:gd name="connsiteY1665" fmla="*/ 1819180 h 2197227"/>
                  <a:gd name="connsiteX1666" fmla="*/ 1101566 w 1776793"/>
                  <a:gd name="connsiteY1666" fmla="*/ 1809274 h 2197227"/>
                  <a:gd name="connsiteX1667" fmla="*/ 1103757 w 1776793"/>
                  <a:gd name="connsiteY1667" fmla="*/ 1801940 h 2197227"/>
                  <a:gd name="connsiteX1668" fmla="*/ 1105376 w 1776793"/>
                  <a:gd name="connsiteY1668" fmla="*/ 1802987 h 2197227"/>
                  <a:gd name="connsiteX1669" fmla="*/ 1105948 w 1776793"/>
                  <a:gd name="connsiteY1669" fmla="*/ 1808417 h 2197227"/>
                  <a:gd name="connsiteX1670" fmla="*/ 1107472 w 1776793"/>
                  <a:gd name="connsiteY1670" fmla="*/ 1812322 h 2197227"/>
                  <a:gd name="connsiteX1671" fmla="*/ 1108329 w 1776793"/>
                  <a:gd name="connsiteY1671" fmla="*/ 1819466 h 2197227"/>
                  <a:gd name="connsiteX1672" fmla="*/ 1117092 w 1776793"/>
                  <a:gd name="connsiteY1672" fmla="*/ 1813274 h 2197227"/>
                  <a:gd name="connsiteX1673" fmla="*/ 1130522 w 1776793"/>
                  <a:gd name="connsiteY1673" fmla="*/ 1813274 h 2197227"/>
                  <a:gd name="connsiteX1674" fmla="*/ 1146429 w 1776793"/>
                  <a:gd name="connsiteY1674" fmla="*/ 1812703 h 2197227"/>
                  <a:gd name="connsiteX1675" fmla="*/ 1158050 w 1776793"/>
                  <a:gd name="connsiteY1675" fmla="*/ 1814036 h 2197227"/>
                  <a:gd name="connsiteX1676" fmla="*/ 1164622 w 1776793"/>
                  <a:gd name="connsiteY1676" fmla="*/ 1812131 h 2197227"/>
                  <a:gd name="connsiteX1677" fmla="*/ 1172718 w 1776793"/>
                  <a:gd name="connsiteY1677" fmla="*/ 1812798 h 2197227"/>
                  <a:gd name="connsiteX1678" fmla="*/ 1173194 w 1776793"/>
                  <a:gd name="connsiteY1678" fmla="*/ 1815370 h 2197227"/>
                  <a:gd name="connsiteX1679" fmla="*/ 1182529 w 1776793"/>
                  <a:gd name="connsiteY1679" fmla="*/ 1815560 h 2197227"/>
                  <a:gd name="connsiteX1680" fmla="*/ 1193292 w 1776793"/>
                  <a:gd name="connsiteY1680" fmla="*/ 1809845 h 2197227"/>
                  <a:gd name="connsiteX1681" fmla="*/ 1203865 w 1776793"/>
                  <a:gd name="connsiteY1681" fmla="*/ 1806416 h 2197227"/>
                  <a:gd name="connsiteX1682" fmla="*/ 1220534 w 1776793"/>
                  <a:gd name="connsiteY1682" fmla="*/ 1806607 h 2197227"/>
                  <a:gd name="connsiteX1683" fmla="*/ 1223201 w 1776793"/>
                  <a:gd name="connsiteY1683" fmla="*/ 1811465 h 2197227"/>
                  <a:gd name="connsiteX1684" fmla="*/ 1229201 w 1776793"/>
                  <a:gd name="connsiteY1684" fmla="*/ 1814703 h 2197227"/>
                  <a:gd name="connsiteX1685" fmla="*/ 1246060 w 1776793"/>
                  <a:gd name="connsiteY1685" fmla="*/ 1811465 h 2197227"/>
                  <a:gd name="connsiteX1686" fmla="*/ 1254728 w 1776793"/>
                  <a:gd name="connsiteY1686" fmla="*/ 1805940 h 2197227"/>
                  <a:gd name="connsiteX1687" fmla="*/ 1270445 w 1776793"/>
                  <a:gd name="connsiteY1687" fmla="*/ 1799939 h 2197227"/>
                  <a:gd name="connsiteX1688" fmla="*/ 1279589 w 1776793"/>
                  <a:gd name="connsiteY1688" fmla="*/ 1800606 h 2197227"/>
                  <a:gd name="connsiteX1689" fmla="*/ 1293019 w 1776793"/>
                  <a:gd name="connsiteY1689" fmla="*/ 1797272 h 2197227"/>
                  <a:gd name="connsiteX1690" fmla="*/ 1303687 w 1776793"/>
                  <a:gd name="connsiteY1690" fmla="*/ 1791176 h 2197227"/>
                  <a:gd name="connsiteX1691" fmla="*/ 1306925 w 1776793"/>
                  <a:gd name="connsiteY1691" fmla="*/ 1792129 h 2197227"/>
                  <a:gd name="connsiteX1692" fmla="*/ 1313593 w 1776793"/>
                  <a:gd name="connsiteY1692" fmla="*/ 1788986 h 2197227"/>
                  <a:gd name="connsiteX1693" fmla="*/ 1317879 w 1776793"/>
                  <a:gd name="connsiteY1693" fmla="*/ 1788986 h 2197227"/>
                  <a:gd name="connsiteX1694" fmla="*/ 1320641 w 1776793"/>
                  <a:gd name="connsiteY1694" fmla="*/ 1790605 h 2197227"/>
                  <a:gd name="connsiteX1695" fmla="*/ 1319403 w 1776793"/>
                  <a:gd name="connsiteY1695" fmla="*/ 1793462 h 2197227"/>
                  <a:gd name="connsiteX1696" fmla="*/ 1323213 w 1776793"/>
                  <a:gd name="connsiteY1696" fmla="*/ 1794034 h 2197227"/>
                  <a:gd name="connsiteX1697" fmla="*/ 1319975 w 1776793"/>
                  <a:gd name="connsiteY1697" fmla="*/ 1797463 h 2197227"/>
                  <a:gd name="connsiteX1698" fmla="*/ 1326737 w 1776793"/>
                  <a:gd name="connsiteY1698" fmla="*/ 1794796 h 2197227"/>
                  <a:gd name="connsiteX1699" fmla="*/ 1333214 w 1776793"/>
                  <a:gd name="connsiteY1699" fmla="*/ 1794796 h 2197227"/>
                  <a:gd name="connsiteX1700" fmla="*/ 1337215 w 1776793"/>
                  <a:gd name="connsiteY1700" fmla="*/ 1793558 h 2197227"/>
                  <a:gd name="connsiteX1701" fmla="*/ 1338834 w 1776793"/>
                  <a:gd name="connsiteY1701" fmla="*/ 1796320 h 2197227"/>
                  <a:gd name="connsiteX1702" fmla="*/ 1345502 w 1776793"/>
                  <a:gd name="connsiteY1702" fmla="*/ 1794415 h 2197227"/>
                  <a:gd name="connsiteX1703" fmla="*/ 1357598 w 1776793"/>
                  <a:gd name="connsiteY1703" fmla="*/ 1783175 h 2197227"/>
                  <a:gd name="connsiteX1704" fmla="*/ 1362551 w 1776793"/>
                  <a:gd name="connsiteY1704" fmla="*/ 1777365 h 2197227"/>
                  <a:gd name="connsiteX1705" fmla="*/ 1371029 w 1776793"/>
                  <a:gd name="connsiteY1705" fmla="*/ 1769174 h 2197227"/>
                  <a:gd name="connsiteX1706" fmla="*/ 1372648 w 1776793"/>
                  <a:gd name="connsiteY1706" fmla="*/ 1765554 h 2197227"/>
                  <a:gd name="connsiteX1707" fmla="*/ 1376743 w 1776793"/>
                  <a:gd name="connsiteY1707" fmla="*/ 1760887 h 2197227"/>
                  <a:gd name="connsiteX1708" fmla="*/ 1379315 w 1776793"/>
                  <a:gd name="connsiteY1708" fmla="*/ 1756124 h 2197227"/>
                  <a:gd name="connsiteX1709" fmla="*/ 1383316 w 1776793"/>
                  <a:gd name="connsiteY1709" fmla="*/ 1751648 h 2197227"/>
                  <a:gd name="connsiteX1710" fmla="*/ 1396841 w 1776793"/>
                  <a:gd name="connsiteY1710" fmla="*/ 1737074 h 2197227"/>
                  <a:gd name="connsiteX1711" fmla="*/ 1406366 w 1776793"/>
                  <a:gd name="connsiteY1711" fmla="*/ 1725263 h 2197227"/>
                  <a:gd name="connsiteX1712" fmla="*/ 1413891 w 1776793"/>
                  <a:gd name="connsiteY1712" fmla="*/ 1713452 h 2197227"/>
                  <a:gd name="connsiteX1713" fmla="*/ 1418844 w 1776793"/>
                  <a:gd name="connsiteY1713" fmla="*/ 1708404 h 2197227"/>
                  <a:gd name="connsiteX1714" fmla="*/ 1425512 w 1776793"/>
                  <a:gd name="connsiteY1714" fmla="*/ 1700403 h 2197227"/>
                  <a:gd name="connsiteX1715" fmla="*/ 1436084 w 1776793"/>
                  <a:gd name="connsiteY1715" fmla="*/ 1681639 h 2197227"/>
                  <a:gd name="connsiteX1716" fmla="*/ 1457801 w 1776793"/>
                  <a:gd name="connsiteY1716" fmla="*/ 1650778 h 2197227"/>
                  <a:gd name="connsiteX1717" fmla="*/ 1470184 w 1776793"/>
                  <a:gd name="connsiteY1717" fmla="*/ 1630775 h 2197227"/>
                  <a:gd name="connsiteX1718" fmla="*/ 1468755 w 1776793"/>
                  <a:gd name="connsiteY1718" fmla="*/ 1628966 h 2197227"/>
                  <a:gd name="connsiteX1719" fmla="*/ 1469136 w 1776793"/>
                  <a:gd name="connsiteY1719" fmla="*/ 1623536 h 2197227"/>
                  <a:gd name="connsiteX1720" fmla="*/ 1477899 w 1776793"/>
                  <a:gd name="connsiteY1720" fmla="*/ 1608963 h 2197227"/>
                  <a:gd name="connsiteX1721" fmla="*/ 1483995 w 1776793"/>
                  <a:gd name="connsiteY1721" fmla="*/ 1600105 h 2197227"/>
                  <a:gd name="connsiteX1722" fmla="*/ 1491234 w 1776793"/>
                  <a:gd name="connsiteY1722" fmla="*/ 1586103 h 2197227"/>
                  <a:gd name="connsiteX1723" fmla="*/ 1499235 w 1776793"/>
                  <a:gd name="connsiteY1723" fmla="*/ 1576007 h 2197227"/>
                  <a:gd name="connsiteX1724" fmla="*/ 1504093 w 1776793"/>
                  <a:gd name="connsiteY1724" fmla="*/ 1565624 h 2197227"/>
                  <a:gd name="connsiteX1725" fmla="*/ 1501616 w 1776793"/>
                  <a:gd name="connsiteY1725" fmla="*/ 1564005 h 2197227"/>
                  <a:gd name="connsiteX1726" fmla="*/ 1505236 w 1776793"/>
                  <a:gd name="connsiteY1726" fmla="*/ 1555433 h 2197227"/>
                  <a:gd name="connsiteX1727" fmla="*/ 1513332 w 1776793"/>
                  <a:gd name="connsiteY1727" fmla="*/ 1543526 h 2197227"/>
                  <a:gd name="connsiteX1728" fmla="*/ 1514951 w 1776793"/>
                  <a:gd name="connsiteY1728" fmla="*/ 1538192 h 2197227"/>
                  <a:gd name="connsiteX1729" fmla="*/ 1513046 w 1776793"/>
                  <a:gd name="connsiteY1729" fmla="*/ 1534287 h 2197227"/>
                  <a:gd name="connsiteX1730" fmla="*/ 1518476 w 1776793"/>
                  <a:gd name="connsiteY1730" fmla="*/ 1520571 h 2197227"/>
                  <a:gd name="connsiteX1731" fmla="*/ 1524191 w 1776793"/>
                  <a:gd name="connsiteY1731" fmla="*/ 1511618 h 2197227"/>
                  <a:gd name="connsiteX1732" fmla="*/ 1524572 w 1776793"/>
                  <a:gd name="connsiteY1732" fmla="*/ 1509236 h 2197227"/>
                  <a:gd name="connsiteX1733" fmla="*/ 1518476 w 1776793"/>
                  <a:gd name="connsiteY1733" fmla="*/ 1508760 h 2197227"/>
                  <a:gd name="connsiteX1734" fmla="*/ 1516856 w 1776793"/>
                  <a:gd name="connsiteY1734" fmla="*/ 1503426 h 2197227"/>
                  <a:gd name="connsiteX1735" fmla="*/ 1517618 w 1776793"/>
                  <a:gd name="connsiteY1735" fmla="*/ 1498283 h 2197227"/>
                  <a:gd name="connsiteX1736" fmla="*/ 1523428 w 1776793"/>
                  <a:gd name="connsiteY1736" fmla="*/ 1489710 h 2197227"/>
                  <a:gd name="connsiteX1737" fmla="*/ 1522762 w 1776793"/>
                  <a:gd name="connsiteY1737" fmla="*/ 1479328 h 2197227"/>
                  <a:gd name="connsiteX1738" fmla="*/ 1525238 w 1776793"/>
                  <a:gd name="connsiteY1738" fmla="*/ 1469708 h 2197227"/>
                  <a:gd name="connsiteX1739" fmla="*/ 1524952 w 1776793"/>
                  <a:gd name="connsiteY1739" fmla="*/ 1465326 h 2197227"/>
                  <a:gd name="connsiteX1740" fmla="*/ 1524381 w 1776793"/>
                  <a:gd name="connsiteY1740" fmla="*/ 1455515 h 2197227"/>
                  <a:gd name="connsiteX1741" fmla="*/ 1522571 w 1776793"/>
                  <a:gd name="connsiteY1741" fmla="*/ 1454468 h 2197227"/>
                  <a:gd name="connsiteX1742" fmla="*/ 1517428 w 1776793"/>
                  <a:gd name="connsiteY1742" fmla="*/ 1460849 h 2197227"/>
                  <a:gd name="connsiteX1743" fmla="*/ 1511618 w 1776793"/>
                  <a:gd name="connsiteY1743" fmla="*/ 1464469 h 2197227"/>
                  <a:gd name="connsiteX1744" fmla="*/ 1501711 w 1776793"/>
                  <a:gd name="connsiteY1744" fmla="*/ 1470279 h 2197227"/>
                  <a:gd name="connsiteX1745" fmla="*/ 1493234 w 1776793"/>
                  <a:gd name="connsiteY1745" fmla="*/ 1480566 h 2197227"/>
                  <a:gd name="connsiteX1746" fmla="*/ 1483424 w 1776793"/>
                  <a:gd name="connsiteY1746" fmla="*/ 1493711 h 2197227"/>
                  <a:gd name="connsiteX1747" fmla="*/ 1473613 w 1776793"/>
                  <a:gd name="connsiteY1747" fmla="*/ 1502188 h 2197227"/>
                  <a:gd name="connsiteX1748" fmla="*/ 1462373 w 1776793"/>
                  <a:gd name="connsiteY1748" fmla="*/ 1506665 h 2197227"/>
                  <a:gd name="connsiteX1749" fmla="*/ 1453896 w 1776793"/>
                  <a:gd name="connsiteY1749" fmla="*/ 1504569 h 2197227"/>
                  <a:gd name="connsiteX1750" fmla="*/ 1453896 w 1776793"/>
                  <a:gd name="connsiteY1750" fmla="*/ 1501140 h 2197227"/>
                  <a:gd name="connsiteX1751" fmla="*/ 1451324 w 1776793"/>
                  <a:gd name="connsiteY1751" fmla="*/ 1496949 h 2197227"/>
                  <a:gd name="connsiteX1752" fmla="*/ 1449038 w 1776793"/>
                  <a:gd name="connsiteY1752" fmla="*/ 1498664 h 2197227"/>
                  <a:gd name="connsiteX1753" fmla="*/ 1448562 w 1776793"/>
                  <a:gd name="connsiteY1753" fmla="*/ 1505998 h 2197227"/>
                  <a:gd name="connsiteX1754" fmla="*/ 1446181 w 1776793"/>
                  <a:gd name="connsiteY1754" fmla="*/ 1521143 h 2197227"/>
                  <a:gd name="connsiteX1755" fmla="*/ 1442180 w 1776793"/>
                  <a:gd name="connsiteY1755" fmla="*/ 1538478 h 2197227"/>
                  <a:gd name="connsiteX1756" fmla="*/ 1438847 w 1776793"/>
                  <a:gd name="connsiteY1756" fmla="*/ 1554766 h 2197227"/>
                  <a:gd name="connsiteX1757" fmla="*/ 1430655 w 1776793"/>
                  <a:gd name="connsiteY1757" fmla="*/ 1565434 h 2197227"/>
                  <a:gd name="connsiteX1758" fmla="*/ 1419416 w 1776793"/>
                  <a:gd name="connsiteY1758" fmla="*/ 1579912 h 2197227"/>
                  <a:gd name="connsiteX1759" fmla="*/ 1409986 w 1776793"/>
                  <a:gd name="connsiteY1759" fmla="*/ 1594676 h 2197227"/>
                  <a:gd name="connsiteX1760" fmla="*/ 1407319 w 1776793"/>
                  <a:gd name="connsiteY1760" fmla="*/ 1593628 h 2197227"/>
                  <a:gd name="connsiteX1761" fmla="*/ 1405223 w 1776793"/>
                  <a:gd name="connsiteY1761" fmla="*/ 1597057 h 2197227"/>
                  <a:gd name="connsiteX1762" fmla="*/ 1399604 w 1776793"/>
                  <a:gd name="connsiteY1762" fmla="*/ 1597914 h 2197227"/>
                  <a:gd name="connsiteX1763" fmla="*/ 1397889 w 1776793"/>
                  <a:gd name="connsiteY1763" fmla="*/ 1590389 h 2197227"/>
                  <a:gd name="connsiteX1764" fmla="*/ 1392841 w 1776793"/>
                  <a:gd name="connsiteY1764" fmla="*/ 1586865 h 2197227"/>
                  <a:gd name="connsiteX1765" fmla="*/ 1386078 w 1776793"/>
                  <a:gd name="connsiteY1765" fmla="*/ 1590008 h 2197227"/>
                  <a:gd name="connsiteX1766" fmla="*/ 1383221 w 1776793"/>
                  <a:gd name="connsiteY1766" fmla="*/ 1595438 h 2197227"/>
                  <a:gd name="connsiteX1767" fmla="*/ 1383792 w 1776793"/>
                  <a:gd name="connsiteY1767" fmla="*/ 1603534 h 2197227"/>
                  <a:gd name="connsiteX1768" fmla="*/ 1390555 w 1776793"/>
                  <a:gd name="connsiteY1768" fmla="*/ 1607153 h 2197227"/>
                  <a:gd name="connsiteX1769" fmla="*/ 1386554 w 1776793"/>
                  <a:gd name="connsiteY1769" fmla="*/ 1608106 h 2197227"/>
                  <a:gd name="connsiteX1770" fmla="*/ 1382077 w 1776793"/>
                  <a:gd name="connsiteY1770" fmla="*/ 1608106 h 2197227"/>
                  <a:gd name="connsiteX1771" fmla="*/ 1375791 w 1776793"/>
                  <a:gd name="connsiteY1771" fmla="*/ 1611249 h 2197227"/>
                  <a:gd name="connsiteX1772" fmla="*/ 1371314 w 1776793"/>
                  <a:gd name="connsiteY1772" fmla="*/ 1611059 h 2197227"/>
                  <a:gd name="connsiteX1773" fmla="*/ 1369981 w 1776793"/>
                  <a:gd name="connsiteY1773" fmla="*/ 1607058 h 2197227"/>
                  <a:gd name="connsiteX1774" fmla="*/ 1365695 w 1776793"/>
                  <a:gd name="connsiteY1774" fmla="*/ 1605153 h 2197227"/>
                  <a:gd name="connsiteX1775" fmla="*/ 1352550 w 1776793"/>
                  <a:gd name="connsiteY1775" fmla="*/ 1613440 h 2197227"/>
                  <a:gd name="connsiteX1776" fmla="*/ 1347121 w 1776793"/>
                  <a:gd name="connsiteY1776" fmla="*/ 1613726 h 2197227"/>
                  <a:gd name="connsiteX1777" fmla="*/ 1338167 w 1776793"/>
                  <a:gd name="connsiteY1777" fmla="*/ 1620107 h 2197227"/>
                  <a:gd name="connsiteX1778" fmla="*/ 1325118 w 1776793"/>
                  <a:gd name="connsiteY1778" fmla="*/ 1619822 h 2197227"/>
                  <a:gd name="connsiteX1779" fmla="*/ 1313879 w 1776793"/>
                  <a:gd name="connsiteY1779" fmla="*/ 1619060 h 2197227"/>
                  <a:gd name="connsiteX1780" fmla="*/ 1313117 w 1776793"/>
                  <a:gd name="connsiteY1780" fmla="*/ 1615821 h 2197227"/>
                  <a:gd name="connsiteX1781" fmla="*/ 1306163 w 1776793"/>
                  <a:gd name="connsiteY1781" fmla="*/ 1615535 h 2197227"/>
                  <a:gd name="connsiteX1782" fmla="*/ 1314926 w 1776793"/>
                  <a:gd name="connsiteY1782" fmla="*/ 1606582 h 2197227"/>
                  <a:gd name="connsiteX1783" fmla="*/ 1316546 w 1776793"/>
                  <a:gd name="connsiteY1783" fmla="*/ 1597533 h 2197227"/>
                  <a:gd name="connsiteX1784" fmla="*/ 1328356 w 1776793"/>
                  <a:gd name="connsiteY1784" fmla="*/ 1590008 h 2197227"/>
                  <a:gd name="connsiteX1785" fmla="*/ 1334167 w 1776793"/>
                  <a:gd name="connsiteY1785" fmla="*/ 1580102 h 2197227"/>
                  <a:gd name="connsiteX1786" fmla="*/ 1356455 w 1776793"/>
                  <a:gd name="connsiteY1786" fmla="*/ 1578197 h 2197227"/>
                  <a:gd name="connsiteX1787" fmla="*/ 1373981 w 1776793"/>
                  <a:gd name="connsiteY1787" fmla="*/ 1573911 h 2197227"/>
                  <a:gd name="connsiteX1788" fmla="*/ 1389317 w 1776793"/>
                  <a:gd name="connsiteY1788" fmla="*/ 1559528 h 2197227"/>
                  <a:gd name="connsiteX1789" fmla="*/ 1409319 w 1776793"/>
                  <a:gd name="connsiteY1789" fmla="*/ 1547241 h 2197227"/>
                  <a:gd name="connsiteX1790" fmla="*/ 1427893 w 1776793"/>
                  <a:gd name="connsiteY1790" fmla="*/ 1527810 h 2197227"/>
                  <a:gd name="connsiteX1791" fmla="*/ 1436084 w 1776793"/>
                  <a:gd name="connsiteY1791" fmla="*/ 1506760 h 2197227"/>
                  <a:gd name="connsiteX1792" fmla="*/ 1443704 w 1776793"/>
                  <a:gd name="connsiteY1792" fmla="*/ 1491806 h 2197227"/>
                  <a:gd name="connsiteX1793" fmla="*/ 1451039 w 1776793"/>
                  <a:gd name="connsiteY1793" fmla="*/ 1484186 h 2197227"/>
                  <a:gd name="connsiteX1794" fmla="*/ 1467231 w 1776793"/>
                  <a:gd name="connsiteY1794" fmla="*/ 1483519 h 2197227"/>
                  <a:gd name="connsiteX1795" fmla="*/ 1481518 w 1776793"/>
                  <a:gd name="connsiteY1795" fmla="*/ 1463231 h 2197227"/>
                  <a:gd name="connsiteX1796" fmla="*/ 1495901 w 1776793"/>
                  <a:gd name="connsiteY1796" fmla="*/ 1443895 h 2197227"/>
                  <a:gd name="connsiteX1797" fmla="*/ 1519047 w 1776793"/>
                  <a:gd name="connsiteY1797" fmla="*/ 1409319 h 2197227"/>
                  <a:gd name="connsiteX1798" fmla="*/ 1532287 w 1776793"/>
                  <a:gd name="connsiteY1798" fmla="*/ 1381125 h 2197227"/>
                  <a:gd name="connsiteX1799" fmla="*/ 1548003 w 1776793"/>
                  <a:gd name="connsiteY1799" fmla="*/ 1348931 h 2197227"/>
                  <a:gd name="connsiteX1800" fmla="*/ 1563052 w 1776793"/>
                  <a:gd name="connsiteY1800" fmla="*/ 1311212 h 2197227"/>
                  <a:gd name="connsiteX1801" fmla="*/ 1576959 w 1776793"/>
                  <a:gd name="connsiteY1801" fmla="*/ 1298639 h 2197227"/>
                  <a:gd name="connsiteX1802" fmla="*/ 1586198 w 1776793"/>
                  <a:gd name="connsiteY1802" fmla="*/ 1295305 h 2197227"/>
                  <a:gd name="connsiteX1803" fmla="*/ 1594676 w 1776793"/>
                  <a:gd name="connsiteY1803" fmla="*/ 1281113 h 2197227"/>
                  <a:gd name="connsiteX1804" fmla="*/ 1611820 w 1776793"/>
                  <a:gd name="connsiteY1804" fmla="*/ 1259586 h 2197227"/>
                  <a:gd name="connsiteX1805" fmla="*/ 1617631 w 1776793"/>
                  <a:gd name="connsiteY1805" fmla="*/ 1254633 h 2197227"/>
                  <a:gd name="connsiteX1806" fmla="*/ 1616964 w 1776793"/>
                  <a:gd name="connsiteY1806" fmla="*/ 1265968 h 2197227"/>
                  <a:gd name="connsiteX1807" fmla="*/ 1637348 w 1776793"/>
                  <a:gd name="connsiteY1807" fmla="*/ 1241870 h 2197227"/>
                  <a:gd name="connsiteX1808" fmla="*/ 1643634 w 1776793"/>
                  <a:gd name="connsiteY1808" fmla="*/ 1227011 h 2197227"/>
                  <a:gd name="connsiteX1809" fmla="*/ 1648968 w 1776793"/>
                  <a:gd name="connsiteY1809" fmla="*/ 1193959 h 2197227"/>
                  <a:gd name="connsiteX1810" fmla="*/ 1658017 w 1776793"/>
                  <a:gd name="connsiteY1810" fmla="*/ 1192149 h 2197227"/>
                  <a:gd name="connsiteX1811" fmla="*/ 1667542 w 1776793"/>
                  <a:gd name="connsiteY1811" fmla="*/ 1195197 h 2197227"/>
                  <a:gd name="connsiteX1812" fmla="*/ 1679067 w 1776793"/>
                  <a:gd name="connsiteY1812" fmla="*/ 1191482 h 2197227"/>
                  <a:gd name="connsiteX1813" fmla="*/ 1695069 w 1776793"/>
                  <a:gd name="connsiteY1813" fmla="*/ 1186148 h 2197227"/>
                  <a:gd name="connsiteX1814" fmla="*/ 1709452 w 1776793"/>
                  <a:gd name="connsiteY1814" fmla="*/ 1168051 h 2197227"/>
                  <a:gd name="connsiteX1815" fmla="*/ 1714214 w 1776793"/>
                  <a:gd name="connsiteY1815" fmla="*/ 1165098 h 2197227"/>
                  <a:gd name="connsiteX1816" fmla="*/ 1722596 w 1776793"/>
                  <a:gd name="connsiteY1816" fmla="*/ 1161288 h 2197227"/>
                  <a:gd name="connsiteX1817" fmla="*/ 1730693 w 1776793"/>
                  <a:gd name="connsiteY1817" fmla="*/ 1150334 h 2197227"/>
                  <a:gd name="connsiteX1818" fmla="*/ 1734979 w 1776793"/>
                  <a:gd name="connsiteY1818" fmla="*/ 1142810 h 2197227"/>
                  <a:gd name="connsiteX1819" fmla="*/ 1741646 w 1776793"/>
                  <a:gd name="connsiteY1819" fmla="*/ 1134999 h 2197227"/>
                  <a:gd name="connsiteX1820" fmla="*/ 1749838 w 1776793"/>
                  <a:gd name="connsiteY1820" fmla="*/ 1125569 h 2197227"/>
                  <a:gd name="connsiteX1821" fmla="*/ 1758220 w 1776793"/>
                  <a:gd name="connsiteY1821" fmla="*/ 1104043 h 2197227"/>
                  <a:gd name="connsiteX1822" fmla="*/ 1759268 w 1776793"/>
                  <a:gd name="connsiteY1822" fmla="*/ 1094327 h 2197227"/>
                  <a:gd name="connsiteX1823" fmla="*/ 1758506 w 1776793"/>
                  <a:gd name="connsiteY1823" fmla="*/ 1085850 h 2197227"/>
                  <a:gd name="connsiteX1824" fmla="*/ 1761744 w 1776793"/>
                  <a:gd name="connsiteY1824" fmla="*/ 1064133 h 2197227"/>
                  <a:gd name="connsiteX1825" fmla="*/ 1759077 w 1776793"/>
                  <a:gd name="connsiteY1825" fmla="*/ 1071086 h 2197227"/>
                  <a:gd name="connsiteX1826" fmla="*/ 1146715 w 1776793"/>
                  <a:gd name="connsiteY1826" fmla="*/ 1992916 h 2197227"/>
                  <a:gd name="connsiteX1827" fmla="*/ 1146334 w 1776793"/>
                  <a:gd name="connsiteY1827" fmla="*/ 1993106 h 2197227"/>
                  <a:gd name="connsiteX1828" fmla="*/ 1146429 w 1776793"/>
                  <a:gd name="connsiteY1828" fmla="*/ 1993106 h 2197227"/>
                  <a:gd name="connsiteX1829" fmla="*/ 1146715 w 1776793"/>
                  <a:gd name="connsiteY1829" fmla="*/ 1992916 h 2197227"/>
                  <a:gd name="connsiteX1830" fmla="*/ 731996 w 1776793"/>
                  <a:gd name="connsiteY1830" fmla="*/ 2166176 h 2197227"/>
                  <a:gd name="connsiteX1831" fmla="*/ 732472 w 1776793"/>
                  <a:gd name="connsiteY1831" fmla="*/ 2166176 h 2197227"/>
                  <a:gd name="connsiteX1832" fmla="*/ 731710 w 1776793"/>
                  <a:gd name="connsiteY1832" fmla="*/ 2166176 h 2197227"/>
                  <a:gd name="connsiteX1833" fmla="*/ 731996 w 1776793"/>
                  <a:gd name="connsiteY1833" fmla="*/ 2166176 h 2197227"/>
                  <a:gd name="connsiteX1834" fmla="*/ 1103185 w 1776793"/>
                  <a:gd name="connsiteY1834" fmla="*/ 2018919 h 2197227"/>
                  <a:gd name="connsiteX1835" fmla="*/ 1090422 w 1776793"/>
                  <a:gd name="connsiteY1835" fmla="*/ 2026158 h 2197227"/>
                  <a:gd name="connsiteX1836" fmla="*/ 1103948 w 1776793"/>
                  <a:gd name="connsiteY1836" fmla="*/ 2018443 h 2197227"/>
                  <a:gd name="connsiteX1837" fmla="*/ 1103757 w 1776793"/>
                  <a:gd name="connsiteY1837" fmla="*/ 2018633 h 2197227"/>
                  <a:gd name="connsiteX1838" fmla="*/ 1103185 w 1776793"/>
                  <a:gd name="connsiteY1838" fmla="*/ 2019014 h 2197227"/>
                  <a:gd name="connsiteX1839" fmla="*/ 1098804 w 1776793"/>
                  <a:gd name="connsiteY1839" fmla="*/ 2021491 h 2197227"/>
                  <a:gd name="connsiteX1840" fmla="*/ 1097947 w 1776793"/>
                  <a:gd name="connsiteY1840" fmla="*/ 2021967 h 2197227"/>
                  <a:gd name="connsiteX1841" fmla="*/ 1100328 w 1776793"/>
                  <a:gd name="connsiteY1841" fmla="*/ 2020633 h 2197227"/>
                  <a:gd name="connsiteX1842" fmla="*/ 1099376 w 1776793"/>
                  <a:gd name="connsiteY1842" fmla="*/ 2021205 h 2197227"/>
                  <a:gd name="connsiteX1843" fmla="*/ 1098899 w 1776793"/>
                  <a:gd name="connsiteY1843" fmla="*/ 2021491 h 2197227"/>
                  <a:gd name="connsiteX1844" fmla="*/ 1098899 w 1776793"/>
                  <a:gd name="connsiteY1844" fmla="*/ 2021491 h 2197227"/>
                  <a:gd name="connsiteX1845" fmla="*/ 957548 w 1776793"/>
                  <a:gd name="connsiteY1845" fmla="*/ 2091595 h 2197227"/>
                  <a:gd name="connsiteX1846" fmla="*/ 959930 w 1776793"/>
                  <a:gd name="connsiteY1846" fmla="*/ 2090547 h 2197227"/>
                  <a:gd name="connsiteX1847" fmla="*/ 957834 w 1776793"/>
                  <a:gd name="connsiteY1847" fmla="*/ 2091404 h 2197227"/>
                  <a:gd name="connsiteX1848" fmla="*/ 957548 w 1776793"/>
                  <a:gd name="connsiteY1848" fmla="*/ 2091404 h 2197227"/>
                  <a:gd name="connsiteX1849" fmla="*/ 1026985 w 1776793"/>
                  <a:gd name="connsiteY1849" fmla="*/ 2059686 h 2197227"/>
                  <a:gd name="connsiteX1850" fmla="*/ 1026224 w 1776793"/>
                  <a:gd name="connsiteY1850" fmla="*/ 2060067 h 2197227"/>
                  <a:gd name="connsiteX1851" fmla="*/ 1024890 w 1776793"/>
                  <a:gd name="connsiteY1851" fmla="*/ 2060734 h 2197227"/>
                  <a:gd name="connsiteX1852" fmla="*/ 1027081 w 1776793"/>
                  <a:gd name="connsiteY1852" fmla="*/ 2059686 h 2197227"/>
                  <a:gd name="connsiteX1853" fmla="*/ 715709 w 1776793"/>
                  <a:gd name="connsiteY1853" fmla="*/ 2169986 h 2197227"/>
                  <a:gd name="connsiteX1854" fmla="*/ 715899 w 1776793"/>
                  <a:gd name="connsiteY1854" fmla="*/ 2169986 h 2197227"/>
                  <a:gd name="connsiteX1855" fmla="*/ 715899 w 1776793"/>
                  <a:gd name="connsiteY1855" fmla="*/ 2169986 h 2197227"/>
                  <a:gd name="connsiteX1856" fmla="*/ 715709 w 1776793"/>
                  <a:gd name="connsiteY1856" fmla="*/ 2169986 h 2197227"/>
                  <a:gd name="connsiteX1857" fmla="*/ 720662 w 1776793"/>
                  <a:gd name="connsiteY1857" fmla="*/ 2168938 h 2197227"/>
                  <a:gd name="connsiteX1858" fmla="*/ 720471 w 1776793"/>
                  <a:gd name="connsiteY1858" fmla="*/ 2168938 h 2197227"/>
                  <a:gd name="connsiteX1859" fmla="*/ 720852 w 1776793"/>
                  <a:gd name="connsiteY1859" fmla="*/ 2168938 h 2197227"/>
                  <a:gd name="connsiteX1860" fmla="*/ 720757 w 1776793"/>
                  <a:gd name="connsiteY1860" fmla="*/ 2168938 h 2197227"/>
                  <a:gd name="connsiteX1861" fmla="*/ 997268 w 1776793"/>
                  <a:gd name="connsiteY1861" fmla="*/ 2073974 h 2197227"/>
                  <a:gd name="connsiteX1862" fmla="*/ 996887 w 1776793"/>
                  <a:gd name="connsiteY1862" fmla="*/ 2074164 h 2197227"/>
                  <a:gd name="connsiteX1863" fmla="*/ 1003840 w 1776793"/>
                  <a:gd name="connsiteY1863" fmla="*/ 2070925 h 2197227"/>
                  <a:gd name="connsiteX1864" fmla="*/ 1000411 w 1776793"/>
                  <a:gd name="connsiteY1864" fmla="*/ 2072545 h 2197227"/>
                  <a:gd name="connsiteX1865" fmla="*/ 997268 w 1776793"/>
                  <a:gd name="connsiteY1865" fmla="*/ 2073974 h 2197227"/>
                  <a:gd name="connsiteX1866" fmla="*/ 1294448 w 1776793"/>
                  <a:gd name="connsiteY1866" fmla="*/ 1886998 h 2197227"/>
                  <a:gd name="connsiteX1867" fmla="*/ 1294448 w 1776793"/>
                  <a:gd name="connsiteY1867" fmla="*/ 1886998 h 2197227"/>
                  <a:gd name="connsiteX1868" fmla="*/ 1294543 w 1776793"/>
                  <a:gd name="connsiteY1868" fmla="*/ 1886807 h 2197227"/>
                  <a:gd name="connsiteX1869" fmla="*/ 1294352 w 1776793"/>
                  <a:gd name="connsiteY1869" fmla="*/ 1886998 h 2197227"/>
                  <a:gd name="connsiteX1870" fmla="*/ 1295876 w 1776793"/>
                  <a:gd name="connsiteY1870" fmla="*/ 1885855 h 2197227"/>
                  <a:gd name="connsiteX1871" fmla="*/ 1295876 w 1776793"/>
                  <a:gd name="connsiteY1871" fmla="*/ 1885855 h 2197227"/>
                  <a:gd name="connsiteX1872" fmla="*/ 1296448 w 1776793"/>
                  <a:gd name="connsiteY1872" fmla="*/ 1885379 h 2197227"/>
                  <a:gd name="connsiteX1873" fmla="*/ 1296448 w 1776793"/>
                  <a:gd name="connsiteY1873" fmla="*/ 1885379 h 2197227"/>
                  <a:gd name="connsiteX1874" fmla="*/ 1295972 w 1776793"/>
                  <a:gd name="connsiteY1874" fmla="*/ 1885855 h 2197227"/>
                  <a:gd name="connsiteX1875" fmla="*/ 1308830 w 1776793"/>
                  <a:gd name="connsiteY1875" fmla="*/ 1466469 h 2197227"/>
                  <a:gd name="connsiteX1876" fmla="*/ 1293590 w 1776793"/>
                  <a:gd name="connsiteY1876" fmla="*/ 1493139 h 2197227"/>
                  <a:gd name="connsiteX1877" fmla="*/ 1274350 w 1776793"/>
                  <a:gd name="connsiteY1877" fmla="*/ 1513332 h 2197227"/>
                  <a:gd name="connsiteX1878" fmla="*/ 1260062 w 1776793"/>
                  <a:gd name="connsiteY1878" fmla="*/ 1519047 h 2197227"/>
                  <a:gd name="connsiteX1879" fmla="*/ 1245870 w 1776793"/>
                  <a:gd name="connsiteY1879" fmla="*/ 1531049 h 2197227"/>
                  <a:gd name="connsiteX1880" fmla="*/ 1233583 w 1776793"/>
                  <a:gd name="connsiteY1880" fmla="*/ 1528382 h 2197227"/>
                  <a:gd name="connsiteX1881" fmla="*/ 1227582 w 1776793"/>
                  <a:gd name="connsiteY1881" fmla="*/ 1523810 h 2197227"/>
                  <a:gd name="connsiteX1882" fmla="*/ 1229392 w 1776793"/>
                  <a:gd name="connsiteY1882" fmla="*/ 1516190 h 2197227"/>
                  <a:gd name="connsiteX1883" fmla="*/ 1227392 w 1776793"/>
                  <a:gd name="connsiteY1883" fmla="*/ 1510189 h 2197227"/>
                  <a:gd name="connsiteX1884" fmla="*/ 1220343 w 1776793"/>
                  <a:gd name="connsiteY1884" fmla="*/ 1499807 h 2197227"/>
                  <a:gd name="connsiteX1885" fmla="*/ 1229201 w 1776793"/>
                  <a:gd name="connsiteY1885" fmla="*/ 1487234 h 2197227"/>
                  <a:gd name="connsiteX1886" fmla="*/ 1222248 w 1776793"/>
                  <a:gd name="connsiteY1886" fmla="*/ 1488853 h 2197227"/>
                  <a:gd name="connsiteX1887" fmla="*/ 1216152 w 1776793"/>
                  <a:gd name="connsiteY1887" fmla="*/ 1494949 h 2197227"/>
                  <a:gd name="connsiteX1888" fmla="*/ 1201484 w 1776793"/>
                  <a:gd name="connsiteY1888" fmla="*/ 1494663 h 2197227"/>
                  <a:gd name="connsiteX1889" fmla="*/ 1188720 w 1776793"/>
                  <a:gd name="connsiteY1889" fmla="*/ 1496282 h 2197227"/>
                  <a:gd name="connsiteX1890" fmla="*/ 1186339 w 1776793"/>
                  <a:gd name="connsiteY1890" fmla="*/ 1508760 h 2197227"/>
                  <a:gd name="connsiteX1891" fmla="*/ 1188720 w 1776793"/>
                  <a:gd name="connsiteY1891" fmla="*/ 1496282 h 2197227"/>
                  <a:gd name="connsiteX1892" fmla="*/ 1161193 w 1776793"/>
                  <a:gd name="connsiteY1892" fmla="*/ 1497997 h 2197227"/>
                  <a:gd name="connsiteX1893" fmla="*/ 1154049 w 1776793"/>
                  <a:gd name="connsiteY1893" fmla="*/ 1489139 h 2197227"/>
                  <a:gd name="connsiteX1894" fmla="*/ 1131475 w 1776793"/>
                  <a:gd name="connsiteY1894" fmla="*/ 1489805 h 2197227"/>
                  <a:gd name="connsiteX1895" fmla="*/ 1130046 w 1776793"/>
                  <a:gd name="connsiteY1895" fmla="*/ 1465136 h 2197227"/>
                  <a:gd name="connsiteX1896" fmla="*/ 1138904 w 1776793"/>
                  <a:gd name="connsiteY1896" fmla="*/ 1450943 h 2197227"/>
                  <a:gd name="connsiteX1897" fmla="*/ 1136142 w 1776793"/>
                  <a:gd name="connsiteY1897" fmla="*/ 1438275 h 2197227"/>
                  <a:gd name="connsiteX1898" fmla="*/ 1143476 w 1776793"/>
                  <a:gd name="connsiteY1898" fmla="*/ 1423988 h 2197227"/>
                  <a:gd name="connsiteX1899" fmla="*/ 1149668 w 1776793"/>
                  <a:gd name="connsiteY1899" fmla="*/ 1404080 h 2197227"/>
                  <a:gd name="connsiteX1900" fmla="*/ 1161860 w 1776793"/>
                  <a:gd name="connsiteY1900" fmla="*/ 1395698 h 2197227"/>
                  <a:gd name="connsiteX1901" fmla="*/ 1171289 w 1776793"/>
                  <a:gd name="connsiteY1901" fmla="*/ 1381887 h 2197227"/>
                  <a:gd name="connsiteX1902" fmla="*/ 1181862 w 1776793"/>
                  <a:gd name="connsiteY1902" fmla="*/ 1386078 h 2197227"/>
                  <a:gd name="connsiteX1903" fmla="*/ 1193673 w 1776793"/>
                  <a:gd name="connsiteY1903" fmla="*/ 1398746 h 2197227"/>
                  <a:gd name="connsiteX1904" fmla="*/ 1182529 w 1776793"/>
                  <a:gd name="connsiteY1904" fmla="*/ 1409033 h 2197227"/>
                  <a:gd name="connsiteX1905" fmla="*/ 1175766 w 1776793"/>
                  <a:gd name="connsiteY1905" fmla="*/ 1422178 h 2197227"/>
                  <a:gd name="connsiteX1906" fmla="*/ 1185196 w 1776793"/>
                  <a:gd name="connsiteY1906" fmla="*/ 1430560 h 2197227"/>
                  <a:gd name="connsiteX1907" fmla="*/ 1173289 w 1776793"/>
                  <a:gd name="connsiteY1907" fmla="*/ 1442657 h 2197227"/>
                  <a:gd name="connsiteX1908" fmla="*/ 1177957 w 1776793"/>
                  <a:gd name="connsiteY1908" fmla="*/ 1445800 h 2197227"/>
                  <a:gd name="connsiteX1909" fmla="*/ 1187387 w 1776793"/>
                  <a:gd name="connsiteY1909" fmla="*/ 1441037 h 2197227"/>
                  <a:gd name="connsiteX1910" fmla="*/ 1204151 w 1776793"/>
                  <a:gd name="connsiteY1910" fmla="*/ 1444276 h 2197227"/>
                  <a:gd name="connsiteX1911" fmla="*/ 1221391 w 1776793"/>
                  <a:gd name="connsiteY1911" fmla="*/ 1431512 h 2197227"/>
                  <a:gd name="connsiteX1912" fmla="*/ 1228058 w 1776793"/>
                  <a:gd name="connsiteY1912" fmla="*/ 1432274 h 2197227"/>
                  <a:gd name="connsiteX1913" fmla="*/ 1230821 w 1776793"/>
                  <a:gd name="connsiteY1913" fmla="*/ 1439990 h 2197227"/>
                  <a:gd name="connsiteX1914" fmla="*/ 1234631 w 1776793"/>
                  <a:gd name="connsiteY1914" fmla="*/ 1441609 h 2197227"/>
                  <a:gd name="connsiteX1915" fmla="*/ 1246442 w 1776793"/>
                  <a:gd name="connsiteY1915" fmla="*/ 1443419 h 2197227"/>
                  <a:gd name="connsiteX1916" fmla="*/ 1238155 w 1776793"/>
                  <a:gd name="connsiteY1916" fmla="*/ 1434751 h 2197227"/>
                  <a:gd name="connsiteX1917" fmla="*/ 1243489 w 1776793"/>
                  <a:gd name="connsiteY1917" fmla="*/ 1420559 h 2197227"/>
                  <a:gd name="connsiteX1918" fmla="*/ 1254062 w 1776793"/>
                  <a:gd name="connsiteY1918" fmla="*/ 1421797 h 2197227"/>
                  <a:gd name="connsiteX1919" fmla="*/ 1269683 w 1776793"/>
                  <a:gd name="connsiteY1919" fmla="*/ 1416558 h 2197227"/>
                  <a:gd name="connsiteX1920" fmla="*/ 1264349 w 1776793"/>
                  <a:gd name="connsiteY1920" fmla="*/ 1432655 h 2197227"/>
                  <a:gd name="connsiteX1921" fmla="*/ 1250823 w 1776793"/>
                  <a:gd name="connsiteY1921" fmla="*/ 1444276 h 2197227"/>
                  <a:gd name="connsiteX1922" fmla="*/ 1258919 w 1776793"/>
                  <a:gd name="connsiteY1922" fmla="*/ 1455611 h 2197227"/>
                  <a:gd name="connsiteX1923" fmla="*/ 1267111 w 1776793"/>
                  <a:gd name="connsiteY1923" fmla="*/ 1446276 h 2197227"/>
                  <a:gd name="connsiteX1924" fmla="*/ 1272731 w 1776793"/>
                  <a:gd name="connsiteY1924" fmla="*/ 1456468 h 2197227"/>
                  <a:gd name="connsiteX1925" fmla="*/ 1285685 w 1776793"/>
                  <a:gd name="connsiteY1925" fmla="*/ 1447705 h 2197227"/>
                  <a:gd name="connsiteX1926" fmla="*/ 1296829 w 1776793"/>
                  <a:gd name="connsiteY1926" fmla="*/ 1459325 h 2197227"/>
                  <a:gd name="connsiteX1927" fmla="*/ 1307402 w 1776793"/>
                  <a:gd name="connsiteY1927" fmla="*/ 1462659 h 2197227"/>
                  <a:gd name="connsiteX1928" fmla="*/ 1309116 w 1776793"/>
                  <a:gd name="connsiteY1928" fmla="*/ 1466183 h 2197227"/>
                  <a:gd name="connsiteX1929" fmla="*/ 1111853 w 1776793"/>
                  <a:gd name="connsiteY1929" fmla="*/ 364046 h 2197227"/>
                  <a:gd name="connsiteX1930" fmla="*/ 1100995 w 1776793"/>
                  <a:gd name="connsiteY1930" fmla="*/ 348234 h 2197227"/>
                  <a:gd name="connsiteX1931" fmla="*/ 1093470 w 1776793"/>
                  <a:gd name="connsiteY1931" fmla="*/ 326993 h 2197227"/>
                  <a:gd name="connsiteX1932" fmla="*/ 1100995 w 1776793"/>
                  <a:gd name="connsiteY1932" fmla="*/ 348234 h 2197227"/>
                  <a:gd name="connsiteX1933" fmla="*/ 1111853 w 1776793"/>
                  <a:gd name="connsiteY1933" fmla="*/ 364141 h 219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Lst>
                <a:rect l="l" t="t" r="r" b="b"/>
                <a:pathLst>
                  <a:path w="1776793" h="2197227">
                    <a:moveTo>
                      <a:pt x="1759363" y="1073277"/>
                    </a:moveTo>
                    <a:lnTo>
                      <a:pt x="1758315" y="1061942"/>
                    </a:lnTo>
                    <a:lnTo>
                      <a:pt x="1760315" y="1049655"/>
                    </a:lnTo>
                    <a:lnTo>
                      <a:pt x="1752410" y="1048131"/>
                    </a:lnTo>
                    <a:lnTo>
                      <a:pt x="1749171" y="1037368"/>
                    </a:lnTo>
                    <a:lnTo>
                      <a:pt x="1744313" y="1037844"/>
                    </a:lnTo>
                    <a:lnTo>
                      <a:pt x="1735645" y="1041368"/>
                    </a:lnTo>
                    <a:lnTo>
                      <a:pt x="1731931" y="1033558"/>
                    </a:lnTo>
                    <a:lnTo>
                      <a:pt x="1733360" y="1022699"/>
                    </a:lnTo>
                    <a:lnTo>
                      <a:pt x="1734122" y="1001459"/>
                    </a:lnTo>
                    <a:lnTo>
                      <a:pt x="1734122" y="989648"/>
                    </a:lnTo>
                    <a:cubicBezTo>
                      <a:pt x="1734122" y="989648"/>
                      <a:pt x="1730883" y="989171"/>
                      <a:pt x="1730883" y="989171"/>
                    </a:cubicBezTo>
                    <a:lnTo>
                      <a:pt x="1729073" y="965549"/>
                    </a:lnTo>
                    <a:lnTo>
                      <a:pt x="1726311" y="947738"/>
                    </a:lnTo>
                    <a:lnTo>
                      <a:pt x="1719548" y="921163"/>
                    </a:lnTo>
                    <a:lnTo>
                      <a:pt x="1716405" y="887825"/>
                    </a:lnTo>
                    <a:lnTo>
                      <a:pt x="1712024" y="875348"/>
                    </a:lnTo>
                    <a:lnTo>
                      <a:pt x="1705356" y="876300"/>
                    </a:lnTo>
                    <a:lnTo>
                      <a:pt x="1704689" y="848297"/>
                    </a:lnTo>
                    <a:lnTo>
                      <a:pt x="1705166" y="832866"/>
                    </a:lnTo>
                    <a:lnTo>
                      <a:pt x="1701927" y="829532"/>
                    </a:lnTo>
                    <a:lnTo>
                      <a:pt x="1702879" y="820769"/>
                    </a:lnTo>
                    <a:lnTo>
                      <a:pt x="1703927" y="814388"/>
                    </a:lnTo>
                    <a:lnTo>
                      <a:pt x="1702308" y="811054"/>
                    </a:lnTo>
                    <a:lnTo>
                      <a:pt x="1704118" y="801434"/>
                    </a:lnTo>
                    <a:lnTo>
                      <a:pt x="1698974" y="794385"/>
                    </a:lnTo>
                    <a:lnTo>
                      <a:pt x="1695164" y="796481"/>
                    </a:lnTo>
                    <a:lnTo>
                      <a:pt x="1695164" y="775811"/>
                    </a:lnTo>
                    <a:cubicBezTo>
                      <a:pt x="1695164" y="775811"/>
                      <a:pt x="1700308" y="766286"/>
                      <a:pt x="1700308" y="766286"/>
                    </a:cubicBezTo>
                    <a:lnTo>
                      <a:pt x="1704499" y="761810"/>
                    </a:lnTo>
                    <a:lnTo>
                      <a:pt x="1708976" y="760381"/>
                    </a:lnTo>
                    <a:lnTo>
                      <a:pt x="1713262" y="753713"/>
                    </a:lnTo>
                    <a:lnTo>
                      <a:pt x="1719358" y="737140"/>
                    </a:lnTo>
                    <a:lnTo>
                      <a:pt x="1719643" y="723710"/>
                    </a:lnTo>
                    <a:lnTo>
                      <a:pt x="1722787" y="726377"/>
                    </a:lnTo>
                    <a:lnTo>
                      <a:pt x="1730597" y="707707"/>
                    </a:lnTo>
                    <a:lnTo>
                      <a:pt x="1737169" y="702374"/>
                    </a:lnTo>
                    <a:lnTo>
                      <a:pt x="1746409" y="709708"/>
                    </a:lnTo>
                    <a:lnTo>
                      <a:pt x="1746790" y="695135"/>
                    </a:lnTo>
                    <a:lnTo>
                      <a:pt x="1746218" y="681990"/>
                    </a:lnTo>
                    <a:lnTo>
                      <a:pt x="1738693" y="655987"/>
                    </a:lnTo>
                    <a:lnTo>
                      <a:pt x="1733360" y="641128"/>
                    </a:lnTo>
                    <a:lnTo>
                      <a:pt x="1737741" y="630365"/>
                    </a:lnTo>
                    <a:lnTo>
                      <a:pt x="1745266" y="625031"/>
                    </a:lnTo>
                    <a:lnTo>
                      <a:pt x="1751267" y="616458"/>
                    </a:lnTo>
                    <a:lnTo>
                      <a:pt x="1752791" y="606552"/>
                    </a:lnTo>
                    <a:lnTo>
                      <a:pt x="1758791" y="607600"/>
                    </a:lnTo>
                    <a:lnTo>
                      <a:pt x="1760506" y="599218"/>
                    </a:lnTo>
                    <a:lnTo>
                      <a:pt x="1765173" y="605981"/>
                    </a:lnTo>
                    <a:lnTo>
                      <a:pt x="1768031" y="603218"/>
                    </a:lnTo>
                    <a:lnTo>
                      <a:pt x="1772888" y="609695"/>
                    </a:lnTo>
                    <a:lnTo>
                      <a:pt x="1775555" y="611981"/>
                    </a:lnTo>
                    <a:lnTo>
                      <a:pt x="1776793" y="607219"/>
                    </a:lnTo>
                    <a:lnTo>
                      <a:pt x="1774222" y="603599"/>
                    </a:lnTo>
                    <a:lnTo>
                      <a:pt x="1774031" y="591788"/>
                    </a:lnTo>
                    <a:lnTo>
                      <a:pt x="1773745" y="578834"/>
                    </a:lnTo>
                    <a:lnTo>
                      <a:pt x="1774508" y="574548"/>
                    </a:lnTo>
                    <a:lnTo>
                      <a:pt x="1773936" y="564928"/>
                    </a:lnTo>
                    <a:lnTo>
                      <a:pt x="1774127" y="559499"/>
                    </a:lnTo>
                    <a:lnTo>
                      <a:pt x="1776317" y="561785"/>
                    </a:lnTo>
                    <a:lnTo>
                      <a:pt x="1775841" y="552926"/>
                    </a:lnTo>
                    <a:lnTo>
                      <a:pt x="1776698" y="549307"/>
                    </a:lnTo>
                    <a:lnTo>
                      <a:pt x="1774984" y="535305"/>
                    </a:lnTo>
                    <a:lnTo>
                      <a:pt x="1774984" y="532352"/>
                    </a:lnTo>
                    <a:cubicBezTo>
                      <a:pt x="1774984" y="532352"/>
                      <a:pt x="1769840" y="503968"/>
                      <a:pt x="1769840" y="503968"/>
                    </a:cubicBezTo>
                    <a:lnTo>
                      <a:pt x="1765078" y="481394"/>
                    </a:lnTo>
                    <a:lnTo>
                      <a:pt x="1760887" y="464630"/>
                    </a:lnTo>
                    <a:lnTo>
                      <a:pt x="1760601" y="464248"/>
                    </a:lnTo>
                    <a:lnTo>
                      <a:pt x="1762125" y="473773"/>
                    </a:lnTo>
                    <a:lnTo>
                      <a:pt x="1763840" y="482156"/>
                    </a:lnTo>
                    <a:lnTo>
                      <a:pt x="1763459" y="484061"/>
                    </a:lnTo>
                    <a:lnTo>
                      <a:pt x="1763459" y="486442"/>
                    </a:lnTo>
                    <a:cubicBezTo>
                      <a:pt x="1763459" y="486442"/>
                      <a:pt x="1762125" y="484061"/>
                      <a:pt x="1762125" y="484061"/>
                    </a:cubicBezTo>
                    <a:lnTo>
                      <a:pt x="1761173" y="485680"/>
                    </a:lnTo>
                    <a:lnTo>
                      <a:pt x="1762030" y="495967"/>
                    </a:lnTo>
                    <a:lnTo>
                      <a:pt x="1763744" y="510254"/>
                    </a:lnTo>
                    <a:lnTo>
                      <a:pt x="1764697" y="515779"/>
                    </a:lnTo>
                    <a:lnTo>
                      <a:pt x="1765840" y="528352"/>
                    </a:lnTo>
                    <a:lnTo>
                      <a:pt x="1768411" y="542830"/>
                    </a:lnTo>
                    <a:lnTo>
                      <a:pt x="1769174" y="556451"/>
                    </a:lnTo>
                    <a:lnTo>
                      <a:pt x="1767078" y="561213"/>
                    </a:lnTo>
                    <a:lnTo>
                      <a:pt x="1765459" y="571405"/>
                    </a:lnTo>
                    <a:lnTo>
                      <a:pt x="1767935" y="586835"/>
                    </a:lnTo>
                    <a:lnTo>
                      <a:pt x="1765268" y="588931"/>
                    </a:lnTo>
                    <a:lnTo>
                      <a:pt x="1760125" y="581882"/>
                    </a:lnTo>
                    <a:lnTo>
                      <a:pt x="1750885" y="570357"/>
                    </a:lnTo>
                    <a:lnTo>
                      <a:pt x="1744694" y="569595"/>
                    </a:lnTo>
                    <a:lnTo>
                      <a:pt x="1740884" y="549116"/>
                    </a:lnTo>
                    <a:lnTo>
                      <a:pt x="1745742" y="551688"/>
                    </a:lnTo>
                    <a:lnTo>
                      <a:pt x="1741646" y="531781"/>
                    </a:lnTo>
                    <a:lnTo>
                      <a:pt x="1739551" y="510350"/>
                    </a:lnTo>
                    <a:lnTo>
                      <a:pt x="1741837" y="497491"/>
                    </a:lnTo>
                    <a:lnTo>
                      <a:pt x="1741837" y="487490"/>
                    </a:lnTo>
                    <a:cubicBezTo>
                      <a:pt x="1741837" y="487490"/>
                      <a:pt x="1737741" y="467868"/>
                      <a:pt x="1737741" y="467868"/>
                    </a:cubicBezTo>
                    <a:lnTo>
                      <a:pt x="1735645" y="450056"/>
                    </a:lnTo>
                    <a:lnTo>
                      <a:pt x="1740027" y="455867"/>
                    </a:lnTo>
                    <a:lnTo>
                      <a:pt x="1740027" y="446818"/>
                    </a:lnTo>
                    <a:cubicBezTo>
                      <a:pt x="1740027" y="446818"/>
                      <a:pt x="1728502" y="418910"/>
                      <a:pt x="1728502" y="418910"/>
                    </a:cubicBezTo>
                    <a:lnTo>
                      <a:pt x="1719453" y="401193"/>
                    </a:lnTo>
                    <a:lnTo>
                      <a:pt x="1708309" y="375952"/>
                    </a:lnTo>
                    <a:lnTo>
                      <a:pt x="1698879" y="358140"/>
                    </a:lnTo>
                    <a:lnTo>
                      <a:pt x="1689068" y="358140"/>
                    </a:lnTo>
                    <a:cubicBezTo>
                      <a:pt x="1689068" y="358140"/>
                      <a:pt x="1682020" y="372047"/>
                      <a:pt x="1682020" y="372047"/>
                    </a:cubicBezTo>
                    <a:lnTo>
                      <a:pt x="1681543" y="387287"/>
                    </a:lnTo>
                    <a:lnTo>
                      <a:pt x="1684020" y="408813"/>
                    </a:lnTo>
                    <a:lnTo>
                      <a:pt x="1681258" y="432435"/>
                    </a:lnTo>
                    <a:lnTo>
                      <a:pt x="1678305" y="451675"/>
                    </a:lnTo>
                    <a:lnTo>
                      <a:pt x="1671542" y="448342"/>
                    </a:lnTo>
                    <a:lnTo>
                      <a:pt x="1658588" y="432245"/>
                    </a:lnTo>
                    <a:lnTo>
                      <a:pt x="1642301" y="405575"/>
                    </a:lnTo>
                    <a:lnTo>
                      <a:pt x="1637538" y="395859"/>
                    </a:lnTo>
                    <a:lnTo>
                      <a:pt x="1630299" y="366236"/>
                    </a:lnTo>
                    <a:lnTo>
                      <a:pt x="1635347" y="370142"/>
                    </a:lnTo>
                    <a:lnTo>
                      <a:pt x="1639157" y="362426"/>
                    </a:lnTo>
                    <a:lnTo>
                      <a:pt x="1634300" y="350711"/>
                    </a:lnTo>
                    <a:lnTo>
                      <a:pt x="1622965" y="346615"/>
                    </a:lnTo>
                    <a:lnTo>
                      <a:pt x="1612964" y="324803"/>
                    </a:lnTo>
                    <a:lnTo>
                      <a:pt x="1596676" y="297371"/>
                    </a:lnTo>
                    <a:lnTo>
                      <a:pt x="1587341" y="287465"/>
                    </a:lnTo>
                    <a:lnTo>
                      <a:pt x="1586960" y="279083"/>
                    </a:lnTo>
                    <a:lnTo>
                      <a:pt x="1577531" y="268224"/>
                    </a:lnTo>
                    <a:lnTo>
                      <a:pt x="1565719" y="245745"/>
                    </a:lnTo>
                    <a:lnTo>
                      <a:pt x="1544574" y="221456"/>
                    </a:lnTo>
                    <a:lnTo>
                      <a:pt x="1522095" y="198692"/>
                    </a:lnTo>
                    <a:lnTo>
                      <a:pt x="1501331" y="186785"/>
                    </a:lnTo>
                    <a:lnTo>
                      <a:pt x="1480185" y="178594"/>
                    </a:lnTo>
                    <a:lnTo>
                      <a:pt x="1461611" y="171260"/>
                    </a:lnTo>
                    <a:lnTo>
                      <a:pt x="1454468" y="161544"/>
                    </a:lnTo>
                    <a:lnTo>
                      <a:pt x="1443704" y="161830"/>
                    </a:lnTo>
                    <a:lnTo>
                      <a:pt x="1433703" y="164211"/>
                    </a:lnTo>
                    <a:lnTo>
                      <a:pt x="1437037" y="176784"/>
                    </a:lnTo>
                    <a:lnTo>
                      <a:pt x="1434084" y="184499"/>
                    </a:lnTo>
                    <a:lnTo>
                      <a:pt x="1424273" y="175070"/>
                    </a:lnTo>
                    <a:lnTo>
                      <a:pt x="1416082" y="179737"/>
                    </a:lnTo>
                    <a:lnTo>
                      <a:pt x="1414939" y="196882"/>
                    </a:lnTo>
                    <a:lnTo>
                      <a:pt x="1410938" y="213836"/>
                    </a:lnTo>
                    <a:lnTo>
                      <a:pt x="1403414" y="227457"/>
                    </a:lnTo>
                    <a:lnTo>
                      <a:pt x="1407509" y="249936"/>
                    </a:lnTo>
                    <a:lnTo>
                      <a:pt x="1393889" y="245840"/>
                    </a:lnTo>
                    <a:lnTo>
                      <a:pt x="1378077" y="232791"/>
                    </a:lnTo>
                    <a:lnTo>
                      <a:pt x="1366647" y="228886"/>
                    </a:lnTo>
                    <a:lnTo>
                      <a:pt x="1348645" y="207550"/>
                    </a:lnTo>
                    <a:lnTo>
                      <a:pt x="1343787" y="214313"/>
                    </a:lnTo>
                    <a:lnTo>
                      <a:pt x="1350074" y="225171"/>
                    </a:lnTo>
                    <a:lnTo>
                      <a:pt x="1353979" y="242792"/>
                    </a:lnTo>
                    <a:lnTo>
                      <a:pt x="1374077" y="256127"/>
                    </a:lnTo>
                    <a:lnTo>
                      <a:pt x="1377791" y="271558"/>
                    </a:lnTo>
                    <a:lnTo>
                      <a:pt x="1372267" y="275368"/>
                    </a:lnTo>
                    <a:lnTo>
                      <a:pt x="1377601" y="290322"/>
                    </a:lnTo>
                    <a:lnTo>
                      <a:pt x="1373219" y="304038"/>
                    </a:lnTo>
                    <a:lnTo>
                      <a:pt x="1362361" y="298799"/>
                    </a:lnTo>
                    <a:lnTo>
                      <a:pt x="1352836" y="282893"/>
                    </a:lnTo>
                    <a:lnTo>
                      <a:pt x="1338453" y="277749"/>
                    </a:lnTo>
                    <a:lnTo>
                      <a:pt x="1318451" y="265081"/>
                    </a:lnTo>
                    <a:lnTo>
                      <a:pt x="1305306" y="254222"/>
                    </a:lnTo>
                    <a:lnTo>
                      <a:pt x="1307211" y="241554"/>
                    </a:lnTo>
                    <a:lnTo>
                      <a:pt x="1323975" y="248602"/>
                    </a:lnTo>
                    <a:lnTo>
                      <a:pt x="1327118" y="242125"/>
                    </a:lnTo>
                    <a:lnTo>
                      <a:pt x="1338453" y="246983"/>
                    </a:lnTo>
                    <a:lnTo>
                      <a:pt x="1324166" y="231839"/>
                    </a:lnTo>
                    <a:lnTo>
                      <a:pt x="1310640" y="224028"/>
                    </a:lnTo>
                    <a:lnTo>
                      <a:pt x="1292352" y="204692"/>
                    </a:lnTo>
                    <a:lnTo>
                      <a:pt x="1290828" y="195072"/>
                    </a:lnTo>
                    <a:lnTo>
                      <a:pt x="1285970" y="185166"/>
                    </a:lnTo>
                    <a:lnTo>
                      <a:pt x="1287304" y="182690"/>
                    </a:lnTo>
                    <a:lnTo>
                      <a:pt x="1296829" y="181832"/>
                    </a:lnTo>
                    <a:lnTo>
                      <a:pt x="1298162" y="178879"/>
                    </a:lnTo>
                    <a:lnTo>
                      <a:pt x="1302163" y="181547"/>
                    </a:lnTo>
                    <a:lnTo>
                      <a:pt x="1310640" y="182023"/>
                    </a:lnTo>
                    <a:lnTo>
                      <a:pt x="1309688" y="176403"/>
                    </a:lnTo>
                    <a:lnTo>
                      <a:pt x="1307973" y="171545"/>
                    </a:lnTo>
                    <a:lnTo>
                      <a:pt x="1309878" y="169354"/>
                    </a:lnTo>
                    <a:lnTo>
                      <a:pt x="1305592" y="165449"/>
                    </a:lnTo>
                    <a:lnTo>
                      <a:pt x="1301972" y="165164"/>
                    </a:lnTo>
                    <a:lnTo>
                      <a:pt x="1298829" y="155924"/>
                    </a:lnTo>
                    <a:lnTo>
                      <a:pt x="1301115" y="137731"/>
                    </a:lnTo>
                    <a:lnTo>
                      <a:pt x="1311688" y="147923"/>
                    </a:lnTo>
                    <a:lnTo>
                      <a:pt x="1318641" y="132017"/>
                    </a:lnTo>
                    <a:lnTo>
                      <a:pt x="1329309" y="128683"/>
                    </a:lnTo>
                    <a:lnTo>
                      <a:pt x="1334072" y="122396"/>
                    </a:lnTo>
                    <a:lnTo>
                      <a:pt x="1322260" y="108680"/>
                    </a:lnTo>
                    <a:lnTo>
                      <a:pt x="1307878" y="99536"/>
                    </a:lnTo>
                    <a:lnTo>
                      <a:pt x="1294448" y="87058"/>
                    </a:lnTo>
                    <a:lnTo>
                      <a:pt x="1283684" y="86201"/>
                    </a:lnTo>
                    <a:lnTo>
                      <a:pt x="1271016" y="96869"/>
                    </a:lnTo>
                    <a:lnTo>
                      <a:pt x="1266730" y="106585"/>
                    </a:lnTo>
                    <a:lnTo>
                      <a:pt x="1263301" y="130588"/>
                    </a:lnTo>
                    <a:lnTo>
                      <a:pt x="1264634" y="143161"/>
                    </a:lnTo>
                    <a:lnTo>
                      <a:pt x="1267206" y="150686"/>
                    </a:lnTo>
                    <a:lnTo>
                      <a:pt x="1264539" y="149923"/>
                    </a:lnTo>
                    <a:lnTo>
                      <a:pt x="1258824" y="153543"/>
                    </a:lnTo>
                    <a:lnTo>
                      <a:pt x="1250537" y="149733"/>
                    </a:lnTo>
                    <a:lnTo>
                      <a:pt x="1240822" y="141637"/>
                    </a:lnTo>
                    <a:lnTo>
                      <a:pt x="1232821" y="139065"/>
                    </a:lnTo>
                    <a:lnTo>
                      <a:pt x="1228535" y="138303"/>
                    </a:lnTo>
                    <a:lnTo>
                      <a:pt x="1219772" y="133160"/>
                    </a:lnTo>
                    <a:lnTo>
                      <a:pt x="1211294" y="141065"/>
                    </a:lnTo>
                    <a:lnTo>
                      <a:pt x="1203579" y="140398"/>
                    </a:lnTo>
                    <a:lnTo>
                      <a:pt x="1194245" y="138017"/>
                    </a:lnTo>
                    <a:lnTo>
                      <a:pt x="1190530" y="132207"/>
                    </a:lnTo>
                    <a:lnTo>
                      <a:pt x="1184529" y="133636"/>
                    </a:lnTo>
                    <a:lnTo>
                      <a:pt x="1159574" y="123825"/>
                    </a:lnTo>
                    <a:lnTo>
                      <a:pt x="1157954" y="110109"/>
                    </a:lnTo>
                    <a:lnTo>
                      <a:pt x="1150049" y="102013"/>
                    </a:lnTo>
                    <a:lnTo>
                      <a:pt x="1126522" y="91821"/>
                    </a:lnTo>
                    <a:lnTo>
                      <a:pt x="1111472" y="90869"/>
                    </a:lnTo>
                    <a:lnTo>
                      <a:pt x="1080897" y="88964"/>
                    </a:lnTo>
                    <a:lnTo>
                      <a:pt x="1050131" y="88392"/>
                    </a:lnTo>
                    <a:lnTo>
                      <a:pt x="1037844" y="93821"/>
                    </a:lnTo>
                    <a:lnTo>
                      <a:pt x="1002125" y="97536"/>
                    </a:lnTo>
                    <a:lnTo>
                      <a:pt x="977741" y="115633"/>
                    </a:lnTo>
                    <a:lnTo>
                      <a:pt x="962406" y="132207"/>
                    </a:lnTo>
                    <a:lnTo>
                      <a:pt x="941165" y="139637"/>
                    </a:lnTo>
                    <a:lnTo>
                      <a:pt x="931259" y="152781"/>
                    </a:lnTo>
                    <a:lnTo>
                      <a:pt x="933641" y="182690"/>
                    </a:lnTo>
                    <a:lnTo>
                      <a:pt x="944689" y="193834"/>
                    </a:lnTo>
                    <a:lnTo>
                      <a:pt x="958120" y="192500"/>
                    </a:lnTo>
                    <a:lnTo>
                      <a:pt x="965454" y="205169"/>
                    </a:lnTo>
                    <a:lnTo>
                      <a:pt x="962120" y="218980"/>
                    </a:lnTo>
                    <a:lnTo>
                      <a:pt x="976313" y="236220"/>
                    </a:lnTo>
                    <a:lnTo>
                      <a:pt x="905637" y="235363"/>
                    </a:lnTo>
                    <a:lnTo>
                      <a:pt x="847725" y="240030"/>
                    </a:lnTo>
                    <a:lnTo>
                      <a:pt x="810959" y="220790"/>
                    </a:lnTo>
                    <a:lnTo>
                      <a:pt x="780955" y="196977"/>
                    </a:lnTo>
                    <a:lnTo>
                      <a:pt x="762476" y="197929"/>
                    </a:lnTo>
                    <a:lnTo>
                      <a:pt x="747331" y="185738"/>
                    </a:lnTo>
                    <a:lnTo>
                      <a:pt x="755428" y="172879"/>
                    </a:lnTo>
                    <a:lnTo>
                      <a:pt x="737235" y="165640"/>
                    </a:lnTo>
                    <a:lnTo>
                      <a:pt x="709708" y="158210"/>
                    </a:lnTo>
                    <a:lnTo>
                      <a:pt x="713422" y="174212"/>
                    </a:lnTo>
                    <a:lnTo>
                      <a:pt x="671417" y="194120"/>
                    </a:lnTo>
                    <a:lnTo>
                      <a:pt x="640937" y="189643"/>
                    </a:lnTo>
                    <a:lnTo>
                      <a:pt x="640937" y="161639"/>
                    </a:lnTo>
                    <a:cubicBezTo>
                      <a:pt x="640937" y="161639"/>
                      <a:pt x="605218" y="174308"/>
                      <a:pt x="605218" y="174308"/>
                    </a:cubicBezTo>
                    <a:lnTo>
                      <a:pt x="593503" y="189262"/>
                    </a:lnTo>
                    <a:lnTo>
                      <a:pt x="579882" y="187262"/>
                    </a:lnTo>
                    <a:lnTo>
                      <a:pt x="597122" y="160687"/>
                    </a:lnTo>
                    <a:lnTo>
                      <a:pt x="622554" y="150781"/>
                    </a:lnTo>
                    <a:lnTo>
                      <a:pt x="649510" y="137160"/>
                    </a:lnTo>
                    <a:lnTo>
                      <a:pt x="679990" y="120682"/>
                    </a:lnTo>
                    <a:lnTo>
                      <a:pt x="700373" y="124111"/>
                    </a:lnTo>
                    <a:lnTo>
                      <a:pt x="704755" y="115538"/>
                    </a:lnTo>
                    <a:lnTo>
                      <a:pt x="719900" y="108871"/>
                    </a:lnTo>
                    <a:lnTo>
                      <a:pt x="737426" y="86011"/>
                    </a:lnTo>
                    <a:lnTo>
                      <a:pt x="748284" y="42672"/>
                    </a:lnTo>
                    <a:lnTo>
                      <a:pt x="753809" y="14288"/>
                    </a:lnTo>
                    <a:lnTo>
                      <a:pt x="753809" y="0"/>
                    </a:lnTo>
                    <a:cubicBezTo>
                      <a:pt x="753809" y="0"/>
                      <a:pt x="726853" y="8001"/>
                      <a:pt x="726853" y="8001"/>
                    </a:cubicBezTo>
                    <a:lnTo>
                      <a:pt x="715518" y="24575"/>
                    </a:lnTo>
                    <a:lnTo>
                      <a:pt x="693420" y="21336"/>
                    </a:lnTo>
                    <a:lnTo>
                      <a:pt x="681133" y="40767"/>
                    </a:lnTo>
                    <a:lnTo>
                      <a:pt x="654463" y="42481"/>
                    </a:lnTo>
                    <a:lnTo>
                      <a:pt x="657320" y="52483"/>
                    </a:lnTo>
                    <a:lnTo>
                      <a:pt x="646557" y="66675"/>
                    </a:lnTo>
                    <a:lnTo>
                      <a:pt x="634270" y="63627"/>
                    </a:lnTo>
                    <a:lnTo>
                      <a:pt x="623983" y="91535"/>
                    </a:lnTo>
                    <a:lnTo>
                      <a:pt x="636746" y="100394"/>
                    </a:lnTo>
                    <a:lnTo>
                      <a:pt x="634651" y="108490"/>
                    </a:lnTo>
                    <a:lnTo>
                      <a:pt x="614172" y="123158"/>
                    </a:lnTo>
                    <a:lnTo>
                      <a:pt x="606362" y="135255"/>
                    </a:lnTo>
                    <a:lnTo>
                      <a:pt x="591407" y="128016"/>
                    </a:lnTo>
                    <a:lnTo>
                      <a:pt x="577787" y="133826"/>
                    </a:lnTo>
                    <a:lnTo>
                      <a:pt x="574262" y="124873"/>
                    </a:lnTo>
                    <a:lnTo>
                      <a:pt x="539877" y="134302"/>
                    </a:lnTo>
                    <a:lnTo>
                      <a:pt x="525494" y="116777"/>
                    </a:lnTo>
                    <a:lnTo>
                      <a:pt x="519493" y="125540"/>
                    </a:lnTo>
                    <a:lnTo>
                      <a:pt x="500443" y="135827"/>
                    </a:lnTo>
                    <a:lnTo>
                      <a:pt x="480822" y="148495"/>
                    </a:lnTo>
                    <a:lnTo>
                      <a:pt x="470345" y="149923"/>
                    </a:lnTo>
                    <a:lnTo>
                      <a:pt x="437483" y="163830"/>
                    </a:lnTo>
                    <a:lnTo>
                      <a:pt x="416624" y="158496"/>
                    </a:lnTo>
                    <a:lnTo>
                      <a:pt x="413671" y="164211"/>
                    </a:lnTo>
                    <a:lnTo>
                      <a:pt x="414909" y="173165"/>
                    </a:lnTo>
                    <a:lnTo>
                      <a:pt x="419957" y="179070"/>
                    </a:lnTo>
                    <a:lnTo>
                      <a:pt x="425958" y="197168"/>
                    </a:lnTo>
                    <a:lnTo>
                      <a:pt x="435007" y="209169"/>
                    </a:lnTo>
                    <a:lnTo>
                      <a:pt x="421481" y="207073"/>
                    </a:lnTo>
                    <a:lnTo>
                      <a:pt x="408051" y="216598"/>
                    </a:lnTo>
                    <a:lnTo>
                      <a:pt x="408051" y="216598"/>
                    </a:lnTo>
                    <a:cubicBezTo>
                      <a:pt x="408051" y="216598"/>
                      <a:pt x="402336" y="226123"/>
                      <a:pt x="402336" y="226123"/>
                    </a:cubicBezTo>
                    <a:lnTo>
                      <a:pt x="406908" y="236506"/>
                    </a:lnTo>
                    <a:lnTo>
                      <a:pt x="395097" y="241935"/>
                    </a:lnTo>
                    <a:lnTo>
                      <a:pt x="397097" y="233648"/>
                    </a:lnTo>
                    <a:lnTo>
                      <a:pt x="391477" y="226028"/>
                    </a:lnTo>
                    <a:lnTo>
                      <a:pt x="380047" y="229362"/>
                    </a:lnTo>
                    <a:lnTo>
                      <a:pt x="369570" y="226314"/>
                    </a:lnTo>
                    <a:lnTo>
                      <a:pt x="366617" y="216884"/>
                    </a:lnTo>
                    <a:lnTo>
                      <a:pt x="352330" y="211646"/>
                    </a:lnTo>
                    <a:lnTo>
                      <a:pt x="343567" y="204788"/>
                    </a:lnTo>
                    <a:lnTo>
                      <a:pt x="333661" y="205264"/>
                    </a:lnTo>
                    <a:lnTo>
                      <a:pt x="330041" y="210312"/>
                    </a:lnTo>
                    <a:lnTo>
                      <a:pt x="332613" y="231743"/>
                    </a:lnTo>
                    <a:lnTo>
                      <a:pt x="316516" y="236411"/>
                    </a:lnTo>
                    <a:lnTo>
                      <a:pt x="308324" y="247650"/>
                    </a:lnTo>
                    <a:lnTo>
                      <a:pt x="330422" y="265271"/>
                    </a:lnTo>
                    <a:lnTo>
                      <a:pt x="356521" y="265557"/>
                    </a:lnTo>
                    <a:lnTo>
                      <a:pt x="352711" y="249555"/>
                    </a:lnTo>
                    <a:lnTo>
                      <a:pt x="359759" y="254508"/>
                    </a:lnTo>
                    <a:lnTo>
                      <a:pt x="360140" y="268415"/>
                    </a:lnTo>
                    <a:lnTo>
                      <a:pt x="385763" y="289179"/>
                    </a:lnTo>
                    <a:lnTo>
                      <a:pt x="407956" y="306038"/>
                    </a:lnTo>
                    <a:lnTo>
                      <a:pt x="419957" y="316135"/>
                    </a:lnTo>
                    <a:lnTo>
                      <a:pt x="443770" y="328232"/>
                    </a:lnTo>
                    <a:lnTo>
                      <a:pt x="461296" y="328517"/>
                    </a:lnTo>
                    <a:lnTo>
                      <a:pt x="486823" y="338519"/>
                    </a:lnTo>
                    <a:lnTo>
                      <a:pt x="492252" y="329089"/>
                    </a:lnTo>
                    <a:lnTo>
                      <a:pt x="487871" y="313563"/>
                    </a:lnTo>
                    <a:lnTo>
                      <a:pt x="499872" y="308229"/>
                    </a:lnTo>
                    <a:lnTo>
                      <a:pt x="510730" y="330994"/>
                    </a:lnTo>
                    <a:lnTo>
                      <a:pt x="527018" y="332232"/>
                    </a:lnTo>
                    <a:lnTo>
                      <a:pt x="541401" y="340709"/>
                    </a:lnTo>
                    <a:lnTo>
                      <a:pt x="555974" y="344519"/>
                    </a:lnTo>
                    <a:lnTo>
                      <a:pt x="568262" y="343662"/>
                    </a:lnTo>
                    <a:lnTo>
                      <a:pt x="575977" y="353282"/>
                    </a:lnTo>
                    <a:lnTo>
                      <a:pt x="569214" y="368618"/>
                    </a:lnTo>
                    <a:lnTo>
                      <a:pt x="572167" y="379857"/>
                    </a:lnTo>
                    <a:lnTo>
                      <a:pt x="585406" y="389287"/>
                    </a:lnTo>
                    <a:lnTo>
                      <a:pt x="616363" y="398907"/>
                    </a:lnTo>
                    <a:lnTo>
                      <a:pt x="626078" y="424148"/>
                    </a:lnTo>
                    <a:lnTo>
                      <a:pt x="624745" y="439293"/>
                    </a:lnTo>
                    <a:lnTo>
                      <a:pt x="670179" y="489490"/>
                    </a:lnTo>
                    <a:lnTo>
                      <a:pt x="683990" y="487966"/>
                    </a:lnTo>
                    <a:lnTo>
                      <a:pt x="693801" y="468059"/>
                    </a:lnTo>
                    <a:lnTo>
                      <a:pt x="701230" y="478727"/>
                    </a:lnTo>
                    <a:lnTo>
                      <a:pt x="709803" y="477774"/>
                    </a:lnTo>
                    <a:lnTo>
                      <a:pt x="715804" y="493205"/>
                    </a:lnTo>
                    <a:lnTo>
                      <a:pt x="729520" y="498158"/>
                    </a:lnTo>
                    <a:lnTo>
                      <a:pt x="730377" y="514255"/>
                    </a:lnTo>
                    <a:lnTo>
                      <a:pt x="753427" y="503777"/>
                    </a:lnTo>
                    <a:lnTo>
                      <a:pt x="754380" y="519303"/>
                    </a:lnTo>
                    <a:lnTo>
                      <a:pt x="746379" y="538258"/>
                    </a:lnTo>
                    <a:lnTo>
                      <a:pt x="736092" y="540925"/>
                    </a:lnTo>
                    <a:lnTo>
                      <a:pt x="726567" y="552831"/>
                    </a:lnTo>
                    <a:lnTo>
                      <a:pt x="723805" y="569309"/>
                    </a:lnTo>
                    <a:lnTo>
                      <a:pt x="730377" y="578072"/>
                    </a:lnTo>
                    <a:lnTo>
                      <a:pt x="735235" y="592360"/>
                    </a:lnTo>
                    <a:lnTo>
                      <a:pt x="750380" y="582930"/>
                    </a:lnTo>
                    <a:lnTo>
                      <a:pt x="762762" y="610172"/>
                    </a:lnTo>
                    <a:lnTo>
                      <a:pt x="753999" y="616934"/>
                    </a:lnTo>
                    <a:lnTo>
                      <a:pt x="760571" y="638270"/>
                    </a:lnTo>
                    <a:lnTo>
                      <a:pt x="768477" y="646652"/>
                    </a:lnTo>
                    <a:lnTo>
                      <a:pt x="775240" y="647033"/>
                    </a:lnTo>
                    <a:lnTo>
                      <a:pt x="762857" y="656177"/>
                    </a:lnTo>
                    <a:lnTo>
                      <a:pt x="769239" y="660082"/>
                    </a:lnTo>
                    <a:lnTo>
                      <a:pt x="767334" y="671513"/>
                    </a:lnTo>
                    <a:lnTo>
                      <a:pt x="767048" y="680371"/>
                    </a:lnTo>
                    <a:lnTo>
                      <a:pt x="758857" y="678085"/>
                    </a:lnTo>
                    <a:lnTo>
                      <a:pt x="740569" y="667226"/>
                    </a:lnTo>
                    <a:lnTo>
                      <a:pt x="731425" y="663702"/>
                    </a:lnTo>
                    <a:lnTo>
                      <a:pt x="719614" y="667322"/>
                    </a:lnTo>
                    <a:lnTo>
                      <a:pt x="713422" y="675227"/>
                    </a:lnTo>
                    <a:lnTo>
                      <a:pt x="707612" y="691515"/>
                    </a:lnTo>
                    <a:lnTo>
                      <a:pt x="712756" y="707041"/>
                    </a:lnTo>
                    <a:lnTo>
                      <a:pt x="719804" y="710184"/>
                    </a:lnTo>
                    <a:lnTo>
                      <a:pt x="709041" y="715042"/>
                    </a:lnTo>
                    <a:lnTo>
                      <a:pt x="709041" y="727901"/>
                    </a:lnTo>
                    <a:cubicBezTo>
                      <a:pt x="709041" y="727901"/>
                      <a:pt x="701326" y="722376"/>
                      <a:pt x="701326" y="722376"/>
                    </a:cubicBezTo>
                    <a:lnTo>
                      <a:pt x="696277" y="733139"/>
                    </a:lnTo>
                    <a:lnTo>
                      <a:pt x="708660" y="743045"/>
                    </a:lnTo>
                    <a:lnTo>
                      <a:pt x="719614" y="746093"/>
                    </a:lnTo>
                    <a:lnTo>
                      <a:pt x="729996" y="745712"/>
                    </a:lnTo>
                    <a:lnTo>
                      <a:pt x="731425" y="756095"/>
                    </a:lnTo>
                    <a:lnTo>
                      <a:pt x="745617" y="767334"/>
                    </a:lnTo>
                    <a:lnTo>
                      <a:pt x="740855" y="772668"/>
                    </a:lnTo>
                    <a:lnTo>
                      <a:pt x="744284" y="787813"/>
                    </a:lnTo>
                    <a:lnTo>
                      <a:pt x="750856" y="789432"/>
                    </a:lnTo>
                    <a:lnTo>
                      <a:pt x="754475" y="805244"/>
                    </a:lnTo>
                    <a:lnTo>
                      <a:pt x="766001" y="817340"/>
                    </a:lnTo>
                    <a:lnTo>
                      <a:pt x="766381" y="824579"/>
                    </a:lnTo>
                    <a:lnTo>
                      <a:pt x="781336" y="832866"/>
                    </a:lnTo>
                    <a:lnTo>
                      <a:pt x="793909" y="828199"/>
                    </a:lnTo>
                    <a:lnTo>
                      <a:pt x="795909" y="843058"/>
                    </a:lnTo>
                    <a:lnTo>
                      <a:pt x="793051" y="859155"/>
                    </a:lnTo>
                    <a:lnTo>
                      <a:pt x="795909" y="871538"/>
                    </a:lnTo>
                    <a:lnTo>
                      <a:pt x="820579" y="874871"/>
                    </a:lnTo>
                    <a:lnTo>
                      <a:pt x="840676" y="871347"/>
                    </a:lnTo>
                    <a:lnTo>
                      <a:pt x="825341" y="882872"/>
                    </a:lnTo>
                    <a:lnTo>
                      <a:pt x="823531" y="898207"/>
                    </a:lnTo>
                    <a:lnTo>
                      <a:pt x="829532" y="912495"/>
                    </a:lnTo>
                    <a:lnTo>
                      <a:pt x="846582" y="913067"/>
                    </a:lnTo>
                    <a:lnTo>
                      <a:pt x="840486" y="920210"/>
                    </a:lnTo>
                    <a:lnTo>
                      <a:pt x="819626" y="911733"/>
                    </a:lnTo>
                    <a:lnTo>
                      <a:pt x="806196" y="912209"/>
                    </a:lnTo>
                    <a:lnTo>
                      <a:pt x="805815" y="915829"/>
                    </a:lnTo>
                    <a:lnTo>
                      <a:pt x="822198" y="918496"/>
                    </a:lnTo>
                    <a:lnTo>
                      <a:pt x="833438" y="935927"/>
                    </a:lnTo>
                    <a:lnTo>
                      <a:pt x="854393" y="931355"/>
                    </a:lnTo>
                    <a:lnTo>
                      <a:pt x="874681" y="944023"/>
                    </a:lnTo>
                    <a:lnTo>
                      <a:pt x="887444" y="945642"/>
                    </a:lnTo>
                    <a:lnTo>
                      <a:pt x="891826" y="936974"/>
                    </a:lnTo>
                    <a:lnTo>
                      <a:pt x="905161" y="944880"/>
                    </a:lnTo>
                    <a:lnTo>
                      <a:pt x="918972" y="943165"/>
                    </a:lnTo>
                    <a:lnTo>
                      <a:pt x="927163" y="953834"/>
                    </a:lnTo>
                    <a:lnTo>
                      <a:pt x="937165" y="959358"/>
                    </a:lnTo>
                    <a:lnTo>
                      <a:pt x="939641" y="971169"/>
                    </a:lnTo>
                    <a:lnTo>
                      <a:pt x="946118" y="977265"/>
                    </a:lnTo>
                    <a:lnTo>
                      <a:pt x="939451" y="986885"/>
                    </a:lnTo>
                    <a:lnTo>
                      <a:pt x="914781" y="959453"/>
                    </a:lnTo>
                    <a:lnTo>
                      <a:pt x="901446" y="951452"/>
                    </a:lnTo>
                    <a:lnTo>
                      <a:pt x="885254" y="956786"/>
                    </a:lnTo>
                    <a:lnTo>
                      <a:pt x="855917" y="945642"/>
                    </a:lnTo>
                    <a:lnTo>
                      <a:pt x="839819" y="943261"/>
                    </a:lnTo>
                    <a:lnTo>
                      <a:pt x="831342" y="945642"/>
                    </a:lnTo>
                    <a:lnTo>
                      <a:pt x="815626" y="933069"/>
                    </a:lnTo>
                    <a:lnTo>
                      <a:pt x="802862" y="930688"/>
                    </a:lnTo>
                    <a:lnTo>
                      <a:pt x="790956" y="946690"/>
                    </a:lnTo>
                    <a:lnTo>
                      <a:pt x="793433" y="953262"/>
                    </a:lnTo>
                    <a:lnTo>
                      <a:pt x="811339" y="965359"/>
                    </a:lnTo>
                    <a:lnTo>
                      <a:pt x="825246" y="986504"/>
                    </a:lnTo>
                    <a:lnTo>
                      <a:pt x="832104" y="989171"/>
                    </a:lnTo>
                    <a:lnTo>
                      <a:pt x="850297" y="992124"/>
                    </a:lnTo>
                    <a:lnTo>
                      <a:pt x="859155" y="998887"/>
                    </a:lnTo>
                    <a:lnTo>
                      <a:pt x="865156" y="990219"/>
                    </a:lnTo>
                    <a:lnTo>
                      <a:pt x="869728" y="991743"/>
                    </a:lnTo>
                    <a:lnTo>
                      <a:pt x="884206" y="987838"/>
                    </a:lnTo>
                    <a:lnTo>
                      <a:pt x="893064" y="997744"/>
                    </a:lnTo>
                    <a:lnTo>
                      <a:pt x="856583" y="1016984"/>
                    </a:lnTo>
                    <a:lnTo>
                      <a:pt x="844963" y="1024604"/>
                    </a:lnTo>
                    <a:lnTo>
                      <a:pt x="827151" y="1043464"/>
                    </a:lnTo>
                    <a:lnTo>
                      <a:pt x="831533" y="1050989"/>
                    </a:lnTo>
                    <a:lnTo>
                      <a:pt x="847439" y="1049560"/>
                    </a:lnTo>
                    <a:lnTo>
                      <a:pt x="855535" y="1065752"/>
                    </a:lnTo>
                    <a:lnTo>
                      <a:pt x="838581" y="1067562"/>
                    </a:lnTo>
                    <a:lnTo>
                      <a:pt x="839629" y="1083755"/>
                    </a:lnTo>
                    <a:lnTo>
                      <a:pt x="830866" y="1098042"/>
                    </a:lnTo>
                    <a:lnTo>
                      <a:pt x="833533" y="1107758"/>
                    </a:lnTo>
                    <a:lnTo>
                      <a:pt x="825055" y="1115473"/>
                    </a:lnTo>
                    <a:lnTo>
                      <a:pt x="819150" y="1100233"/>
                    </a:lnTo>
                    <a:lnTo>
                      <a:pt x="814388" y="1104995"/>
                    </a:lnTo>
                    <a:lnTo>
                      <a:pt x="810482" y="1141571"/>
                    </a:lnTo>
                    <a:lnTo>
                      <a:pt x="806005" y="1163193"/>
                    </a:lnTo>
                    <a:lnTo>
                      <a:pt x="815150" y="1174528"/>
                    </a:lnTo>
                    <a:lnTo>
                      <a:pt x="808577" y="1188720"/>
                    </a:lnTo>
                    <a:lnTo>
                      <a:pt x="797814" y="1188720"/>
                    </a:lnTo>
                    <a:cubicBezTo>
                      <a:pt x="797814" y="1188720"/>
                      <a:pt x="788860" y="1180052"/>
                      <a:pt x="788860" y="1180052"/>
                    </a:cubicBezTo>
                    <a:lnTo>
                      <a:pt x="794956" y="1169670"/>
                    </a:lnTo>
                    <a:lnTo>
                      <a:pt x="782193" y="1164717"/>
                    </a:lnTo>
                    <a:lnTo>
                      <a:pt x="759333" y="1177290"/>
                    </a:lnTo>
                    <a:lnTo>
                      <a:pt x="773811" y="1182815"/>
                    </a:lnTo>
                    <a:lnTo>
                      <a:pt x="779907" y="1195673"/>
                    </a:lnTo>
                    <a:lnTo>
                      <a:pt x="794956" y="1199769"/>
                    </a:lnTo>
                    <a:lnTo>
                      <a:pt x="801624" y="1214723"/>
                    </a:lnTo>
                    <a:lnTo>
                      <a:pt x="789622" y="1215390"/>
                    </a:lnTo>
                    <a:lnTo>
                      <a:pt x="782098" y="1220534"/>
                    </a:lnTo>
                    <a:lnTo>
                      <a:pt x="778955" y="1252157"/>
                    </a:lnTo>
                    <a:lnTo>
                      <a:pt x="794671" y="1260062"/>
                    </a:lnTo>
                    <a:lnTo>
                      <a:pt x="791432" y="1269778"/>
                    </a:lnTo>
                    <a:lnTo>
                      <a:pt x="763238" y="1274540"/>
                    </a:lnTo>
                    <a:lnTo>
                      <a:pt x="762952" y="1285208"/>
                    </a:lnTo>
                    <a:lnTo>
                      <a:pt x="773716" y="1289018"/>
                    </a:lnTo>
                    <a:lnTo>
                      <a:pt x="779050" y="1298353"/>
                    </a:lnTo>
                    <a:lnTo>
                      <a:pt x="768953" y="1298734"/>
                    </a:lnTo>
                    <a:lnTo>
                      <a:pt x="753999" y="1301210"/>
                    </a:lnTo>
                    <a:lnTo>
                      <a:pt x="740569" y="1283113"/>
                    </a:lnTo>
                    <a:lnTo>
                      <a:pt x="734187" y="1275017"/>
                    </a:lnTo>
                    <a:lnTo>
                      <a:pt x="711803" y="1270445"/>
                    </a:lnTo>
                    <a:lnTo>
                      <a:pt x="716089" y="1264158"/>
                    </a:lnTo>
                    <a:lnTo>
                      <a:pt x="761333" y="1252157"/>
                    </a:lnTo>
                    <a:lnTo>
                      <a:pt x="770096" y="1237393"/>
                    </a:lnTo>
                    <a:lnTo>
                      <a:pt x="770668" y="1221486"/>
                    </a:lnTo>
                    <a:lnTo>
                      <a:pt x="760381" y="1210628"/>
                    </a:lnTo>
                    <a:lnTo>
                      <a:pt x="747998" y="1207103"/>
                    </a:lnTo>
                    <a:lnTo>
                      <a:pt x="705612" y="1207961"/>
                    </a:lnTo>
                    <a:lnTo>
                      <a:pt x="683133" y="1217200"/>
                    </a:lnTo>
                    <a:lnTo>
                      <a:pt x="663893" y="1213199"/>
                    </a:lnTo>
                    <a:lnTo>
                      <a:pt x="660654" y="1224534"/>
                    </a:lnTo>
                    <a:lnTo>
                      <a:pt x="645414" y="1216819"/>
                    </a:lnTo>
                    <a:lnTo>
                      <a:pt x="651415" y="1206151"/>
                    </a:lnTo>
                    <a:lnTo>
                      <a:pt x="621316" y="1203960"/>
                    </a:lnTo>
                    <a:lnTo>
                      <a:pt x="610838" y="1214533"/>
                    </a:lnTo>
                    <a:lnTo>
                      <a:pt x="597313" y="1219867"/>
                    </a:lnTo>
                    <a:lnTo>
                      <a:pt x="593693" y="1242251"/>
                    </a:lnTo>
                    <a:lnTo>
                      <a:pt x="580644" y="1246251"/>
                    </a:lnTo>
                    <a:lnTo>
                      <a:pt x="567023" y="1261967"/>
                    </a:lnTo>
                    <a:lnTo>
                      <a:pt x="553117" y="1296448"/>
                    </a:lnTo>
                    <a:lnTo>
                      <a:pt x="543116" y="1316927"/>
                    </a:lnTo>
                    <a:lnTo>
                      <a:pt x="530828" y="1364361"/>
                    </a:lnTo>
                    <a:lnTo>
                      <a:pt x="518541" y="1398270"/>
                    </a:lnTo>
                    <a:lnTo>
                      <a:pt x="501491" y="1424083"/>
                    </a:lnTo>
                    <a:lnTo>
                      <a:pt x="474821" y="1445800"/>
                    </a:lnTo>
                    <a:lnTo>
                      <a:pt x="465772" y="1460564"/>
                    </a:lnTo>
                    <a:lnTo>
                      <a:pt x="473964" y="1509141"/>
                    </a:lnTo>
                    <a:lnTo>
                      <a:pt x="480536" y="1531049"/>
                    </a:lnTo>
                    <a:lnTo>
                      <a:pt x="499300" y="1539621"/>
                    </a:lnTo>
                    <a:lnTo>
                      <a:pt x="515588" y="1532477"/>
                    </a:lnTo>
                    <a:lnTo>
                      <a:pt x="536162" y="1504664"/>
                    </a:lnTo>
                    <a:lnTo>
                      <a:pt x="546735" y="1515713"/>
                    </a:lnTo>
                    <a:lnTo>
                      <a:pt x="562070" y="1542479"/>
                    </a:lnTo>
                    <a:lnTo>
                      <a:pt x="577882" y="1562767"/>
                    </a:lnTo>
                    <a:lnTo>
                      <a:pt x="586359" y="1580388"/>
                    </a:lnTo>
                    <a:lnTo>
                      <a:pt x="601694" y="1575721"/>
                    </a:lnTo>
                    <a:lnTo>
                      <a:pt x="605218" y="1558290"/>
                    </a:lnTo>
                    <a:lnTo>
                      <a:pt x="621601" y="1555814"/>
                    </a:lnTo>
                    <a:lnTo>
                      <a:pt x="623602" y="1535430"/>
                    </a:lnTo>
                    <a:lnTo>
                      <a:pt x="618458" y="1500854"/>
                    </a:lnTo>
                    <a:lnTo>
                      <a:pt x="629507" y="1492282"/>
                    </a:lnTo>
                    <a:lnTo>
                      <a:pt x="632841" y="1466183"/>
                    </a:lnTo>
                    <a:lnTo>
                      <a:pt x="618172" y="1458659"/>
                    </a:lnTo>
                    <a:lnTo>
                      <a:pt x="605600" y="1446848"/>
                    </a:lnTo>
                    <a:lnTo>
                      <a:pt x="604456" y="1415415"/>
                    </a:lnTo>
                    <a:lnTo>
                      <a:pt x="618554" y="1390841"/>
                    </a:lnTo>
                    <a:lnTo>
                      <a:pt x="628269" y="1368362"/>
                    </a:lnTo>
                    <a:lnTo>
                      <a:pt x="621887" y="1356360"/>
                    </a:lnTo>
                    <a:lnTo>
                      <a:pt x="625316" y="1338358"/>
                    </a:lnTo>
                    <a:lnTo>
                      <a:pt x="638651" y="1325880"/>
                    </a:lnTo>
                    <a:lnTo>
                      <a:pt x="655701" y="1329595"/>
                    </a:lnTo>
                    <a:lnTo>
                      <a:pt x="660654" y="1337596"/>
                    </a:lnTo>
                    <a:lnTo>
                      <a:pt x="656368" y="1344644"/>
                    </a:lnTo>
                    <a:lnTo>
                      <a:pt x="643795" y="1376172"/>
                    </a:lnTo>
                    <a:lnTo>
                      <a:pt x="639794" y="1392555"/>
                    </a:lnTo>
                    <a:lnTo>
                      <a:pt x="639413" y="1406271"/>
                    </a:lnTo>
                    <a:lnTo>
                      <a:pt x="651605" y="1422368"/>
                    </a:lnTo>
                    <a:lnTo>
                      <a:pt x="656844" y="1442942"/>
                    </a:lnTo>
                    <a:lnTo>
                      <a:pt x="670179" y="1445133"/>
                    </a:lnTo>
                    <a:lnTo>
                      <a:pt x="681133" y="1453039"/>
                    </a:lnTo>
                    <a:lnTo>
                      <a:pt x="697516" y="1441037"/>
                    </a:lnTo>
                    <a:lnTo>
                      <a:pt x="713422" y="1424940"/>
                    </a:lnTo>
                    <a:lnTo>
                      <a:pt x="732092" y="1413510"/>
                    </a:lnTo>
                    <a:lnTo>
                      <a:pt x="747998" y="1416272"/>
                    </a:lnTo>
                    <a:lnTo>
                      <a:pt x="741331" y="1433132"/>
                    </a:lnTo>
                    <a:lnTo>
                      <a:pt x="730282" y="1439609"/>
                    </a:lnTo>
                    <a:lnTo>
                      <a:pt x="716756" y="1442466"/>
                    </a:lnTo>
                    <a:lnTo>
                      <a:pt x="703993" y="1451896"/>
                    </a:lnTo>
                    <a:lnTo>
                      <a:pt x="691991" y="1463612"/>
                    </a:lnTo>
                    <a:lnTo>
                      <a:pt x="697706" y="1474184"/>
                    </a:lnTo>
                    <a:lnTo>
                      <a:pt x="708088" y="1477709"/>
                    </a:lnTo>
                    <a:lnTo>
                      <a:pt x="711327" y="1473422"/>
                    </a:lnTo>
                    <a:lnTo>
                      <a:pt x="715042" y="1485138"/>
                    </a:lnTo>
                    <a:lnTo>
                      <a:pt x="719233" y="1500569"/>
                    </a:lnTo>
                    <a:lnTo>
                      <a:pt x="709613" y="1505236"/>
                    </a:lnTo>
                    <a:lnTo>
                      <a:pt x="693992" y="1495139"/>
                    </a:lnTo>
                    <a:lnTo>
                      <a:pt x="685229" y="1506284"/>
                    </a:lnTo>
                    <a:lnTo>
                      <a:pt x="683895" y="1520666"/>
                    </a:lnTo>
                    <a:lnTo>
                      <a:pt x="688943" y="1535049"/>
                    </a:lnTo>
                    <a:lnTo>
                      <a:pt x="697801" y="1549718"/>
                    </a:lnTo>
                    <a:lnTo>
                      <a:pt x="681990" y="1562576"/>
                    </a:lnTo>
                    <a:lnTo>
                      <a:pt x="681990" y="1571911"/>
                    </a:lnTo>
                    <a:cubicBezTo>
                      <a:pt x="681990" y="1571911"/>
                      <a:pt x="668941" y="1576197"/>
                      <a:pt x="668941" y="1576197"/>
                    </a:cubicBezTo>
                    <a:lnTo>
                      <a:pt x="666369" y="1571911"/>
                    </a:lnTo>
                    <a:lnTo>
                      <a:pt x="651986" y="1573054"/>
                    </a:lnTo>
                    <a:lnTo>
                      <a:pt x="636937" y="1584674"/>
                    </a:lnTo>
                    <a:lnTo>
                      <a:pt x="617982" y="1599438"/>
                    </a:lnTo>
                    <a:lnTo>
                      <a:pt x="609886" y="1607534"/>
                    </a:lnTo>
                    <a:lnTo>
                      <a:pt x="601789" y="1603058"/>
                    </a:lnTo>
                    <a:lnTo>
                      <a:pt x="584359" y="1599057"/>
                    </a:lnTo>
                    <a:lnTo>
                      <a:pt x="577691" y="1606010"/>
                    </a:lnTo>
                    <a:lnTo>
                      <a:pt x="564166" y="1612487"/>
                    </a:lnTo>
                    <a:lnTo>
                      <a:pt x="563023" y="1605534"/>
                    </a:lnTo>
                    <a:lnTo>
                      <a:pt x="548068" y="1603534"/>
                    </a:lnTo>
                    <a:lnTo>
                      <a:pt x="546545" y="1596009"/>
                    </a:lnTo>
                    <a:lnTo>
                      <a:pt x="541115" y="1587056"/>
                    </a:lnTo>
                    <a:lnTo>
                      <a:pt x="548259" y="1571054"/>
                    </a:lnTo>
                    <a:lnTo>
                      <a:pt x="552641" y="1572482"/>
                    </a:lnTo>
                    <a:lnTo>
                      <a:pt x="554450" y="1564386"/>
                    </a:lnTo>
                    <a:lnTo>
                      <a:pt x="546735" y="1562672"/>
                    </a:lnTo>
                    <a:lnTo>
                      <a:pt x="544163" y="1557338"/>
                    </a:lnTo>
                    <a:lnTo>
                      <a:pt x="546830" y="1550099"/>
                    </a:lnTo>
                    <a:lnTo>
                      <a:pt x="545306" y="1539621"/>
                    </a:lnTo>
                    <a:lnTo>
                      <a:pt x="535972" y="1547146"/>
                    </a:lnTo>
                    <a:lnTo>
                      <a:pt x="532352" y="1553528"/>
                    </a:lnTo>
                    <a:lnTo>
                      <a:pt x="521017" y="1556576"/>
                    </a:lnTo>
                    <a:lnTo>
                      <a:pt x="518160" y="1563148"/>
                    </a:lnTo>
                    <a:lnTo>
                      <a:pt x="516731" y="1568863"/>
                    </a:lnTo>
                    <a:lnTo>
                      <a:pt x="520065" y="1589246"/>
                    </a:lnTo>
                    <a:lnTo>
                      <a:pt x="527209" y="1599438"/>
                    </a:lnTo>
                    <a:lnTo>
                      <a:pt x="529495" y="1610487"/>
                    </a:lnTo>
                    <a:lnTo>
                      <a:pt x="533876" y="1617345"/>
                    </a:lnTo>
                    <a:lnTo>
                      <a:pt x="525589" y="1628394"/>
                    </a:lnTo>
                    <a:lnTo>
                      <a:pt x="522351" y="1624489"/>
                    </a:lnTo>
                    <a:lnTo>
                      <a:pt x="510540" y="1627156"/>
                    </a:lnTo>
                    <a:lnTo>
                      <a:pt x="508254" y="1631633"/>
                    </a:lnTo>
                    <a:lnTo>
                      <a:pt x="496252" y="1632395"/>
                    </a:lnTo>
                    <a:lnTo>
                      <a:pt x="477202" y="1642396"/>
                    </a:lnTo>
                    <a:lnTo>
                      <a:pt x="466344" y="1671638"/>
                    </a:lnTo>
                    <a:lnTo>
                      <a:pt x="458914" y="1677353"/>
                    </a:lnTo>
                    <a:lnTo>
                      <a:pt x="458914" y="1677353"/>
                    </a:lnTo>
                    <a:lnTo>
                      <a:pt x="446913" y="1681734"/>
                    </a:lnTo>
                    <a:lnTo>
                      <a:pt x="433673" y="1686020"/>
                    </a:lnTo>
                    <a:lnTo>
                      <a:pt x="429387" y="1701546"/>
                    </a:lnTo>
                    <a:lnTo>
                      <a:pt x="392716" y="1716119"/>
                    </a:lnTo>
                    <a:lnTo>
                      <a:pt x="378047" y="1707737"/>
                    </a:lnTo>
                    <a:lnTo>
                      <a:pt x="382429" y="1728788"/>
                    </a:lnTo>
                    <a:lnTo>
                      <a:pt x="355663" y="1722882"/>
                    </a:lnTo>
                    <a:lnTo>
                      <a:pt x="334613" y="1725454"/>
                    </a:lnTo>
                    <a:lnTo>
                      <a:pt x="335185" y="1738789"/>
                    </a:lnTo>
                    <a:lnTo>
                      <a:pt x="359759" y="1747361"/>
                    </a:lnTo>
                    <a:lnTo>
                      <a:pt x="371570" y="1756982"/>
                    </a:lnTo>
                    <a:lnTo>
                      <a:pt x="388334" y="1776032"/>
                    </a:lnTo>
                    <a:lnTo>
                      <a:pt x="384334" y="1810322"/>
                    </a:lnTo>
                    <a:lnTo>
                      <a:pt x="374904" y="1820132"/>
                    </a:lnTo>
                    <a:lnTo>
                      <a:pt x="346329" y="1818227"/>
                    </a:lnTo>
                    <a:lnTo>
                      <a:pt x="331660" y="1818227"/>
                    </a:lnTo>
                    <a:cubicBezTo>
                      <a:pt x="331660" y="1818227"/>
                      <a:pt x="313182" y="1813655"/>
                      <a:pt x="313182" y="1813655"/>
                    </a:cubicBezTo>
                    <a:lnTo>
                      <a:pt x="289560" y="1811274"/>
                    </a:lnTo>
                    <a:lnTo>
                      <a:pt x="268510" y="1805464"/>
                    </a:lnTo>
                    <a:lnTo>
                      <a:pt x="241935" y="1813655"/>
                    </a:lnTo>
                    <a:lnTo>
                      <a:pt x="248031" y="1821942"/>
                    </a:lnTo>
                    <a:lnTo>
                      <a:pt x="245269" y="1833372"/>
                    </a:lnTo>
                    <a:lnTo>
                      <a:pt x="245269" y="1838897"/>
                    </a:lnTo>
                    <a:cubicBezTo>
                      <a:pt x="245269" y="1838897"/>
                      <a:pt x="247936" y="1845183"/>
                      <a:pt x="247936" y="1845183"/>
                    </a:cubicBezTo>
                    <a:lnTo>
                      <a:pt x="247269" y="1851946"/>
                    </a:lnTo>
                    <a:lnTo>
                      <a:pt x="242030" y="1860709"/>
                    </a:lnTo>
                    <a:lnTo>
                      <a:pt x="239744" y="1866709"/>
                    </a:lnTo>
                    <a:lnTo>
                      <a:pt x="231458" y="1871091"/>
                    </a:lnTo>
                    <a:lnTo>
                      <a:pt x="228314" y="1880711"/>
                    </a:lnTo>
                    <a:lnTo>
                      <a:pt x="231838" y="1887093"/>
                    </a:lnTo>
                    <a:lnTo>
                      <a:pt x="240030" y="1889855"/>
                    </a:lnTo>
                    <a:lnTo>
                      <a:pt x="240411" y="1899285"/>
                    </a:lnTo>
                    <a:lnTo>
                      <a:pt x="235744" y="1910239"/>
                    </a:lnTo>
                    <a:lnTo>
                      <a:pt x="245935" y="1910239"/>
                    </a:lnTo>
                    <a:cubicBezTo>
                      <a:pt x="245935" y="1910239"/>
                      <a:pt x="255842" y="1913668"/>
                      <a:pt x="255842" y="1913668"/>
                    </a:cubicBezTo>
                    <a:lnTo>
                      <a:pt x="264128" y="1910906"/>
                    </a:lnTo>
                    <a:lnTo>
                      <a:pt x="281845" y="1915382"/>
                    </a:lnTo>
                    <a:lnTo>
                      <a:pt x="286417" y="1924336"/>
                    </a:lnTo>
                    <a:lnTo>
                      <a:pt x="293180" y="1929956"/>
                    </a:lnTo>
                    <a:lnTo>
                      <a:pt x="302705" y="1932051"/>
                    </a:lnTo>
                    <a:lnTo>
                      <a:pt x="310705" y="1927289"/>
                    </a:lnTo>
                    <a:lnTo>
                      <a:pt x="323374" y="1923193"/>
                    </a:lnTo>
                    <a:lnTo>
                      <a:pt x="341947" y="1924717"/>
                    </a:lnTo>
                    <a:lnTo>
                      <a:pt x="366713" y="1925669"/>
                    </a:lnTo>
                    <a:lnTo>
                      <a:pt x="380809" y="1914811"/>
                    </a:lnTo>
                    <a:lnTo>
                      <a:pt x="395478" y="1912144"/>
                    </a:lnTo>
                    <a:lnTo>
                      <a:pt x="399764" y="1902428"/>
                    </a:lnTo>
                    <a:lnTo>
                      <a:pt x="410813" y="1895666"/>
                    </a:lnTo>
                    <a:lnTo>
                      <a:pt x="403479" y="1886903"/>
                    </a:lnTo>
                    <a:lnTo>
                      <a:pt x="410718" y="1874234"/>
                    </a:lnTo>
                    <a:lnTo>
                      <a:pt x="422053" y="1865376"/>
                    </a:lnTo>
                    <a:lnTo>
                      <a:pt x="423672" y="1860042"/>
                    </a:lnTo>
                    <a:lnTo>
                      <a:pt x="447104" y="1856041"/>
                    </a:lnTo>
                    <a:lnTo>
                      <a:pt x="463867" y="1844516"/>
                    </a:lnTo>
                    <a:lnTo>
                      <a:pt x="462439" y="1835087"/>
                    </a:lnTo>
                    <a:lnTo>
                      <a:pt x="463963" y="1824990"/>
                    </a:lnTo>
                    <a:lnTo>
                      <a:pt x="489395" y="1817846"/>
                    </a:lnTo>
                    <a:lnTo>
                      <a:pt x="524637" y="1818989"/>
                    </a:lnTo>
                    <a:lnTo>
                      <a:pt x="539401" y="1807655"/>
                    </a:lnTo>
                    <a:lnTo>
                      <a:pt x="546449" y="1805464"/>
                    </a:lnTo>
                    <a:lnTo>
                      <a:pt x="555403" y="1796225"/>
                    </a:lnTo>
                    <a:lnTo>
                      <a:pt x="563023" y="1792700"/>
                    </a:lnTo>
                    <a:lnTo>
                      <a:pt x="577977" y="1795939"/>
                    </a:lnTo>
                    <a:lnTo>
                      <a:pt x="586930" y="1796320"/>
                    </a:lnTo>
                    <a:lnTo>
                      <a:pt x="595313" y="1811655"/>
                    </a:lnTo>
                    <a:lnTo>
                      <a:pt x="609029" y="1818704"/>
                    </a:lnTo>
                    <a:lnTo>
                      <a:pt x="627412" y="1825752"/>
                    </a:lnTo>
                    <a:lnTo>
                      <a:pt x="642938" y="1829753"/>
                    </a:lnTo>
                    <a:lnTo>
                      <a:pt x="656368" y="1827657"/>
                    </a:lnTo>
                    <a:lnTo>
                      <a:pt x="665607" y="1832039"/>
                    </a:lnTo>
                    <a:lnTo>
                      <a:pt x="677799" y="1831848"/>
                    </a:lnTo>
                    <a:lnTo>
                      <a:pt x="684847" y="1836992"/>
                    </a:lnTo>
                    <a:lnTo>
                      <a:pt x="692849" y="1836992"/>
                    </a:lnTo>
                    <a:cubicBezTo>
                      <a:pt x="692849" y="1836992"/>
                      <a:pt x="700468" y="1842897"/>
                      <a:pt x="700468" y="1842897"/>
                    </a:cubicBezTo>
                    <a:lnTo>
                      <a:pt x="709993" y="1849469"/>
                    </a:lnTo>
                    <a:lnTo>
                      <a:pt x="706946" y="1853756"/>
                    </a:lnTo>
                    <a:lnTo>
                      <a:pt x="705422" y="1862614"/>
                    </a:lnTo>
                    <a:lnTo>
                      <a:pt x="706564" y="1867091"/>
                    </a:lnTo>
                    <a:lnTo>
                      <a:pt x="713994" y="1863757"/>
                    </a:lnTo>
                    <a:lnTo>
                      <a:pt x="720090" y="1848422"/>
                    </a:lnTo>
                    <a:lnTo>
                      <a:pt x="727424" y="1845278"/>
                    </a:lnTo>
                    <a:lnTo>
                      <a:pt x="727234" y="1836896"/>
                    </a:lnTo>
                    <a:lnTo>
                      <a:pt x="712565" y="1835277"/>
                    </a:lnTo>
                    <a:lnTo>
                      <a:pt x="717137" y="1823276"/>
                    </a:lnTo>
                    <a:lnTo>
                      <a:pt x="733330" y="1820990"/>
                    </a:lnTo>
                    <a:lnTo>
                      <a:pt x="745426" y="1824704"/>
                    </a:lnTo>
                    <a:lnTo>
                      <a:pt x="746951" y="1818323"/>
                    </a:lnTo>
                    <a:lnTo>
                      <a:pt x="744188" y="1816132"/>
                    </a:lnTo>
                    <a:lnTo>
                      <a:pt x="726567" y="1813179"/>
                    </a:lnTo>
                    <a:lnTo>
                      <a:pt x="712280" y="1812512"/>
                    </a:lnTo>
                    <a:lnTo>
                      <a:pt x="694944" y="1811560"/>
                    </a:lnTo>
                    <a:lnTo>
                      <a:pt x="698945" y="1807083"/>
                    </a:lnTo>
                    <a:lnTo>
                      <a:pt x="693706" y="1804892"/>
                    </a:lnTo>
                    <a:lnTo>
                      <a:pt x="680085" y="1808798"/>
                    </a:lnTo>
                    <a:lnTo>
                      <a:pt x="657320" y="1801082"/>
                    </a:lnTo>
                    <a:lnTo>
                      <a:pt x="645319" y="1789843"/>
                    </a:lnTo>
                    <a:lnTo>
                      <a:pt x="627317" y="1785271"/>
                    </a:lnTo>
                    <a:lnTo>
                      <a:pt x="619887" y="1778032"/>
                    </a:lnTo>
                    <a:lnTo>
                      <a:pt x="620935" y="1772793"/>
                    </a:lnTo>
                    <a:lnTo>
                      <a:pt x="618172" y="1764602"/>
                    </a:lnTo>
                    <a:lnTo>
                      <a:pt x="630364" y="1755553"/>
                    </a:lnTo>
                    <a:lnTo>
                      <a:pt x="644176" y="1754886"/>
                    </a:lnTo>
                    <a:lnTo>
                      <a:pt x="640842" y="1757363"/>
                    </a:lnTo>
                    <a:lnTo>
                      <a:pt x="640271" y="1757744"/>
                    </a:lnTo>
                    <a:lnTo>
                      <a:pt x="641318" y="1763649"/>
                    </a:lnTo>
                    <a:lnTo>
                      <a:pt x="647605" y="1768031"/>
                    </a:lnTo>
                    <a:lnTo>
                      <a:pt x="650938" y="1759553"/>
                    </a:lnTo>
                    <a:lnTo>
                      <a:pt x="662273" y="1759363"/>
                    </a:lnTo>
                    <a:lnTo>
                      <a:pt x="664083" y="1764887"/>
                    </a:lnTo>
                    <a:lnTo>
                      <a:pt x="673608" y="1769745"/>
                    </a:lnTo>
                    <a:lnTo>
                      <a:pt x="670560" y="1771936"/>
                    </a:lnTo>
                    <a:lnTo>
                      <a:pt x="688086" y="1779937"/>
                    </a:lnTo>
                    <a:lnTo>
                      <a:pt x="705041" y="1780127"/>
                    </a:lnTo>
                    <a:lnTo>
                      <a:pt x="716661" y="1782794"/>
                    </a:lnTo>
                    <a:lnTo>
                      <a:pt x="734568" y="1783366"/>
                    </a:lnTo>
                    <a:lnTo>
                      <a:pt x="742950" y="1783937"/>
                    </a:lnTo>
                    <a:lnTo>
                      <a:pt x="749522" y="1787366"/>
                    </a:lnTo>
                    <a:lnTo>
                      <a:pt x="753523" y="1787366"/>
                    </a:lnTo>
                    <a:cubicBezTo>
                      <a:pt x="753523" y="1787366"/>
                      <a:pt x="757238" y="1788700"/>
                      <a:pt x="757238" y="1788700"/>
                    </a:cubicBezTo>
                    <a:lnTo>
                      <a:pt x="756571" y="1794224"/>
                    </a:lnTo>
                    <a:lnTo>
                      <a:pt x="758762" y="1805083"/>
                    </a:lnTo>
                    <a:lnTo>
                      <a:pt x="762762" y="1811655"/>
                    </a:lnTo>
                    <a:lnTo>
                      <a:pt x="774287" y="1813179"/>
                    </a:lnTo>
                    <a:lnTo>
                      <a:pt x="775811" y="1816322"/>
                    </a:lnTo>
                    <a:lnTo>
                      <a:pt x="779145" y="1816322"/>
                    </a:lnTo>
                    <a:cubicBezTo>
                      <a:pt x="779145" y="1816322"/>
                      <a:pt x="781907" y="1819942"/>
                      <a:pt x="781907" y="1819942"/>
                    </a:cubicBezTo>
                    <a:lnTo>
                      <a:pt x="794099" y="1824704"/>
                    </a:lnTo>
                    <a:lnTo>
                      <a:pt x="803529" y="1828610"/>
                    </a:lnTo>
                    <a:lnTo>
                      <a:pt x="810292" y="1836706"/>
                    </a:lnTo>
                    <a:lnTo>
                      <a:pt x="821341" y="1844993"/>
                    </a:lnTo>
                    <a:lnTo>
                      <a:pt x="838581" y="1844802"/>
                    </a:lnTo>
                    <a:lnTo>
                      <a:pt x="850487" y="1839563"/>
                    </a:lnTo>
                    <a:lnTo>
                      <a:pt x="838676" y="1830610"/>
                    </a:lnTo>
                    <a:lnTo>
                      <a:pt x="849344" y="1824323"/>
                    </a:lnTo>
                    <a:lnTo>
                      <a:pt x="841153" y="1819561"/>
                    </a:lnTo>
                    <a:lnTo>
                      <a:pt x="859060" y="1816037"/>
                    </a:lnTo>
                    <a:lnTo>
                      <a:pt x="855345" y="1808417"/>
                    </a:lnTo>
                    <a:lnTo>
                      <a:pt x="844963" y="1808226"/>
                    </a:lnTo>
                    <a:lnTo>
                      <a:pt x="832485" y="1805940"/>
                    </a:lnTo>
                    <a:lnTo>
                      <a:pt x="837724" y="1800035"/>
                    </a:lnTo>
                    <a:lnTo>
                      <a:pt x="826199" y="1797082"/>
                    </a:lnTo>
                    <a:lnTo>
                      <a:pt x="818769" y="1790033"/>
                    </a:lnTo>
                    <a:lnTo>
                      <a:pt x="820674" y="1785461"/>
                    </a:lnTo>
                    <a:lnTo>
                      <a:pt x="832866" y="1789081"/>
                    </a:lnTo>
                    <a:lnTo>
                      <a:pt x="842391" y="1784890"/>
                    </a:lnTo>
                    <a:lnTo>
                      <a:pt x="850011" y="1778699"/>
                    </a:lnTo>
                    <a:lnTo>
                      <a:pt x="834676" y="1775841"/>
                    </a:lnTo>
                    <a:lnTo>
                      <a:pt x="853345" y="1762887"/>
                    </a:lnTo>
                    <a:lnTo>
                      <a:pt x="862679" y="1760125"/>
                    </a:lnTo>
                    <a:lnTo>
                      <a:pt x="872966" y="1755648"/>
                    </a:lnTo>
                    <a:lnTo>
                      <a:pt x="874205" y="1758696"/>
                    </a:lnTo>
                    <a:lnTo>
                      <a:pt x="882682" y="1762697"/>
                    </a:lnTo>
                    <a:lnTo>
                      <a:pt x="892683" y="1748123"/>
                    </a:lnTo>
                    <a:lnTo>
                      <a:pt x="897446" y="1740122"/>
                    </a:lnTo>
                    <a:lnTo>
                      <a:pt x="916305" y="1728978"/>
                    </a:lnTo>
                    <a:lnTo>
                      <a:pt x="917353" y="1723930"/>
                    </a:lnTo>
                    <a:lnTo>
                      <a:pt x="900875" y="1726978"/>
                    </a:lnTo>
                    <a:lnTo>
                      <a:pt x="896017" y="1722501"/>
                    </a:lnTo>
                    <a:lnTo>
                      <a:pt x="886492" y="1716977"/>
                    </a:lnTo>
                    <a:lnTo>
                      <a:pt x="886682" y="1703451"/>
                    </a:lnTo>
                    <a:lnTo>
                      <a:pt x="891445" y="1692974"/>
                    </a:lnTo>
                    <a:lnTo>
                      <a:pt x="885825" y="1672590"/>
                    </a:lnTo>
                    <a:lnTo>
                      <a:pt x="891159" y="1671447"/>
                    </a:lnTo>
                    <a:lnTo>
                      <a:pt x="896588" y="1664113"/>
                    </a:lnTo>
                    <a:lnTo>
                      <a:pt x="894017" y="1660398"/>
                    </a:lnTo>
                    <a:lnTo>
                      <a:pt x="898970" y="1642682"/>
                    </a:lnTo>
                    <a:lnTo>
                      <a:pt x="899446" y="1631156"/>
                    </a:lnTo>
                    <a:lnTo>
                      <a:pt x="911543" y="1621250"/>
                    </a:lnTo>
                    <a:lnTo>
                      <a:pt x="916019" y="1626299"/>
                    </a:lnTo>
                    <a:lnTo>
                      <a:pt x="940499" y="1615916"/>
                    </a:lnTo>
                    <a:lnTo>
                      <a:pt x="946785" y="1616583"/>
                    </a:lnTo>
                    <a:lnTo>
                      <a:pt x="936308" y="1630299"/>
                    </a:lnTo>
                    <a:lnTo>
                      <a:pt x="935546" y="1634776"/>
                    </a:lnTo>
                    <a:lnTo>
                      <a:pt x="954024" y="1628775"/>
                    </a:lnTo>
                    <a:lnTo>
                      <a:pt x="955262" y="1637633"/>
                    </a:lnTo>
                    <a:lnTo>
                      <a:pt x="965263" y="1635157"/>
                    </a:lnTo>
                    <a:lnTo>
                      <a:pt x="978980" y="1613630"/>
                    </a:lnTo>
                    <a:lnTo>
                      <a:pt x="992505" y="1600200"/>
                    </a:lnTo>
                    <a:lnTo>
                      <a:pt x="991552" y="1593247"/>
                    </a:lnTo>
                    <a:lnTo>
                      <a:pt x="978027" y="1604391"/>
                    </a:lnTo>
                    <a:lnTo>
                      <a:pt x="968788" y="1605820"/>
                    </a:lnTo>
                    <a:lnTo>
                      <a:pt x="961739" y="1597438"/>
                    </a:lnTo>
                    <a:lnTo>
                      <a:pt x="969740" y="1583722"/>
                    </a:lnTo>
                    <a:lnTo>
                      <a:pt x="981837" y="1573721"/>
                    </a:lnTo>
                    <a:lnTo>
                      <a:pt x="987171" y="1562481"/>
                    </a:lnTo>
                    <a:lnTo>
                      <a:pt x="996791" y="1553242"/>
                    </a:lnTo>
                    <a:lnTo>
                      <a:pt x="1006602" y="1541717"/>
                    </a:lnTo>
                    <a:lnTo>
                      <a:pt x="1009364" y="1544479"/>
                    </a:lnTo>
                    <a:lnTo>
                      <a:pt x="994601" y="1565434"/>
                    </a:lnTo>
                    <a:lnTo>
                      <a:pt x="1006316" y="1565148"/>
                    </a:lnTo>
                    <a:lnTo>
                      <a:pt x="1004126" y="1585341"/>
                    </a:lnTo>
                    <a:lnTo>
                      <a:pt x="995839" y="1595057"/>
                    </a:lnTo>
                    <a:lnTo>
                      <a:pt x="1013841" y="1594104"/>
                    </a:lnTo>
                    <a:lnTo>
                      <a:pt x="1033463" y="1586960"/>
                    </a:lnTo>
                    <a:lnTo>
                      <a:pt x="1059847" y="1583817"/>
                    </a:lnTo>
                    <a:lnTo>
                      <a:pt x="1068134" y="1583531"/>
                    </a:lnTo>
                    <a:lnTo>
                      <a:pt x="1076897" y="1578578"/>
                    </a:lnTo>
                    <a:lnTo>
                      <a:pt x="1088708" y="1576388"/>
                    </a:lnTo>
                    <a:lnTo>
                      <a:pt x="1099471" y="1581817"/>
                    </a:lnTo>
                    <a:lnTo>
                      <a:pt x="1102043" y="1588770"/>
                    </a:lnTo>
                    <a:lnTo>
                      <a:pt x="1091184" y="1609249"/>
                    </a:lnTo>
                    <a:lnTo>
                      <a:pt x="1078135" y="1618298"/>
                    </a:lnTo>
                    <a:lnTo>
                      <a:pt x="1062990" y="1633633"/>
                    </a:lnTo>
                    <a:lnTo>
                      <a:pt x="1038320" y="1644777"/>
                    </a:lnTo>
                    <a:lnTo>
                      <a:pt x="1005935" y="1654207"/>
                    </a:lnTo>
                    <a:lnTo>
                      <a:pt x="981361" y="1671352"/>
                    </a:lnTo>
                    <a:lnTo>
                      <a:pt x="966121" y="1686687"/>
                    </a:lnTo>
                    <a:lnTo>
                      <a:pt x="952976" y="1707166"/>
                    </a:lnTo>
                    <a:lnTo>
                      <a:pt x="921639" y="1722882"/>
                    </a:lnTo>
                    <a:lnTo>
                      <a:pt x="920782" y="1737265"/>
                    </a:lnTo>
                    <a:lnTo>
                      <a:pt x="895826" y="1751267"/>
                    </a:lnTo>
                    <a:lnTo>
                      <a:pt x="884015" y="1773936"/>
                    </a:lnTo>
                    <a:lnTo>
                      <a:pt x="898017" y="1775174"/>
                    </a:lnTo>
                    <a:lnTo>
                      <a:pt x="895064" y="1789843"/>
                    </a:lnTo>
                    <a:lnTo>
                      <a:pt x="911352" y="1790986"/>
                    </a:lnTo>
                    <a:lnTo>
                      <a:pt x="928306" y="1798701"/>
                    </a:lnTo>
                    <a:lnTo>
                      <a:pt x="946976" y="1788414"/>
                    </a:lnTo>
                    <a:lnTo>
                      <a:pt x="967264" y="1785842"/>
                    </a:lnTo>
                    <a:lnTo>
                      <a:pt x="978218" y="1777556"/>
                    </a:lnTo>
                    <a:lnTo>
                      <a:pt x="979075" y="1770031"/>
                    </a:lnTo>
                    <a:lnTo>
                      <a:pt x="997363" y="1759553"/>
                    </a:lnTo>
                    <a:lnTo>
                      <a:pt x="1014889" y="1757648"/>
                    </a:lnTo>
                    <a:lnTo>
                      <a:pt x="1038987" y="1739932"/>
                    </a:lnTo>
                    <a:lnTo>
                      <a:pt x="1045369" y="1725454"/>
                    </a:lnTo>
                    <a:lnTo>
                      <a:pt x="1060704" y="1718786"/>
                    </a:lnTo>
                    <a:lnTo>
                      <a:pt x="1069658" y="1710785"/>
                    </a:lnTo>
                    <a:lnTo>
                      <a:pt x="1066895" y="1719548"/>
                    </a:lnTo>
                    <a:lnTo>
                      <a:pt x="1076611" y="1720596"/>
                    </a:lnTo>
                    <a:lnTo>
                      <a:pt x="1076135" y="1728121"/>
                    </a:lnTo>
                    <a:lnTo>
                      <a:pt x="1083945" y="1735646"/>
                    </a:lnTo>
                    <a:lnTo>
                      <a:pt x="1083945" y="1736217"/>
                    </a:lnTo>
                    <a:cubicBezTo>
                      <a:pt x="1083945" y="1736217"/>
                      <a:pt x="1081468" y="1749933"/>
                      <a:pt x="1081468" y="1749933"/>
                    </a:cubicBezTo>
                    <a:lnTo>
                      <a:pt x="1081850" y="1763078"/>
                    </a:lnTo>
                    <a:lnTo>
                      <a:pt x="1081468" y="1763554"/>
                    </a:lnTo>
                    <a:lnTo>
                      <a:pt x="1080992" y="1767935"/>
                    </a:lnTo>
                    <a:lnTo>
                      <a:pt x="1083183" y="1778413"/>
                    </a:lnTo>
                    <a:lnTo>
                      <a:pt x="1082135" y="1786509"/>
                    </a:lnTo>
                    <a:lnTo>
                      <a:pt x="1083659" y="1786319"/>
                    </a:lnTo>
                    <a:lnTo>
                      <a:pt x="1080992" y="1793177"/>
                    </a:lnTo>
                    <a:lnTo>
                      <a:pt x="1074230" y="1801559"/>
                    </a:lnTo>
                    <a:lnTo>
                      <a:pt x="1060228" y="1809941"/>
                    </a:lnTo>
                    <a:lnTo>
                      <a:pt x="1044512" y="1816418"/>
                    </a:lnTo>
                    <a:lnTo>
                      <a:pt x="1042606" y="1822514"/>
                    </a:lnTo>
                    <a:lnTo>
                      <a:pt x="1034510" y="1820228"/>
                    </a:lnTo>
                    <a:lnTo>
                      <a:pt x="1021080" y="1826514"/>
                    </a:lnTo>
                    <a:lnTo>
                      <a:pt x="1005840" y="1836706"/>
                    </a:lnTo>
                    <a:lnTo>
                      <a:pt x="1000220" y="1844135"/>
                    </a:lnTo>
                    <a:lnTo>
                      <a:pt x="988124" y="1855470"/>
                    </a:lnTo>
                    <a:lnTo>
                      <a:pt x="978694" y="1858423"/>
                    </a:lnTo>
                    <a:lnTo>
                      <a:pt x="958691" y="1864805"/>
                    </a:lnTo>
                    <a:lnTo>
                      <a:pt x="939355" y="1870900"/>
                    </a:lnTo>
                    <a:lnTo>
                      <a:pt x="914591" y="1883092"/>
                    </a:lnTo>
                    <a:lnTo>
                      <a:pt x="908209" y="1881378"/>
                    </a:lnTo>
                    <a:lnTo>
                      <a:pt x="888873" y="1888522"/>
                    </a:lnTo>
                    <a:lnTo>
                      <a:pt x="882015" y="1889189"/>
                    </a:lnTo>
                    <a:lnTo>
                      <a:pt x="874967" y="1892237"/>
                    </a:lnTo>
                    <a:lnTo>
                      <a:pt x="866204" y="1889570"/>
                    </a:lnTo>
                    <a:lnTo>
                      <a:pt x="839534" y="1897571"/>
                    </a:lnTo>
                    <a:lnTo>
                      <a:pt x="827056" y="1904333"/>
                    </a:lnTo>
                    <a:lnTo>
                      <a:pt x="815340" y="1915287"/>
                    </a:lnTo>
                    <a:lnTo>
                      <a:pt x="811435" y="1923383"/>
                    </a:lnTo>
                    <a:lnTo>
                      <a:pt x="819341" y="1930908"/>
                    </a:lnTo>
                    <a:lnTo>
                      <a:pt x="811816" y="1939671"/>
                    </a:lnTo>
                    <a:lnTo>
                      <a:pt x="803243" y="1946053"/>
                    </a:lnTo>
                    <a:lnTo>
                      <a:pt x="780097" y="1947291"/>
                    </a:lnTo>
                    <a:lnTo>
                      <a:pt x="750380" y="1951006"/>
                    </a:lnTo>
                    <a:lnTo>
                      <a:pt x="731710" y="1953863"/>
                    </a:lnTo>
                    <a:lnTo>
                      <a:pt x="719328" y="1945481"/>
                    </a:lnTo>
                    <a:lnTo>
                      <a:pt x="691420" y="1946720"/>
                    </a:lnTo>
                    <a:lnTo>
                      <a:pt x="674275" y="1948529"/>
                    </a:lnTo>
                    <a:lnTo>
                      <a:pt x="666179" y="1951577"/>
                    </a:lnTo>
                    <a:lnTo>
                      <a:pt x="641699" y="1952149"/>
                    </a:lnTo>
                    <a:lnTo>
                      <a:pt x="633698" y="1951577"/>
                    </a:lnTo>
                    <a:lnTo>
                      <a:pt x="627412" y="1946243"/>
                    </a:lnTo>
                    <a:lnTo>
                      <a:pt x="617125" y="1947958"/>
                    </a:lnTo>
                    <a:lnTo>
                      <a:pt x="611981" y="1941290"/>
                    </a:lnTo>
                    <a:lnTo>
                      <a:pt x="623697" y="1932051"/>
                    </a:lnTo>
                    <a:lnTo>
                      <a:pt x="623983" y="1919573"/>
                    </a:lnTo>
                    <a:lnTo>
                      <a:pt x="616649" y="1917383"/>
                    </a:lnTo>
                    <a:lnTo>
                      <a:pt x="615505" y="1910810"/>
                    </a:lnTo>
                    <a:lnTo>
                      <a:pt x="623792" y="1901952"/>
                    </a:lnTo>
                    <a:lnTo>
                      <a:pt x="621887" y="1899475"/>
                    </a:lnTo>
                    <a:lnTo>
                      <a:pt x="606647" y="1907858"/>
                    </a:lnTo>
                    <a:lnTo>
                      <a:pt x="605885" y="1900428"/>
                    </a:lnTo>
                    <a:lnTo>
                      <a:pt x="592169" y="1901000"/>
                    </a:lnTo>
                    <a:lnTo>
                      <a:pt x="572167" y="1910144"/>
                    </a:lnTo>
                    <a:lnTo>
                      <a:pt x="559118" y="1912906"/>
                    </a:lnTo>
                    <a:lnTo>
                      <a:pt x="550831" y="1910525"/>
                    </a:lnTo>
                    <a:lnTo>
                      <a:pt x="530257" y="1913096"/>
                    </a:lnTo>
                    <a:lnTo>
                      <a:pt x="512540" y="1920716"/>
                    </a:lnTo>
                    <a:lnTo>
                      <a:pt x="502539" y="1919383"/>
                    </a:lnTo>
                    <a:lnTo>
                      <a:pt x="470440" y="1922812"/>
                    </a:lnTo>
                    <a:lnTo>
                      <a:pt x="437483" y="1926717"/>
                    </a:lnTo>
                    <a:lnTo>
                      <a:pt x="418719" y="1931480"/>
                    </a:lnTo>
                    <a:lnTo>
                      <a:pt x="406337" y="1937480"/>
                    </a:lnTo>
                    <a:lnTo>
                      <a:pt x="384905" y="1939671"/>
                    </a:lnTo>
                    <a:lnTo>
                      <a:pt x="365570" y="1946815"/>
                    </a:lnTo>
                    <a:lnTo>
                      <a:pt x="356902" y="1946339"/>
                    </a:lnTo>
                    <a:lnTo>
                      <a:pt x="336518" y="1942148"/>
                    </a:lnTo>
                    <a:lnTo>
                      <a:pt x="317563" y="1941766"/>
                    </a:lnTo>
                    <a:lnTo>
                      <a:pt x="306134" y="1934718"/>
                    </a:lnTo>
                    <a:lnTo>
                      <a:pt x="291655" y="1933194"/>
                    </a:lnTo>
                    <a:lnTo>
                      <a:pt x="284512" y="1941195"/>
                    </a:lnTo>
                    <a:lnTo>
                      <a:pt x="269558" y="1953958"/>
                    </a:lnTo>
                    <a:lnTo>
                      <a:pt x="253937" y="1957673"/>
                    </a:lnTo>
                    <a:lnTo>
                      <a:pt x="232886" y="1960816"/>
                    </a:lnTo>
                    <a:lnTo>
                      <a:pt x="218503" y="1967579"/>
                    </a:lnTo>
                    <a:lnTo>
                      <a:pt x="214694" y="1973866"/>
                    </a:lnTo>
                    <a:lnTo>
                      <a:pt x="205073" y="1983391"/>
                    </a:lnTo>
                    <a:lnTo>
                      <a:pt x="207645" y="1999488"/>
                    </a:lnTo>
                    <a:lnTo>
                      <a:pt x="188500" y="2006251"/>
                    </a:lnTo>
                    <a:lnTo>
                      <a:pt x="177451" y="2007394"/>
                    </a:lnTo>
                    <a:lnTo>
                      <a:pt x="159353" y="2011871"/>
                    </a:lnTo>
                    <a:lnTo>
                      <a:pt x="139541" y="2008918"/>
                    </a:lnTo>
                    <a:lnTo>
                      <a:pt x="128016" y="2010728"/>
                    </a:lnTo>
                    <a:lnTo>
                      <a:pt x="127635" y="2010728"/>
                    </a:lnTo>
                    <a:cubicBezTo>
                      <a:pt x="127635" y="2010728"/>
                      <a:pt x="111633" y="2018633"/>
                      <a:pt x="111633" y="2018633"/>
                    </a:cubicBezTo>
                    <a:lnTo>
                      <a:pt x="96583" y="2018919"/>
                    </a:lnTo>
                    <a:lnTo>
                      <a:pt x="87249" y="2023300"/>
                    </a:lnTo>
                    <a:lnTo>
                      <a:pt x="85344" y="2028539"/>
                    </a:lnTo>
                    <a:lnTo>
                      <a:pt x="78105" y="2032825"/>
                    </a:lnTo>
                    <a:lnTo>
                      <a:pt x="70485" y="2032445"/>
                    </a:lnTo>
                    <a:lnTo>
                      <a:pt x="56864" y="2035207"/>
                    </a:lnTo>
                    <a:lnTo>
                      <a:pt x="47625" y="2039588"/>
                    </a:lnTo>
                    <a:lnTo>
                      <a:pt x="48101" y="2043113"/>
                    </a:lnTo>
                    <a:lnTo>
                      <a:pt x="39624" y="2045684"/>
                    </a:lnTo>
                    <a:lnTo>
                      <a:pt x="30575" y="2045684"/>
                    </a:lnTo>
                    <a:cubicBezTo>
                      <a:pt x="30575" y="2045684"/>
                      <a:pt x="28384" y="2049208"/>
                      <a:pt x="28384" y="2049208"/>
                    </a:cubicBezTo>
                    <a:lnTo>
                      <a:pt x="26384" y="2052447"/>
                    </a:lnTo>
                    <a:lnTo>
                      <a:pt x="36767" y="2059496"/>
                    </a:lnTo>
                    <a:lnTo>
                      <a:pt x="41338" y="2065020"/>
                    </a:lnTo>
                    <a:lnTo>
                      <a:pt x="38005" y="2068354"/>
                    </a:lnTo>
                    <a:lnTo>
                      <a:pt x="39529" y="2073021"/>
                    </a:lnTo>
                    <a:lnTo>
                      <a:pt x="39815" y="2081117"/>
                    </a:lnTo>
                    <a:lnTo>
                      <a:pt x="35147" y="2087023"/>
                    </a:lnTo>
                    <a:lnTo>
                      <a:pt x="27908" y="2088547"/>
                    </a:lnTo>
                    <a:lnTo>
                      <a:pt x="28765" y="2092642"/>
                    </a:lnTo>
                    <a:lnTo>
                      <a:pt x="22479" y="2094357"/>
                    </a:lnTo>
                    <a:lnTo>
                      <a:pt x="10287" y="2095309"/>
                    </a:lnTo>
                    <a:lnTo>
                      <a:pt x="0" y="2093309"/>
                    </a:lnTo>
                    <a:lnTo>
                      <a:pt x="10573" y="2098929"/>
                    </a:lnTo>
                    <a:lnTo>
                      <a:pt x="18574" y="2106168"/>
                    </a:lnTo>
                    <a:lnTo>
                      <a:pt x="14954" y="2107692"/>
                    </a:lnTo>
                    <a:lnTo>
                      <a:pt x="17526" y="2112740"/>
                    </a:lnTo>
                    <a:lnTo>
                      <a:pt x="18669" y="2114264"/>
                    </a:lnTo>
                    <a:lnTo>
                      <a:pt x="25336" y="2117313"/>
                    </a:lnTo>
                    <a:lnTo>
                      <a:pt x="24955" y="2117979"/>
                    </a:lnTo>
                    <a:lnTo>
                      <a:pt x="29813" y="2120837"/>
                    </a:lnTo>
                    <a:lnTo>
                      <a:pt x="39433" y="2123885"/>
                    </a:lnTo>
                    <a:lnTo>
                      <a:pt x="51244" y="2129219"/>
                    </a:lnTo>
                    <a:lnTo>
                      <a:pt x="57817" y="2131790"/>
                    </a:lnTo>
                    <a:lnTo>
                      <a:pt x="60960" y="2133695"/>
                    </a:lnTo>
                    <a:lnTo>
                      <a:pt x="63055" y="2136267"/>
                    </a:lnTo>
                    <a:lnTo>
                      <a:pt x="68675" y="2138553"/>
                    </a:lnTo>
                    <a:lnTo>
                      <a:pt x="74486" y="2140553"/>
                    </a:lnTo>
                    <a:lnTo>
                      <a:pt x="83153" y="2144363"/>
                    </a:lnTo>
                    <a:lnTo>
                      <a:pt x="92869" y="2149031"/>
                    </a:lnTo>
                    <a:lnTo>
                      <a:pt x="95155" y="2152269"/>
                    </a:lnTo>
                    <a:lnTo>
                      <a:pt x="98965" y="2154460"/>
                    </a:lnTo>
                    <a:lnTo>
                      <a:pt x="110871" y="2158937"/>
                    </a:lnTo>
                    <a:lnTo>
                      <a:pt x="127635" y="2163794"/>
                    </a:lnTo>
                    <a:lnTo>
                      <a:pt x="134017" y="2165318"/>
                    </a:lnTo>
                    <a:lnTo>
                      <a:pt x="149638" y="2170176"/>
                    </a:lnTo>
                    <a:lnTo>
                      <a:pt x="169736" y="2175224"/>
                    </a:lnTo>
                    <a:lnTo>
                      <a:pt x="191167" y="2180558"/>
                    </a:lnTo>
                    <a:lnTo>
                      <a:pt x="215741" y="2185130"/>
                    </a:lnTo>
                    <a:lnTo>
                      <a:pt x="222028" y="2185988"/>
                    </a:lnTo>
                    <a:lnTo>
                      <a:pt x="226695" y="2186655"/>
                    </a:lnTo>
                    <a:lnTo>
                      <a:pt x="250698" y="2188940"/>
                    </a:lnTo>
                    <a:lnTo>
                      <a:pt x="267557" y="2190179"/>
                    </a:lnTo>
                    <a:lnTo>
                      <a:pt x="296227" y="2192465"/>
                    </a:lnTo>
                    <a:lnTo>
                      <a:pt x="311753" y="2193608"/>
                    </a:lnTo>
                    <a:lnTo>
                      <a:pt x="328613" y="2195132"/>
                    </a:lnTo>
                    <a:lnTo>
                      <a:pt x="339662" y="2195703"/>
                    </a:lnTo>
                    <a:lnTo>
                      <a:pt x="361283" y="2197227"/>
                    </a:lnTo>
                    <a:lnTo>
                      <a:pt x="383191" y="2197227"/>
                    </a:lnTo>
                    <a:cubicBezTo>
                      <a:pt x="383191" y="2197227"/>
                      <a:pt x="396716" y="2196656"/>
                      <a:pt x="396716" y="2196656"/>
                    </a:cubicBezTo>
                    <a:lnTo>
                      <a:pt x="434721" y="2195036"/>
                    </a:lnTo>
                    <a:lnTo>
                      <a:pt x="454247" y="2193989"/>
                    </a:lnTo>
                    <a:lnTo>
                      <a:pt x="474250" y="2192846"/>
                    </a:lnTo>
                    <a:lnTo>
                      <a:pt x="495586" y="2191703"/>
                    </a:lnTo>
                    <a:lnTo>
                      <a:pt x="513779" y="2190464"/>
                    </a:lnTo>
                    <a:lnTo>
                      <a:pt x="531019" y="2190750"/>
                    </a:lnTo>
                    <a:lnTo>
                      <a:pt x="539115" y="2191607"/>
                    </a:lnTo>
                    <a:lnTo>
                      <a:pt x="552164" y="2191607"/>
                    </a:lnTo>
                    <a:cubicBezTo>
                      <a:pt x="552164" y="2191607"/>
                      <a:pt x="571500" y="2189417"/>
                      <a:pt x="571500" y="2189417"/>
                    </a:cubicBezTo>
                    <a:lnTo>
                      <a:pt x="580739" y="2187893"/>
                    </a:lnTo>
                    <a:lnTo>
                      <a:pt x="589883" y="2186845"/>
                    </a:lnTo>
                    <a:lnTo>
                      <a:pt x="614743" y="2182654"/>
                    </a:lnTo>
                    <a:lnTo>
                      <a:pt x="614553" y="2183225"/>
                    </a:lnTo>
                    <a:lnTo>
                      <a:pt x="620744" y="2182559"/>
                    </a:lnTo>
                    <a:lnTo>
                      <a:pt x="625697" y="2182559"/>
                    </a:lnTo>
                    <a:cubicBezTo>
                      <a:pt x="625697" y="2182559"/>
                      <a:pt x="636746" y="2181035"/>
                      <a:pt x="636746" y="2181035"/>
                    </a:cubicBezTo>
                    <a:lnTo>
                      <a:pt x="646271" y="2180368"/>
                    </a:lnTo>
                    <a:lnTo>
                      <a:pt x="642938" y="2181892"/>
                    </a:lnTo>
                    <a:lnTo>
                      <a:pt x="634841" y="2184083"/>
                    </a:lnTo>
                    <a:lnTo>
                      <a:pt x="639318" y="2183416"/>
                    </a:lnTo>
                    <a:lnTo>
                      <a:pt x="634460" y="2184464"/>
                    </a:lnTo>
                    <a:lnTo>
                      <a:pt x="634175" y="2184464"/>
                    </a:lnTo>
                    <a:cubicBezTo>
                      <a:pt x="634175" y="2184464"/>
                      <a:pt x="637222" y="2183988"/>
                      <a:pt x="637222" y="2183988"/>
                    </a:cubicBezTo>
                    <a:lnTo>
                      <a:pt x="653129" y="2181225"/>
                    </a:lnTo>
                    <a:lnTo>
                      <a:pt x="677704" y="2176653"/>
                    </a:lnTo>
                    <a:lnTo>
                      <a:pt x="694944" y="2173129"/>
                    </a:lnTo>
                    <a:lnTo>
                      <a:pt x="694754" y="2173129"/>
                    </a:lnTo>
                    <a:cubicBezTo>
                      <a:pt x="694754" y="2173129"/>
                      <a:pt x="694468" y="2173224"/>
                      <a:pt x="694468" y="2173224"/>
                    </a:cubicBezTo>
                    <a:lnTo>
                      <a:pt x="686848" y="2174843"/>
                    </a:lnTo>
                    <a:lnTo>
                      <a:pt x="694468" y="2173224"/>
                    </a:lnTo>
                    <a:lnTo>
                      <a:pt x="693515" y="2173415"/>
                    </a:lnTo>
                    <a:lnTo>
                      <a:pt x="690753" y="2173986"/>
                    </a:lnTo>
                    <a:lnTo>
                      <a:pt x="693039" y="2173510"/>
                    </a:lnTo>
                    <a:lnTo>
                      <a:pt x="693801" y="2173319"/>
                    </a:lnTo>
                    <a:lnTo>
                      <a:pt x="694182" y="2173319"/>
                    </a:lnTo>
                    <a:cubicBezTo>
                      <a:pt x="694182" y="2173319"/>
                      <a:pt x="695039" y="2173034"/>
                      <a:pt x="695039" y="2173034"/>
                    </a:cubicBezTo>
                    <a:lnTo>
                      <a:pt x="695134" y="2173034"/>
                    </a:lnTo>
                    <a:cubicBezTo>
                      <a:pt x="695134" y="2173034"/>
                      <a:pt x="695134" y="2173034"/>
                      <a:pt x="695134" y="2173034"/>
                    </a:cubicBezTo>
                    <a:lnTo>
                      <a:pt x="695039" y="2173034"/>
                    </a:lnTo>
                    <a:cubicBezTo>
                      <a:pt x="695039" y="2173034"/>
                      <a:pt x="695325" y="2173034"/>
                      <a:pt x="695325" y="2173034"/>
                    </a:cubicBezTo>
                    <a:lnTo>
                      <a:pt x="695230" y="2173034"/>
                    </a:lnTo>
                    <a:cubicBezTo>
                      <a:pt x="695230" y="2173034"/>
                      <a:pt x="695992" y="2172938"/>
                      <a:pt x="695992" y="2172938"/>
                    </a:cubicBezTo>
                    <a:lnTo>
                      <a:pt x="695516" y="2172938"/>
                    </a:lnTo>
                    <a:cubicBezTo>
                      <a:pt x="695516" y="2172938"/>
                      <a:pt x="696277" y="2172938"/>
                      <a:pt x="696277" y="2172938"/>
                    </a:cubicBezTo>
                    <a:lnTo>
                      <a:pt x="697421" y="2172653"/>
                    </a:lnTo>
                    <a:lnTo>
                      <a:pt x="700564" y="2171986"/>
                    </a:lnTo>
                    <a:lnTo>
                      <a:pt x="700468" y="2171986"/>
                    </a:lnTo>
                    <a:cubicBezTo>
                      <a:pt x="700468" y="2171986"/>
                      <a:pt x="703326" y="2171414"/>
                      <a:pt x="703326" y="2171414"/>
                    </a:cubicBezTo>
                    <a:lnTo>
                      <a:pt x="703612" y="2171414"/>
                    </a:lnTo>
                    <a:cubicBezTo>
                      <a:pt x="703612" y="2171414"/>
                      <a:pt x="700564" y="2171986"/>
                      <a:pt x="700564" y="2171986"/>
                    </a:cubicBezTo>
                    <a:lnTo>
                      <a:pt x="702374" y="2171605"/>
                    </a:lnTo>
                    <a:lnTo>
                      <a:pt x="703612" y="2171319"/>
                    </a:lnTo>
                    <a:lnTo>
                      <a:pt x="704088" y="2171319"/>
                    </a:lnTo>
                    <a:cubicBezTo>
                      <a:pt x="704088" y="2171319"/>
                      <a:pt x="704564" y="2171129"/>
                      <a:pt x="704564" y="2171129"/>
                    </a:cubicBezTo>
                    <a:lnTo>
                      <a:pt x="704945" y="2171129"/>
                    </a:lnTo>
                    <a:cubicBezTo>
                      <a:pt x="704945" y="2171129"/>
                      <a:pt x="707041" y="2170557"/>
                      <a:pt x="707041" y="2170557"/>
                    </a:cubicBezTo>
                    <a:lnTo>
                      <a:pt x="710089" y="2169890"/>
                    </a:lnTo>
                    <a:lnTo>
                      <a:pt x="710660" y="2169890"/>
                    </a:lnTo>
                    <a:cubicBezTo>
                      <a:pt x="710660" y="2169890"/>
                      <a:pt x="711422" y="2169605"/>
                      <a:pt x="711422" y="2169605"/>
                    </a:cubicBezTo>
                    <a:lnTo>
                      <a:pt x="713232" y="2169224"/>
                    </a:lnTo>
                    <a:lnTo>
                      <a:pt x="713422" y="2169224"/>
                    </a:lnTo>
                    <a:cubicBezTo>
                      <a:pt x="713422" y="2169224"/>
                      <a:pt x="714375" y="2168938"/>
                      <a:pt x="714375" y="2168938"/>
                    </a:cubicBezTo>
                    <a:lnTo>
                      <a:pt x="715423" y="2168652"/>
                    </a:lnTo>
                    <a:lnTo>
                      <a:pt x="716566" y="2168366"/>
                    </a:lnTo>
                    <a:lnTo>
                      <a:pt x="717233" y="2168366"/>
                    </a:lnTo>
                    <a:cubicBezTo>
                      <a:pt x="717233" y="2168366"/>
                      <a:pt x="717423" y="2168176"/>
                      <a:pt x="717423" y="2168176"/>
                    </a:cubicBezTo>
                    <a:lnTo>
                      <a:pt x="717709" y="2168176"/>
                    </a:lnTo>
                    <a:cubicBezTo>
                      <a:pt x="717709" y="2168176"/>
                      <a:pt x="719328" y="2167700"/>
                      <a:pt x="719328" y="2167700"/>
                    </a:cubicBezTo>
                    <a:lnTo>
                      <a:pt x="719709" y="2167700"/>
                    </a:lnTo>
                    <a:cubicBezTo>
                      <a:pt x="719709" y="2167700"/>
                      <a:pt x="721805" y="2167128"/>
                      <a:pt x="721805" y="2167128"/>
                    </a:cubicBezTo>
                    <a:lnTo>
                      <a:pt x="723043" y="2166842"/>
                    </a:lnTo>
                    <a:lnTo>
                      <a:pt x="723995" y="2166652"/>
                    </a:lnTo>
                    <a:lnTo>
                      <a:pt x="725329" y="2166366"/>
                    </a:lnTo>
                    <a:lnTo>
                      <a:pt x="726281" y="2166176"/>
                    </a:lnTo>
                    <a:lnTo>
                      <a:pt x="727615" y="2165890"/>
                    </a:lnTo>
                    <a:lnTo>
                      <a:pt x="729043" y="2165604"/>
                    </a:lnTo>
                    <a:lnTo>
                      <a:pt x="727901" y="2165890"/>
                    </a:lnTo>
                    <a:lnTo>
                      <a:pt x="728186" y="2165890"/>
                    </a:lnTo>
                    <a:cubicBezTo>
                      <a:pt x="728186" y="2165890"/>
                      <a:pt x="729520" y="2165509"/>
                      <a:pt x="729520" y="2165509"/>
                    </a:cubicBezTo>
                    <a:lnTo>
                      <a:pt x="730282" y="2165318"/>
                    </a:lnTo>
                    <a:lnTo>
                      <a:pt x="730758" y="2165318"/>
                    </a:lnTo>
                    <a:cubicBezTo>
                      <a:pt x="730758" y="2165318"/>
                      <a:pt x="731330" y="2165033"/>
                      <a:pt x="731330" y="2165033"/>
                    </a:cubicBezTo>
                    <a:lnTo>
                      <a:pt x="730472" y="2165223"/>
                    </a:lnTo>
                    <a:lnTo>
                      <a:pt x="730949" y="2165223"/>
                    </a:lnTo>
                    <a:cubicBezTo>
                      <a:pt x="730949" y="2165223"/>
                      <a:pt x="731044" y="2165128"/>
                      <a:pt x="731044" y="2165128"/>
                    </a:cubicBezTo>
                    <a:lnTo>
                      <a:pt x="731425" y="2165128"/>
                    </a:lnTo>
                    <a:cubicBezTo>
                      <a:pt x="731425" y="2165128"/>
                      <a:pt x="731425" y="2165128"/>
                      <a:pt x="731425" y="2165128"/>
                    </a:cubicBezTo>
                    <a:lnTo>
                      <a:pt x="731615" y="2165128"/>
                    </a:lnTo>
                    <a:cubicBezTo>
                      <a:pt x="731615" y="2165128"/>
                      <a:pt x="731806" y="2165128"/>
                      <a:pt x="731806" y="2165128"/>
                    </a:cubicBezTo>
                    <a:lnTo>
                      <a:pt x="731806" y="2165128"/>
                    </a:lnTo>
                    <a:cubicBezTo>
                      <a:pt x="731806" y="2165128"/>
                      <a:pt x="732568" y="2164938"/>
                      <a:pt x="732568" y="2164938"/>
                    </a:cubicBezTo>
                    <a:lnTo>
                      <a:pt x="734187" y="2164556"/>
                    </a:lnTo>
                    <a:lnTo>
                      <a:pt x="734377" y="2164556"/>
                    </a:lnTo>
                    <a:cubicBezTo>
                      <a:pt x="734377" y="2164556"/>
                      <a:pt x="734759" y="2164366"/>
                      <a:pt x="734759" y="2164366"/>
                    </a:cubicBezTo>
                    <a:lnTo>
                      <a:pt x="737616" y="2163699"/>
                    </a:lnTo>
                    <a:lnTo>
                      <a:pt x="738378" y="2163509"/>
                    </a:lnTo>
                    <a:lnTo>
                      <a:pt x="738378" y="2163509"/>
                    </a:lnTo>
                    <a:cubicBezTo>
                      <a:pt x="738378" y="2163509"/>
                      <a:pt x="740855" y="2162937"/>
                      <a:pt x="740855" y="2162937"/>
                    </a:cubicBezTo>
                    <a:lnTo>
                      <a:pt x="739616" y="2163223"/>
                    </a:lnTo>
                    <a:lnTo>
                      <a:pt x="739330" y="2163223"/>
                    </a:lnTo>
                    <a:cubicBezTo>
                      <a:pt x="739330" y="2163223"/>
                      <a:pt x="740474" y="2163032"/>
                      <a:pt x="740474" y="2163032"/>
                    </a:cubicBezTo>
                    <a:lnTo>
                      <a:pt x="743902" y="2162175"/>
                    </a:lnTo>
                    <a:lnTo>
                      <a:pt x="746760" y="2161508"/>
                    </a:lnTo>
                    <a:lnTo>
                      <a:pt x="748475" y="2161127"/>
                    </a:lnTo>
                    <a:lnTo>
                      <a:pt x="752094" y="2160270"/>
                    </a:lnTo>
                    <a:lnTo>
                      <a:pt x="752094" y="2160270"/>
                    </a:lnTo>
                    <a:cubicBezTo>
                      <a:pt x="752094" y="2160270"/>
                      <a:pt x="753142" y="2159984"/>
                      <a:pt x="753142" y="2159984"/>
                    </a:cubicBezTo>
                    <a:lnTo>
                      <a:pt x="754380" y="2159699"/>
                    </a:lnTo>
                    <a:lnTo>
                      <a:pt x="754475" y="2159699"/>
                    </a:lnTo>
                    <a:cubicBezTo>
                      <a:pt x="754475" y="2159699"/>
                      <a:pt x="754951" y="2159508"/>
                      <a:pt x="754951" y="2159508"/>
                    </a:cubicBezTo>
                    <a:lnTo>
                      <a:pt x="756095" y="2159222"/>
                    </a:lnTo>
                    <a:lnTo>
                      <a:pt x="756285" y="2159222"/>
                    </a:lnTo>
                    <a:cubicBezTo>
                      <a:pt x="756285" y="2159222"/>
                      <a:pt x="757047" y="2158937"/>
                      <a:pt x="757047" y="2158937"/>
                    </a:cubicBezTo>
                    <a:lnTo>
                      <a:pt x="756380" y="2159127"/>
                    </a:lnTo>
                    <a:lnTo>
                      <a:pt x="756666" y="2159127"/>
                    </a:lnTo>
                    <a:cubicBezTo>
                      <a:pt x="756666" y="2159127"/>
                      <a:pt x="758285" y="2158651"/>
                      <a:pt x="758285" y="2158651"/>
                    </a:cubicBezTo>
                    <a:lnTo>
                      <a:pt x="760762" y="2157984"/>
                    </a:lnTo>
                    <a:lnTo>
                      <a:pt x="762572" y="2157508"/>
                    </a:lnTo>
                    <a:lnTo>
                      <a:pt x="764572" y="2157032"/>
                    </a:lnTo>
                    <a:lnTo>
                      <a:pt x="770382" y="2155508"/>
                    </a:lnTo>
                    <a:lnTo>
                      <a:pt x="775526" y="2154079"/>
                    </a:lnTo>
                    <a:lnTo>
                      <a:pt x="784765" y="2151507"/>
                    </a:lnTo>
                    <a:lnTo>
                      <a:pt x="786955" y="2150840"/>
                    </a:lnTo>
                    <a:lnTo>
                      <a:pt x="788289" y="2150459"/>
                    </a:lnTo>
                    <a:lnTo>
                      <a:pt x="793623" y="2148935"/>
                    </a:lnTo>
                    <a:lnTo>
                      <a:pt x="800195" y="2147030"/>
                    </a:lnTo>
                    <a:lnTo>
                      <a:pt x="802100" y="2146459"/>
                    </a:lnTo>
                    <a:lnTo>
                      <a:pt x="802862" y="2146173"/>
                    </a:lnTo>
                    <a:lnTo>
                      <a:pt x="803529" y="2145983"/>
                    </a:lnTo>
                    <a:lnTo>
                      <a:pt x="805720" y="2145316"/>
                    </a:lnTo>
                    <a:lnTo>
                      <a:pt x="807434" y="2144840"/>
                    </a:lnTo>
                    <a:lnTo>
                      <a:pt x="814102" y="2142839"/>
                    </a:lnTo>
                    <a:lnTo>
                      <a:pt x="818388" y="2141506"/>
                    </a:lnTo>
                    <a:lnTo>
                      <a:pt x="818769" y="2141506"/>
                    </a:lnTo>
                    <a:cubicBezTo>
                      <a:pt x="818769" y="2141506"/>
                      <a:pt x="818769" y="2141411"/>
                      <a:pt x="818769" y="2141411"/>
                    </a:cubicBezTo>
                    <a:lnTo>
                      <a:pt x="819817" y="2141030"/>
                    </a:lnTo>
                    <a:lnTo>
                      <a:pt x="820102" y="2141030"/>
                    </a:lnTo>
                    <a:cubicBezTo>
                      <a:pt x="820102" y="2141030"/>
                      <a:pt x="822388" y="2140268"/>
                      <a:pt x="822388" y="2140268"/>
                    </a:cubicBezTo>
                    <a:lnTo>
                      <a:pt x="826294" y="2139030"/>
                    </a:lnTo>
                    <a:lnTo>
                      <a:pt x="827056" y="2138839"/>
                    </a:lnTo>
                    <a:lnTo>
                      <a:pt x="828294" y="2138458"/>
                    </a:lnTo>
                    <a:lnTo>
                      <a:pt x="828866" y="2138267"/>
                    </a:lnTo>
                    <a:lnTo>
                      <a:pt x="829532" y="2138077"/>
                    </a:lnTo>
                    <a:lnTo>
                      <a:pt x="830104" y="2137886"/>
                    </a:lnTo>
                    <a:lnTo>
                      <a:pt x="830580" y="2137886"/>
                    </a:lnTo>
                    <a:cubicBezTo>
                      <a:pt x="830580" y="2137886"/>
                      <a:pt x="830961" y="2137601"/>
                      <a:pt x="830961" y="2137601"/>
                    </a:cubicBezTo>
                    <a:lnTo>
                      <a:pt x="832199" y="2137220"/>
                    </a:lnTo>
                    <a:lnTo>
                      <a:pt x="832771" y="2137029"/>
                    </a:lnTo>
                    <a:lnTo>
                      <a:pt x="833342" y="2136839"/>
                    </a:lnTo>
                    <a:lnTo>
                      <a:pt x="836771" y="2135791"/>
                    </a:lnTo>
                    <a:lnTo>
                      <a:pt x="841058" y="2134362"/>
                    </a:lnTo>
                    <a:lnTo>
                      <a:pt x="842963" y="2133695"/>
                    </a:lnTo>
                    <a:lnTo>
                      <a:pt x="838772" y="2135029"/>
                    </a:lnTo>
                    <a:lnTo>
                      <a:pt x="843629" y="2133410"/>
                    </a:lnTo>
                    <a:lnTo>
                      <a:pt x="843629" y="2133410"/>
                    </a:lnTo>
                    <a:cubicBezTo>
                      <a:pt x="843629" y="2133410"/>
                      <a:pt x="843629" y="2133410"/>
                      <a:pt x="843629" y="2133410"/>
                    </a:cubicBezTo>
                    <a:lnTo>
                      <a:pt x="845249" y="2132933"/>
                    </a:lnTo>
                    <a:lnTo>
                      <a:pt x="845630" y="2132933"/>
                    </a:lnTo>
                    <a:cubicBezTo>
                      <a:pt x="845630" y="2132933"/>
                      <a:pt x="845725" y="2132743"/>
                      <a:pt x="845725" y="2132743"/>
                    </a:cubicBezTo>
                    <a:lnTo>
                      <a:pt x="846296" y="2132552"/>
                    </a:lnTo>
                    <a:lnTo>
                      <a:pt x="846201" y="2132552"/>
                    </a:lnTo>
                    <a:cubicBezTo>
                      <a:pt x="846201" y="2132552"/>
                      <a:pt x="846201" y="2132552"/>
                      <a:pt x="846201" y="2132552"/>
                    </a:cubicBezTo>
                    <a:lnTo>
                      <a:pt x="846487" y="2132552"/>
                    </a:lnTo>
                    <a:cubicBezTo>
                      <a:pt x="846487" y="2132552"/>
                      <a:pt x="846582" y="2132457"/>
                      <a:pt x="846582" y="2132457"/>
                    </a:cubicBezTo>
                    <a:lnTo>
                      <a:pt x="847154" y="2132267"/>
                    </a:lnTo>
                    <a:lnTo>
                      <a:pt x="849154" y="2131600"/>
                    </a:lnTo>
                    <a:lnTo>
                      <a:pt x="850201" y="2131219"/>
                    </a:lnTo>
                    <a:lnTo>
                      <a:pt x="850963" y="2130933"/>
                    </a:lnTo>
                    <a:lnTo>
                      <a:pt x="851059" y="2130933"/>
                    </a:lnTo>
                    <a:cubicBezTo>
                      <a:pt x="851059" y="2130933"/>
                      <a:pt x="851630" y="2130647"/>
                      <a:pt x="851630" y="2130647"/>
                    </a:cubicBezTo>
                    <a:lnTo>
                      <a:pt x="860108" y="2127790"/>
                    </a:lnTo>
                    <a:lnTo>
                      <a:pt x="860965" y="2127504"/>
                    </a:lnTo>
                    <a:lnTo>
                      <a:pt x="862393" y="2127028"/>
                    </a:lnTo>
                    <a:lnTo>
                      <a:pt x="862775" y="2127028"/>
                    </a:lnTo>
                    <a:cubicBezTo>
                      <a:pt x="862775" y="2127028"/>
                      <a:pt x="863822" y="2126552"/>
                      <a:pt x="863822" y="2126552"/>
                    </a:cubicBezTo>
                    <a:lnTo>
                      <a:pt x="867251" y="2125313"/>
                    </a:lnTo>
                    <a:lnTo>
                      <a:pt x="867727" y="2125123"/>
                    </a:lnTo>
                    <a:lnTo>
                      <a:pt x="867823" y="2125123"/>
                    </a:lnTo>
                    <a:cubicBezTo>
                      <a:pt x="867823" y="2125123"/>
                      <a:pt x="868109" y="2125028"/>
                      <a:pt x="868109" y="2125028"/>
                    </a:cubicBezTo>
                    <a:lnTo>
                      <a:pt x="873062" y="2123313"/>
                    </a:lnTo>
                    <a:lnTo>
                      <a:pt x="874871" y="2122647"/>
                    </a:lnTo>
                    <a:lnTo>
                      <a:pt x="877634" y="2121694"/>
                    </a:lnTo>
                    <a:lnTo>
                      <a:pt x="882491" y="2119980"/>
                    </a:lnTo>
                    <a:lnTo>
                      <a:pt x="884015" y="2119408"/>
                    </a:lnTo>
                    <a:lnTo>
                      <a:pt x="884015" y="2119408"/>
                    </a:lnTo>
                    <a:cubicBezTo>
                      <a:pt x="884015" y="2119408"/>
                      <a:pt x="886016" y="2118646"/>
                      <a:pt x="886016" y="2118646"/>
                    </a:cubicBezTo>
                    <a:lnTo>
                      <a:pt x="887349" y="2118170"/>
                    </a:lnTo>
                    <a:lnTo>
                      <a:pt x="887730" y="2118170"/>
                    </a:lnTo>
                    <a:cubicBezTo>
                      <a:pt x="887730" y="2118170"/>
                      <a:pt x="888111" y="2117884"/>
                      <a:pt x="888111" y="2117884"/>
                    </a:cubicBezTo>
                    <a:lnTo>
                      <a:pt x="889826" y="2117217"/>
                    </a:lnTo>
                    <a:lnTo>
                      <a:pt x="890206" y="2117027"/>
                    </a:lnTo>
                    <a:lnTo>
                      <a:pt x="891254" y="2116646"/>
                    </a:lnTo>
                    <a:lnTo>
                      <a:pt x="898588" y="2113883"/>
                    </a:lnTo>
                    <a:lnTo>
                      <a:pt x="899541" y="2113502"/>
                    </a:lnTo>
                    <a:lnTo>
                      <a:pt x="902113" y="2112550"/>
                    </a:lnTo>
                    <a:lnTo>
                      <a:pt x="902970" y="2112169"/>
                    </a:lnTo>
                    <a:lnTo>
                      <a:pt x="903732" y="2111883"/>
                    </a:lnTo>
                    <a:lnTo>
                      <a:pt x="901637" y="2112645"/>
                    </a:lnTo>
                    <a:lnTo>
                      <a:pt x="906494" y="2110835"/>
                    </a:lnTo>
                    <a:lnTo>
                      <a:pt x="906494" y="2110835"/>
                    </a:lnTo>
                    <a:cubicBezTo>
                      <a:pt x="906494" y="2110835"/>
                      <a:pt x="907161" y="2110550"/>
                      <a:pt x="907161" y="2110550"/>
                    </a:cubicBezTo>
                    <a:lnTo>
                      <a:pt x="916114" y="2107025"/>
                    </a:lnTo>
                    <a:lnTo>
                      <a:pt x="916400" y="2107025"/>
                    </a:lnTo>
                    <a:cubicBezTo>
                      <a:pt x="916400" y="2107025"/>
                      <a:pt x="917734" y="2106454"/>
                      <a:pt x="917734" y="2106454"/>
                    </a:cubicBezTo>
                    <a:lnTo>
                      <a:pt x="918877" y="2105978"/>
                    </a:lnTo>
                    <a:lnTo>
                      <a:pt x="921449" y="2104930"/>
                    </a:lnTo>
                    <a:lnTo>
                      <a:pt x="922115" y="2104644"/>
                    </a:lnTo>
                    <a:lnTo>
                      <a:pt x="922877" y="2104358"/>
                    </a:lnTo>
                    <a:lnTo>
                      <a:pt x="923449" y="2104168"/>
                    </a:lnTo>
                    <a:lnTo>
                      <a:pt x="924020" y="2103977"/>
                    </a:lnTo>
                    <a:lnTo>
                      <a:pt x="924497" y="2103787"/>
                    </a:lnTo>
                    <a:lnTo>
                      <a:pt x="924973" y="2103597"/>
                    </a:lnTo>
                    <a:lnTo>
                      <a:pt x="925639" y="2103311"/>
                    </a:lnTo>
                    <a:lnTo>
                      <a:pt x="926021" y="2103120"/>
                    </a:lnTo>
                    <a:lnTo>
                      <a:pt x="929068" y="2101882"/>
                    </a:lnTo>
                    <a:lnTo>
                      <a:pt x="930497" y="2101310"/>
                    </a:lnTo>
                    <a:lnTo>
                      <a:pt x="929640" y="2101691"/>
                    </a:lnTo>
                    <a:lnTo>
                      <a:pt x="929068" y="2101977"/>
                    </a:lnTo>
                    <a:lnTo>
                      <a:pt x="928973" y="2101977"/>
                    </a:lnTo>
                    <a:cubicBezTo>
                      <a:pt x="928973" y="2101977"/>
                      <a:pt x="927354" y="2102739"/>
                      <a:pt x="927354" y="2102739"/>
                    </a:cubicBezTo>
                    <a:lnTo>
                      <a:pt x="929354" y="2101882"/>
                    </a:lnTo>
                    <a:lnTo>
                      <a:pt x="929354" y="2101882"/>
                    </a:lnTo>
                    <a:cubicBezTo>
                      <a:pt x="929354" y="2101882"/>
                      <a:pt x="930402" y="2101501"/>
                      <a:pt x="930402" y="2101501"/>
                    </a:cubicBezTo>
                    <a:lnTo>
                      <a:pt x="930402" y="2101501"/>
                    </a:lnTo>
                    <a:cubicBezTo>
                      <a:pt x="930402" y="2101501"/>
                      <a:pt x="930688" y="2101406"/>
                      <a:pt x="930688" y="2101406"/>
                    </a:cubicBezTo>
                    <a:lnTo>
                      <a:pt x="930402" y="2101406"/>
                    </a:lnTo>
                    <a:cubicBezTo>
                      <a:pt x="930402" y="2101406"/>
                      <a:pt x="930783" y="2101406"/>
                      <a:pt x="930783" y="2101406"/>
                    </a:cubicBezTo>
                    <a:lnTo>
                      <a:pt x="931831" y="2101025"/>
                    </a:lnTo>
                    <a:lnTo>
                      <a:pt x="934307" y="2100072"/>
                    </a:lnTo>
                    <a:lnTo>
                      <a:pt x="935450" y="2099596"/>
                    </a:lnTo>
                    <a:lnTo>
                      <a:pt x="936593" y="2099120"/>
                    </a:lnTo>
                    <a:lnTo>
                      <a:pt x="936117" y="2099310"/>
                    </a:lnTo>
                    <a:lnTo>
                      <a:pt x="935450" y="2099596"/>
                    </a:lnTo>
                    <a:lnTo>
                      <a:pt x="935831" y="2099405"/>
                    </a:lnTo>
                    <a:lnTo>
                      <a:pt x="936022" y="2099405"/>
                    </a:lnTo>
                    <a:cubicBezTo>
                      <a:pt x="936022" y="2099405"/>
                      <a:pt x="940880" y="2097310"/>
                      <a:pt x="940880" y="2097310"/>
                    </a:cubicBezTo>
                    <a:lnTo>
                      <a:pt x="943166" y="2096357"/>
                    </a:lnTo>
                    <a:lnTo>
                      <a:pt x="944023" y="2095976"/>
                    </a:lnTo>
                    <a:lnTo>
                      <a:pt x="944499" y="2095786"/>
                    </a:lnTo>
                    <a:lnTo>
                      <a:pt x="944594" y="2095786"/>
                    </a:lnTo>
                    <a:cubicBezTo>
                      <a:pt x="944594" y="2095786"/>
                      <a:pt x="944880" y="2095595"/>
                      <a:pt x="944880" y="2095595"/>
                    </a:cubicBezTo>
                    <a:lnTo>
                      <a:pt x="948976" y="2093881"/>
                    </a:lnTo>
                    <a:lnTo>
                      <a:pt x="950690" y="2093119"/>
                    </a:lnTo>
                    <a:lnTo>
                      <a:pt x="952119" y="2092452"/>
                    </a:lnTo>
                    <a:lnTo>
                      <a:pt x="954024" y="2091690"/>
                    </a:lnTo>
                    <a:lnTo>
                      <a:pt x="956596" y="2090547"/>
                    </a:lnTo>
                    <a:lnTo>
                      <a:pt x="957453" y="2090166"/>
                    </a:lnTo>
                    <a:lnTo>
                      <a:pt x="958215" y="2089785"/>
                    </a:lnTo>
                    <a:lnTo>
                      <a:pt x="958596" y="2089595"/>
                    </a:lnTo>
                    <a:lnTo>
                      <a:pt x="958977" y="2089404"/>
                    </a:lnTo>
                    <a:lnTo>
                      <a:pt x="958977" y="2089404"/>
                    </a:lnTo>
                    <a:cubicBezTo>
                      <a:pt x="958977" y="2089404"/>
                      <a:pt x="959072" y="2089404"/>
                      <a:pt x="959072" y="2089404"/>
                    </a:cubicBezTo>
                    <a:lnTo>
                      <a:pt x="959453" y="2089214"/>
                    </a:lnTo>
                    <a:lnTo>
                      <a:pt x="961072" y="2088547"/>
                    </a:lnTo>
                    <a:lnTo>
                      <a:pt x="963549" y="2087499"/>
                    </a:lnTo>
                    <a:lnTo>
                      <a:pt x="964311" y="2087213"/>
                    </a:lnTo>
                    <a:lnTo>
                      <a:pt x="965549" y="2086642"/>
                    </a:lnTo>
                    <a:lnTo>
                      <a:pt x="967359" y="2085880"/>
                    </a:lnTo>
                    <a:lnTo>
                      <a:pt x="968407" y="2085404"/>
                    </a:lnTo>
                    <a:lnTo>
                      <a:pt x="970407" y="2084546"/>
                    </a:lnTo>
                    <a:lnTo>
                      <a:pt x="971836" y="2083975"/>
                    </a:lnTo>
                    <a:lnTo>
                      <a:pt x="974408" y="2082832"/>
                    </a:lnTo>
                    <a:lnTo>
                      <a:pt x="976789" y="2081784"/>
                    </a:lnTo>
                    <a:lnTo>
                      <a:pt x="976408" y="2081975"/>
                    </a:lnTo>
                    <a:lnTo>
                      <a:pt x="976408" y="2081975"/>
                    </a:lnTo>
                    <a:cubicBezTo>
                      <a:pt x="976408" y="2081975"/>
                      <a:pt x="976408" y="2081975"/>
                      <a:pt x="976408" y="2081975"/>
                    </a:cubicBezTo>
                    <a:lnTo>
                      <a:pt x="976408" y="2081975"/>
                    </a:lnTo>
                    <a:lnTo>
                      <a:pt x="977075" y="2081689"/>
                    </a:lnTo>
                    <a:lnTo>
                      <a:pt x="977075" y="2081689"/>
                    </a:lnTo>
                    <a:lnTo>
                      <a:pt x="978122" y="2081213"/>
                    </a:lnTo>
                    <a:lnTo>
                      <a:pt x="977265" y="2081594"/>
                    </a:lnTo>
                    <a:lnTo>
                      <a:pt x="977360" y="2081594"/>
                    </a:lnTo>
                    <a:cubicBezTo>
                      <a:pt x="977360" y="2081594"/>
                      <a:pt x="980122" y="2080260"/>
                      <a:pt x="980122" y="2080260"/>
                    </a:cubicBezTo>
                    <a:lnTo>
                      <a:pt x="981075" y="2079784"/>
                    </a:lnTo>
                    <a:lnTo>
                      <a:pt x="981932" y="2079403"/>
                    </a:lnTo>
                    <a:lnTo>
                      <a:pt x="981932" y="2079403"/>
                    </a:lnTo>
                    <a:cubicBezTo>
                      <a:pt x="981932" y="2079403"/>
                      <a:pt x="983171" y="2078831"/>
                      <a:pt x="983171" y="2078831"/>
                    </a:cubicBezTo>
                    <a:lnTo>
                      <a:pt x="983456" y="2078831"/>
                    </a:lnTo>
                    <a:cubicBezTo>
                      <a:pt x="983456" y="2078831"/>
                      <a:pt x="987743" y="2076736"/>
                      <a:pt x="987743" y="2076736"/>
                    </a:cubicBezTo>
                    <a:lnTo>
                      <a:pt x="989457" y="2075974"/>
                    </a:lnTo>
                    <a:lnTo>
                      <a:pt x="991362" y="2075116"/>
                    </a:lnTo>
                    <a:lnTo>
                      <a:pt x="993172" y="2074259"/>
                    </a:lnTo>
                    <a:lnTo>
                      <a:pt x="993553" y="2074069"/>
                    </a:lnTo>
                    <a:lnTo>
                      <a:pt x="994124" y="2073783"/>
                    </a:lnTo>
                    <a:lnTo>
                      <a:pt x="1000030" y="2071021"/>
                    </a:lnTo>
                    <a:lnTo>
                      <a:pt x="1000220" y="2071021"/>
                    </a:lnTo>
                    <a:cubicBezTo>
                      <a:pt x="1000220" y="2071021"/>
                      <a:pt x="1001363" y="2070449"/>
                      <a:pt x="1001363" y="2070449"/>
                    </a:cubicBezTo>
                    <a:lnTo>
                      <a:pt x="1002221" y="2070068"/>
                    </a:lnTo>
                    <a:lnTo>
                      <a:pt x="1002601" y="2069878"/>
                    </a:lnTo>
                    <a:lnTo>
                      <a:pt x="1004221" y="2069116"/>
                    </a:lnTo>
                    <a:lnTo>
                      <a:pt x="1006888" y="2067878"/>
                    </a:lnTo>
                    <a:lnTo>
                      <a:pt x="1007555" y="2067592"/>
                    </a:lnTo>
                    <a:lnTo>
                      <a:pt x="1011174" y="2065877"/>
                    </a:lnTo>
                    <a:lnTo>
                      <a:pt x="1011174" y="2065877"/>
                    </a:lnTo>
                    <a:cubicBezTo>
                      <a:pt x="1011174" y="2065877"/>
                      <a:pt x="1012984" y="2065020"/>
                      <a:pt x="1012984" y="2065020"/>
                    </a:cubicBezTo>
                    <a:lnTo>
                      <a:pt x="1015175" y="2063972"/>
                    </a:lnTo>
                    <a:lnTo>
                      <a:pt x="1015555" y="2063782"/>
                    </a:lnTo>
                    <a:lnTo>
                      <a:pt x="1018318" y="2062448"/>
                    </a:lnTo>
                    <a:lnTo>
                      <a:pt x="1021842" y="2060734"/>
                    </a:lnTo>
                    <a:lnTo>
                      <a:pt x="1023842" y="2059781"/>
                    </a:lnTo>
                    <a:lnTo>
                      <a:pt x="1024414" y="2059496"/>
                    </a:lnTo>
                    <a:lnTo>
                      <a:pt x="1029462" y="2057019"/>
                    </a:lnTo>
                    <a:lnTo>
                      <a:pt x="1030414" y="2056543"/>
                    </a:lnTo>
                    <a:lnTo>
                      <a:pt x="1030414" y="2056543"/>
                    </a:lnTo>
                    <a:lnTo>
                      <a:pt x="1030891" y="2056352"/>
                    </a:lnTo>
                    <a:lnTo>
                      <a:pt x="1032129" y="2055686"/>
                    </a:lnTo>
                    <a:lnTo>
                      <a:pt x="1032320" y="2055686"/>
                    </a:lnTo>
                    <a:cubicBezTo>
                      <a:pt x="1032320" y="2055686"/>
                      <a:pt x="1032701" y="2055400"/>
                      <a:pt x="1032701" y="2055400"/>
                    </a:cubicBezTo>
                    <a:lnTo>
                      <a:pt x="1035749" y="2053876"/>
                    </a:lnTo>
                    <a:lnTo>
                      <a:pt x="1036987" y="2053209"/>
                    </a:lnTo>
                    <a:lnTo>
                      <a:pt x="1037463" y="2052923"/>
                    </a:lnTo>
                    <a:lnTo>
                      <a:pt x="1041178" y="2051018"/>
                    </a:lnTo>
                    <a:lnTo>
                      <a:pt x="1042702" y="2050256"/>
                    </a:lnTo>
                    <a:lnTo>
                      <a:pt x="1042035" y="2050637"/>
                    </a:lnTo>
                    <a:lnTo>
                      <a:pt x="1042892" y="2050161"/>
                    </a:lnTo>
                    <a:lnTo>
                      <a:pt x="1042988" y="2050161"/>
                    </a:lnTo>
                    <a:cubicBezTo>
                      <a:pt x="1042988" y="2050161"/>
                      <a:pt x="1043178" y="2050066"/>
                      <a:pt x="1043178" y="2050066"/>
                    </a:cubicBezTo>
                    <a:lnTo>
                      <a:pt x="1044607" y="2049304"/>
                    </a:lnTo>
                    <a:lnTo>
                      <a:pt x="1045083" y="2049018"/>
                    </a:lnTo>
                    <a:lnTo>
                      <a:pt x="1045559" y="2048732"/>
                    </a:lnTo>
                    <a:lnTo>
                      <a:pt x="1048417" y="2047208"/>
                    </a:lnTo>
                    <a:lnTo>
                      <a:pt x="1048417" y="2047208"/>
                    </a:lnTo>
                    <a:cubicBezTo>
                      <a:pt x="1048417" y="2047208"/>
                      <a:pt x="1050417" y="2046161"/>
                      <a:pt x="1050417" y="2046161"/>
                    </a:cubicBezTo>
                    <a:lnTo>
                      <a:pt x="1051179" y="2045780"/>
                    </a:lnTo>
                    <a:lnTo>
                      <a:pt x="1051274" y="2045780"/>
                    </a:lnTo>
                    <a:cubicBezTo>
                      <a:pt x="1051274" y="2045780"/>
                      <a:pt x="1052036" y="2045303"/>
                      <a:pt x="1052036" y="2045303"/>
                    </a:cubicBezTo>
                    <a:lnTo>
                      <a:pt x="1052417" y="2045113"/>
                    </a:lnTo>
                    <a:lnTo>
                      <a:pt x="1053465" y="2044541"/>
                    </a:lnTo>
                    <a:lnTo>
                      <a:pt x="1054703" y="2043875"/>
                    </a:lnTo>
                    <a:lnTo>
                      <a:pt x="1054894" y="2043875"/>
                    </a:lnTo>
                    <a:cubicBezTo>
                      <a:pt x="1054894" y="2043875"/>
                      <a:pt x="1055180" y="2043589"/>
                      <a:pt x="1055180" y="2043589"/>
                    </a:cubicBezTo>
                    <a:lnTo>
                      <a:pt x="1055846" y="2043208"/>
                    </a:lnTo>
                    <a:lnTo>
                      <a:pt x="1057561" y="2042350"/>
                    </a:lnTo>
                    <a:lnTo>
                      <a:pt x="1057561" y="2042350"/>
                    </a:lnTo>
                    <a:cubicBezTo>
                      <a:pt x="1057561" y="2042350"/>
                      <a:pt x="1063847" y="2039017"/>
                      <a:pt x="1063847" y="2039017"/>
                    </a:cubicBezTo>
                    <a:lnTo>
                      <a:pt x="1064324" y="2038731"/>
                    </a:lnTo>
                    <a:lnTo>
                      <a:pt x="1064990" y="2038350"/>
                    </a:lnTo>
                    <a:lnTo>
                      <a:pt x="1065848" y="2037874"/>
                    </a:lnTo>
                    <a:lnTo>
                      <a:pt x="1065657" y="2037874"/>
                    </a:lnTo>
                    <a:cubicBezTo>
                      <a:pt x="1065657" y="2037874"/>
                      <a:pt x="1064705" y="2038445"/>
                      <a:pt x="1064705" y="2038445"/>
                    </a:cubicBezTo>
                    <a:lnTo>
                      <a:pt x="1065276" y="2038064"/>
                    </a:lnTo>
                    <a:lnTo>
                      <a:pt x="1066038" y="2037683"/>
                    </a:lnTo>
                    <a:lnTo>
                      <a:pt x="1065752" y="2037874"/>
                    </a:lnTo>
                    <a:lnTo>
                      <a:pt x="1066133" y="2037683"/>
                    </a:lnTo>
                    <a:lnTo>
                      <a:pt x="1066610" y="2037398"/>
                    </a:lnTo>
                    <a:lnTo>
                      <a:pt x="1067752" y="2036826"/>
                    </a:lnTo>
                    <a:lnTo>
                      <a:pt x="1068038" y="2036826"/>
                    </a:lnTo>
                    <a:cubicBezTo>
                      <a:pt x="1068038" y="2036826"/>
                      <a:pt x="1068419" y="2036445"/>
                      <a:pt x="1068419" y="2036445"/>
                    </a:cubicBezTo>
                    <a:lnTo>
                      <a:pt x="1068800" y="2036255"/>
                    </a:lnTo>
                    <a:lnTo>
                      <a:pt x="1069562" y="2035874"/>
                    </a:lnTo>
                    <a:lnTo>
                      <a:pt x="1069848" y="2035683"/>
                    </a:lnTo>
                    <a:lnTo>
                      <a:pt x="1073468" y="2033683"/>
                    </a:lnTo>
                    <a:lnTo>
                      <a:pt x="1074706" y="2033016"/>
                    </a:lnTo>
                    <a:lnTo>
                      <a:pt x="1074706" y="2033016"/>
                    </a:lnTo>
                    <a:cubicBezTo>
                      <a:pt x="1074706" y="2033016"/>
                      <a:pt x="1073468" y="2033683"/>
                      <a:pt x="1073468" y="2033683"/>
                    </a:cubicBezTo>
                    <a:lnTo>
                      <a:pt x="1074515" y="2033111"/>
                    </a:lnTo>
                    <a:lnTo>
                      <a:pt x="1075849" y="2032349"/>
                    </a:lnTo>
                    <a:lnTo>
                      <a:pt x="1075277" y="2032635"/>
                    </a:lnTo>
                    <a:lnTo>
                      <a:pt x="1075277" y="2032635"/>
                    </a:lnTo>
                    <a:cubicBezTo>
                      <a:pt x="1075277" y="2032635"/>
                      <a:pt x="1076420" y="2032064"/>
                      <a:pt x="1076420" y="2032064"/>
                    </a:cubicBezTo>
                    <a:lnTo>
                      <a:pt x="1075849" y="2032349"/>
                    </a:lnTo>
                    <a:lnTo>
                      <a:pt x="1076992" y="2031683"/>
                    </a:lnTo>
                    <a:lnTo>
                      <a:pt x="1077849" y="2031206"/>
                    </a:lnTo>
                    <a:lnTo>
                      <a:pt x="1076706" y="2031778"/>
                    </a:lnTo>
                    <a:lnTo>
                      <a:pt x="1076516" y="2031778"/>
                    </a:lnTo>
                    <a:cubicBezTo>
                      <a:pt x="1076516" y="2031778"/>
                      <a:pt x="1076516" y="2031873"/>
                      <a:pt x="1076516" y="2031873"/>
                    </a:cubicBezTo>
                    <a:lnTo>
                      <a:pt x="1075373" y="2032445"/>
                    </a:lnTo>
                    <a:lnTo>
                      <a:pt x="1075563" y="2032445"/>
                    </a:lnTo>
                    <a:cubicBezTo>
                      <a:pt x="1075563" y="2032445"/>
                      <a:pt x="1076516" y="2031873"/>
                      <a:pt x="1076516" y="2031873"/>
                    </a:cubicBezTo>
                    <a:lnTo>
                      <a:pt x="1077182" y="2031492"/>
                    </a:lnTo>
                    <a:lnTo>
                      <a:pt x="1078039" y="2031016"/>
                    </a:lnTo>
                    <a:lnTo>
                      <a:pt x="1077849" y="2031016"/>
                    </a:lnTo>
                    <a:cubicBezTo>
                      <a:pt x="1077849" y="2031016"/>
                      <a:pt x="1078992" y="2030540"/>
                      <a:pt x="1078992" y="2030540"/>
                    </a:cubicBezTo>
                    <a:lnTo>
                      <a:pt x="1079183" y="2030540"/>
                    </a:lnTo>
                    <a:cubicBezTo>
                      <a:pt x="1079183" y="2030540"/>
                      <a:pt x="1080992" y="2029492"/>
                      <a:pt x="1080992" y="2029492"/>
                    </a:cubicBezTo>
                    <a:lnTo>
                      <a:pt x="1083564" y="2028063"/>
                    </a:lnTo>
                    <a:lnTo>
                      <a:pt x="1084040" y="2027777"/>
                    </a:lnTo>
                    <a:lnTo>
                      <a:pt x="1084231" y="2027777"/>
                    </a:lnTo>
                    <a:cubicBezTo>
                      <a:pt x="1084231" y="2027777"/>
                      <a:pt x="1084612" y="2027491"/>
                      <a:pt x="1084612" y="2027491"/>
                    </a:cubicBezTo>
                    <a:lnTo>
                      <a:pt x="1084231" y="2027682"/>
                    </a:lnTo>
                    <a:lnTo>
                      <a:pt x="1084517" y="2027491"/>
                    </a:lnTo>
                    <a:lnTo>
                      <a:pt x="1084707" y="2027491"/>
                    </a:lnTo>
                    <a:cubicBezTo>
                      <a:pt x="1084707" y="2027491"/>
                      <a:pt x="1084898" y="2027301"/>
                      <a:pt x="1084898" y="2027301"/>
                    </a:cubicBezTo>
                    <a:lnTo>
                      <a:pt x="1086517" y="2026444"/>
                    </a:lnTo>
                    <a:lnTo>
                      <a:pt x="1085279" y="2027206"/>
                    </a:lnTo>
                    <a:lnTo>
                      <a:pt x="1087279" y="2026063"/>
                    </a:lnTo>
                    <a:lnTo>
                      <a:pt x="1087564" y="2025872"/>
                    </a:lnTo>
                    <a:lnTo>
                      <a:pt x="1084707" y="2027491"/>
                    </a:lnTo>
                    <a:lnTo>
                      <a:pt x="1085183" y="2027206"/>
                    </a:lnTo>
                    <a:lnTo>
                      <a:pt x="1089374" y="2024825"/>
                    </a:lnTo>
                    <a:lnTo>
                      <a:pt x="1090231" y="2024348"/>
                    </a:lnTo>
                    <a:lnTo>
                      <a:pt x="1090993" y="2023872"/>
                    </a:lnTo>
                    <a:lnTo>
                      <a:pt x="1091851" y="2023396"/>
                    </a:lnTo>
                    <a:lnTo>
                      <a:pt x="1092041" y="2023396"/>
                    </a:lnTo>
                    <a:cubicBezTo>
                      <a:pt x="1092041" y="2023396"/>
                      <a:pt x="1095851" y="2021110"/>
                      <a:pt x="1095851" y="2021110"/>
                    </a:cubicBezTo>
                    <a:lnTo>
                      <a:pt x="1093756" y="2022348"/>
                    </a:lnTo>
                    <a:lnTo>
                      <a:pt x="1095756" y="2021205"/>
                    </a:lnTo>
                    <a:lnTo>
                      <a:pt x="1095756" y="2021205"/>
                    </a:lnTo>
                    <a:cubicBezTo>
                      <a:pt x="1095756" y="2021205"/>
                      <a:pt x="1095756" y="2021205"/>
                      <a:pt x="1095756" y="2021205"/>
                    </a:cubicBezTo>
                    <a:lnTo>
                      <a:pt x="1097947" y="2019967"/>
                    </a:lnTo>
                    <a:lnTo>
                      <a:pt x="1097947" y="2019967"/>
                    </a:lnTo>
                    <a:cubicBezTo>
                      <a:pt x="1097947" y="2019967"/>
                      <a:pt x="1099566" y="2019014"/>
                      <a:pt x="1099566" y="2019014"/>
                    </a:cubicBezTo>
                    <a:lnTo>
                      <a:pt x="1098709" y="2019491"/>
                    </a:lnTo>
                    <a:lnTo>
                      <a:pt x="1099185" y="2019205"/>
                    </a:lnTo>
                    <a:lnTo>
                      <a:pt x="1100709" y="2018348"/>
                    </a:lnTo>
                    <a:lnTo>
                      <a:pt x="1101471" y="2017871"/>
                    </a:lnTo>
                    <a:lnTo>
                      <a:pt x="1102043" y="2017490"/>
                    </a:lnTo>
                    <a:lnTo>
                      <a:pt x="1102043" y="2017490"/>
                    </a:lnTo>
                    <a:cubicBezTo>
                      <a:pt x="1102043" y="2017490"/>
                      <a:pt x="1102043" y="2017490"/>
                      <a:pt x="1102043" y="2017490"/>
                    </a:cubicBezTo>
                    <a:lnTo>
                      <a:pt x="1102233" y="2017490"/>
                    </a:lnTo>
                    <a:cubicBezTo>
                      <a:pt x="1102233" y="2017490"/>
                      <a:pt x="1102424" y="2017300"/>
                      <a:pt x="1102424" y="2017300"/>
                    </a:cubicBezTo>
                    <a:lnTo>
                      <a:pt x="1102900" y="2017014"/>
                    </a:lnTo>
                    <a:lnTo>
                      <a:pt x="1104519" y="2016062"/>
                    </a:lnTo>
                    <a:lnTo>
                      <a:pt x="1106234" y="2015109"/>
                    </a:lnTo>
                    <a:lnTo>
                      <a:pt x="1106996" y="2014633"/>
                    </a:lnTo>
                    <a:lnTo>
                      <a:pt x="1108043" y="2014061"/>
                    </a:lnTo>
                    <a:lnTo>
                      <a:pt x="1108329" y="2013871"/>
                    </a:lnTo>
                    <a:lnTo>
                      <a:pt x="1109091" y="2013395"/>
                    </a:lnTo>
                    <a:lnTo>
                      <a:pt x="1110139" y="2012823"/>
                    </a:lnTo>
                    <a:lnTo>
                      <a:pt x="1110615" y="2012537"/>
                    </a:lnTo>
                    <a:lnTo>
                      <a:pt x="1111758" y="2011871"/>
                    </a:lnTo>
                    <a:lnTo>
                      <a:pt x="1112710" y="2011299"/>
                    </a:lnTo>
                    <a:lnTo>
                      <a:pt x="1112806" y="2011299"/>
                    </a:lnTo>
                    <a:cubicBezTo>
                      <a:pt x="1112806" y="2011299"/>
                      <a:pt x="1112806" y="2011204"/>
                      <a:pt x="1112806" y="2011204"/>
                    </a:cubicBezTo>
                    <a:lnTo>
                      <a:pt x="1113092" y="2011013"/>
                    </a:lnTo>
                    <a:lnTo>
                      <a:pt x="1113377" y="2010823"/>
                    </a:lnTo>
                    <a:lnTo>
                      <a:pt x="1115187" y="2009775"/>
                    </a:lnTo>
                    <a:lnTo>
                      <a:pt x="1115854" y="2009394"/>
                    </a:lnTo>
                    <a:lnTo>
                      <a:pt x="1116139" y="2009204"/>
                    </a:lnTo>
                    <a:lnTo>
                      <a:pt x="1116616" y="2008918"/>
                    </a:lnTo>
                    <a:lnTo>
                      <a:pt x="1117949" y="2008156"/>
                    </a:lnTo>
                    <a:lnTo>
                      <a:pt x="1119854" y="2007013"/>
                    </a:lnTo>
                    <a:lnTo>
                      <a:pt x="1120426" y="2006632"/>
                    </a:lnTo>
                    <a:lnTo>
                      <a:pt x="1121569" y="2005965"/>
                    </a:lnTo>
                    <a:lnTo>
                      <a:pt x="1121569" y="2005965"/>
                    </a:lnTo>
                    <a:cubicBezTo>
                      <a:pt x="1121569" y="2005965"/>
                      <a:pt x="1121855" y="2005775"/>
                      <a:pt x="1121855" y="2005775"/>
                    </a:cubicBezTo>
                    <a:lnTo>
                      <a:pt x="1122045" y="2005775"/>
                    </a:lnTo>
                    <a:cubicBezTo>
                      <a:pt x="1122045" y="2005775"/>
                      <a:pt x="1122235" y="2005584"/>
                      <a:pt x="1122235" y="2005584"/>
                    </a:cubicBezTo>
                    <a:lnTo>
                      <a:pt x="1122331" y="2005584"/>
                    </a:lnTo>
                    <a:cubicBezTo>
                      <a:pt x="1122331" y="2005584"/>
                      <a:pt x="1122998" y="2005108"/>
                      <a:pt x="1122998" y="2005108"/>
                    </a:cubicBezTo>
                    <a:lnTo>
                      <a:pt x="1122426" y="2005489"/>
                    </a:lnTo>
                    <a:lnTo>
                      <a:pt x="1123760" y="2004727"/>
                    </a:lnTo>
                    <a:lnTo>
                      <a:pt x="1125855" y="2003489"/>
                    </a:lnTo>
                    <a:lnTo>
                      <a:pt x="1127855" y="2002346"/>
                    </a:lnTo>
                    <a:lnTo>
                      <a:pt x="1129379" y="2001488"/>
                    </a:lnTo>
                    <a:lnTo>
                      <a:pt x="1130237" y="2000917"/>
                    </a:lnTo>
                    <a:lnTo>
                      <a:pt x="1132046" y="1999774"/>
                    </a:lnTo>
                    <a:lnTo>
                      <a:pt x="1132046" y="1999774"/>
                    </a:lnTo>
                    <a:cubicBezTo>
                      <a:pt x="1132046" y="1999774"/>
                      <a:pt x="1132046" y="1999774"/>
                      <a:pt x="1132046" y="1999774"/>
                    </a:cubicBezTo>
                    <a:lnTo>
                      <a:pt x="1132713" y="1999393"/>
                    </a:lnTo>
                    <a:lnTo>
                      <a:pt x="1132808" y="1999393"/>
                    </a:lnTo>
                    <a:cubicBezTo>
                      <a:pt x="1132808" y="1999393"/>
                      <a:pt x="1133570" y="1998821"/>
                      <a:pt x="1133570" y="1998821"/>
                    </a:cubicBezTo>
                    <a:lnTo>
                      <a:pt x="1137666" y="1996345"/>
                    </a:lnTo>
                    <a:lnTo>
                      <a:pt x="1138333" y="1995964"/>
                    </a:lnTo>
                    <a:lnTo>
                      <a:pt x="1138428" y="1995964"/>
                    </a:lnTo>
                    <a:cubicBezTo>
                      <a:pt x="1138428" y="1995964"/>
                      <a:pt x="1139190" y="1995392"/>
                      <a:pt x="1139190" y="1995392"/>
                    </a:cubicBezTo>
                    <a:lnTo>
                      <a:pt x="1140809" y="1994440"/>
                    </a:lnTo>
                    <a:lnTo>
                      <a:pt x="1142810" y="1993201"/>
                    </a:lnTo>
                    <a:lnTo>
                      <a:pt x="1143476" y="1992821"/>
                    </a:lnTo>
                    <a:lnTo>
                      <a:pt x="1143762" y="1992630"/>
                    </a:lnTo>
                    <a:lnTo>
                      <a:pt x="1142524" y="1993392"/>
                    </a:lnTo>
                    <a:lnTo>
                      <a:pt x="1144334" y="1992249"/>
                    </a:lnTo>
                    <a:lnTo>
                      <a:pt x="1144714" y="1991963"/>
                    </a:lnTo>
                    <a:lnTo>
                      <a:pt x="1144905" y="1991963"/>
                    </a:lnTo>
                    <a:cubicBezTo>
                      <a:pt x="1144905" y="1991963"/>
                      <a:pt x="1145000" y="1991773"/>
                      <a:pt x="1145000" y="1991773"/>
                    </a:cubicBezTo>
                    <a:lnTo>
                      <a:pt x="1147381" y="1990249"/>
                    </a:lnTo>
                    <a:lnTo>
                      <a:pt x="1149191" y="1989106"/>
                    </a:lnTo>
                    <a:lnTo>
                      <a:pt x="1150430" y="1988249"/>
                    </a:lnTo>
                    <a:lnTo>
                      <a:pt x="1151668" y="1987487"/>
                    </a:lnTo>
                    <a:lnTo>
                      <a:pt x="1152239" y="1987106"/>
                    </a:lnTo>
                    <a:lnTo>
                      <a:pt x="1152620" y="1986820"/>
                    </a:lnTo>
                    <a:lnTo>
                      <a:pt x="1152811" y="1986820"/>
                    </a:lnTo>
                    <a:cubicBezTo>
                      <a:pt x="1152811" y="1986820"/>
                      <a:pt x="1154239" y="1985867"/>
                      <a:pt x="1154239" y="1985867"/>
                    </a:cubicBezTo>
                    <a:lnTo>
                      <a:pt x="1153859" y="1986153"/>
                    </a:lnTo>
                    <a:lnTo>
                      <a:pt x="1155287" y="1985200"/>
                    </a:lnTo>
                    <a:lnTo>
                      <a:pt x="1154906" y="1985486"/>
                    </a:lnTo>
                    <a:lnTo>
                      <a:pt x="1158335" y="1983296"/>
                    </a:lnTo>
                    <a:lnTo>
                      <a:pt x="1159669" y="1982438"/>
                    </a:lnTo>
                    <a:lnTo>
                      <a:pt x="1159859" y="1982438"/>
                    </a:lnTo>
                    <a:cubicBezTo>
                      <a:pt x="1159859" y="1982438"/>
                      <a:pt x="1160050" y="1982248"/>
                      <a:pt x="1160050" y="1982248"/>
                    </a:cubicBezTo>
                    <a:lnTo>
                      <a:pt x="1160526" y="1981867"/>
                    </a:lnTo>
                    <a:lnTo>
                      <a:pt x="1160717" y="1981867"/>
                    </a:lnTo>
                    <a:cubicBezTo>
                      <a:pt x="1160717" y="1981867"/>
                      <a:pt x="1161383" y="1981391"/>
                      <a:pt x="1161383" y="1981391"/>
                    </a:cubicBezTo>
                    <a:lnTo>
                      <a:pt x="1163002" y="1980343"/>
                    </a:lnTo>
                    <a:lnTo>
                      <a:pt x="1163479" y="1980057"/>
                    </a:lnTo>
                    <a:lnTo>
                      <a:pt x="1164431" y="1979390"/>
                    </a:lnTo>
                    <a:lnTo>
                      <a:pt x="1164908" y="1979105"/>
                    </a:lnTo>
                    <a:lnTo>
                      <a:pt x="1166622" y="1977962"/>
                    </a:lnTo>
                    <a:lnTo>
                      <a:pt x="1164717" y="1979200"/>
                    </a:lnTo>
                    <a:lnTo>
                      <a:pt x="1164717" y="1979200"/>
                    </a:lnTo>
                    <a:cubicBezTo>
                      <a:pt x="1164717" y="1979200"/>
                      <a:pt x="1165384" y="1978819"/>
                      <a:pt x="1165384" y="1978819"/>
                    </a:cubicBezTo>
                    <a:lnTo>
                      <a:pt x="1165384" y="1978819"/>
                    </a:lnTo>
                    <a:cubicBezTo>
                      <a:pt x="1165384" y="1978819"/>
                      <a:pt x="1165384" y="1978819"/>
                      <a:pt x="1165384" y="1978819"/>
                    </a:cubicBezTo>
                    <a:lnTo>
                      <a:pt x="1166241" y="1978247"/>
                    </a:lnTo>
                    <a:lnTo>
                      <a:pt x="1164812" y="1979200"/>
                    </a:lnTo>
                    <a:lnTo>
                      <a:pt x="1165003" y="1979200"/>
                    </a:lnTo>
                    <a:cubicBezTo>
                      <a:pt x="1165003" y="1979200"/>
                      <a:pt x="1166336" y="1978247"/>
                      <a:pt x="1166336" y="1978247"/>
                    </a:cubicBezTo>
                    <a:lnTo>
                      <a:pt x="1166336" y="1978247"/>
                    </a:lnTo>
                    <a:cubicBezTo>
                      <a:pt x="1166336" y="1978247"/>
                      <a:pt x="1166717" y="1978057"/>
                      <a:pt x="1166717" y="1978057"/>
                    </a:cubicBezTo>
                    <a:lnTo>
                      <a:pt x="1169003" y="1976533"/>
                    </a:lnTo>
                    <a:lnTo>
                      <a:pt x="1169480" y="1976152"/>
                    </a:lnTo>
                    <a:lnTo>
                      <a:pt x="1172051" y="1974437"/>
                    </a:lnTo>
                    <a:lnTo>
                      <a:pt x="1171670" y="1974723"/>
                    </a:lnTo>
                    <a:lnTo>
                      <a:pt x="1169956" y="1975866"/>
                    </a:lnTo>
                    <a:lnTo>
                      <a:pt x="1170146" y="1975866"/>
                    </a:lnTo>
                    <a:cubicBezTo>
                      <a:pt x="1170146" y="1975866"/>
                      <a:pt x="1171670" y="1974723"/>
                      <a:pt x="1171670" y="1974723"/>
                    </a:cubicBezTo>
                    <a:lnTo>
                      <a:pt x="1172337" y="1974247"/>
                    </a:lnTo>
                    <a:lnTo>
                      <a:pt x="1172051" y="1974437"/>
                    </a:lnTo>
                    <a:lnTo>
                      <a:pt x="1172718" y="1974056"/>
                    </a:lnTo>
                    <a:lnTo>
                      <a:pt x="1173004" y="1973866"/>
                    </a:lnTo>
                    <a:lnTo>
                      <a:pt x="1173004" y="1973866"/>
                    </a:lnTo>
                    <a:cubicBezTo>
                      <a:pt x="1173004" y="1973866"/>
                      <a:pt x="1173004" y="1973866"/>
                      <a:pt x="1173004" y="1973866"/>
                    </a:cubicBezTo>
                    <a:lnTo>
                      <a:pt x="1173004" y="1973866"/>
                    </a:lnTo>
                    <a:cubicBezTo>
                      <a:pt x="1173004" y="1973866"/>
                      <a:pt x="1173004" y="1973866"/>
                      <a:pt x="1173004" y="1973866"/>
                    </a:cubicBezTo>
                    <a:lnTo>
                      <a:pt x="1175004" y="1972532"/>
                    </a:lnTo>
                    <a:lnTo>
                      <a:pt x="1178433" y="1970246"/>
                    </a:lnTo>
                    <a:lnTo>
                      <a:pt x="1173861" y="1973199"/>
                    </a:lnTo>
                    <a:lnTo>
                      <a:pt x="1174718" y="1972628"/>
                    </a:lnTo>
                    <a:lnTo>
                      <a:pt x="1173480" y="1973485"/>
                    </a:lnTo>
                    <a:lnTo>
                      <a:pt x="1173194" y="1973675"/>
                    </a:lnTo>
                    <a:lnTo>
                      <a:pt x="1173099" y="1973675"/>
                    </a:lnTo>
                    <a:cubicBezTo>
                      <a:pt x="1173099" y="1973675"/>
                      <a:pt x="1173099" y="1973675"/>
                      <a:pt x="1173099" y="1973675"/>
                    </a:cubicBezTo>
                    <a:lnTo>
                      <a:pt x="1173385" y="1973485"/>
                    </a:lnTo>
                    <a:lnTo>
                      <a:pt x="1173766" y="1973199"/>
                    </a:lnTo>
                    <a:lnTo>
                      <a:pt x="1173289" y="1973485"/>
                    </a:lnTo>
                    <a:lnTo>
                      <a:pt x="1184434" y="1966055"/>
                    </a:lnTo>
                    <a:lnTo>
                      <a:pt x="1186148" y="1964912"/>
                    </a:lnTo>
                    <a:lnTo>
                      <a:pt x="1186625" y="1964626"/>
                    </a:lnTo>
                    <a:lnTo>
                      <a:pt x="1186625" y="1964626"/>
                    </a:lnTo>
                    <a:cubicBezTo>
                      <a:pt x="1186625" y="1964626"/>
                      <a:pt x="1186625" y="1964626"/>
                      <a:pt x="1186625" y="1964626"/>
                    </a:cubicBezTo>
                    <a:lnTo>
                      <a:pt x="1187482" y="1964055"/>
                    </a:lnTo>
                    <a:lnTo>
                      <a:pt x="1188530" y="1963293"/>
                    </a:lnTo>
                    <a:lnTo>
                      <a:pt x="1190149" y="1962245"/>
                    </a:lnTo>
                    <a:lnTo>
                      <a:pt x="1190244" y="1962245"/>
                    </a:lnTo>
                    <a:cubicBezTo>
                      <a:pt x="1190244" y="1962245"/>
                      <a:pt x="1190720" y="1961864"/>
                      <a:pt x="1190720" y="1961864"/>
                    </a:cubicBezTo>
                    <a:lnTo>
                      <a:pt x="1194245" y="1959483"/>
                    </a:lnTo>
                    <a:lnTo>
                      <a:pt x="1195483" y="1958626"/>
                    </a:lnTo>
                    <a:lnTo>
                      <a:pt x="1196245" y="1958054"/>
                    </a:lnTo>
                    <a:lnTo>
                      <a:pt x="1197007" y="1957578"/>
                    </a:lnTo>
                    <a:lnTo>
                      <a:pt x="1197864" y="1957007"/>
                    </a:lnTo>
                    <a:lnTo>
                      <a:pt x="1199007" y="1956245"/>
                    </a:lnTo>
                    <a:lnTo>
                      <a:pt x="1199864" y="1955673"/>
                    </a:lnTo>
                    <a:lnTo>
                      <a:pt x="1203579" y="1953101"/>
                    </a:lnTo>
                    <a:lnTo>
                      <a:pt x="1202722" y="1953673"/>
                    </a:lnTo>
                    <a:lnTo>
                      <a:pt x="1203770" y="1952911"/>
                    </a:lnTo>
                    <a:lnTo>
                      <a:pt x="1206818" y="1950815"/>
                    </a:lnTo>
                    <a:lnTo>
                      <a:pt x="1208913" y="1949291"/>
                    </a:lnTo>
                    <a:lnTo>
                      <a:pt x="1209485" y="1948910"/>
                    </a:lnTo>
                    <a:lnTo>
                      <a:pt x="1210913" y="1947863"/>
                    </a:lnTo>
                    <a:lnTo>
                      <a:pt x="1211104" y="1947672"/>
                    </a:lnTo>
                    <a:lnTo>
                      <a:pt x="1212152" y="1946910"/>
                    </a:lnTo>
                    <a:lnTo>
                      <a:pt x="1212628" y="1946624"/>
                    </a:lnTo>
                    <a:lnTo>
                      <a:pt x="1211961" y="1947100"/>
                    </a:lnTo>
                    <a:lnTo>
                      <a:pt x="1212437" y="1946720"/>
                    </a:lnTo>
                    <a:lnTo>
                      <a:pt x="1211866" y="1947100"/>
                    </a:lnTo>
                    <a:lnTo>
                      <a:pt x="1211485" y="1947386"/>
                    </a:lnTo>
                    <a:lnTo>
                      <a:pt x="1211104" y="1947672"/>
                    </a:lnTo>
                    <a:lnTo>
                      <a:pt x="1210913" y="1947672"/>
                    </a:lnTo>
                    <a:cubicBezTo>
                      <a:pt x="1210913" y="1947672"/>
                      <a:pt x="1207960" y="1949863"/>
                      <a:pt x="1207960" y="1949863"/>
                    </a:cubicBezTo>
                    <a:lnTo>
                      <a:pt x="1208246" y="1949672"/>
                    </a:lnTo>
                    <a:lnTo>
                      <a:pt x="1207865" y="1949958"/>
                    </a:lnTo>
                    <a:lnTo>
                      <a:pt x="1207960" y="1949958"/>
                    </a:lnTo>
                    <a:cubicBezTo>
                      <a:pt x="1207960" y="1949958"/>
                      <a:pt x="1207865" y="1949958"/>
                      <a:pt x="1207865" y="1949958"/>
                    </a:cubicBezTo>
                    <a:lnTo>
                      <a:pt x="1207675" y="1949958"/>
                    </a:lnTo>
                    <a:cubicBezTo>
                      <a:pt x="1207675" y="1949958"/>
                      <a:pt x="1204341" y="1952434"/>
                      <a:pt x="1204341" y="1952434"/>
                    </a:cubicBezTo>
                    <a:lnTo>
                      <a:pt x="1205675" y="1951482"/>
                    </a:lnTo>
                    <a:lnTo>
                      <a:pt x="1207865" y="1949958"/>
                    </a:lnTo>
                    <a:lnTo>
                      <a:pt x="1211485" y="1947482"/>
                    </a:lnTo>
                    <a:lnTo>
                      <a:pt x="1213295" y="1946148"/>
                    </a:lnTo>
                    <a:lnTo>
                      <a:pt x="1213580" y="1945958"/>
                    </a:lnTo>
                    <a:lnTo>
                      <a:pt x="1212914" y="1946434"/>
                    </a:lnTo>
                    <a:lnTo>
                      <a:pt x="1212437" y="1946720"/>
                    </a:lnTo>
                    <a:lnTo>
                      <a:pt x="1212818" y="1946434"/>
                    </a:lnTo>
                    <a:lnTo>
                      <a:pt x="1212628" y="1946624"/>
                    </a:lnTo>
                    <a:lnTo>
                      <a:pt x="1213009" y="1946339"/>
                    </a:lnTo>
                    <a:lnTo>
                      <a:pt x="1213961" y="1945672"/>
                    </a:lnTo>
                    <a:lnTo>
                      <a:pt x="1213961" y="1945672"/>
                    </a:lnTo>
                    <a:cubicBezTo>
                      <a:pt x="1213961" y="1945672"/>
                      <a:pt x="1213009" y="1946339"/>
                      <a:pt x="1213009" y="1946339"/>
                    </a:cubicBezTo>
                    <a:lnTo>
                      <a:pt x="1213961" y="1945672"/>
                    </a:lnTo>
                    <a:lnTo>
                      <a:pt x="1214342" y="1945386"/>
                    </a:lnTo>
                    <a:lnTo>
                      <a:pt x="1214056" y="1945576"/>
                    </a:lnTo>
                    <a:lnTo>
                      <a:pt x="1215390" y="1944624"/>
                    </a:lnTo>
                    <a:lnTo>
                      <a:pt x="1216247" y="1944053"/>
                    </a:lnTo>
                    <a:lnTo>
                      <a:pt x="1216247" y="1944053"/>
                    </a:lnTo>
                    <a:cubicBezTo>
                      <a:pt x="1216247" y="1944053"/>
                      <a:pt x="1217390" y="1943195"/>
                      <a:pt x="1217390" y="1943195"/>
                    </a:cubicBezTo>
                    <a:lnTo>
                      <a:pt x="1217200" y="1943386"/>
                    </a:lnTo>
                    <a:lnTo>
                      <a:pt x="1220629" y="1940909"/>
                    </a:lnTo>
                    <a:lnTo>
                      <a:pt x="1215771" y="1944338"/>
                    </a:lnTo>
                    <a:lnTo>
                      <a:pt x="1215581" y="1944338"/>
                    </a:lnTo>
                    <a:cubicBezTo>
                      <a:pt x="1215581" y="1944338"/>
                      <a:pt x="1217009" y="1943481"/>
                      <a:pt x="1217009" y="1943481"/>
                    </a:cubicBezTo>
                    <a:lnTo>
                      <a:pt x="1226439" y="1936718"/>
                    </a:lnTo>
                    <a:lnTo>
                      <a:pt x="1234059" y="1931194"/>
                    </a:lnTo>
                    <a:lnTo>
                      <a:pt x="1236440" y="1929384"/>
                    </a:lnTo>
                    <a:lnTo>
                      <a:pt x="1238631" y="1927765"/>
                    </a:lnTo>
                    <a:lnTo>
                      <a:pt x="1243775" y="1923955"/>
                    </a:lnTo>
                    <a:lnTo>
                      <a:pt x="1254347" y="1915954"/>
                    </a:lnTo>
                    <a:lnTo>
                      <a:pt x="1256157" y="1914620"/>
                    </a:lnTo>
                    <a:lnTo>
                      <a:pt x="1256729" y="1914239"/>
                    </a:lnTo>
                    <a:lnTo>
                      <a:pt x="1257300" y="1913763"/>
                    </a:lnTo>
                    <a:lnTo>
                      <a:pt x="1261491" y="1910525"/>
                    </a:lnTo>
                    <a:lnTo>
                      <a:pt x="1261681" y="1910334"/>
                    </a:lnTo>
                    <a:lnTo>
                      <a:pt x="1262825" y="1909477"/>
                    </a:lnTo>
                    <a:lnTo>
                      <a:pt x="1264158" y="1908429"/>
                    </a:lnTo>
                    <a:lnTo>
                      <a:pt x="1275683" y="1899380"/>
                    </a:lnTo>
                    <a:lnTo>
                      <a:pt x="1276350" y="1898809"/>
                    </a:lnTo>
                    <a:lnTo>
                      <a:pt x="1277779" y="1897666"/>
                    </a:lnTo>
                    <a:lnTo>
                      <a:pt x="1287589" y="1889665"/>
                    </a:lnTo>
                    <a:lnTo>
                      <a:pt x="1288828" y="1888617"/>
                    </a:lnTo>
                    <a:lnTo>
                      <a:pt x="1284446" y="1892237"/>
                    </a:lnTo>
                    <a:lnTo>
                      <a:pt x="1290161" y="1887665"/>
                    </a:lnTo>
                    <a:lnTo>
                      <a:pt x="1290161" y="1887665"/>
                    </a:lnTo>
                    <a:cubicBezTo>
                      <a:pt x="1290161" y="1887665"/>
                      <a:pt x="1291400" y="1886712"/>
                      <a:pt x="1291400" y="1886712"/>
                    </a:cubicBezTo>
                    <a:lnTo>
                      <a:pt x="1290352" y="1887569"/>
                    </a:lnTo>
                    <a:lnTo>
                      <a:pt x="1290352" y="1887569"/>
                    </a:lnTo>
                    <a:cubicBezTo>
                      <a:pt x="1290352" y="1887569"/>
                      <a:pt x="1290352" y="1887474"/>
                      <a:pt x="1290352" y="1887474"/>
                    </a:cubicBezTo>
                    <a:lnTo>
                      <a:pt x="1290828" y="1887093"/>
                    </a:lnTo>
                    <a:lnTo>
                      <a:pt x="1294733" y="1883950"/>
                    </a:lnTo>
                    <a:lnTo>
                      <a:pt x="1295114" y="1883664"/>
                    </a:lnTo>
                    <a:lnTo>
                      <a:pt x="1295305" y="1883474"/>
                    </a:lnTo>
                    <a:lnTo>
                      <a:pt x="1295400" y="1883474"/>
                    </a:lnTo>
                    <a:cubicBezTo>
                      <a:pt x="1295400" y="1883474"/>
                      <a:pt x="1295400" y="1883474"/>
                      <a:pt x="1295400" y="1883474"/>
                    </a:cubicBezTo>
                    <a:lnTo>
                      <a:pt x="1295781" y="1883188"/>
                    </a:lnTo>
                    <a:lnTo>
                      <a:pt x="1296448" y="1882616"/>
                    </a:lnTo>
                    <a:lnTo>
                      <a:pt x="1297210" y="1882045"/>
                    </a:lnTo>
                    <a:lnTo>
                      <a:pt x="1298067" y="1881378"/>
                    </a:lnTo>
                    <a:lnTo>
                      <a:pt x="1301687" y="1878330"/>
                    </a:lnTo>
                    <a:lnTo>
                      <a:pt x="1303020" y="1877187"/>
                    </a:lnTo>
                    <a:lnTo>
                      <a:pt x="1304544" y="1875949"/>
                    </a:lnTo>
                    <a:lnTo>
                      <a:pt x="1305973" y="1874711"/>
                    </a:lnTo>
                    <a:lnTo>
                      <a:pt x="1307687" y="1873282"/>
                    </a:lnTo>
                    <a:lnTo>
                      <a:pt x="1310354" y="1871091"/>
                    </a:lnTo>
                    <a:lnTo>
                      <a:pt x="1311116" y="1870424"/>
                    </a:lnTo>
                    <a:lnTo>
                      <a:pt x="1311402" y="1870234"/>
                    </a:lnTo>
                    <a:lnTo>
                      <a:pt x="1313783" y="1868233"/>
                    </a:lnTo>
                    <a:lnTo>
                      <a:pt x="1312926" y="1868996"/>
                    </a:lnTo>
                    <a:lnTo>
                      <a:pt x="1316069" y="1866329"/>
                    </a:lnTo>
                    <a:lnTo>
                      <a:pt x="1315022" y="1867186"/>
                    </a:lnTo>
                    <a:lnTo>
                      <a:pt x="1315974" y="1866329"/>
                    </a:lnTo>
                    <a:lnTo>
                      <a:pt x="1316736" y="1865757"/>
                    </a:lnTo>
                    <a:lnTo>
                      <a:pt x="1317022" y="1865566"/>
                    </a:lnTo>
                    <a:lnTo>
                      <a:pt x="1317498" y="1865186"/>
                    </a:lnTo>
                    <a:lnTo>
                      <a:pt x="1319689" y="1863281"/>
                    </a:lnTo>
                    <a:lnTo>
                      <a:pt x="1319975" y="1862995"/>
                    </a:lnTo>
                    <a:lnTo>
                      <a:pt x="1319784" y="1862995"/>
                    </a:lnTo>
                    <a:cubicBezTo>
                      <a:pt x="1319784" y="1862995"/>
                      <a:pt x="1321975" y="1861280"/>
                      <a:pt x="1321975" y="1861280"/>
                    </a:cubicBezTo>
                    <a:lnTo>
                      <a:pt x="1323975" y="1859566"/>
                    </a:lnTo>
                    <a:lnTo>
                      <a:pt x="1323975" y="1859566"/>
                    </a:lnTo>
                    <a:cubicBezTo>
                      <a:pt x="1323975" y="1859566"/>
                      <a:pt x="1334834" y="1850041"/>
                      <a:pt x="1334834" y="1850041"/>
                    </a:cubicBezTo>
                    <a:lnTo>
                      <a:pt x="1338929" y="1846421"/>
                    </a:lnTo>
                    <a:lnTo>
                      <a:pt x="1343120" y="1842707"/>
                    </a:lnTo>
                    <a:lnTo>
                      <a:pt x="1362742" y="1824609"/>
                    </a:lnTo>
                    <a:lnTo>
                      <a:pt x="1379030" y="1808798"/>
                    </a:lnTo>
                    <a:lnTo>
                      <a:pt x="1404461" y="1782604"/>
                    </a:lnTo>
                    <a:lnTo>
                      <a:pt x="1420749" y="1764506"/>
                    </a:lnTo>
                    <a:lnTo>
                      <a:pt x="1438656" y="1742123"/>
                    </a:lnTo>
                    <a:lnTo>
                      <a:pt x="1450753" y="1725168"/>
                    </a:lnTo>
                    <a:lnTo>
                      <a:pt x="1461516" y="1706975"/>
                    </a:lnTo>
                    <a:lnTo>
                      <a:pt x="1468088" y="1692974"/>
                    </a:lnTo>
                    <a:lnTo>
                      <a:pt x="1472375" y="1681448"/>
                    </a:lnTo>
                    <a:lnTo>
                      <a:pt x="1473232" y="1673352"/>
                    </a:lnTo>
                    <a:lnTo>
                      <a:pt x="1475137" y="1668399"/>
                    </a:lnTo>
                    <a:lnTo>
                      <a:pt x="1473232" y="1666970"/>
                    </a:lnTo>
                    <a:lnTo>
                      <a:pt x="1472470" y="1663446"/>
                    </a:lnTo>
                    <a:lnTo>
                      <a:pt x="1471041" y="1662970"/>
                    </a:lnTo>
                    <a:lnTo>
                      <a:pt x="1465326" y="1670018"/>
                    </a:lnTo>
                    <a:lnTo>
                      <a:pt x="1459420" y="1679829"/>
                    </a:lnTo>
                    <a:lnTo>
                      <a:pt x="1451705" y="1689830"/>
                    </a:lnTo>
                    <a:lnTo>
                      <a:pt x="1445133" y="1698689"/>
                    </a:lnTo>
                    <a:lnTo>
                      <a:pt x="1440180" y="1704499"/>
                    </a:lnTo>
                    <a:lnTo>
                      <a:pt x="1431322" y="1714786"/>
                    </a:lnTo>
                    <a:lnTo>
                      <a:pt x="1426274" y="1721739"/>
                    </a:lnTo>
                    <a:lnTo>
                      <a:pt x="1418558" y="1730693"/>
                    </a:lnTo>
                    <a:lnTo>
                      <a:pt x="1405318" y="1747076"/>
                    </a:lnTo>
                    <a:lnTo>
                      <a:pt x="1387602" y="1766221"/>
                    </a:lnTo>
                    <a:lnTo>
                      <a:pt x="1372457" y="1782985"/>
                    </a:lnTo>
                    <a:lnTo>
                      <a:pt x="1363980" y="1791272"/>
                    </a:lnTo>
                    <a:lnTo>
                      <a:pt x="1354836" y="1797368"/>
                    </a:lnTo>
                    <a:lnTo>
                      <a:pt x="1350074" y="1799177"/>
                    </a:lnTo>
                    <a:lnTo>
                      <a:pt x="1343787" y="1803845"/>
                    </a:lnTo>
                    <a:lnTo>
                      <a:pt x="1335405" y="1809845"/>
                    </a:lnTo>
                    <a:lnTo>
                      <a:pt x="1344549" y="1799654"/>
                    </a:lnTo>
                    <a:lnTo>
                      <a:pt x="1343597" y="1797558"/>
                    </a:lnTo>
                    <a:lnTo>
                      <a:pt x="1338358" y="1800225"/>
                    </a:lnTo>
                    <a:lnTo>
                      <a:pt x="1328642" y="1806988"/>
                    </a:lnTo>
                    <a:lnTo>
                      <a:pt x="1321880" y="1810607"/>
                    </a:lnTo>
                    <a:lnTo>
                      <a:pt x="1310164" y="1816703"/>
                    </a:lnTo>
                    <a:lnTo>
                      <a:pt x="1298067" y="1822799"/>
                    </a:lnTo>
                    <a:lnTo>
                      <a:pt x="1269778" y="1839182"/>
                    </a:lnTo>
                    <a:lnTo>
                      <a:pt x="1257776" y="1844897"/>
                    </a:lnTo>
                    <a:lnTo>
                      <a:pt x="1248823" y="1844040"/>
                    </a:lnTo>
                    <a:lnTo>
                      <a:pt x="1233011" y="1845850"/>
                    </a:lnTo>
                    <a:lnTo>
                      <a:pt x="1221296" y="1851470"/>
                    </a:lnTo>
                    <a:lnTo>
                      <a:pt x="1213199" y="1855375"/>
                    </a:lnTo>
                    <a:lnTo>
                      <a:pt x="1200722" y="1852898"/>
                    </a:lnTo>
                    <a:lnTo>
                      <a:pt x="1192816" y="1847945"/>
                    </a:lnTo>
                    <a:lnTo>
                      <a:pt x="1195864" y="1843659"/>
                    </a:lnTo>
                    <a:lnTo>
                      <a:pt x="1184720" y="1841087"/>
                    </a:lnTo>
                    <a:lnTo>
                      <a:pt x="1180433" y="1841945"/>
                    </a:lnTo>
                    <a:lnTo>
                      <a:pt x="1154335" y="1850612"/>
                    </a:lnTo>
                    <a:lnTo>
                      <a:pt x="1150049" y="1845945"/>
                    </a:lnTo>
                    <a:lnTo>
                      <a:pt x="1152620" y="1841945"/>
                    </a:lnTo>
                    <a:lnTo>
                      <a:pt x="1129951" y="1844326"/>
                    </a:lnTo>
                    <a:lnTo>
                      <a:pt x="1120807" y="1843469"/>
                    </a:lnTo>
                    <a:lnTo>
                      <a:pt x="1110901" y="1843278"/>
                    </a:lnTo>
                    <a:lnTo>
                      <a:pt x="1087660" y="1838135"/>
                    </a:lnTo>
                    <a:lnTo>
                      <a:pt x="1070324" y="1835658"/>
                    </a:lnTo>
                    <a:lnTo>
                      <a:pt x="1056132" y="1829848"/>
                    </a:lnTo>
                    <a:lnTo>
                      <a:pt x="1057370" y="1827752"/>
                    </a:lnTo>
                    <a:lnTo>
                      <a:pt x="1079373" y="1833848"/>
                    </a:lnTo>
                    <a:lnTo>
                      <a:pt x="1090327" y="1832801"/>
                    </a:lnTo>
                    <a:lnTo>
                      <a:pt x="1098328" y="1831848"/>
                    </a:lnTo>
                    <a:lnTo>
                      <a:pt x="1101376" y="1827371"/>
                    </a:lnTo>
                    <a:lnTo>
                      <a:pt x="1102805" y="1819180"/>
                    </a:lnTo>
                    <a:lnTo>
                      <a:pt x="1101566" y="1809274"/>
                    </a:lnTo>
                    <a:lnTo>
                      <a:pt x="1103757" y="1801940"/>
                    </a:lnTo>
                    <a:lnTo>
                      <a:pt x="1105376" y="1802987"/>
                    </a:lnTo>
                    <a:lnTo>
                      <a:pt x="1105948" y="1808417"/>
                    </a:lnTo>
                    <a:lnTo>
                      <a:pt x="1107472" y="1812322"/>
                    </a:lnTo>
                    <a:lnTo>
                      <a:pt x="1108329" y="1819466"/>
                    </a:lnTo>
                    <a:lnTo>
                      <a:pt x="1117092" y="1813274"/>
                    </a:lnTo>
                    <a:lnTo>
                      <a:pt x="1130522" y="1813274"/>
                    </a:lnTo>
                    <a:cubicBezTo>
                      <a:pt x="1130522" y="1813274"/>
                      <a:pt x="1146429" y="1812703"/>
                      <a:pt x="1146429" y="1812703"/>
                    </a:cubicBezTo>
                    <a:lnTo>
                      <a:pt x="1158050" y="1814036"/>
                    </a:lnTo>
                    <a:lnTo>
                      <a:pt x="1164622" y="1812131"/>
                    </a:lnTo>
                    <a:lnTo>
                      <a:pt x="1172718" y="1812798"/>
                    </a:lnTo>
                    <a:lnTo>
                      <a:pt x="1173194" y="1815370"/>
                    </a:lnTo>
                    <a:lnTo>
                      <a:pt x="1182529" y="1815560"/>
                    </a:lnTo>
                    <a:lnTo>
                      <a:pt x="1193292" y="1809845"/>
                    </a:lnTo>
                    <a:lnTo>
                      <a:pt x="1203865" y="1806416"/>
                    </a:lnTo>
                    <a:lnTo>
                      <a:pt x="1220534" y="1806607"/>
                    </a:lnTo>
                    <a:lnTo>
                      <a:pt x="1223201" y="1811465"/>
                    </a:lnTo>
                    <a:lnTo>
                      <a:pt x="1229201" y="1814703"/>
                    </a:lnTo>
                    <a:lnTo>
                      <a:pt x="1246060" y="1811465"/>
                    </a:lnTo>
                    <a:lnTo>
                      <a:pt x="1254728" y="1805940"/>
                    </a:lnTo>
                    <a:lnTo>
                      <a:pt x="1270445" y="1799939"/>
                    </a:lnTo>
                    <a:lnTo>
                      <a:pt x="1279589" y="1800606"/>
                    </a:lnTo>
                    <a:lnTo>
                      <a:pt x="1293019" y="1797272"/>
                    </a:lnTo>
                    <a:lnTo>
                      <a:pt x="1303687" y="1791176"/>
                    </a:lnTo>
                    <a:lnTo>
                      <a:pt x="1306925" y="1792129"/>
                    </a:lnTo>
                    <a:lnTo>
                      <a:pt x="1313593" y="1788986"/>
                    </a:lnTo>
                    <a:lnTo>
                      <a:pt x="1317879" y="1788986"/>
                    </a:lnTo>
                    <a:cubicBezTo>
                      <a:pt x="1317879" y="1788986"/>
                      <a:pt x="1320641" y="1790605"/>
                      <a:pt x="1320641" y="1790605"/>
                    </a:cubicBezTo>
                    <a:lnTo>
                      <a:pt x="1319403" y="1793462"/>
                    </a:lnTo>
                    <a:lnTo>
                      <a:pt x="1323213" y="1794034"/>
                    </a:lnTo>
                    <a:lnTo>
                      <a:pt x="1319975" y="1797463"/>
                    </a:lnTo>
                    <a:lnTo>
                      <a:pt x="1326737" y="1794796"/>
                    </a:lnTo>
                    <a:lnTo>
                      <a:pt x="1333214" y="1794796"/>
                    </a:lnTo>
                    <a:cubicBezTo>
                      <a:pt x="1333214" y="1794796"/>
                      <a:pt x="1337215" y="1793558"/>
                      <a:pt x="1337215" y="1793558"/>
                    </a:cubicBezTo>
                    <a:lnTo>
                      <a:pt x="1338834" y="1796320"/>
                    </a:lnTo>
                    <a:lnTo>
                      <a:pt x="1345502" y="1794415"/>
                    </a:lnTo>
                    <a:lnTo>
                      <a:pt x="1357598" y="1783175"/>
                    </a:lnTo>
                    <a:lnTo>
                      <a:pt x="1362551" y="1777365"/>
                    </a:lnTo>
                    <a:lnTo>
                      <a:pt x="1371029" y="1769174"/>
                    </a:lnTo>
                    <a:lnTo>
                      <a:pt x="1372648" y="1765554"/>
                    </a:lnTo>
                    <a:lnTo>
                      <a:pt x="1376743" y="1760887"/>
                    </a:lnTo>
                    <a:lnTo>
                      <a:pt x="1379315" y="1756124"/>
                    </a:lnTo>
                    <a:lnTo>
                      <a:pt x="1383316" y="1751648"/>
                    </a:lnTo>
                    <a:lnTo>
                      <a:pt x="1396841" y="1737074"/>
                    </a:lnTo>
                    <a:lnTo>
                      <a:pt x="1406366" y="1725263"/>
                    </a:lnTo>
                    <a:lnTo>
                      <a:pt x="1413891" y="1713452"/>
                    </a:lnTo>
                    <a:lnTo>
                      <a:pt x="1418844" y="1708404"/>
                    </a:lnTo>
                    <a:lnTo>
                      <a:pt x="1425512" y="1700403"/>
                    </a:lnTo>
                    <a:lnTo>
                      <a:pt x="1436084" y="1681639"/>
                    </a:lnTo>
                    <a:lnTo>
                      <a:pt x="1457801" y="1650778"/>
                    </a:lnTo>
                    <a:lnTo>
                      <a:pt x="1470184" y="1630775"/>
                    </a:lnTo>
                    <a:lnTo>
                      <a:pt x="1468755" y="1628966"/>
                    </a:lnTo>
                    <a:lnTo>
                      <a:pt x="1469136" y="1623536"/>
                    </a:lnTo>
                    <a:lnTo>
                      <a:pt x="1477899" y="1608963"/>
                    </a:lnTo>
                    <a:lnTo>
                      <a:pt x="1483995" y="1600105"/>
                    </a:lnTo>
                    <a:lnTo>
                      <a:pt x="1491234" y="1586103"/>
                    </a:lnTo>
                    <a:lnTo>
                      <a:pt x="1499235" y="1576007"/>
                    </a:lnTo>
                    <a:lnTo>
                      <a:pt x="1504093" y="1565624"/>
                    </a:lnTo>
                    <a:lnTo>
                      <a:pt x="1501616" y="1564005"/>
                    </a:lnTo>
                    <a:lnTo>
                      <a:pt x="1505236" y="1555433"/>
                    </a:lnTo>
                    <a:lnTo>
                      <a:pt x="1513332" y="1543526"/>
                    </a:lnTo>
                    <a:lnTo>
                      <a:pt x="1514951" y="1538192"/>
                    </a:lnTo>
                    <a:lnTo>
                      <a:pt x="1513046" y="1534287"/>
                    </a:lnTo>
                    <a:lnTo>
                      <a:pt x="1518476" y="1520571"/>
                    </a:lnTo>
                    <a:lnTo>
                      <a:pt x="1524191" y="1511618"/>
                    </a:lnTo>
                    <a:lnTo>
                      <a:pt x="1524572" y="1509236"/>
                    </a:lnTo>
                    <a:lnTo>
                      <a:pt x="1518476" y="1508760"/>
                    </a:lnTo>
                    <a:lnTo>
                      <a:pt x="1516856" y="1503426"/>
                    </a:lnTo>
                    <a:lnTo>
                      <a:pt x="1517618" y="1498283"/>
                    </a:lnTo>
                    <a:lnTo>
                      <a:pt x="1523428" y="1489710"/>
                    </a:lnTo>
                    <a:lnTo>
                      <a:pt x="1522762" y="1479328"/>
                    </a:lnTo>
                    <a:lnTo>
                      <a:pt x="1525238" y="1469708"/>
                    </a:lnTo>
                    <a:lnTo>
                      <a:pt x="1524952" y="1465326"/>
                    </a:lnTo>
                    <a:lnTo>
                      <a:pt x="1524381" y="1455515"/>
                    </a:lnTo>
                    <a:lnTo>
                      <a:pt x="1522571" y="1454468"/>
                    </a:lnTo>
                    <a:lnTo>
                      <a:pt x="1517428" y="1460849"/>
                    </a:lnTo>
                    <a:lnTo>
                      <a:pt x="1511618" y="1464469"/>
                    </a:lnTo>
                    <a:lnTo>
                      <a:pt x="1501711" y="1470279"/>
                    </a:lnTo>
                    <a:lnTo>
                      <a:pt x="1493234" y="1480566"/>
                    </a:lnTo>
                    <a:lnTo>
                      <a:pt x="1483424" y="1493711"/>
                    </a:lnTo>
                    <a:lnTo>
                      <a:pt x="1473613" y="1502188"/>
                    </a:lnTo>
                    <a:lnTo>
                      <a:pt x="1462373" y="1506665"/>
                    </a:lnTo>
                    <a:lnTo>
                      <a:pt x="1453896" y="1504569"/>
                    </a:lnTo>
                    <a:lnTo>
                      <a:pt x="1453896" y="1501140"/>
                    </a:lnTo>
                    <a:cubicBezTo>
                      <a:pt x="1453896" y="1501140"/>
                      <a:pt x="1451324" y="1496949"/>
                      <a:pt x="1451324" y="1496949"/>
                    </a:cubicBezTo>
                    <a:lnTo>
                      <a:pt x="1449038" y="1498664"/>
                    </a:lnTo>
                    <a:lnTo>
                      <a:pt x="1448562" y="1505998"/>
                    </a:lnTo>
                    <a:lnTo>
                      <a:pt x="1446181" y="1521143"/>
                    </a:lnTo>
                    <a:lnTo>
                      <a:pt x="1442180" y="1538478"/>
                    </a:lnTo>
                    <a:lnTo>
                      <a:pt x="1438847" y="1554766"/>
                    </a:lnTo>
                    <a:lnTo>
                      <a:pt x="1430655" y="1565434"/>
                    </a:lnTo>
                    <a:lnTo>
                      <a:pt x="1419416" y="1579912"/>
                    </a:lnTo>
                    <a:lnTo>
                      <a:pt x="1409986" y="1594676"/>
                    </a:lnTo>
                    <a:lnTo>
                      <a:pt x="1407319" y="1593628"/>
                    </a:lnTo>
                    <a:lnTo>
                      <a:pt x="1405223" y="1597057"/>
                    </a:lnTo>
                    <a:lnTo>
                      <a:pt x="1399604" y="1597914"/>
                    </a:lnTo>
                    <a:lnTo>
                      <a:pt x="1397889" y="1590389"/>
                    </a:lnTo>
                    <a:lnTo>
                      <a:pt x="1392841" y="1586865"/>
                    </a:lnTo>
                    <a:lnTo>
                      <a:pt x="1386078" y="1590008"/>
                    </a:lnTo>
                    <a:lnTo>
                      <a:pt x="1383221" y="1595438"/>
                    </a:lnTo>
                    <a:lnTo>
                      <a:pt x="1383792" y="1603534"/>
                    </a:lnTo>
                    <a:lnTo>
                      <a:pt x="1390555" y="1607153"/>
                    </a:lnTo>
                    <a:lnTo>
                      <a:pt x="1386554" y="1608106"/>
                    </a:lnTo>
                    <a:lnTo>
                      <a:pt x="1382077" y="1608106"/>
                    </a:lnTo>
                    <a:cubicBezTo>
                      <a:pt x="1382077" y="1608106"/>
                      <a:pt x="1375791" y="1611249"/>
                      <a:pt x="1375791" y="1611249"/>
                    </a:cubicBezTo>
                    <a:lnTo>
                      <a:pt x="1371314" y="1611059"/>
                    </a:lnTo>
                    <a:lnTo>
                      <a:pt x="1369981" y="1607058"/>
                    </a:lnTo>
                    <a:lnTo>
                      <a:pt x="1365695" y="1605153"/>
                    </a:lnTo>
                    <a:lnTo>
                      <a:pt x="1352550" y="1613440"/>
                    </a:lnTo>
                    <a:lnTo>
                      <a:pt x="1347121" y="1613726"/>
                    </a:lnTo>
                    <a:lnTo>
                      <a:pt x="1338167" y="1620107"/>
                    </a:lnTo>
                    <a:lnTo>
                      <a:pt x="1325118" y="1619822"/>
                    </a:lnTo>
                    <a:lnTo>
                      <a:pt x="1313879" y="1619060"/>
                    </a:lnTo>
                    <a:lnTo>
                      <a:pt x="1313117" y="1615821"/>
                    </a:lnTo>
                    <a:lnTo>
                      <a:pt x="1306163" y="1615535"/>
                    </a:lnTo>
                    <a:lnTo>
                      <a:pt x="1314926" y="1606582"/>
                    </a:lnTo>
                    <a:lnTo>
                      <a:pt x="1316546" y="1597533"/>
                    </a:lnTo>
                    <a:lnTo>
                      <a:pt x="1328356" y="1590008"/>
                    </a:lnTo>
                    <a:lnTo>
                      <a:pt x="1334167" y="1580102"/>
                    </a:lnTo>
                    <a:lnTo>
                      <a:pt x="1356455" y="1578197"/>
                    </a:lnTo>
                    <a:lnTo>
                      <a:pt x="1373981" y="1573911"/>
                    </a:lnTo>
                    <a:lnTo>
                      <a:pt x="1389317" y="1559528"/>
                    </a:lnTo>
                    <a:lnTo>
                      <a:pt x="1409319" y="1547241"/>
                    </a:lnTo>
                    <a:lnTo>
                      <a:pt x="1427893" y="1527810"/>
                    </a:lnTo>
                    <a:lnTo>
                      <a:pt x="1436084" y="1506760"/>
                    </a:lnTo>
                    <a:lnTo>
                      <a:pt x="1443704" y="1491806"/>
                    </a:lnTo>
                    <a:lnTo>
                      <a:pt x="1451039" y="1484186"/>
                    </a:lnTo>
                    <a:lnTo>
                      <a:pt x="1467231" y="1483519"/>
                    </a:lnTo>
                    <a:lnTo>
                      <a:pt x="1481518" y="1463231"/>
                    </a:lnTo>
                    <a:lnTo>
                      <a:pt x="1495901" y="1443895"/>
                    </a:lnTo>
                    <a:lnTo>
                      <a:pt x="1519047" y="1409319"/>
                    </a:lnTo>
                    <a:lnTo>
                      <a:pt x="1532287" y="1381125"/>
                    </a:lnTo>
                    <a:lnTo>
                      <a:pt x="1548003" y="1348931"/>
                    </a:lnTo>
                    <a:lnTo>
                      <a:pt x="1563052" y="1311212"/>
                    </a:lnTo>
                    <a:lnTo>
                      <a:pt x="1576959" y="1298639"/>
                    </a:lnTo>
                    <a:lnTo>
                      <a:pt x="1586198" y="1295305"/>
                    </a:lnTo>
                    <a:lnTo>
                      <a:pt x="1594676" y="1281113"/>
                    </a:lnTo>
                    <a:lnTo>
                      <a:pt x="1611820" y="1259586"/>
                    </a:lnTo>
                    <a:lnTo>
                      <a:pt x="1617631" y="1254633"/>
                    </a:lnTo>
                    <a:lnTo>
                      <a:pt x="1616964" y="1265968"/>
                    </a:lnTo>
                    <a:lnTo>
                      <a:pt x="1637348" y="1241870"/>
                    </a:lnTo>
                    <a:lnTo>
                      <a:pt x="1643634" y="1227011"/>
                    </a:lnTo>
                    <a:lnTo>
                      <a:pt x="1648968" y="1193959"/>
                    </a:lnTo>
                    <a:lnTo>
                      <a:pt x="1658017" y="1192149"/>
                    </a:lnTo>
                    <a:lnTo>
                      <a:pt x="1667542" y="1195197"/>
                    </a:lnTo>
                    <a:lnTo>
                      <a:pt x="1679067" y="1191482"/>
                    </a:lnTo>
                    <a:lnTo>
                      <a:pt x="1695069" y="1186148"/>
                    </a:lnTo>
                    <a:lnTo>
                      <a:pt x="1709452" y="1168051"/>
                    </a:lnTo>
                    <a:lnTo>
                      <a:pt x="1714214" y="1165098"/>
                    </a:lnTo>
                    <a:lnTo>
                      <a:pt x="1722596" y="1161288"/>
                    </a:lnTo>
                    <a:lnTo>
                      <a:pt x="1730693" y="1150334"/>
                    </a:lnTo>
                    <a:lnTo>
                      <a:pt x="1734979" y="1142810"/>
                    </a:lnTo>
                    <a:lnTo>
                      <a:pt x="1741646" y="1134999"/>
                    </a:lnTo>
                    <a:lnTo>
                      <a:pt x="1749838" y="1125569"/>
                    </a:lnTo>
                    <a:lnTo>
                      <a:pt x="1758220" y="1104043"/>
                    </a:lnTo>
                    <a:lnTo>
                      <a:pt x="1759268" y="1094327"/>
                    </a:lnTo>
                    <a:lnTo>
                      <a:pt x="1758506" y="1085850"/>
                    </a:lnTo>
                    <a:lnTo>
                      <a:pt x="1761744" y="1064133"/>
                    </a:lnTo>
                    <a:lnTo>
                      <a:pt x="1759077" y="1071086"/>
                    </a:lnTo>
                    <a:close/>
                    <a:moveTo>
                      <a:pt x="1146715" y="1992916"/>
                    </a:moveTo>
                    <a:lnTo>
                      <a:pt x="1146334" y="1993106"/>
                    </a:lnTo>
                    <a:lnTo>
                      <a:pt x="1146429" y="1993106"/>
                    </a:lnTo>
                    <a:cubicBezTo>
                      <a:pt x="1146429" y="1993106"/>
                      <a:pt x="1146715" y="1992916"/>
                      <a:pt x="1146715" y="1992916"/>
                    </a:cubicBezTo>
                    <a:close/>
                    <a:moveTo>
                      <a:pt x="731996" y="2166176"/>
                    </a:moveTo>
                    <a:lnTo>
                      <a:pt x="732472" y="2166176"/>
                    </a:lnTo>
                    <a:cubicBezTo>
                      <a:pt x="732472" y="2166176"/>
                      <a:pt x="731710" y="2166176"/>
                      <a:pt x="731710" y="2166176"/>
                    </a:cubicBezTo>
                    <a:lnTo>
                      <a:pt x="731996" y="2166176"/>
                    </a:lnTo>
                    <a:close/>
                    <a:moveTo>
                      <a:pt x="1103185" y="2018919"/>
                    </a:moveTo>
                    <a:lnTo>
                      <a:pt x="1090422" y="2026158"/>
                    </a:lnTo>
                    <a:lnTo>
                      <a:pt x="1103948" y="2018443"/>
                    </a:lnTo>
                    <a:lnTo>
                      <a:pt x="1103757" y="2018633"/>
                    </a:lnTo>
                    <a:lnTo>
                      <a:pt x="1103185" y="2019014"/>
                    </a:lnTo>
                    <a:close/>
                    <a:moveTo>
                      <a:pt x="1098804" y="2021491"/>
                    </a:moveTo>
                    <a:lnTo>
                      <a:pt x="1097947" y="2021967"/>
                    </a:lnTo>
                    <a:lnTo>
                      <a:pt x="1100328" y="2020633"/>
                    </a:lnTo>
                    <a:lnTo>
                      <a:pt x="1099376" y="2021205"/>
                    </a:lnTo>
                    <a:lnTo>
                      <a:pt x="1098899" y="2021491"/>
                    </a:lnTo>
                    <a:lnTo>
                      <a:pt x="1098899" y="2021491"/>
                    </a:lnTo>
                    <a:close/>
                    <a:moveTo>
                      <a:pt x="957548" y="2091595"/>
                    </a:moveTo>
                    <a:lnTo>
                      <a:pt x="959930" y="2090547"/>
                    </a:lnTo>
                    <a:lnTo>
                      <a:pt x="957834" y="2091404"/>
                    </a:lnTo>
                    <a:lnTo>
                      <a:pt x="957548" y="2091404"/>
                    </a:lnTo>
                    <a:close/>
                    <a:moveTo>
                      <a:pt x="1026985" y="2059686"/>
                    </a:moveTo>
                    <a:lnTo>
                      <a:pt x="1026224" y="2060067"/>
                    </a:lnTo>
                    <a:lnTo>
                      <a:pt x="1024890" y="2060734"/>
                    </a:lnTo>
                    <a:lnTo>
                      <a:pt x="1027081" y="2059686"/>
                    </a:lnTo>
                    <a:close/>
                    <a:moveTo>
                      <a:pt x="715709" y="2169986"/>
                    </a:moveTo>
                    <a:lnTo>
                      <a:pt x="715899" y="2169986"/>
                    </a:lnTo>
                    <a:cubicBezTo>
                      <a:pt x="715899" y="2169986"/>
                      <a:pt x="715899" y="2169986"/>
                      <a:pt x="715899" y="2169986"/>
                    </a:cubicBezTo>
                    <a:lnTo>
                      <a:pt x="715709" y="2169986"/>
                    </a:lnTo>
                    <a:close/>
                    <a:moveTo>
                      <a:pt x="720662" y="2168938"/>
                    </a:moveTo>
                    <a:lnTo>
                      <a:pt x="720471" y="2168938"/>
                    </a:lnTo>
                    <a:cubicBezTo>
                      <a:pt x="720471" y="2168938"/>
                      <a:pt x="720852" y="2168938"/>
                      <a:pt x="720852" y="2168938"/>
                    </a:cubicBezTo>
                    <a:lnTo>
                      <a:pt x="720757" y="2168938"/>
                    </a:lnTo>
                    <a:close/>
                    <a:moveTo>
                      <a:pt x="997268" y="2073974"/>
                    </a:moveTo>
                    <a:lnTo>
                      <a:pt x="996887" y="2074164"/>
                    </a:lnTo>
                    <a:lnTo>
                      <a:pt x="1003840" y="2070925"/>
                    </a:lnTo>
                    <a:lnTo>
                      <a:pt x="1000411" y="2072545"/>
                    </a:lnTo>
                    <a:lnTo>
                      <a:pt x="997268" y="2073974"/>
                    </a:lnTo>
                    <a:close/>
                    <a:moveTo>
                      <a:pt x="1294448" y="1886998"/>
                    </a:moveTo>
                    <a:lnTo>
                      <a:pt x="1294448" y="1886998"/>
                    </a:lnTo>
                    <a:cubicBezTo>
                      <a:pt x="1294448" y="1886998"/>
                      <a:pt x="1294543" y="1886807"/>
                      <a:pt x="1294543" y="1886807"/>
                    </a:cubicBezTo>
                    <a:lnTo>
                      <a:pt x="1294352" y="1886998"/>
                    </a:lnTo>
                    <a:close/>
                    <a:moveTo>
                      <a:pt x="1295876" y="1885855"/>
                    </a:moveTo>
                    <a:lnTo>
                      <a:pt x="1295876" y="1885855"/>
                    </a:lnTo>
                    <a:cubicBezTo>
                      <a:pt x="1295876" y="1885855"/>
                      <a:pt x="1296448" y="1885379"/>
                      <a:pt x="1296448" y="1885379"/>
                    </a:cubicBezTo>
                    <a:lnTo>
                      <a:pt x="1296448" y="1885379"/>
                    </a:lnTo>
                    <a:cubicBezTo>
                      <a:pt x="1296448" y="1885379"/>
                      <a:pt x="1295972" y="1885855"/>
                      <a:pt x="1295972" y="1885855"/>
                    </a:cubicBezTo>
                    <a:close/>
                    <a:moveTo>
                      <a:pt x="1308830" y="1466469"/>
                    </a:moveTo>
                    <a:lnTo>
                      <a:pt x="1293590" y="1493139"/>
                    </a:lnTo>
                    <a:lnTo>
                      <a:pt x="1274350" y="1513332"/>
                    </a:lnTo>
                    <a:lnTo>
                      <a:pt x="1260062" y="1519047"/>
                    </a:lnTo>
                    <a:lnTo>
                      <a:pt x="1245870" y="1531049"/>
                    </a:lnTo>
                    <a:lnTo>
                      <a:pt x="1233583" y="1528382"/>
                    </a:lnTo>
                    <a:lnTo>
                      <a:pt x="1227582" y="1523810"/>
                    </a:lnTo>
                    <a:lnTo>
                      <a:pt x="1229392" y="1516190"/>
                    </a:lnTo>
                    <a:lnTo>
                      <a:pt x="1227392" y="1510189"/>
                    </a:lnTo>
                    <a:lnTo>
                      <a:pt x="1220343" y="1499807"/>
                    </a:lnTo>
                    <a:lnTo>
                      <a:pt x="1229201" y="1487234"/>
                    </a:lnTo>
                    <a:lnTo>
                      <a:pt x="1222248" y="1488853"/>
                    </a:lnTo>
                    <a:lnTo>
                      <a:pt x="1216152" y="1494949"/>
                    </a:lnTo>
                    <a:lnTo>
                      <a:pt x="1201484" y="1494663"/>
                    </a:lnTo>
                    <a:lnTo>
                      <a:pt x="1188720" y="1496282"/>
                    </a:lnTo>
                    <a:lnTo>
                      <a:pt x="1186339" y="1508760"/>
                    </a:lnTo>
                    <a:lnTo>
                      <a:pt x="1188720" y="1496282"/>
                    </a:lnTo>
                    <a:lnTo>
                      <a:pt x="1161193" y="1497997"/>
                    </a:lnTo>
                    <a:lnTo>
                      <a:pt x="1154049" y="1489139"/>
                    </a:lnTo>
                    <a:lnTo>
                      <a:pt x="1131475" y="1489805"/>
                    </a:lnTo>
                    <a:lnTo>
                      <a:pt x="1130046" y="1465136"/>
                    </a:lnTo>
                    <a:lnTo>
                      <a:pt x="1138904" y="1450943"/>
                    </a:lnTo>
                    <a:lnTo>
                      <a:pt x="1136142" y="1438275"/>
                    </a:lnTo>
                    <a:lnTo>
                      <a:pt x="1143476" y="1423988"/>
                    </a:lnTo>
                    <a:lnTo>
                      <a:pt x="1149668" y="1404080"/>
                    </a:lnTo>
                    <a:lnTo>
                      <a:pt x="1161860" y="1395698"/>
                    </a:lnTo>
                    <a:lnTo>
                      <a:pt x="1171289" y="1381887"/>
                    </a:lnTo>
                    <a:lnTo>
                      <a:pt x="1181862" y="1386078"/>
                    </a:lnTo>
                    <a:lnTo>
                      <a:pt x="1193673" y="1398746"/>
                    </a:lnTo>
                    <a:lnTo>
                      <a:pt x="1182529" y="1409033"/>
                    </a:lnTo>
                    <a:lnTo>
                      <a:pt x="1175766" y="1422178"/>
                    </a:lnTo>
                    <a:lnTo>
                      <a:pt x="1185196" y="1430560"/>
                    </a:lnTo>
                    <a:lnTo>
                      <a:pt x="1173289" y="1442657"/>
                    </a:lnTo>
                    <a:lnTo>
                      <a:pt x="1177957" y="1445800"/>
                    </a:lnTo>
                    <a:lnTo>
                      <a:pt x="1187387" y="1441037"/>
                    </a:lnTo>
                    <a:lnTo>
                      <a:pt x="1204151" y="1444276"/>
                    </a:lnTo>
                    <a:lnTo>
                      <a:pt x="1221391" y="1431512"/>
                    </a:lnTo>
                    <a:lnTo>
                      <a:pt x="1228058" y="1432274"/>
                    </a:lnTo>
                    <a:lnTo>
                      <a:pt x="1230821" y="1439990"/>
                    </a:lnTo>
                    <a:lnTo>
                      <a:pt x="1234631" y="1441609"/>
                    </a:lnTo>
                    <a:lnTo>
                      <a:pt x="1246442" y="1443419"/>
                    </a:lnTo>
                    <a:lnTo>
                      <a:pt x="1238155" y="1434751"/>
                    </a:lnTo>
                    <a:lnTo>
                      <a:pt x="1243489" y="1420559"/>
                    </a:lnTo>
                    <a:lnTo>
                      <a:pt x="1254062" y="1421797"/>
                    </a:lnTo>
                    <a:lnTo>
                      <a:pt x="1269683" y="1416558"/>
                    </a:lnTo>
                    <a:lnTo>
                      <a:pt x="1264349" y="1432655"/>
                    </a:lnTo>
                    <a:lnTo>
                      <a:pt x="1250823" y="1444276"/>
                    </a:lnTo>
                    <a:lnTo>
                      <a:pt x="1258919" y="1455611"/>
                    </a:lnTo>
                    <a:lnTo>
                      <a:pt x="1267111" y="1446276"/>
                    </a:lnTo>
                    <a:lnTo>
                      <a:pt x="1272731" y="1456468"/>
                    </a:lnTo>
                    <a:lnTo>
                      <a:pt x="1285685" y="1447705"/>
                    </a:lnTo>
                    <a:lnTo>
                      <a:pt x="1296829" y="1459325"/>
                    </a:lnTo>
                    <a:lnTo>
                      <a:pt x="1307402" y="1462659"/>
                    </a:lnTo>
                    <a:lnTo>
                      <a:pt x="1309116" y="1466183"/>
                    </a:lnTo>
                    <a:close/>
                    <a:moveTo>
                      <a:pt x="1111853" y="364046"/>
                    </a:moveTo>
                    <a:lnTo>
                      <a:pt x="1100995" y="348234"/>
                    </a:lnTo>
                    <a:lnTo>
                      <a:pt x="1093470" y="326993"/>
                    </a:lnTo>
                    <a:lnTo>
                      <a:pt x="1100995" y="348234"/>
                    </a:lnTo>
                    <a:lnTo>
                      <a:pt x="1111853" y="36414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83" name="Freeform: Shape 282">
                <a:extLst>
                  <a:ext uri="{FF2B5EF4-FFF2-40B4-BE49-F238E27FC236}">
                    <a16:creationId xmlns:a16="http://schemas.microsoft.com/office/drawing/2014/main" id="{28C4266D-4CE6-47A8-A122-7148456938E7}"/>
                  </a:ext>
                </a:extLst>
              </p:cNvPr>
              <p:cNvSpPr/>
              <p:nvPr/>
            </p:nvSpPr>
            <p:spPr>
              <a:xfrm>
                <a:off x="13828190" y="4979114"/>
                <a:ext cx="69627" cy="65055"/>
              </a:xfrm>
              <a:custGeom>
                <a:avLst/>
                <a:gdLst>
                  <a:gd name="connsiteX0" fmla="*/ 20574 w 69627"/>
                  <a:gd name="connsiteY0" fmla="*/ 65056 h 65055"/>
                  <a:gd name="connsiteX1" fmla="*/ 48482 w 69627"/>
                  <a:gd name="connsiteY1" fmla="*/ 57340 h 65055"/>
                  <a:gd name="connsiteX2" fmla="*/ 61532 w 69627"/>
                  <a:gd name="connsiteY2" fmla="*/ 41434 h 65055"/>
                  <a:gd name="connsiteX3" fmla="*/ 60674 w 69627"/>
                  <a:gd name="connsiteY3" fmla="*/ 27242 h 65055"/>
                  <a:gd name="connsiteX4" fmla="*/ 69628 w 69627"/>
                  <a:gd name="connsiteY4" fmla="*/ 14573 h 65055"/>
                  <a:gd name="connsiteX5" fmla="*/ 56007 w 69627"/>
                  <a:gd name="connsiteY5" fmla="*/ 667 h 65055"/>
                  <a:gd name="connsiteX6" fmla="*/ 44387 w 69627"/>
                  <a:gd name="connsiteY6" fmla="*/ 0 h 65055"/>
                  <a:gd name="connsiteX7" fmla="*/ 32575 w 69627"/>
                  <a:gd name="connsiteY7" fmla="*/ 7810 h 65055"/>
                  <a:gd name="connsiteX8" fmla="*/ 11049 w 69627"/>
                  <a:gd name="connsiteY8" fmla="*/ 20002 h 65055"/>
                  <a:gd name="connsiteX9" fmla="*/ 15240 w 69627"/>
                  <a:gd name="connsiteY9" fmla="*/ 40957 h 65055"/>
                  <a:gd name="connsiteX10" fmla="*/ 0 w 69627"/>
                  <a:gd name="connsiteY10" fmla="*/ 58769 h 65055"/>
                  <a:gd name="connsiteX11" fmla="*/ 20574 w 69627"/>
                  <a:gd name="connsiteY11" fmla="*/ 65056 h 6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627" h="65055">
                    <a:moveTo>
                      <a:pt x="20574" y="65056"/>
                    </a:moveTo>
                    <a:lnTo>
                      <a:pt x="48482" y="57340"/>
                    </a:lnTo>
                    <a:lnTo>
                      <a:pt x="61532" y="41434"/>
                    </a:lnTo>
                    <a:lnTo>
                      <a:pt x="60674" y="27242"/>
                    </a:lnTo>
                    <a:lnTo>
                      <a:pt x="69628" y="14573"/>
                    </a:lnTo>
                    <a:lnTo>
                      <a:pt x="56007" y="667"/>
                    </a:lnTo>
                    <a:lnTo>
                      <a:pt x="44387" y="0"/>
                    </a:lnTo>
                    <a:lnTo>
                      <a:pt x="32575" y="7810"/>
                    </a:lnTo>
                    <a:lnTo>
                      <a:pt x="11049" y="20002"/>
                    </a:lnTo>
                    <a:lnTo>
                      <a:pt x="15240" y="40957"/>
                    </a:lnTo>
                    <a:lnTo>
                      <a:pt x="0" y="58769"/>
                    </a:lnTo>
                    <a:lnTo>
                      <a:pt x="20574" y="6505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84" name="Freeform: Shape 283">
                <a:extLst>
                  <a:ext uri="{FF2B5EF4-FFF2-40B4-BE49-F238E27FC236}">
                    <a16:creationId xmlns:a16="http://schemas.microsoft.com/office/drawing/2014/main" id="{A947A660-1A3C-4C11-B1D7-3A009B44A22B}"/>
                  </a:ext>
                </a:extLst>
              </p:cNvPr>
              <p:cNvSpPr/>
              <p:nvPr/>
            </p:nvSpPr>
            <p:spPr>
              <a:xfrm>
                <a:off x="13737131" y="4702699"/>
                <a:ext cx="102393" cy="75533"/>
              </a:xfrm>
              <a:custGeom>
                <a:avLst/>
                <a:gdLst>
                  <a:gd name="connsiteX0" fmla="*/ 28861 w 102393"/>
                  <a:gd name="connsiteY0" fmla="*/ 67723 h 75533"/>
                  <a:gd name="connsiteX1" fmla="*/ 41243 w 102393"/>
                  <a:gd name="connsiteY1" fmla="*/ 75533 h 75533"/>
                  <a:gd name="connsiteX2" fmla="*/ 51435 w 102393"/>
                  <a:gd name="connsiteY2" fmla="*/ 74676 h 75533"/>
                  <a:gd name="connsiteX3" fmla="*/ 85154 w 102393"/>
                  <a:gd name="connsiteY3" fmla="*/ 68866 h 75533"/>
                  <a:gd name="connsiteX4" fmla="*/ 102394 w 102393"/>
                  <a:gd name="connsiteY4" fmla="*/ 55912 h 75533"/>
                  <a:gd name="connsiteX5" fmla="*/ 95059 w 102393"/>
                  <a:gd name="connsiteY5" fmla="*/ 38481 h 75533"/>
                  <a:gd name="connsiteX6" fmla="*/ 100870 w 102393"/>
                  <a:gd name="connsiteY6" fmla="*/ 25146 h 75533"/>
                  <a:gd name="connsiteX7" fmla="*/ 85725 w 102393"/>
                  <a:gd name="connsiteY7" fmla="*/ 19336 h 75533"/>
                  <a:gd name="connsiteX8" fmla="*/ 66961 w 102393"/>
                  <a:gd name="connsiteY8" fmla="*/ 26003 h 75533"/>
                  <a:gd name="connsiteX9" fmla="*/ 57150 w 102393"/>
                  <a:gd name="connsiteY9" fmla="*/ 16097 h 75533"/>
                  <a:gd name="connsiteX10" fmla="*/ 38862 w 102393"/>
                  <a:gd name="connsiteY10" fmla="*/ 22384 h 75533"/>
                  <a:gd name="connsiteX11" fmla="*/ 30099 w 102393"/>
                  <a:gd name="connsiteY11" fmla="*/ 2762 h 75533"/>
                  <a:gd name="connsiteX12" fmla="*/ 15145 w 102393"/>
                  <a:gd name="connsiteY12" fmla="*/ 0 h 75533"/>
                  <a:gd name="connsiteX13" fmla="*/ 3048 w 102393"/>
                  <a:gd name="connsiteY13" fmla="*/ 10478 h 75533"/>
                  <a:gd name="connsiteX14" fmla="*/ 20574 w 102393"/>
                  <a:gd name="connsiteY14" fmla="*/ 23622 h 75533"/>
                  <a:gd name="connsiteX15" fmla="*/ 18479 w 102393"/>
                  <a:gd name="connsiteY15" fmla="*/ 29813 h 75533"/>
                  <a:gd name="connsiteX16" fmla="*/ 0 w 102393"/>
                  <a:gd name="connsiteY16" fmla="*/ 26575 h 75533"/>
                  <a:gd name="connsiteX17" fmla="*/ 16764 w 102393"/>
                  <a:gd name="connsiteY17" fmla="*/ 45339 h 75533"/>
                  <a:gd name="connsiteX18" fmla="*/ 3429 w 102393"/>
                  <a:gd name="connsiteY18" fmla="*/ 50387 h 75533"/>
                  <a:gd name="connsiteX19" fmla="*/ 28861 w 102393"/>
                  <a:gd name="connsiteY19" fmla="*/ 67723 h 7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393" h="75533">
                    <a:moveTo>
                      <a:pt x="28861" y="67723"/>
                    </a:moveTo>
                    <a:lnTo>
                      <a:pt x="41243" y="75533"/>
                    </a:lnTo>
                    <a:lnTo>
                      <a:pt x="51435" y="74676"/>
                    </a:lnTo>
                    <a:lnTo>
                      <a:pt x="85154" y="68866"/>
                    </a:lnTo>
                    <a:lnTo>
                      <a:pt x="102394" y="55912"/>
                    </a:lnTo>
                    <a:lnTo>
                      <a:pt x="95059" y="38481"/>
                    </a:lnTo>
                    <a:lnTo>
                      <a:pt x="100870" y="25146"/>
                    </a:lnTo>
                    <a:lnTo>
                      <a:pt x="85725" y="19336"/>
                    </a:lnTo>
                    <a:lnTo>
                      <a:pt x="66961" y="26003"/>
                    </a:lnTo>
                    <a:lnTo>
                      <a:pt x="57150" y="16097"/>
                    </a:lnTo>
                    <a:lnTo>
                      <a:pt x="38862" y="22384"/>
                    </a:lnTo>
                    <a:lnTo>
                      <a:pt x="30099" y="2762"/>
                    </a:lnTo>
                    <a:lnTo>
                      <a:pt x="15145" y="0"/>
                    </a:lnTo>
                    <a:lnTo>
                      <a:pt x="3048" y="10478"/>
                    </a:lnTo>
                    <a:lnTo>
                      <a:pt x="20574" y="23622"/>
                    </a:lnTo>
                    <a:lnTo>
                      <a:pt x="18479" y="29813"/>
                    </a:lnTo>
                    <a:lnTo>
                      <a:pt x="0" y="26575"/>
                    </a:lnTo>
                    <a:lnTo>
                      <a:pt x="16764" y="45339"/>
                    </a:lnTo>
                    <a:lnTo>
                      <a:pt x="3429" y="50387"/>
                    </a:lnTo>
                    <a:lnTo>
                      <a:pt x="28861" y="6772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85" name="Freeform: Shape 284">
                <a:extLst>
                  <a:ext uri="{FF2B5EF4-FFF2-40B4-BE49-F238E27FC236}">
                    <a16:creationId xmlns:a16="http://schemas.microsoft.com/office/drawing/2014/main" id="{48730925-E7C5-488A-9A4D-99D56B5E362C}"/>
                  </a:ext>
                </a:extLst>
              </p:cNvPr>
              <p:cNvSpPr/>
              <p:nvPr/>
            </p:nvSpPr>
            <p:spPr>
              <a:xfrm>
                <a:off x="14215857" y="5244671"/>
                <a:ext cx="55816" cy="25146"/>
              </a:xfrm>
              <a:custGeom>
                <a:avLst/>
                <a:gdLst>
                  <a:gd name="connsiteX0" fmla="*/ 41720 w 55816"/>
                  <a:gd name="connsiteY0" fmla="*/ 5048 h 25146"/>
                  <a:gd name="connsiteX1" fmla="*/ 23146 w 55816"/>
                  <a:gd name="connsiteY1" fmla="*/ 11525 h 25146"/>
                  <a:gd name="connsiteX2" fmla="*/ 953 w 55816"/>
                  <a:gd name="connsiteY2" fmla="*/ 15240 h 25146"/>
                  <a:gd name="connsiteX3" fmla="*/ 0 w 55816"/>
                  <a:gd name="connsiteY3" fmla="*/ 23336 h 25146"/>
                  <a:gd name="connsiteX4" fmla="*/ 28004 w 55816"/>
                  <a:gd name="connsiteY4" fmla="*/ 24479 h 25146"/>
                  <a:gd name="connsiteX5" fmla="*/ 38005 w 55816"/>
                  <a:gd name="connsiteY5" fmla="*/ 23622 h 25146"/>
                  <a:gd name="connsiteX6" fmla="*/ 53816 w 55816"/>
                  <a:gd name="connsiteY6" fmla="*/ 25146 h 25146"/>
                  <a:gd name="connsiteX7" fmla="*/ 55817 w 55816"/>
                  <a:gd name="connsiteY7" fmla="*/ 16859 h 25146"/>
                  <a:gd name="connsiteX8" fmla="*/ 51816 w 55816"/>
                  <a:gd name="connsiteY8" fmla="*/ 13145 h 25146"/>
                  <a:gd name="connsiteX9" fmla="*/ 55340 w 55816"/>
                  <a:gd name="connsiteY9" fmla="*/ 0 h 25146"/>
                  <a:gd name="connsiteX10" fmla="*/ 41720 w 55816"/>
                  <a:gd name="connsiteY10" fmla="*/ 5048 h 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816" h="25146">
                    <a:moveTo>
                      <a:pt x="41720" y="5048"/>
                    </a:moveTo>
                    <a:lnTo>
                      <a:pt x="23146" y="11525"/>
                    </a:lnTo>
                    <a:lnTo>
                      <a:pt x="953" y="15240"/>
                    </a:lnTo>
                    <a:lnTo>
                      <a:pt x="0" y="23336"/>
                    </a:lnTo>
                    <a:lnTo>
                      <a:pt x="28004" y="24479"/>
                    </a:lnTo>
                    <a:lnTo>
                      <a:pt x="38005" y="23622"/>
                    </a:lnTo>
                    <a:lnTo>
                      <a:pt x="53816" y="25146"/>
                    </a:lnTo>
                    <a:lnTo>
                      <a:pt x="55817" y="16859"/>
                    </a:lnTo>
                    <a:lnTo>
                      <a:pt x="51816" y="13145"/>
                    </a:lnTo>
                    <a:lnTo>
                      <a:pt x="55340" y="0"/>
                    </a:lnTo>
                    <a:lnTo>
                      <a:pt x="41720" y="504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86" name="Freeform: Shape 285">
                <a:extLst>
                  <a:ext uri="{FF2B5EF4-FFF2-40B4-BE49-F238E27FC236}">
                    <a16:creationId xmlns:a16="http://schemas.microsoft.com/office/drawing/2014/main" id="{1C327602-26C0-4E56-BDDA-063FBE6F5737}"/>
                  </a:ext>
                </a:extLst>
              </p:cNvPr>
              <p:cNvSpPr/>
              <p:nvPr/>
            </p:nvSpPr>
            <p:spPr>
              <a:xfrm>
                <a:off x="14127465" y="5224764"/>
                <a:ext cx="32099" cy="36861"/>
              </a:xfrm>
              <a:custGeom>
                <a:avLst/>
                <a:gdLst>
                  <a:gd name="connsiteX0" fmla="*/ 5429 w 32099"/>
                  <a:gd name="connsiteY0" fmla="*/ 15430 h 36861"/>
                  <a:gd name="connsiteX1" fmla="*/ 8954 w 32099"/>
                  <a:gd name="connsiteY1" fmla="*/ 33909 h 36861"/>
                  <a:gd name="connsiteX2" fmla="*/ 16669 w 32099"/>
                  <a:gd name="connsiteY2" fmla="*/ 36862 h 36861"/>
                  <a:gd name="connsiteX3" fmla="*/ 23432 w 32099"/>
                  <a:gd name="connsiteY3" fmla="*/ 30575 h 36861"/>
                  <a:gd name="connsiteX4" fmla="*/ 32099 w 32099"/>
                  <a:gd name="connsiteY4" fmla="*/ 30099 h 36861"/>
                  <a:gd name="connsiteX5" fmla="*/ 31147 w 32099"/>
                  <a:gd name="connsiteY5" fmla="*/ 9335 h 36861"/>
                  <a:gd name="connsiteX6" fmla="*/ 18383 w 32099"/>
                  <a:gd name="connsiteY6" fmla="*/ 0 h 36861"/>
                  <a:gd name="connsiteX7" fmla="*/ 10097 w 32099"/>
                  <a:gd name="connsiteY7" fmla="*/ 6287 h 36861"/>
                  <a:gd name="connsiteX8" fmla="*/ 0 w 32099"/>
                  <a:gd name="connsiteY8" fmla="*/ 7048 h 36861"/>
                  <a:gd name="connsiteX9" fmla="*/ 5429 w 32099"/>
                  <a:gd name="connsiteY9" fmla="*/ 15430 h 3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9" h="36861">
                    <a:moveTo>
                      <a:pt x="5429" y="15430"/>
                    </a:moveTo>
                    <a:lnTo>
                      <a:pt x="8954" y="33909"/>
                    </a:lnTo>
                    <a:lnTo>
                      <a:pt x="16669" y="36862"/>
                    </a:lnTo>
                    <a:lnTo>
                      <a:pt x="23432" y="30575"/>
                    </a:lnTo>
                    <a:lnTo>
                      <a:pt x="32099" y="30099"/>
                    </a:lnTo>
                    <a:lnTo>
                      <a:pt x="31147" y="9335"/>
                    </a:lnTo>
                    <a:lnTo>
                      <a:pt x="18383" y="0"/>
                    </a:lnTo>
                    <a:lnTo>
                      <a:pt x="10097" y="6287"/>
                    </a:lnTo>
                    <a:lnTo>
                      <a:pt x="0" y="7048"/>
                    </a:lnTo>
                    <a:lnTo>
                      <a:pt x="5429" y="1543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87" name="Freeform: Shape 286">
                <a:extLst>
                  <a:ext uri="{FF2B5EF4-FFF2-40B4-BE49-F238E27FC236}">
                    <a16:creationId xmlns:a16="http://schemas.microsoft.com/office/drawing/2014/main" id="{0FE51FC0-92F8-4C74-9667-86B79EE745A0}"/>
                  </a:ext>
                </a:extLst>
              </p:cNvPr>
              <p:cNvSpPr/>
              <p:nvPr/>
            </p:nvSpPr>
            <p:spPr>
              <a:xfrm>
                <a:off x="12678808" y="4455906"/>
                <a:ext cx="9525" cy="48863"/>
              </a:xfrm>
              <a:custGeom>
                <a:avLst/>
                <a:gdLst>
                  <a:gd name="connsiteX0" fmla="*/ 4858 w 9525"/>
                  <a:gd name="connsiteY0" fmla="*/ 11716 h 48863"/>
                  <a:gd name="connsiteX1" fmla="*/ 2286 w 9525"/>
                  <a:gd name="connsiteY1" fmla="*/ 2381 h 48863"/>
                  <a:gd name="connsiteX2" fmla="*/ 0 w 9525"/>
                  <a:gd name="connsiteY2" fmla="*/ 0 h 48863"/>
                  <a:gd name="connsiteX3" fmla="*/ 95 w 9525"/>
                  <a:gd name="connsiteY3" fmla="*/ 13525 h 48863"/>
                  <a:gd name="connsiteX4" fmla="*/ 1714 w 9525"/>
                  <a:gd name="connsiteY4" fmla="*/ 26479 h 48863"/>
                  <a:gd name="connsiteX5" fmla="*/ 4477 w 9525"/>
                  <a:gd name="connsiteY5" fmla="*/ 33052 h 48863"/>
                  <a:gd name="connsiteX6" fmla="*/ 8382 w 9525"/>
                  <a:gd name="connsiteY6" fmla="*/ 48863 h 48863"/>
                  <a:gd name="connsiteX7" fmla="*/ 9525 w 9525"/>
                  <a:gd name="connsiteY7" fmla="*/ 44672 h 48863"/>
                  <a:gd name="connsiteX8" fmla="*/ 8477 w 9525"/>
                  <a:gd name="connsiteY8" fmla="*/ 32290 h 48863"/>
                  <a:gd name="connsiteX9" fmla="*/ 5715 w 9525"/>
                  <a:gd name="connsiteY9" fmla="*/ 16954 h 48863"/>
                  <a:gd name="connsiteX10" fmla="*/ 4858 w 9525"/>
                  <a:gd name="connsiteY10" fmla="*/ 11716 h 4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48863">
                    <a:moveTo>
                      <a:pt x="4858" y="11716"/>
                    </a:moveTo>
                    <a:lnTo>
                      <a:pt x="2286" y="2381"/>
                    </a:lnTo>
                    <a:lnTo>
                      <a:pt x="0" y="0"/>
                    </a:lnTo>
                    <a:lnTo>
                      <a:pt x="95" y="13525"/>
                    </a:lnTo>
                    <a:lnTo>
                      <a:pt x="1714" y="26479"/>
                    </a:lnTo>
                    <a:lnTo>
                      <a:pt x="4477" y="33052"/>
                    </a:lnTo>
                    <a:lnTo>
                      <a:pt x="8382" y="48863"/>
                    </a:lnTo>
                    <a:lnTo>
                      <a:pt x="9525" y="44672"/>
                    </a:lnTo>
                    <a:lnTo>
                      <a:pt x="8477" y="32290"/>
                    </a:lnTo>
                    <a:lnTo>
                      <a:pt x="5715" y="16954"/>
                    </a:lnTo>
                    <a:lnTo>
                      <a:pt x="4858" y="1171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88" name="Freeform: Shape 287">
                <a:extLst>
                  <a:ext uri="{FF2B5EF4-FFF2-40B4-BE49-F238E27FC236}">
                    <a16:creationId xmlns:a16="http://schemas.microsoft.com/office/drawing/2014/main" id="{1DF35DC5-F393-4A15-9202-A577F11522E5}"/>
                  </a:ext>
                </a:extLst>
              </p:cNvPr>
              <p:cNvSpPr/>
              <p:nvPr/>
            </p:nvSpPr>
            <p:spPr>
              <a:xfrm>
                <a:off x="14800026" y="3370723"/>
                <a:ext cx="43148" cy="32003"/>
              </a:xfrm>
              <a:custGeom>
                <a:avLst/>
                <a:gdLst>
                  <a:gd name="connsiteX0" fmla="*/ 18098 w 43148"/>
                  <a:gd name="connsiteY0" fmla="*/ 19812 h 32003"/>
                  <a:gd name="connsiteX1" fmla="*/ 24765 w 43148"/>
                  <a:gd name="connsiteY1" fmla="*/ 29242 h 32003"/>
                  <a:gd name="connsiteX2" fmla="*/ 38291 w 43148"/>
                  <a:gd name="connsiteY2" fmla="*/ 32004 h 32003"/>
                  <a:gd name="connsiteX3" fmla="*/ 43148 w 43148"/>
                  <a:gd name="connsiteY3" fmla="*/ 27908 h 32003"/>
                  <a:gd name="connsiteX4" fmla="*/ 36862 w 43148"/>
                  <a:gd name="connsiteY4" fmla="*/ 15526 h 32003"/>
                  <a:gd name="connsiteX5" fmla="*/ 27432 w 43148"/>
                  <a:gd name="connsiteY5" fmla="*/ 16859 h 32003"/>
                  <a:gd name="connsiteX6" fmla="*/ 18002 w 43148"/>
                  <a:gd name="connsiteY6" fmla="*/ 11430 h 32003"/>
                  <a:gd name="connsiteX7" fmla="*/ 15335 w 43148"/>
                  <a:gd name="connsiteY7" fmla="*/ 2476 h 32003"/>
                  <a:gd name="connsiteX8" fmla="*/ 1524 w 43148"/>
                  <a:gd name="connsiteY8" fmla="*/ 0 h 32003"/>
                  <a:gd name="connsiteX9" fmla="*/ 0 w 43148"/>
                  <a:gd name="connsiteY9" fmla="*/ 5143 h 32003"/>
                  <a:gd name="connsiteX10" fmla="*/ 8192 w 43148"/>
                  <a:gd name="connsiteY10" fmla="*/ 17812 h 32003"/>
                  <a:gd name="connsiteX11" fmla="*/ 18098 w 43148"/>
                  <a:gd name="connsiteY11" fmla="*/ 19812 h 3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148" h="32003">
                    <a:moveTo>
                      <a:pt x="18098" y="19812"/>
                    </a:moveTo>
                    <a:lnTo>
                      <a:pt x="24765" y="29242"/>
                    </a:lnTo>
                    <a:lnTo>
                      <a:pt x="38291" y="32004"/>
                    </a:lnTo>
                    <a:lnTo>
                      <a:pt x="43148" y="27908"/>
                    </a:lnTo>
                    <a:lnTo>
                      <a:pt x="36862" y="15526"/>
                    </a:lnTo>
                    <a:lnTo>
                      <a:pt x="27432" y="16859"/>
                    </a:lnTo>
                    <a:lnTo>
                      <a:pt x="18002" y="11430"/>
                    </a:lnTo>
                    <a:lnTo>
                      <a:pt x="15335" y="2476"/>
                    </a:lnTo>
                    <a:lnTo>
                      <a:pt x="1524" y="0"/>
                    </a:lnTo>
                    <a:lnTo>
                      <a:pt x="0" y="5143"/>
                    </a:lnTo>
                    <a:lnTo>
                      <a:pt x="8192" y="17812"/>
                    </a:lnTo>
                    <a:lnTo>
                      <a:pt x="18098" y="1981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89" name="Freeform: Shape 288">
                <a:extLst>
                  <a:ext uri="{FF2B5EF4-FFF2-40B4-BE49-F238E27FC236}">
                    <a16:creationId xmlns:a16="http://schemas.microsoft.com/office/drawing/2014/main" id="{A6325F21-0C07-490D-85F2-D70DC4982455}"/>
                  </a:ext>
                </a:extLst>
              </p:cNvPr>
              <p:cNvSpPr/>
              <p:nvPr/>
            </p:nvSpPr>
            <p:spPr>
              <a:xfrm>
                <a:off x="14545518" y="3349386"/>
                <a:ext cx="104394" cy="68199"/>
              </a:xfrm>
              <a:custGeom>
                <a:avLst/>
                <a:gdLst>
                  <a:gd name="connsiteX0" fmla="*/ 22193 w 104394"/>
                  <a:gd name="connsiteY0" fmla="*/ 29147 h 68199"/>
                  <a:gd name="connsiteX1" fmla="*/ 29528 w 104394"/>
                  <a:gd name="connsiteY1" fmla="*/ 41624 h 68199"/>
                  <a:gd name="connsiteX2" fmla="*/ 34671 w 104394"/>
                  <a:gd name="connsiteY2" fmla="*/ 68199 h 68199"/>
                  <a:gd name="connsiteX3" fmla="*/ 46958 w 104394"/>
                  <a:gd name="connsiteY3" fmla="*/ 60769 h 68199"/>
                  <a:gd name="connsiteX4" fmla="*/ 65532 w 104394"/>
                  <a:gd name="connsiteY4" fmla="*/ 45625 h 68199"/>
                  <a:gd name="connsiteX5" fmla="*/ 80867 w 104394"/>
                  <a:gd name="connsiteY5" fmla="*/ 56864 h 68199"/>
                  <a:gd name="connsiteX6" fmla="*/ 95822 w 104394"/>
                  <a:gd name="connsiteY6" fmla="*/ 52673 h 68199"/>
                  <a:gd name="connsiteX7" fmla="*/ 104394 w 104394"/>
                  <a:gd name="connsiteY7" fmla="*/ 38672 h 68199"/>
                  <a:gd name="connsiteX8" fmla="*/ 88583 w 104394"/>
                  <a:gd name="connsiteY8" fmla="*/ 26003 h 68199"/>
                  <a:gd name="connsiteX9" fmla="*/ 69723 w 104394"/>
                  <a:gd name="connsiteY9" fmla="*/ 33814 h 68199"/>
                  <a:gd name="connsiteX10" fmla="*/ 54102 w 104394"/>
                  <a:gd name="connsiteY10" fmla="*/ 7620 h 68199"/>
                  <a:gd name="connsiteX11" fmla="*/ 31718 w 104394"/>
                  <a:gd name="connsiteY11" fmla="*/ 11430 h 68199"/>
                  <a:gd name="connsiteX12" fmla="*/ 7525 w 104394"/>
                  <a:gd name="connsiteY12" fmla="*/ 0 h 68199"/>
                  <a:gd name="connsiteX13" fmla="*/ 0 w 104394"/>
                  <a:gd name="connsiteY13" fmla="*/ 17812 h 68199"/>
                  <a:gd name="connsiteX14" fmla="*/ 14288 w 104394"/>
                  <a:gd name="connsiteY14" fmla="*/ 18955 h 68199"/>
                  <a:gd name="connsiteX15" fmla="*/ 22193 w 104394"/>
                  <a:gd name="connsiteY15" fmla="*/ 29147 h 68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394" h="68199">
                    <a:moveTo>
                      <a:pt x="22193" y="29147"/>
                    </a:moveTo>
                    <a:lnTo>
                      <a:pt x="29528" y="41624"/>
                    </a:lnTo>
                    <a:lnTo>
                      <a:pt x="34671" y="68199"/>
                    </a:lnTo>
                    <a:lnTo>
                      <a:pt x="46958" y="60769"/>
                    </a:lnTo>
                    <a:lnTo>
                      <a:pt x="65532" y="45625"/>
                    </a:lnTo>
                    <a:lnTo>
                      <a:pt x="80867" y="56864"/>
                    </a:lnTo>
                    <a:lnTo>
                      <a:pt x="95822" y="52673"/>
                    </a:lnTo>
                    <a:lnTo>
                      <a:pt x="104394" y="38672"/>
                    </a:lnTo>
                    <a:lnTo>
                      <a:pt x="88583" y="26003"/>
                    </a:lnTo>
                    <a:lnTo>
                      <a:pt x="69723" y="33814"/>
                    </a:lnTo>
                    <a:lnTo>
                      <a:pt x="54102" y="7620"/>
                    </a:lnTo>
                    <a:lnTo>
                      <a:pt x="31718" y="11430"/>
                    </a:lnTo>
                    <a:lnTo>
                      <a:pt x="7525" y="0"/>
                    </a:lnTo>
                    <a:lnTo>
                      <a:pt x="0" y="17812"/>
                    </a:lnTo>
                    <a:lnTo>
                      <a:pt x="14288" y="18955"/>
                    </a:lnTo>
                    <a:lnTo>
                      <a:pt x="22193" y="2914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90" name="Freeform: Shape 289">
                <a:extLst>
                  <a:ext uri="{FF2B5EF4-FFF2-40B4-BE49-F238E27FC236}">
                    <a16:creationId xmlns:a16="http://schemas.microsoft.com/office/drawing/2014/main" id="{2609DB8A-F8C2-4B88-8C11-70CB6B29FDD8}"/>
                  </a:ext>
                </a:extLst>
              </p:cNvPr>
              <p:cNvSpPr/>
              <p:nvPr/>
            </p:nvSpPr>
            <p:spPr>
              <a:xfrm>
                <a:off x="14631814" y="3309858"/>
                <a:ext cx="256031" cy="136969"/>
              </a:xfrm>
              <a:custGeom>
                <a:avLst/>
                <a:gdLst>
                  <a:gd name="connsiteX0" fmla="*/ 29432 w 256031"/>
                  <a:gd name="connsiteY0" fmla="*/ 66675 h 136969"/>
                  <a:gd name="connsiteX1" fmla="*/ 38290 w 256031"/>
                  <a:gd name="connsiteY1" fmla="*/ 51149 h 136969"/>
                  <a:gd name="connsiteX2" fmla="*/ 59531 w 256031"/>
                  <a:gd name="connsiteY2" fmla="*/ 44577 h 136969"/>
                  <a:gd name="connsiteX3" fmla="*/ 71533 w 256031"/>
                  <a:gd name="connsiteY3" fmla="*/ 47339 h 136969"/>
                  <a:gd name="connsiteX4" fmla="*/ 102584 w 256031"/>
                  <a:gd name="connsiteY4" fmla="*/ 55340 h 136969"/>
                  <a:gd name="connsiteX5" fmla="*/ 107347 w 256031"/>
                  <a:gd name="connsiteY5" fmla="*/ 69342 h 136969"/>
                  <a:gd name="connsiteX6" fmla="*/ 139922 w 256031"/>
                  <a:gd name="connsiteY6" fmla="*/ 64960 h 136969"/>
                  <a:gd name="connsiteX7" fmla="*/ 152876 w 256031"/>
                  <a:gd name="connsiteY7" fmla="*/ 81915 h 136969"/>
                  <a:gd name="connsiteX8" fmla="*/ 183166 w 256031"/>
                  <a:gd name="connsiteY8" fmla="*/ 107537 h 136969"/>
                  <a:gd name="connsiteX9" fmla="*/ 200120 w 256031"/>
                  <a:gd name="connsiteY9" fmla="*/ 111919 h 136969"/>
                  <a:gd name="connsiteX10" fmla="*/ 218789 w 256031"/>
                  <a:gd name="connsiteY10" fmla="*/ 122396 h 136969"/>
                  <a:gd name="connsiteX11" fmla="*/ 232219 w 256031"/>
                  <a:gd name="connsiteY11" fmla="*/ 124873 h 136969"/>
                  <a:gd name="connsiteX12" fmla="*/ 247745 w 256031"/>
                  <a:gd name="connsiteY12" fmla="*/ 136970 h 136969"/>
                  <a:gd name="connsiteX13" fmla="*/ 249364 w 256031"/>
                  <a:gd name="connsiteY13" fmla="*/ 124777 h 136969"/>
                  <a:gd name="connsiteX14" fmla="*/ 243935 w 256031"/>
                  <a:gd name="connsiteY14" fmla="*/ 112395 h 136969"/>
                  <a:gd name="connsiteX15" fmla="*/ 256032 w 256031"/>
                  <a:gd name="connsiteY15" fmla="*/ 108776 h 136969"/>
                  <a:gd name="connsiteX16" fmla="*/ 253270 w 256031"/>
                  <a:gd name="connsiteY16" fmla="*/ 97917 h 136969"/>
                  <a:gd name="connsiteX17" fmla="*/ 240411 w 256031"/>
                  <a:gd name="connsiteY17" fmla="*/ 91249 h 136969"/>
                  <a:gd name="connsiteX18" fmla="*/ 214693 w 256031"/>
                  <a:gd name="connsiteY18" fmla="*/ 95631 h 136969"/>
                  <a:gd name="connsiteX19" fmla="*/ 220980 w 256031"/>
                  <a:gd name="connsiteY19" fmla="*/ 117634 h 136969"/>
                  <a:gd name="connsiteX20" fmla="*/ 205073 w 256031"/>
                  <a:gd name="connsiteY20" fmla="*/ 100108 h 136969"/>
                  <a:gd name="connsiteX21" fmla="*/ 184118 w 256031"/>
                  <a:gd name="connsiteY21" fmla="*/ 86963 h 136969"/>
                  <a:gd name="connsiteX22" fmla="*/ 157543 w 256031"/>
                  <a:gd name="connsiteY22" fmla="*/ 64008 h 136969"/>
                  <a:gd name="connsiteX23" fmla="*/ 164211 w 256031"/>
                  <a:gd name="connsiteY23" fmla="*/ 56197 h 136969"/>
                  <a:gd name="connsiteX24" fmla="*/ 158115 w 256031"/>
                  <a:gd name="connsiteY24" fmla="*/ 42958 h 136969"/>
                  <a:gd name="connsiteX25" fmla="*/ 126587 w 256031"/>
                  <a:gd name="connsiteY25" fmla="*/ 34385 h 136969"/>
                  <a:gd name="connsiteX26" fmla="*/ 99727 w 256031"/>
                  <a:gd name="connsiteY26" fmla="*/ 11525 h 136969"/>
                  <a:gd name="connsiteX27" fmla="*/ 76009 w 256031"/>
                  <a:gd name="connsiteY27" fmla="*/ 0 h 136969"/>
                  <a:gd name="connsiteX28" fmla="*/ 61722 w 256031"/>
                  <a:gd name="connsiteY28" fmla="*/ 1048 h 136969"/>
                  <a:gd name="connsiteX29" fmla="*/ 59817 w 256031"/>
                  <a:gd name="connsiteY29" fmla="*/ 8858 h 136969"/>
                  <a:gd name="connsiteX30" fmla="*/ 46768 w 256031"/>
                  <a:gd name="connsiteY30" fmla="*/ 13240 h 136969"/>
                  <a:gd name="connsiteX31" fmla="*/ 37338 w 256031"/>
                  <a:gd name="connsiteY31" fmla="*/ 25336 h 136969"/>
                  <a:gd name="connsiteX32" fmla="*/ 14002 w 256031"/>
                  <a:gd name="connsiteY32" fmla="*/ 26384 h 136969"/>
                  <a:gd name="connsiteX33" fmla="*/ 5810 w 256031"/>
                  <a:gd name="connsiteY33" fmla="*/ 35909 h 136969"/>
                  <a:gd name="connsiteX34" fmla="*/ 0 w 256031"/>
                  <a:gd name="connsiteY34" fmla="*/ 59436 h 136969"/>
                  <a:gd name="connsiteX35" fmla="*/ 17050 w 256031"/>
                  <a:gd name="connsiteY35" fmla="*/ 69437 h 136969"/>
                  <a:gd name="connsiteX36" fmla="*/ 29432 w 256031"/>
                  <a:gd name="connsiteY36" fmla="*/ 66675 h 13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6031" h="136969">
                    <a:moveTo>
                      <a:pt x="29432" y="66675"/>
                    </a:moveTo>
                    <a:lnTo>
                      <a:pt x="38290" y="51149"/>
                    </a:lnTo>
                    <a:lnTo>
                      <a:pt x="59531" y="44577"/>
                    </a:lnTo>
                    <a:lnTo>
                      <a:pt x="71533" y="47339"/>
                    </a:lnTo>
                    <a:lnTo>
                      <a:pt x="102584" y="55340"/>
                    </a:lnTo>
                    <a:lnTo>
                      <a:pt x="107347" y="69342"/>
                    </a:lnTo>
                    <a:lnTo>
                      <a:pt x="139922" y="64960"/>
                    </a:lnTo>
                    <a:lnTo>
                      <a:pt x="152876" y="81915"/>
                    </a:lnTo>
                    <a:lnTo>
                      <a:pt x="183166" y="107537"/>
                    </a:lnTo>
                    <a:lnTo>
                      <a:pt x="200120" y="111919"/>
                    </a:lnTo>
                    <a:lnTo>
                      <a:pt x="218789" y="122396"/>
                    </a:lnTo>
                    <a:lnTo>
                      <a:pt x="232219" y="124873"/>
                    </a:lnTo>
                    <a:lnTo>
                      <a:pt x="247745" y="136970"/>
                    </a:lnTo>
                    <a:lnTo>
                      <a:pt x="249364" y="124777"/>
                    </a:lnTo>
                    <a:lnTo>
                      <a:pt x="243935" y="112395"/>
                    </a:lnTo>
                    <a:lnTo>
                      <a:pt x="256032" y="108776"/>
                    </a:lnTo>
                    <a:lnTo>
                      <a:pt x="253270" y="97917"/>
                    </a:lnTo>
                    <a:lnTo>
                      <a:pt x="240411" y="91249"/>
                    </a:lnTo>
                    <a:lnTo>
                      <a:pt x="214693" y="95631"/>
                    </a:lnTo>
                    <a:lnTo>
                      <a:pt x="220980" y="117634"/>
                    </a:lnTo>
                    <a:lnTo>
                      <a:pt x="205073" y="100108"/>
                    </a:lnTo>
                    <a:lnTo>
                      <a:pt x="184118" y="86963"/>
                    </a:lnTo>
                    <a:lnTo>
                      <a:pt x="157543" y="64008"/>
                    </a:lnTo>
                    <a:lnTo>
                      <a:pt x="164211" y="56197"/>
                    </a:lnTo>
                    <a:lnTo>
                      <a:pt x="158115" y="42958"/>
                    </a:lnTo>
                    <a:lnTo>
                      <a:pt x="126587" y="34385"/>
                    </a:lnTo>
                    <a:lnTo>
                      <a:pt x="99727" y="11525"/>
                    </a:lnTo>
                    <a:lnTo>
                      <a:pt x="76009" y="0"/>
                    </a:lnTo>
                    <a:lnTo>
                      <a:pt x="61722" y="1048"/>
                    </a:lnTo>
                    <a:lnTo>
                      <a:pt x="59817" y="8858"/>
                    </a:lnTo>
                    <a:lnTo>
                      <a:pt x="46768" y="13240"/>
                    </a:lnTo>
                    <a:lnTo>
                      <a:pt x="37338" y="25336"/>
                    </a:lnTo>
                    <a:lnTo>
                      <a:pt x="14002" y="26384"/>
                    </a:lnTo>
                    <a:lnTo>
                      <a:pt x="5810" y="35909"/>
                    </a:lnTo>
                    <a:lnTo>
                      <a:pt x="0" y="59436"/>
                    </a:lnTo>
                    <a:lnTo>
                      <a:pt x="17050" y="69437"/>
                    </a:lnTo>
                    <a:lnTo>
                      <a:pt x="29432" y="6667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91" name="Freeform: Shape 290">
                <a:extLst>
                  <a:ext uri="{FF2B5EF4-FFF2-40B4-BE49-F238E27FC236}">
                    <a16:creationId xmlns:a16="http://schemas.microsoft.com/office/drawing/2014/main" id="{A67983E2-FECB-425F-A400-67C6071DFFCF}"/>
                  </a:ext>
                </a:extLst>
              </p:cNvPr>
              <p:cNvSpPr/>
              <p:nvPr/>
            </p:nvSpPr>
            <p:spPr>
              <a:xfrm>
                <a:off x="15333331" y="4385516"/>
                <a:ext cx="17049" cy="49529"/>
              </a:xfrm>
              <a:custGeom>
                <a:avLst/>
                <a:gdLst>
                  <a:gd name="connsiteX0" fmla="*/ 9335 w 17049"/>
                  <a:gd name="connsiteY0" fmla="*/ 11049 h 49529"/>
                  <a:gd name="connsiteX1" fmla="*/ 4953 w 17049"/>
                  <a:gd name="connsiteY1" fmla="*/ 21717 h 49529"/>
                  <a:gd name="connsiteX2" fmla="*/ 0 w 17049"/>
                  <a:gd name="connsiteY2" fmla="*/ 37719 h 49529"/>
                  <a:gd name="connsiteX3" fmla="*/ 4191 w 17049"/>
                  <a:gd name="connsiteY3" fmla="*/ 49530 h 49529"/>
                  <a:gd name="connsiteX4" fmla="*/ 9430 w 17049"/>
                  <a:gd name="connsiteY4" fmla="*/ 46101 h 49529"/>
                  <a:gd name="connsiteX5" fmla="*/ 13526 w 17049"/>
                  <a:gd name="connsiteY5" fmla="*/ 35147 h 49529"/>
                  <a:gd name="connsiteX6" fmla="*/ 16288 w 17049"/>
                  <a:gd name="connsiteY6" fmla="*/ 14192 h 49529"/>
                  <a:gd name="connsiteX7" fmla="*/ 17050 w 17049"/>
                  <a:gd name="connsiteY7" fmla="*/ 4096 h 49529"/>
                  <a:gd name="connsiteX8" fmla="*/ 14573 w 17049"/>
                  <a:gd name="connsiteY8" fmla="*/ 0 h 49529"/>
                  <a:gd name="connsiteX9" fmla="*/ 9335 w 17049"/>
                  <a:gd name="connsiteY9" fmla="*/ 11049 h 4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49" h="49529">
                    <a:moveTo>
                      <a:pt x="9335" y="11049"/>
                    </a:moveTo>
                    <a:lnTo>
                      <a:pt x="4953" y="21717"/>
                    </a:lnTo>
                    <a:lnTo>
                      <a:pt x="0" y="37719"/>
                    </a:lnTo>
                    <a:lnTo>
                      <a:pt x="4191" y="49530"/>
                    </a:lnTo>
                    <a:lnTo>
                      <a:pt x="9430" y="46101"/>
                    </a:lnTo>
                    <a:lnTo>
                      <a:pt x="13526" y="35147"/>
                    </a:lnTo>
                    <a:lnTo>
                      <a:pt x="16288" y="14192"/>
                    </a:lnTo>
                    <a:lnTo>
                      <a:pt x="17050" y="4096"/>
                    </a:lnTo>
                    <a:lnTo>
                      <a:pt x="14573" y="0"/>
                    </a:lnTo>
                    <a:lnTo>
                      <a:pt x="9335" y="1104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92" name="Freeform: Shape 291">
                <a:extLst>
                  <a:ext uri="{FF2B5EF4-FFF2-40B4-BE49-F238E27FC236}">
                    <a16:creationId xmlns:a16="http://schemas.microsoft.com/office/drawing/2014/main" id="{2278A6A6-514A-4CA7-A7E0-5D0AC65059C0}"/>
                  </a:ext>
                </a:extLst>
              </p:cNvPr>
              <p:cNvSpPr/>
              <p:nvPr/>
            </p:nvSpPr>
            <p:spPr>
              <a:xfrm>
                <a:off x="14968237" y="5167423"/>
                <a:ext cx="4571" cy="4572"/>
              </a:xfrm>
              <a:custGeom>
                <a:avLst/>
                <a:gdLst>
                  <a:gd name="connsiteX0" fmla="*/ 3905 w 4571"/>
                  <a:gd name="connsiteY0" fmla="*/ 667 h 4572"/>
                  <a:gd name="connsiteX1" fmla="*/ 4572 w 4571"/>
                  <a:gd name="connsiteY1" fmla="*/ 0 h 4572"/>
                  <a:gd name="connsiteX2" fmla="*/ 0 w 4571"/>
                  <a:gd name="connsiteY2" fmla="*/ 4572 h 4572"/>
                  <a:gd name="connsiteX3" fmla="*/ 3905 w 4571"/>
                  <a:gd name="connsiteY3" fmla="*/ 667 h 4572"/>
                </a:gdLst>
                <a:ahLst/>
                <a:cxnLst>
                  <a:cxn ang="0">
                    <a:pos x="connsiteX0" y="connsiteY0"/>
                  </a:cxn>
                  <a:cxn ang="0">
                    <a:pos x="connsiteX1" y="connsiteY1"/>
                  </a:cxn>
                  <a:cxn ang="0">
                    <a:pos x="connsiteX2" y="connsiteY2"/>
                  </a:cxn>
                  <a:cxn ang="0">
                    <a:pos x="connsiteX3" y="connsiteY3"/>
                  </a:cxn>
                </a:cxnLst>
                <a:rect l="l" t="t" r="r" b="b"/>
                <a:pathLst>
                  <a:path w="4571" h="4572">
                    <a:moveTo>
                      <a:pt x="3905" y="667"/>
                    </a:moveTo>
                    <a:lnTo>
                      <a:pt x="4572" y="0"/>
                    </a:lnTo>
                    <a:lnTo>
                      <a:pt x="0" y="4572"/>
                    </a:lnTo>
                    <a:lnTo>
                      <a:pt x="3905" y="66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93" name="Freeform: Shape 292">
                <a:extLst>
                  <a:ext uri="{FF2B5EF4-FFF2-40B4-BE49-F238E27FC236}">
                    <a16:creationId xmlns:a16="http://schemas.microsoft.com/office/drawing/2014/main" id="{1C56C3C5-0BBB-4DE6-8B5E-7FA402A8B068}"/>
                  </a:ext>
                </a:extLst>
              </p:cNvPr>
              <p:cNvSpPr/>
              <p:nvPr/>
            </p:nvSpPr>
            <p:spPr>
              <a:xfrm>
                <a:off x="14998908" y="5128085"/>
                <a:ext cx="11144" cy="12096"/>
              </a:xfrm>
              <a:custGeom>
                <a:avLst/>
                <a:gdLst>
                  <a:gd name="connsiteX0" fmla="*/ 1619 w 11144"/>
                  <a:gd name="connsiteY0" fmla="*/ 10287 h 12096"/>
                  <a:gd name="connsiteX1" fmla="*/ 9144 w 11144"/>
                  <a:gd name="connsiteY1" fmla="*/ 2191 h 12096"/>
                  <a:gd name="connsiteX2" fmla="*/ 11144 w 11144"/>
                  <a:gd name="connsiteY2" fmla="*/ 0 h 12096"/>
                  <a:gd name="connsiteX3" fmla="*/ 0 w 11144"/>
                  <a:gd name="connsiteY3" fmla="*/ 12097 h 12096"/>
                  <a:gd name="connsiteX4" fmla="*/ 1619 w 11144"/>
                  <a:gd name="connsiteY4" fmla="*/ 10287 h 1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4" h="12096">
                    <a:moveTo>
                      <a:pt x="1619" y="10287"/>
                    </a:moveTo>
                    <a:lnTo>
                      <a:pt x="9144" y="2191"/>
                    </a:lnTo>
                    <a:lnTo>
                      <a:pt x="11144" y="0"/>
                    </a:lnTo>
                    <a:lnTo>
                      <a:pt x="0" y="12097"/>
                    </a:lnTo>
                    <a:lnTo>
                      <a:pt x="1619" y="1028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94" name="Freeform: Shape 293">
                <a:extLst>
                  <a:ext uri="{FF2B5EF4-FFF2-40B4-BE49-F238E27FC236}">
                    <a16:creationId xmlns:a16="http://schemas.microsoft.com/office/drawing/2014/main" id="{C5C9835A-281C-44FE-A394-221DE696D585}"/>
                  </a:ext>
                </a:extLst>
              </p:cNvPr>
              <p:cNvSpPr/>
              <p:nvPr/>
            </p:nvSpPr>
            <p:spPr>
              <a:xfrm>
                <a:off x="14962998" y="5171995"/>
                <a:ext cx="5238" cy="5238"/>
              </a:xfrm>
              <a:custGeom>
                <a:avLst/>
                <a:gdLst>
                  <a:gd name="connsiteX0" fmla="*/ 1143 w 5238"/>
                  <a:gd name="connsiteY0" fmla="*/ 4096 h 5238"/>
                  <a:gd name="connsiteX1" fmla="*/ 5239 w 5238"/>
                  <a:gd name="connsiteY1" fmla="*/ 0 h 5238"/>
                  <a:gd name="connsiteX2" fmla="*/ 0 w 5238"/>
                  <a:gd name="connsiteY2" fmla="*/ 5239 h 5238"/>
                  <a:gd name="connsiteX3" fmla="*/ 1143 w 5238"/>
                  <a:gd name="connsiteY3" fmla="*/ 4096 h 5238"/>
                </a:gdLst>
                <a:ahLst/>
                <a:cxnLst>
                  <a:cxn ang="0">
                    <a:pos x="connsiteX0" y="connsiteY0"/>
                  </a:cxn>
                  <a:cxn ang="0">
                    <a:pos x="connsiteX1" y="connsiteY1"/>
                  </a:cxn>
                  <a:cxn ang="0">
                    <a:pos x="connsiteX2" y="connsiteY2"/>
                  </a:cxn>
                  <a:cxn ang="0">
                    <a:pos x="connsiteX3" y="connsiteY3"/>
                  </a:cxn>
                </a:cxnLst>
                <a:rect l="l" t="t" r="r" b="b"/>
                <a:pathLst>
                  <a:path w="5238" h="5238">
                    <a:moveTo>
                      <a:pt x="1143" y="4096"/>
                    </a:moveTo>
                    <a:lnTo>
                      <a:pt x="5239" y="0"/>
                    </a:lnTo>
                    <a:lnTo>
                      <a:pt x="0" y="5239"/>
                    </a:lnTo>
                    <a:lnTo>
                      <a:pt x="1143" y="409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95" name="Freeform: Shape 294">
                <a:extLst>
                  <a:ext uri="{FF2B5EF4-FFF2-40B4-BE49-F238E27FC236}">
                    <a16:creationId xmlns:a16="http://schemas.microsoft.com/office/drawing/2014/main" id="{254EE2F3-4663-4792-BA86-DDBFF064AAF0}"/>
                  </a:ext>
                </a:extLst>
              </p:cNvPr>
              <p:cNvSpPr/>
              <p:nvPr/>
            </p:nvSpPr>
            <p:spPr>
              <a:xfrm>
                <a:off x="15010052" y="5124466"/>
                <a:ext cx="3333" cy="3619"/>
              </a:xfrm>
              <a:custGeom>
                <a:avLst/>
                <a:gdLst>
                  <a:gd name="connsiteX0" fmla="*/ 571 w 3333"/>
                  <a:gd name="connsiteY0" fmla="*/ 3048 h 3619"/>
                  <a:gd name="connsiteX1" fmla="*/ 3334 w 3333"/>
                  <a:gd name="connsiteY1" fmla="*/ 0 h 3619"/>
                  <a:gd name="connsiteX2" fmla="*/ 0 w 3333"/>
                  <a:gd name="connsiteY2" fmla="*/ 3620 h 3619"/>
                  <a:gd name="connsiteX3" fmla="*/ 571 w 3333"/>
                  <a:gd name="connsiteY3" fmla="*/ 3048 h 3619"/>
                </a:gdLst>
                <a:ahLst/>
                <a:cxnLst>
                  <a:cxn ang="0">
                    <a:pos x="connsiteX0" y="connsiteY0"/>
                  </a:cxn>
                  <a:cxn ang="0">
                    <a:pos x="connsiteX1" y="connsiteY1"/>
                  </a:cxn>
                  <a:cxn ang="0">
                    <a:pos x="connsiteX2" y="connsiteY2"/>
                  </a:cxn>
                  <a:cxn ang="0">
                    <a:pos x="connsiteX3" y="connsiteY3"/>
                  </a:cxn>
                </a:cxnLst>
                <a:rect l="l" t="t" r="r" b="b"/>
                <a:pathLst>
                  <a:path w="3333" h="3619">
                    <a:moveTo>
                      <a:pt x="571" y="3048"/>
                    </a:moveTo>
                    <a:lnTo>
                      <a:pt x="3334" y="0"/>
                    </a:lnTo>
                    <a:lnTo>
                      <a:pt x="0" y="3620"/>
                    </a:lnTo>
                    <a:lnTo>
                      <a:pt x="571" y="304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96" name="Freeform: Shape 295">
                <a:extLst>
                  <a:ext uri="{FF2B5EF4-FFF2-40B4-BE49-F238E27FC236}">
                    <a16:creationId xmlns:a16="http://schemas.microsoft.com/office/drawing/2014/main" id="{C94AE601-B981-401E-9885-8B7C0BEF488A}"/>
                  </a:ext>
                </a:extLst>
              </p:cNvPr>
              <p:cNvSpPr/>
              <p:nvPr/>
            </p:nvSpPr>
            <p:spPr>
              <a:xfrm>
                <a:off x="14939281" y="5194093"/>
                <a:ext cx="6476" cy="6286"/>
              </a:xfrm>
              <a:custGeom>
                <a:avLst/>
                <a:gdLst>
                  <a:gd name="connsiteX0" fmla="*/ 3143 w 6476"/>
                  <a:gd name="connsiteY0" fmla="*/ 3238 h 6286"/>
                  <a:gd name="connsiteX1" fmla="*/ 4286 w 6476"/>
                  <a:gd name="connsiteY1" fmla="*/ 2191 h 6286"/>
                  <a:gd name="connsiteX2" fmla="*/ 6477 w 6476"/>
                  <a:gd name="connsiteY2" fmla="*/ 0 h 6286"/>
                  <a:gd name="connsiteX3" fmla="*/ 0 w 6476"/>
                  <a:gd name="connsiteY3" fmla="*/ 6287 h 6286"/>
                  <a:gd name="connsiteX4" fmla="*/ 3143 w 6476"/>
                  <a:gd name="connsiteY4" fmla="*/ 3238 h 6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 h="6286">
                    <a:moveTo>
                      <a:pt x="3143" y="3238"/>
                    </a:moveTo>
                    <a:lnTo>
                      <a:pt x="4286" y="2191"/>
                    </a:lnTo>
                    <a:lnTo>
                      <a:pt x="6477" y="0"/>
                    </a:lnTo>
                    <a:lnTo>
                      <a:pt x="0" y="6287"/>
                    </a:lnTo>
                    <a:lnTo>
                      <a:pt x="3143" y="323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97" name="Freeform: Shape 296">
                <a:extLst>
                  <a:ext uri="{FF2B5EF4-FFF2-40B4-BE49-F238E27FC236}">
                    <a16:creationId xmlns:a16="http://schemas.microsoft.com/office/drawing/2014/main" id="{47BCB1E4-4A22-49DD-B535-A1F0D53CA1B8}"/>
                  </a:ext>
                </a:extLst>
              </p:cNvPr>
              <p:cNvSpPr/>
              <p:nvPr/>
            </p:nvSpPr>
            <p:spPr>
              <a:xfrm>
                <a:off x="15014910" y="5114464"/>
                <a:ext cx="7429" cy="8191"/>
              </a:xfrm>
              <a:custGeom>
                <a:avLst/>
                <a:gdLst>
                  <a:gd name="connsiteX0" fmla="*/ 5334 w 7429"/>
                  <a:gd name="connsiteY0" fmla="*/ 2381 h 8191"/>
                  <a:gd name="connsiteX1" fmla="*/ 7429 w 7429"/>
                  <a:gd name="connsiteY1" fmla="*/ 0 h 8191"/>
                  <a:gd name="connsiteX2" fmla="*/ 0 w 7429"/>
                  <a:gd name="connsiteY2" fmla="*/ 8192 h 8191"/>
                  <a:gd name="connsiteX3" fmla="*/ 5334 w 7429"/>
                  <a:gd name="connsiteY3" fmla="*/ 2381 h 8191"/>
                </a:gdLst>
                <a:ahLst/>
                <a:cxnLst>
                  <a:cxn ang="0">
                    <a:pos x="connsiteX0" y="connsiteY0"/>
                  </a:cxn>
                  <a:cxn ang="0">
                    <a:pos x="connsiteX1" y="connsiteY1"/>
                  </a:cxn>
                  <a:cxn ang="0">
                    <a:pos x="connsiteX2" y="connsiteY2"/>
                  </a:cxn>
                  <a:cxn ang="0">
                    <a:pos x="connsiteX3" y="connsiteY3"/>
                  </a:cxn>
                </a:cxnLst>
                <a:rect l="l" t="t" r="r" b="b"/>
                <a:pathLst>
                  <a:path w="7429" h="8191">
                    <a:moveTo>
                      <a:pt x="5334" y="2381"/>
                    </a:moveTo>
                    <a:lnTo>
                      <a:pt x="7429" y="0"/>
                    </a:lnTo>
                    <a:lnTo>
                      <a:pt x="0" y="8192"/>
                    </a:lnTo>
                    <a:lnTo>
                      <a:pt x="5334" y="238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98" name="Freeform: Shape 297">
                <a:extLst>
                  <a:ext uri="{FF2B5EF4-FFF2-40B4-BE49-F238E27FC236}">
                    <a16:creationId xmlns:a16="http://schemas.microsoft.com/office/drawing/2014/main" id="{E95000A5-931B-4FE0-A970-7E0E3BC2A4BA}"/>
                  </a:ext>
                </a:extLst>
              </p:cNvPr>
              <p:cNvSpPr/>
              <p:nvPr/>
            </p:nvSpPr>
            <p:spPr>
              <a:xfrm>
                <a:off x="14960903" y="5177234"/>
                <a:ext cx="2095" cy="2095"/>
              </a:xfrm>
              <a:custGeom>
                <a:avLst/>
                <a:gdLst>
                  <a:gd name="connsiteX0" fmla="*/ 1333 w 2095"/>
                  <a:gd name="connsiteY0" fmla="*/ 762 h 2095"/>
                  <a:gd name="connsiteX1" fmla="*/ 2096 w 2095"/>
                  <a:gd name="connsiteY1" fmla="*/ 0 h 2095"/>
                  <a:gd name="connsiteX2" fmla="*/ 0 w 2095"/>
                  <a:gd name="connsiteY2" fmla="*/ 2096 h 2095"/>
                  <a:gd name="connsiteX3" fmla="*/ 1333 w 2095"/>
                  <a:gd name="connsiteY3" fmla="*/ 762 h 2095"/>
                </a:gdLst>
                <a:ahLst/>
                <a:cxnLst>
                  <a:cxn ang="0">
                    <a:pos x="connsiteX0" y="connsiteY0"/>
                  </a:cxn>
                  <a:cxn ang="0">
                    <a:pos x="connsiteX1" y="connsiteY1"/>
                  </a:cxn>
                  <a:cxn ang="0">
                    <a:pos x="connsiteX2" y="connsiteY2"/>
                  </a:cxn>
                  <a:cxn ang="0">
                    <a:pos x="connsiteX3" y="connsiteY3"/>
                  </a:cxn>
                </a:cxnLst>
                <a:rect l="l" t="t" r="r" b="b"/>
                <a:pathLst>
                  <a:path w="2095" h="2095">
                    <a:moveTo>
                      <a:pt x="1333" y="762"/>
                    </a:moveTo>
                    <a:lnTo>
                      <a:pt x="2096" y="0"/>
                    </a:lnTo>
                    <a:lnTo>
                      <a:pt x="0" y="2096"/>
                    </a:lnTo>
                    <a:lnTo>
                      <a:pt x="1333" y="76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299" name="Freeform: Shape 298">
                <a:extLst>
                  <a:ext uri="{FF2B5EF4-FFF2-40B4-BE49-F238E27FC236}">
                    <a16:creationId xmlns:a16="http://schemas.microsoft.com/office/drawing/2014/main" id="{185198FE-0DAA-46F5-8CDB-EFE0901BE418}"/>
                  </a:ext>
                </a:extLst>
              </p:cNvPr>
              <p:cNvSpPr/>
              <p:nvPr/>
            </p:nvSpPr>
            <p:spPr>
              <a:xfrm>
                <a:off x="14945758" y="5193045"/>
                <a:ext cx="1238" cy="1047"/>
              </a:xfrm>
              <a:custGeom>
                <a:avLst/>
                <a:gdLst>
                  <a:gd name="connsiteX0" fmla="*/ 95 w 1238"/>
                  <a:gd name="connsiteY0" fmla="*/ 1048 h 1047"/>
                  <a:gd name="connsiteX1" fmla="*/ 191 w 1238"/>
                  <a:gd name="connsiteY1" fmla="*/ 953 h 1047"/>
                  <a:gd name="connsiteX2" fmla="*/ 1238 w 1238"/>
                  <a:gd name="connsiteY2" fmla="*/ 0 h 1047"/>
                  <a:gd name="connsiteX3" fmla="*/ 0 w 1238"/>
                  <a:gd name="connsiteY3" fmla="*/ 1048 h 1047"/>
                  <a:gd name="connsiteX4" fmla="*/ 95 w 1238"/>
                  <a:gd name="connsiteY4" fmla="*/ 1048 h 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 h="1047">
                    <a:moveTo>
                      <a:pt x="95" y="1048"/>
                    </a:moveTo>
                    <a:lnTo>
                      <a:pt x="191" y="953"/>
                    </a:lnTo>
                    <a:lnTo>
                      <a:pt x="1238" y="0"/>
                    </a:lnTo>
                    <a:lnTo>
                      <a:pt x="0" y="1048"/>
                    </a:lnTo>
                    <a:lnTo>
                      <a:pt x="95" y="104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00" name="Freeform: Shape 299">
                <a:extLst>
                  <a:ext uri="{FF2B5EF4-FFF2-40B4-BE49-F238E27FC236}">
                    <a16:creationId xmlns:a16="http://schemas.microsoft.com/office/drawing/2014/main" id="{E9D7A3B9-ED3A-47B4-B506-35198FAECD1C}"/>
                  </a:ext>
                </a:extLst>
              </p:cNvPr>
              <p:cNvSpPr/>
              <p:nvPr/>
            </p:nvSpPr>
            <p:spPr>
              <a:xfrm>
                <a:off x="15031864" y="5102653"/>
                <a:ext cx="761" cy="952"/>
              </a:xfrm>
              <a:custGeom>
                <a:avLst/>
                <a:gdLst>
                  <a:gd name="connsiteX0" fmla="*/ 381 w 761"/>
                  <a:gd name="connsiteY0" fmla="*/ 476 h 952"/>
                  <a:gd name="connsiteX1" fmla="*/ 762 w 761"/>
                  <a:gd name="connsiteY1" fmla="*/ 0 h 952"/>
                  <a:gd name="connsiteX2" fmla="*/ 0 w 761"/>
                  <a:gd name="connsiteY2" fmla="*/ 952 h 952"/>
                  <a:gd name="connsiteX3" fmla="*/ 381 w 761"/>
                  <a:gd name="connsiteY3" fmla="*/ 476 h 952"/>
                </a:gdLst>
                <a:ahLst/>
                <a:cxnLst>
                  <a:cxn ang="0">
                    <a:pos x="connsiteX0" y="connsiteY0"/>
                  </a:cxn>
                  <a:cxn ang="0">
                    <a:pos x="connsiteX1" y="connsiteY1"/>
                  </a:cxn>
                  <a:cxn ang="0">
                    <a:pos x="connsiteX2" y="connsiteY2"/>
                  </a:cxn>
                  <a:cxn ang="0">
                    <a:pos x="connsiteX3" y="connsiteY3"/>
                  </a:cxn>
                </a:cxnLst>
                <a:rect l="l" t="t" r="r" b="b"/>
                <a:pathLst>
                  <a:path w="761" h="952">
                    <a:moveTo>
                      <a:pt x="381" y="476"/>
                    </a:moveTo>
                    <a:lnTo>
                      <a:pt x="762" y="0"/>
                    </a:lnTo>
                    <a:lnTo>
                      <a:pt x="0" y="952"/>
                    </a:lnTo>
                    <a:lnTo>
                      <a:pt x="381" y="47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01" name="Freeform: Shape 300">
                <a:extLst>
                  <a:ext uri="{FF2B5EF4-FFF2-40B4-BE49-F238E27FC236}">
                    <a16:creationId xmlns:a16="http://schemas.microsoft.com/office/drawing/2014/main" id="{35681406-5A9C-410F-9362-DF8AF1BC5C14}"/>
                  </a:ext>
                </a:extLst>
              </p:cNvPr>
              <p:cNvSpPr/>
              <p:nvPr/>
            </p:nvSpPr>
            <p:spPr>
              <a:xfrm>
                <a:off x="15039865" y="5092557"/>
                <a:ext cx="1524" cy="1714"/>
              </a:xfrm>
              <a:custGeom>
                <a:avLst/>
                <a:gdLst>
                  <a:gd name="connsiteX0" fmla="*/ 381 w 1524"/>
                  <a:gd name="connsiteY0" fmla="*/ 1333 h 1714"/>
                  <a:gd name="connsiteX1" fmla="*/ 1524 w 1524"/>
                  <a:gd name="connsiteY1" fmla="*/ 0 h 1714"/>
                  <a:gd name="connsiteX2" fmla="*/ 0 w 1524"/>
                  <a:gd name="connsiteY2" fmla="*/ 1715 h 1714"/>
                  <a:gd name="connsiteX3" fmla="*/ 381 w 1524"/>
                  <a:gd name="connsiteY3" fmla="*/ 1333 h 1714"/>
                </a:gdLst>
                <a:ahLst/>
                <a:cxnLst>
                  <a:cxn ang="0">
                    <a:pos x="connsiteX0" y="connsiteY0"/>
                  </a:cxn>
                  <a:cxn ang="0">
                    <a:pos x="connsiteX1" y="connsiteY1"/>
                  </a:cxn>
                  <a:cxn ang="0">
                    <a:pos x="connsiteX2" y="connsiteY2"/>
                  </a:cxn>
                  <a:cxn ang="0">
                    <a:pos x="connsiteX3" y="connsiteY3"/>
                  </a:cxn>
                </a:cxnLst>
                <a:rect l="l" t="t" r="r" b="b"/>
                <a:pathLst>
                  <a:path w="1524" h="1714">
                    <a:moveTo>
                      <a:pt x="381" y="1333"/>
                    </a:moveTo>
                    <a:lnTo>
                      <a:pt x="1524" y="0"/>
                    </a:lnTo>
                    <a:lnTo>
                      <a:pt x="0" y="1715"/>
                    </a:lnTo>
                    <a:lnTo>
                      <a:pt x="381" y="133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02" name="Freeform: Shape 301">
                <a:extLst>
                  <a:ext uri="{FF2B5EF4-FFF2-40B4-BE49-F238E27FC236}">
                    <a16:creationId xmlns:a16="http://schemas.microsoft.com/office/drawing/2014/main" id="{01F45DE0-D8F5-47F6-BD43-8B546E9BF24D}"/>
                  </a:ext>
                </a:extLst>
              </p:cNvPr>
              <p:cNvSpPr/>
              <p:nvPr/>
            </p:nvSpPr>
            <p:spPr>
              <a:xfrm>
                <a:off x="15037865" y="5094271"/>
                <a:ext cx="2000" cy="2286"/>
              </a:xfrm>
              <a:custGeom>
                <a:avLst/>
                <a:gdLst>
                  <a:gd name="connsiteX0" fmla="*/ 667 w 2000"/>
                  <a:gd name="connsiteY0" fmla="*/ 1619 h 2286"/>
                  <a:gd name="connsiteX1" fmla="*/ 1619 w 2000"/>
                  <a:gd name="connsiteY1" fmla="*/ 381 h 2286"/>
                  <a:gd name="connsiteX2" fmla="*/ 2000 w 2000"/>
                  <a:gd name="connsiteY2" fmla="*/ 0 h 2286"/>
                  <a:gd name="connsiteX3" fmla="*/ 0 w 2000"/>
                  <a:gd name="connsiteY3" fmla="*/ 2286 h 2286"/>
                  <a:gd name="connsiteX4" fmla="*/ 667 w 2000"/>
                  <a:gd name="connsiteY4" fmla="*/ 1619 h 2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 h="2286">
                    <a:moveTo>
                      <a:pt x="667" y="1619"/>
                    </a:moveTo>
                    <a:lnTo>
                      <a:pt x="1619" y="381"/>
                    </a:lnTo>
                    <a:lnTo>
                      <a:pt x="2000" y="0"/>
                    </a:lnTo>
                    <a:lnTo>
                      <a:pt x="0" y="2286"/>
                    </a:lnTo>
                    <a:lnTo>
                      <a:pt x="667" y="161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03" name="Freeform: Shape 302">
                <a:extLst>
                  <a:ext uri="{FF2B5EF4-FFF2-40B4-BE49-F238E27FC236}">
                    <a16:creationId xmlns:a16="http://schemas.microsoft.com/office/drawing/2014/main" id="{BD33FF05-87AA-4DF1-889E-0CE1CAB254DC}"/>
                  </a:ext>
                </a:extLst>
              </p:cNvPr>
              <p:cNvSpPr/>
              <p:nvPr/>
            </p:nvSpPr>
            <p:spPr>
              <a:xfrm>
                <a:off x="15052438" y="5076460"/>
                <a:ext cx="2381" cy="2952"/>
              </a:xfrm>
              <a:custGeom>
                <a:avLst/>
                <a:gdLst>
                  <a:gd name="connsiteX0" fmla="*/ 857 w 2381"/>
                  <a:gd name="connsiteY0" fmla="*/ 1810 h 2952"/>
                  <a:gd name="connsiteX1" fmla="*/ 2381 w 2381"/>
                  <a:gd name="connsiteY1" fmla="*/ 0 h 2952"/>
                  <a:gd name="connsiteX2" fmla="*/ 0 w 2381"/>
                  <a:gd name="connsiteY2" fmla="*/ 2953 h 2952"/>
                  <a:gd name="connsiteX3" fmla="*/ 857 w 2381"/>
                  <a:gd name="connsiteY3" fmla="*/ 1810 h 2952"/>
                </a:gdLst>
                <a:ahLst/>
                <a:cxnLst>
                  <a:cxn ang="0">
                    <a:pos x="connsiteX0" y="connsiteY0"/>
                  </a:cxn>
                  <a:cxn ang="0">
                    <a:pos x="connsiteX1" y="connsiteY1"/>
                  </a:cxn>
                  <a:cxn ang="0">
                    <a:pos x="connsiteX2" y="connsiteY2"/>
                  </a:cxn>
                  <a:cxn ang="0">
                    <a:pos x="connsiteX3" y="connsiteY3"/>
                  </a:cxn>
                </a:cxnLst>
                <a:rect l="l" t="t" r="r" b="b"/>
                <a:pathLst>
                  <a:path w="2381" h="2952">
                    <a:moveTo>
                      <a:pt x="857" y="1810"/>
                    </a:moveTo>
                    <a:lnTo>
                      <a:pt x="2381" y="0"/>
                    </a:lnTo>
                    <a:lnTo>
                      <a:pt x="0" y="2953"/>
                    </a:lnTo>
                    <a:lnTo>
                      <a:pt x="857" y="181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04" name="Freeform: Shape 303">
                <a:extLst>
                  <a:ext uri="{FF2B5EF4-FFF2-40B4-BE49-F238E27FC236}">
                    <a16:creationId xmlns:a16="http://schemas.microsoft.com/office/drawing/2014/main" id="{4F159687-3D56-4FF7-B99C-A3246D6AF4EB}"/>
                  </a:ext>
                </a:extLst>
              </p:cNvPr>
              <p:cNvSpPr/>
              <p:nvPr/>
            </p:nvSpPr>
            <p:spPr>
              <a:xfrm>
                <a:off x="14936614" y="5200380"/>
                <a:ext cx="2666" cy="2476"/>
              </a:xfrm>
              <a:custGeom>
                <a:avLst/>
                <a:gdLst>
                  <a:gd name="connsiteX0" fmla="*/ 1143 w 2666"/>
                  <a:gd name="connsiteY0" fmla="*/ 1429 h 2476"/>
                  <a:gd name="connsiteX1" fmla="*/ 2667 w 2666"/>
                  <a:gd name="connsiteY1" fmla="*/ 0 h 2476"/>
                  <a:gd name="connsiteX2" fmla="*/ 0 w 2666"/>
                  <a:gd name="connsiteY2" fmla="*/ 2476 h 2476"/>
                  <a:gd name="connsiteX3" fmla="*/ 1143 w 2666"/>
                  <a:gd name="connsiteY3" fmla="*/ 1429 h 2476"/>
                </a:gdLst>
                <a:ahLst/>
                <a:cxnLst>
                  <a:cxn ang="0">
                    <a:pos x="connsiteX0" y="connsiteY0"/>
                  </a:cxn>
                  <a:cxn ang="0">
                    <a:pos x="connsiteX1" y="connsiteY1"/>
                  </a:cxn>
                  <a:cxn ang="0">
                    <a:pos x="connsiteX2" y="connsiteY2"/>
                  </a:cxn>
                  <a:cxn ang="0">
                    <a:pos x="connsiteX3" y="connsiteY3"/>
                  </a:cxn>
                </a:cxnLst>
                <a:rect l="l" t="t" r="r" b="b"/>
                <a:pathLst>
                  <a:path w="2666" h="2476">
                    <a:moveTo>
                      <a:pt x="1143" y="1429"/>
                    </a:moveTo>
                    <a:lnTo>
                      <a:pt x="2667" y="0"/>
                    </a:lnTo>
                    <a:lnTo>
                      <a:pt x="0" y="2476"/>
                    </a:lnTo>
                    <a:lnTo>
                      <a:pt x="1143" y="142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05" name="Freeform: Shape 304">
                <a:extLst>
                  <a:ext uri="{FF2B5EF4-FFF2-40B4-BE49-F238E27FC236}">
                    <a16:creationId xmlns:a16="http://schemas.microsoft.com/office/drawing/2014/main" id="{7AE631DC-2D5D-4046-A5D2-9CCB164FEDE1}"/>
                  </a:ext>
                </a:extLst>
              </p:cNvPr>
              <p:cNvSpPr/>
              <p:nvPr/>
            </p:nvSpPr>
            <p:spPr>
              <a:xfrm>
                <a:off x="15027197" y="5103606"/>
                <a:ext cx="4667" cy="5238"/>
              </a:xfrm>
              <a:custGeom>
                <a:avLst/>
                <a:gdLst>
                  <a:gd name="connsiteX0" fmla="*/ 1905 w 4667"/>
                  <a:gd name="connsiteY0" fmla="*/ 3143 h 5238"/>
                  <a:gd name="connsiteX1" fmla="*/ 2191 w 4667"/>
                  <a:gd name="connsiteY1" fmla="*/ 2762 h 5238"/>
                  <a:gd name="connsiteX2" fmla="*/ 4667 w 4667"/>
                  <a:gd name="connsiteY2" fmla="*/ 0 h 5238"/>
                  <a:gd name="connsiteX3" fmla="*/ 0 w 4667"/>
                  <a:gd name="connsiteY3" fmla="*/ 5239 h 5238"/>
                  <a:gd name="connsiteX4" fmla="*/ 1905 w 4667"/>
                  <a:gd name="connsiteY4" fmla="*/ 3143 h 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 h="5238">
                    <a:moveTo>
                      <a:pt x="1905" y="3143"/>
                    </a:moveTo>
                    <a:lnTo>
                      <a:pt x="2191" y="2762"/>
                    </a:lnTo>
                    <a:lnTo>
                      <a:pt x="4667" y="0"/>
                    </a:lnTo>
                    <a:lnTo>
                      <a:pt x="0" y="5239"/>
                    </a:lnTo>
                    <a:lnTo>
                      <a:pt x="1905" y="314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06" name="Freeform: Shape 305">
                <a:extLst>
                  <a:ext uri="{FF2B5EF4-FFF2-40B4-BE49-F238E27FC236}">
                    <a16:creationId xmlns:a16="http://schemas.microsoft.com/office/drawing/2014/main" id="{5B5CFD54-5E86-4A09-9960-7E0B9E937A8B}"/>
                  </a:ext>
                </a:extLst>
              </p:cNvPr>
              <p:cNvSpPr/>
              <p:nvPr/>
            </p:nvSpPr>
            <p:spPr>
              <a:xfrm>
                <a:off x="15022339" y="5108845"/>
                <a:ext cx="4857" cy="5619"/>
              </a:xfrm>
              <a:custGeom>
                <a:avLst/>
                <a:gdLst>
                  <a:gd name="connsiteX0" fmla="*/ 2000 w 4857"/>
                  <a:gd name="connsiteY0" fmla="*/ 3334 h 5619"/>
                  <a:gd name="connsiteX1" fmla="*/ 4858 w 4857"/>
                  <a:gd name="connsiteY1" fmla="*/ 0 h 5619"/>
                  <a:gd name="connsiteX2" fmla="*/ 0 w 4857"/>
                  <a:gd name="connsiteY2" fmla="*/ 5620 h 5619"/>
                  <a:gd name="connsiteX3" fmla="*/ 2000 w 4857"/>
                  <a:gd name="connsiteY3" fmla="*/ 3334 h 5619"/>
                </a:gdLst>
                <a:ahLst/>
                <a:cxnLst>
                  <a:cxn ang="0">
                    <a:pos x="connsiteX0" y="connsiteY0"/>
                  </a:cxn>
                  <a:cxn ang="0">
                    <a:pos x="connsiteX1" y="connsiteY1"/>
                  </a:cxn>
                  <a:cxn ang="0">
                    <a:pos x="connsiteX2" y="connsiteY2"/>
                  </a:cxn>
                  <a:cxn ang="0">
                    <a:pos x="connsiteX3" y="connsiteY3"/>
                  </a:cxn>
                </a:cxnLst>
                <a:rect l="l" t="t" r="r" b="b"/>
                <a:pathLst>
                  <a:path w="4857" h="5619">
                    <a:moveTo>
                      <a:pt x="2000" y="3334"/>
                    </a:moveTo>
                    <a:lnTo>
                      <a:pt x="4858" y="0"/>
                    </a:lnTo>
                    <a:lnTo>
                      <a:pt x="0" y="5620"/>
                    </a:lnTo>
                    <a:lnTo>
                      <a:pt x="2000" y="333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07" name="Freeform: Shape 306">
                <a:extLst>
                  <a:ext uri="{FF2B5EF4-FFF2-40B4-BE49-F238E27FC236}">
                    <a16:creationId xmlns:a16="http://schemas.microsoft.com/office/drawing/2014/main" id="{30C46480-C18D-459D-BEAE-2502F693646C}"/>
                  </a:ext>
                </a:extLst>
              </p:cNvPr>
              <p:cNvSpPr/>
              <p:nvPr/>
            </p:nvSpPr>
            <p:spPr>
              <a:xfrm>
                <a:off x="15032626" y="5096557"/>
                <a:ext cx="5238" cy="6095"/>
              </a:xfrm>
              <a:custGeom>
                <a:avLst/>
                <a:gdLst>
                  <a:gd name="connsiteX0" fmla="*/ 2096 w 5238"/>
                  <a:gd name="connsiteY0" fmla="*/ 3715 h 6095"/>
                  <a:gd name="connsiteX1" fmla="*/ 5239 w 5238"/>
                  <a:gd name="connsiteY1" fmla="*/ 0 h 6095"/>
                  <a:gd name="connsiteX2" fmla="*/ 0 w 5238"/>
                  <a:gd name="connsiteY2" fmla="*/ 6096 h 6095"/>
                  <a:gd name="connsiteX3" fmla="*/ 2096 w 5238"/>
                  <a:gd name="connsiteY3" fmla="*/ 3715 h 6095"/>
                </a:gdLst>
                <a:ahLst/>
                <a:cxnLst>
                  <a:cxn ang="0">
                    <a:pos x="connsiteX0" y="connsiteY0"/>
                  </a:cxn>
                  <a:cxn ang="0">
                    <a:pos x="connsiteX1" y="connsiteY1"/>
                  </a:cxn>
                  <a:cxn ang="0">
                    <a:pos x="connsiteX2" y="connsiteY2"/>
                  </a:cxn>
                  <a:cxn ang="0">
                    <a:pos x="connsiteX3" y="connsiteY3"/>
                  </a:cxn>
                </a:cxnLst>
                <a:rect l="l" t="t" r="r" b="b"/>
                <a:pathLst>
                  <a:path w="5238" h="6095">
                    <a:moveTo>
                      <a:pt x="2096" y="3715"/>
                    </a:moveTo>
                    <a:lnTo>
                      <a:pt x="5239" y="0"/>
                    </a:lnTo>
                    <a:lnTo>
                      <a:pt x="0" y="6096"/>
                    </a:lnTo>
                    <a:lnTo>
                      <a:pt x="2096" y="371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08" name="Freeform: Shape 307">
                <a:extLst>
                  <a:ext uri="{FF2B5EF4-FFF2-40B4-BE49-F238E27FC236}">
                    <a16:creationId xmlns:a16="http://schemas.microsoft.com/office/drawing/2014/main" id="{84F0D214-D47C-4086-8087-6EE5C2AA8F29}"/>
                  </a:ext>
                </a:extLst>
              </p:cNvPr>
              <p:cNvSpPr/>
              <p:nvPr/>
            </p:nvSpPr>
            <p:spPr>
              <a:xfrm>
                <a:off x="14934614" y="5202856"/>
                <a:ext cx="2000" cy="1904"/>
              </a:xfrm>
              <a:custGeom>
                <a:avLst/>
                <a:gdLst>
                  <a:gd name="connsiteX0" fmla="*/ 1619 w 2000"/>
                  <a:gd name="connsiteY0" fmla="*/ 381 h 1904"/>
                  <a:gd name="connsiteX1" fmla="*/ 2000 w 2000"/>
                  <a:gd name="connsiteY1" fmla="*/ 0 h 1904"/>
                  <a:gd name="connsiteX2" fmla="*/ 0 w 2000"/>
                  <a:gd name="connsiteY2" fmla="*/ 1905 h 1904"/>
                  <a:gd name="connsiteX3" fmla="*/ 1619 w 2000"/>
                  <a:gd name="connsiteY3" fmla="*/ 381 h 1904"/>
                </a:gdLst>
                <a:ahLst/>
                <a:cxnLst>
                  <a:cxn ang="0">
                    <a:pos x="connsiteX0" y="connsiteY0"/>
                  </a:cxn>
                  <a:cxn ang="0">
                    <a:pos x="connsiteX1" y="connsiteY1"/>
                  </a:cxn>
                  <a:cxn ang="0">
                    <a:pos x="connsiteX2" y="connsiteY2"/>
                  </a:cxn>
                  <a:cxn ang="0">
                    <a:pos x="connsiteX3" y="connsiteY3"/>
                  </a:cxn>
                </a:cxnLst>
                <a:rect l="l" t="t" r="r" b="b"/>
                <a:pathLst>
                  <a:path w="2000" h="1904">
                    <a:moveTo>
                      <a:pt x="1619" y="381"/>
                    </a:moveTo>
                    <a:lnTo>
                      <a:pt x="2000" y="0"/>
                    </a:lnTo>
                    <a:lnTo>
                      <a:pt x="0" y="1905"/>
                    </a:lnTo>
                    <a:lnTo>
                      <a:pt x="1619" y="38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09" name="Freeform: Shape 308">
                <a:extLst>
                  <a:ext uri="{FF2B5EF4-FFF2-40B4-BE49-F238E27FC236}">
                    <a16:creationId xmlns:a16="http://schemas.microsoft.com/office/drawing/2014/main" id="{9DD0EFF1-B7DC-43D3-AAD3-A4C6C42DEEDE}"/>
                  </a:ext>
                </a:extLst>
              </p:cNvPr>
              <p:cNvSpPr/>
              <p:nvPr/>
            </p:nvSpPr>
            <p:spPr>
              <a:xfrm>
                <a:off x="14949568" y="5179329"/>
                <a:ext cx="11334" cy="11144"/>
              </a:xfrm>
              <a:custGeom>
                <a:avLst/>
                <a:gdLst>
                  <a:gd name="connsiteX0" fmla="*/ 4286 w 11334"/>
                  <a:gd name="connsiteY0" fmla="*/ 6953 h 11144"/>
                  <a:gd name="connsiteX1" fmla="*/ 5905 w 11334"/>
                  <a:gd name="connsiteY1" fmla="*/ 5334 h 11144"/>
                  <a:gd name="connsiteX2" fmla="*/ 11335 w 11334"/>
                  <a:gd name="connsiteY2" fmla="*/ 0 h 11144"/>
                  <a:gd name="connsiteX3" fmla="*/ 0 w 11334"/>
                  <a:gd name="connsiteY3" fmla="*/ 11144 h 11144"/>
                  <a:gd name="connsiteX4" fmla="*/ 4286 w 11334"/>
                  <a:gd name="connsiteY4" fmla="*/ 6953 h 11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34" h="11144">
                    <a:moveTo>
                      <a:pt x="4286" y="6953"/>
                    </a:moveTo>
                    <a:lnTo>
                      <a:pt x="5905" y="5334"/>
                    </a:lnTo>
                    <a:lnTo>
                      <a:pt x="11335" y="0"/>
                    </a:lnTo>
                    <a:lnTo>
                      <a:pt x="0" y="11144"/>
                    </a:lnTo>
                    <a:lnTo>
                      <a:pt x="4286" y="695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10" name="Freeform: Shape 309">
                <a:extLst>
                  <a:ext uri="{FF2B5EF4-FFF2-40B4-BE49-F238E27FC236}">
                    <a16:creationId xmlns:a16="http://schemas.microsoft.com/office/drawing/2014/main" id="{65E4CAD3-C4FE-4C61-A9AB-CF2A5094633B}"/>
                  </a:ext>
                </a:extLst>
              </p:cNvPr>
              <p:cNvSpPr/>
              <p:nvPr/>
            </p:nvSpPr>
            <p:spPr>
              <a:xfrm>
                <a:off x="14972809" y="5140182"/>
                <a:ext cx="26098" cy="27241"/>
              </a:xfrm>
              <a:custGeom>
                <a:avLst/>
                <a:gdLst>
                  <a:gd name="connsiteX0" fmla="*/ 0 w 26098"/>
                  <a:gd name="connsiteY0" fmla="*/ 27242 h 27241"/>
                  <a:gd name="connsiteX1" fmla="*/ 953 w 26098"/>
                  <a:gd name="connsiteY1" fmla="*/ 26289 h 27241"/>
                  <a:gd name="connsiteX2" fmla="*/ 7239 w 26098"/>
                  <a:gd name="connsiteY2" fmla="*/ 19812 h 27241"/>
                  <a:gd name="connsiteX3" fmla="*/ 14669 w 26098"/>
                  <a:gd name="connsiteY3" fmla="*/ 12097 h 27241"/>
                  <a:gd name="connsiteX4" fmla="*/ 24194 w 26098"/>
                  <a:gd name="connsiteY4" fmla="*/ 2000 h 27241"/>
                  <a:gd name="connsiteX5" fmla="*/ 26099 w 26098"/>
                  <a:gd name="connsiteY5" fmla="*/ 0 h 27241"/>
                  <a:gd name="connsiteX6" fmla="*/ 14192 w 26098"/>
                  <a:gd name="connsiteY6" fmla="*/ 12668 h 27241"/>
                  <a:gd name="connsiteX7" fmla="*/ 0 w 26098"/>
                  <a:gd name="connsiteY7" fmla="*/ 27242 h 2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98" h="27241">
                    <a:moveTo>
                      <a:pt x="0" y="27242"/>
                    </a:moveTo>
                    <a:lnTo>
                      <a:pt x="953" y="26289"/>
                    </a:lnTo>
                    <a:lnTo>
                      <a:pt x="7239" y="19812"/>
                    </a:lnTo>
                    <a:lnTo>
                      <a:pt x="14669" y="12097"/>
                    </a:lnTo>
                    <a:lnTo>
                      <a:pt x="24194" y="2000"/>
                    </a:lnTo>
                    <a:lnTo>
                      <a:pt x="26099" y="0"/>
                    </a:lnTo>
                    <a:lnTo>
                      <a:pt x="14192" y="12668"/>
                    </a:lnTo>
                    <a:lnTo>
                      <a:pt x="0" y="2724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11" name="Freeform: Shape 310">
                <a:extLst>
                  <a:ext uri="{FF2B5EF4-FFF2-40B4-BE49-F238E27FC236}">
                    <a16:creationId xmlns:a16="http://schemas.microsoft.com/office/drawing/2014/main" id="{80B3C366-9C14-421A-9EB0-8D0967C0ABB0}"/>
                  </a:ext>
                </a:extLst>
              </p:cNvPr>
              <p:cNvSpPr/>
              <p:nvPr/>
            </p:nvSpPr>
            <p:spPr>
              <a:xfrm>
                <a:off x="15041389" y="5087890"/>
                <a:ext cx="3905" cy="4667"/>
              </a:xfrm>
              <a:custGeom>
                <a:avLst/>
                <a:gdLst>
                  <a:gd name="connsiteX0" fmla="*/ 0 w 3905"/>
                  <a:gd name="connsiteY0" fmla="*/ 4667 h 4667"/>
                  <a:gd name="connsiteX1" fmla="*/ 2476 w 3905"/>
                  <a:gd name="connsiteY1" fmla="*/ 1714 h 4667"/>
                  <a:gd name="connsiteX2" fmla="*/ 3905 w 3905"/>
                  <a:gd name="connsiteY2" fmla="*/ 0 h 4667"/>
                  <a:gd name="connsiteX3" fmla="*/ 3334 w 3905"/>
                  <a:gd name="connsiteY3" fmla="*/ 571 h 4667"/>
                  <a:gd name="connsiteX4" fmla="*/ 3048 w 3905"/>
                  <a:gd name="connsiteY4" fmla="*/ 1048 h 4667"/>
                  <a:gd name="connsiteX5" fmla="*/ 0 w 3905"/>
                  <a:gd name="connsiteY5" fmla="*/ 4667 h 4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05" h="4667">
                    <a:moveTo>
                      <a:pt x="0" y="4667"/>
                    </a:moveTo>
                    <a:lnTo>
                      <a:pt x="2476" y="1714"/>
                    </a:lnTo>
                    <a:lnTo>
                      <a:pt x="3905" y="0"/>
                    </a:lnTo>
                    <a:lnTo>
                      <a:pt x="3334" y="571"/>
                    </a:lnTo>
                    <a:lnTo>
                      <a:pt x="3048" y="1048"/>
                    </a:lnTo>
                    <a:lnTo>
                      <a:pt x="0" y="466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12" name="Freeform: Shape 311">
                <a:extLst>
                  <a:ext uri="{FF2B5EF4-FFF2-40B4-BE49-F238E27FC236}">
                    <a16:creationId xmlns:a16="http://schemas.microsoft.com/office/drawing/2014/main" id="{E7F1150A-EB1E-41D4-AE8C-5B7813DBF1E5}"/>
                  </a:ext>
                </a:extLst>
              </p:cNvPr>
              <p:cNvSpPr/>
              <p:nvPr/>
            </p:nvSpPr>
            <p:spPr>
              <a:xfrm>
                <a:off x="15013290" y="5122084"/>
                <a:ext cx="2190" cy="2476"/>
              </a:xfrm>
              <a:custGeom>
                <a:avLst/>
                <a:gdLst>
                  <a:gd name="connsiteX0" fmla="*/ 95 w 2190"/>
                  <a:gd name="connsiteY0" fmla="*/ 2381 h 2476"/>
                  <a:gd name="connsiteX1" fmla="*/ 762 w 2190"/>
                  <a:gd name="connsiteY1" fmla="*/ 1619 h 2476"/>
                  <a:gd name="connsiteX2" fmla="*/ 0 w 2190"/>
                  <a:gd name="connsiteY2" fmla="*/ 2476 h 2476"/>
                  <a:gd name="connsiteX3" fmla="*/ 2191 w 2190"/>
                  <a:gd name="connsiteY3" fmla="*/ 0 h 2476"/>
                  <a:gd name="connsiteX4" fmla="*/ 1238 w 2190"/>
                  <a:gd name="connsiteY4" fmla="*/ 1048 h 2476"/>
                  <a:gd name="connsiteX5" fmla="*/ 1619 w 2190"/>
                  <a:gd name="connsiteY5" fmla="*/ 571 h 2476"/>
                  <a:gd name="connsiteX6" fmla="*/ 1048 w 2190"/>
                  <a:gd name="connsiteY6" fmla="*/ 1333 h 2476"/>
                  <a:gd name="connsiteX7" fmla="*/ 95 w 2190"/>
                  <a:gd name="connsiteY7" fmla="*/ 2381 h 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 h="2476">
                    <a:moveTo>
                      <a:pt x="95" y="2381"/>
                    </a:moveTo>
                    <a:lnTo>
                      <a:pt x="762" y="1619"/>
                    </a:lnTo>
                    <a:lnTo>
                      <a:pt x="0" y="2476"/>
                    </a:lnTo>
                    <a:lnTo>
                      <a:pt x="2191" y="0"/>
                    </a:lnTo>
                    <a:lnTo>
                      <a:pt x="1238" y="1048"/>
                    </a:lnTo>
                    <a:lnTo>
                      <a:pt x="1619" y="571"/>
                    </a:lnTo>
                    <a:lnTo>
                      <a:pt x="1048" y="1333"/>
                    </a:lnTo>
                    <a:lnTo>
                      <a:pt x="95" y="238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13" name="Freeform: Shape 312">
                <a:extLst>
                  <a:ext uri="{FF2B5EF4-FFF2-40B4-BE49-F238E27FC236}">
                    <a16:creationId xmlns:a16="http://schemas.microsoft.com/office/drawing/2014/main" id="{12722FD7-B093-403E-8A9D-4DF5CF6668B1}"/>
                  </a:ext>
                </a:extLst>
              </p:cNvPr>
              <p:cNvSpPr/>
              <p:nvPr/>
            </p:nvSpPr>
            <p:spPr>
              <a:xfrm>
                <a:off x="14946997" y="5184378"/>
                <a:ext cx="8858" cy="8667"/>
              </a:xfrm>
              <a:custGeom>
                <a:avLst/>
                <a:gdLst>
                  <a:gd name="connsiteX0" fmla="*/ 2191 w 8858"/>
                  <a:gd name="connsiteY0" fmla="*/ 6382 h 8667"/>
                  <a:gd name="connsiteX1" fmla="*/ 2572 w 8858"/>
                  <a:gd name="connsiteY1" fmla="*/ 6096 h 8667"/>
                  <a:gd name="connsiteX2" fmla="*/ 0 w 8858"/>
                  <a:gd name="connsiteY2" fmla="*/ 8668 h 8667"/>
                  <a:gd name="connsiteX3" fmla="*/ 476 w 8858"/>
                  <a:gd name="connsiteY3" fmla="*/ 8192 h 8667"/>
                  <a:gd name="connsiteX4" fmla="*/ 95 w 8858"/>
                  <a:gd name="connsiteY4" fmla="*/ 8477 h 8667"/>
                  <a:gd name="connsiteX5" fmla="*/ 857 w 8858"/>
                  <a:gd name="connsiteY5" fmla="*/ 7715 h 8667"/>
                  <a:gd name="connsiteX6" fmla="*/ 1429 w 8858"/>
                  <a:gd name="connsiteY6" fmla="*/ 7239 h 8667"/>
                  <a:gd name="connsiteX7" fmla="*/ 1619 w 8858"/>
                  <a:gd name="connsiteY7" fmla="*/ 7049 h 8667"/>
                  <a:gd name="connsiteX8" fmla="*/ 4763 w 8858"/>
                  <a:gd name="connsiteY8" fmla="*/ 3905 h 8667"/>
                  <a:gd name="connsiteX9" fmla="*/ 8858 w 8858"/>
                  <a:gd name="connsiteY9" fmla="*/ 0 h 8667"/>
                  <a:gd name="connsiteX10" fmla="*/ 7239 w 8858"/>
                  <a:gd name="connsiteY10" fmla="*/ 1524 h 8667"/>
                  <a:gd name="connsiteX11" fmla="*/ 6858 w 8858"/>
                  <a:gd name="connsiteY11" fmla="*/ 1905 h 8667"/>
                  <a:gd name="connsiteX12" fmla="*/ 6191 w 8858"/>
                  <a:gd name="connsiteY12" fmla="*/ 2572 h 8667"/>
                  <a:gd name="connsiteX13" fmla="*/ 2191 w 8858"/>
                  <a:gd name="connsiteY13" fmla="*/ 6382 h 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58" h="8667">
                    <a:moveTo>
                      <a:pt x="2191" y="6382"/>
                    </a:moveTo>
                    <a:lnTo>
                      <a:pt x="2572" y="6096"/>
                    </a:lnTo>
                    <a:lnTo>
                      <a:pt x="0" y="8668"/>
                    </a:lnTo>
                    <a:lnTo>
                      <a:pt x="476" y="8192"/>
                    </a:lnTo>
                    <a:lnTo>
                      <a:pt x="95" y="8477"/>
                    </a:lnTo>
                    <a:lnTo>
                      <a:pt x="857" y="7715"/>
                    </a:lnTo>
                    <a:lnTo>
                      <a:pt x="1429" y="7239"/>
                    </a:lnTo>
                    <a:lnTo>
                      <a:pt x="1619" y="7049"/>
                    </a:lnTo>
                    <a:lnTo>
                      <a:pt x="4763" y="3905"/>
                    </a:lnTo>
                    <a:lnTo>
                      <a:pt x="8858" y="0"/>
                    </a:lnTo>
                    <a:lnTo>
                      <a:pt x="7239" y="1524"/>
                    </a:lnTo>
                    <a:lnTo>
                      <a:pt x="6858" y="1905"/>
                    </a:lnTo>
                    <a:lnTo>
                      <a:pt x="6191" y="2572"/>
                    </a:lnTo>
                    <a:lnTo>
                      <a:pt x="2191" y="638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14" name="Freeform: Shape 313">
                <a:extLst>
                  <a:ext uri="{FF2B5EF4-FFF2-40B4-BE49-F238E27FC236}">
                    <a16:creationId xmlns:a16="http://schemas.microsoft.com/office/drawing/2014/main" id="{5D9D611B-A20E-44BF-979D-3ADFF09E087A}"/>
                  </a:ext>
                </a:extLst>
              </p:cNvPr>
              <p:cNvSpPr/>
              <p:nvPr/>
            </p:nvSpPr>
            <p:spPr>
              <a:xfrm>
                <a:off x="15042247" y="5079412"/>
                <a:ext cx="10191" cy="12096"/>
              </a:xfrm>
              <a:custGeom>
                <a:avLst/>
                <a:gdLst>
                  <a:gd name="connsiteX0" fmla="*/ 2953 w 10191"/>
                  <a:gd name="connsiteY0" fmla="*/ 8572 h 12096"/>
                  <a:gd name="connsiteX1" fmla="*/ 0 w 10191"/>
                  <a:gd name="connsiteY1" fmla="*/ 12097 h 12096"/>
                  <a:gd name="connsiteX2" fmla="*/ 2477 w 10191"/>
                  <a:gd name="connsiteY2" fmla="*/ 9049 h 12096"/>
                  <a:gd name="connsiteX3" fmla="*/ 6001 w 10191"/>
                  <a:gd name="connsiteY3" fmla="*/ 4858 h 12096"/>
                  <a:gd name="connsiteX4" fmla="*/ 8572 w 10191"/>
                  <a:gd name="connsiteY4" fmla="*/ 1905 h 12096"/>
                  <a:gd name="connsiteX5" fmla="*/ 10192 w 10191"/>
                  <a:gd name="connsiteY5" fmla="*/ 0 h 12096"/>
                  <a:gd name="connsiteX6" fmla="*/ 8287 w 10191"/>
                  <a:gd name="connsiteY6" fmla="*/ 2191 h 12096"/>
                  <a:gd name="connsiteX7" fmla="*/ 2953 w 10191"/>
                  <a:gd name="connsiteY7" fmla="*/ 8572 h 1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91" h="12096">
                    <a:moveTo>
                      <a:pt x="2953" y="8572"/>
                    </a:moveTo>
                    <a:lnTo>
                      <a:pt x="0" y="12097"/>
                    </a:lnTo>
                    <a:lnTo>
                      <a:pt x="2477" y="9049"/>
                    </a:lnTo>
                    <a:lnTo>
                      <a:pt x="6001" y="4858"/>
                    </a:lnTo>
                    <a:lnTo>
                      <a:pt x="8572" y="1905"/>
                    </a:lnTo>
                    <a:lnTo>
                      <a:pt x="10192" y="0"/>
                    </a:lnTo>
                    <a:lnTo>
                      <a:pt x="8287" y="2191"/>
                    </a:lnTo>
                    <a:lnTo>
                      <a:pt x="2953" y="857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15" name="Freeform: Shape 314">
                <a:extLst>
                  <a:ext uri="{FF2B5EF4-FFF2-40B4-BE49-F238E27FC236}">
                    <a16:creationId xmlns:a16="http://schemas.microsoft.com/office/drawing/2014/main" id="{B68B91FE-F687-4B18-B32A-5CE1F511E0E6}"/>
                  </a:ext>
                </a:extLst>
              </p:cNvPr>
              <p:cNvSpPr/>
              <p:nvPr/>
            </p:nvSpPr>
            <p:spPr>
              <a:xfrm>
                <a:off x="14787453" y="5323062"/>
                <a:ext cx="3238" cy="2381"/>
              </a:xfrm>
              <a:custGeom>
                <a:avLst/>
                <a:gdLst>
                  <a:gd name="connsiteX0" fmla="*/ 3238 w 3238"/>
                  <a:gd name="connsiteY0" fmla="*/ 0 h 2381"/>
                  <a:gd name="connsiteX1" fmla="*/ 0 w 3238"/>
                  <a:gd name="connsiteY1" fmla="*/ 2381 h 2381"/>
                  <a:gd name="connsiteX2" fmla="*/ 286 w 3238"/>
                  <a:gd name="connsiteY2" fmla="*/ 2096 h 2381"/>
                  <a:gd name="connsiteX3" fmla="*/ 3238 w 3238"/>
                  <a:gd name="connsiteY3" fmla="*/ 0 h 2381"/>
                </a:gdLst>
                <a:ahLst/>
                <a:cxnLst>
                  <a:cxn ang="0">
                    <a:pos x="connsiteX0" y="connsiteY0"/>
                  </a:cxn>
                  <a:cxn ang="0">
                    <a:pos x="connsiteX1" y="connsiteY1"/>
                  </a:cxn>
                  <a:cxn ang="0">
                    <a:pos x="connsiteX2" y="connsiteY2"/>
                  </a:cxn>
                  <a:cxn ang="0">
                    <a:pos x="connsiteX3" y="connsiteY3"/>
                  </a:cxn>
                </a:cxnLst>
                <a:rect l="l" t="t" r="r" b="b"/>
                <a:pathLst>
                  <a:path w="3238" h="2381">
                    <a:moveTo>
                      <a:pt x="3238" y="0"/>
                    </a:moveTo>
                    <a:lnTo>
                      <a:pt x="0" y="2381"/>
                    </a:lnTo>
                    <a:lnTo>
                      <a:pt x="286" y="2096"/>
                    </a:lnTo>
                    <a:lnTo>
                      <a:pt x="3238"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16" name="Freeform: Shape 315">
                <a:extLst>
                  <a:ext uri="{FF2B5EF4-FFF2-40B4-BE49-F238E27FC236}">
                    <a16:creationId xmlns:a16="http://schemas.microsoft.com/office/drawing/2014/main" id="{9594FE65-6142-4C98-9919-61B0E18C36A2}"/>
                  </a:ext>
                </a:extLst>
              </p:cNvPr>
              <p:cNvSpPr/>
              <p:nvPr/>
            </p:nvSpPr>
            <p:spPr>
              <a:xfrm>
                <a:off x="14787548" y="5323729"/>
                <a:ext cx="2286" cy="1619"/>
              </a:xfrm>
              <a:custGeom>
                <a:avLst/>
                <a:gdLst>
                  <a:gd name="connsiteX0" fmla="*/ 2286 w 2286"/>
                  <a:gd name="connsiteY0" fmla="*/ 0 h 1619"/>
                  <a:gd name="connsiteX1" fmla="*/ 0 w 2286"/>
                  <a:gd name="connsiteY1" fmla="*/ 1619 h 1619"/>
                  <a:gd name="connsiteX2" fmla="*/ 1715 w 2286"/>
                  <a:gd name="connsiteY2" fmla="*/ 381 h 1619"/>
                  <a:gd name="connsiteX3" fmla="*/ 2286 w 2286"/>
                  <a:gd name="connsiteY3" fmla="*/ 0 h 1619"/>
                </a:gdLst>
                <a:ahLst/>
                <a:cxnLst>
                  <a:cxn ang="0">
                    <a:pos x="connsiteX0" y="connsiteY0"/>
                  </a:cxn>
                  <a:cxn ang="0">
                    <a:pos x="connsiteX1" y="connsiteY1"/>
                  </a:cxn>
                  <a:cxn ang="0">
                    <a:pos x="connsiteX2" y="connsiteY2"/>
                  </a:cxn>
                  <a:cxn ang="0">
                    <a:pos x="connsiteX3" y="connsiteY3"/>
                  </a:cxn>
                </a:cxnLst>
                <a:rect l="l" t="t" r="r" b="b"/>
                <a:pathLst>
                  <a:path w="2286" h="1619">
                    <a:moveTo>
                      <a:pt x="2286" y="0"/>
                    </a:moveTo>
                    <a:lnTo>
                      <a:pt x="0" y="1619"/>
                    </a:lnTo>
                    <a:lnTo>
                      <a:pt x="1715" y="381"/>
                    </a:lnTo>
                    <a:lnTo>
                      <a:pt x="2286"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17" name="Freeform: Shape 316">
                <a:extLst>
                  <a:ext uri="{FF2B5EF4-FFF2-40B4-BE49-F238E27FC236}">
                    <a16:creationId xmlns:a16="http://schemas.microsoft.com/office/drawing/2014/main" id="{34A0D4E3-8631-4A88-9B90-89F34A0C7CF6}"/>
                  </a:ext>
                </a:extLst>
              </p:cNvPr>
              <p:cNvSpPr/>
              <p:nvPr/>
            </p:nvSpPr>
            <p:spPr>
              <a:xfrm>
                <a:off x="14786310" y="5325348"/>
                <a:ext cx="1238" cy="952"/>
              </a:xfrm>
              <a:custGeom>
                <a:avLst/>
                <a:gdLst>
                  <a:gd name="connsiteX0" fmla="*/ 1238 w 1238"/>
                  <a:gd name="connsiteY0" fmla="*/ 0 h 952"/>
                  <a:gd name="connsiteX1" fmla="*/ 0 w 1238"/>
                  <a:gd name="connsiteY1" fmla="*/ 953 h 952"/>
                  <a:gd name="connsiteX2" fmla="*/ 0 w 1238"/>
                  <a:gd name="connsiteY2" fmla="*/ 857 h 952"/>
                  <a:gd name="connsiteX3" fmla="*/ 1238 w 1238"/>
                  <a:gd name="connsiteY3" fmla="*/ 0 h 952"/>
                </a:gdLst>
                <a:ahLst/>
                <a:cxnLst>
                  <a:cxn ang="0">
                    <a:pos x="connsiteX0" y="connsiteY0"/>
                  </a:cxn>
                  <a:cxn ang="0">
                    <a:pos x="connsiteX1" y="connsiteY1"/>
                  </a:cxn>
                  <a:cxn ang="0">
                    <a:pos x="connsiteX2" y="connsiteY2"/>
                  </a:cxn>
                  <a:cxn ang="0">
                    <a:pos x="connsiteX3" y="connsiteY3"/>
                  </a:cxn>
                </a:cxnLst>
                <a:rect l="l" t="t" r="r" b="b"/>
                <a:pathLst>
                  <a:path w="1238" h="952">
                    <a:moveTo>
                      <a:pt x="1238" y="0"/>
                    </a:moveTo>
                    <a:lnTo>
                      <a:pt x="0" y="953"/>
                    </a:lnTo>
                    <a:lnTo>
                      <a:pt x="0" y="857"/>
                    </a:lnTo>
                    <a:lnTo>
                      <a:pt x="1238"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18" name="Freeform: Shape 317">
                <a:extLst>
                  <a:ext uri="{FF2B5EF4-FFF2-40B4-BE49-F238E27FC236}">
                    <a16:creationId xmlns:a16="http://schemas.microsoft.com/office/drawing/2014/main" id="{CC27313D-BC36-4D57-9B49-0D498F5B0875}"/>
                  </a:ext>
                </a:extLst>
              </p:cNvPr>
              <p:cNvSpPr/>
              <p:nvPr/>
            </p:nvSpPr>
            <p:spPr>
              <a:xfrm>
                <a:off x="14883560" y="5249433"/>
                <a:ext cx="1238" cy="1047"/>
              </a:xfrm>
              <a:custGeom>
                <a:avLst/>
                <a:gdLst>
                  <a:gd name="connsiteX0" fmla="*/ 0 w 1238"/>
                  <a:gd name="connsiteY0" fmla="*/ 1048 h 1047"/>
                  <a:gd name="connsiteX1" fmla="*/ 571 w 1238"/>
                  <a:gd name="connsiteY1" fmla="*/ 571 h 1047"/>
                  <a:gd name="connsiteX2" fmla="*/ 1238 w 1238"/>
                  <a:gd name="connsiteY2" fmla="*/ 0 h 1047"/>
                  <a:gd name="connsiteX3" fmla="*/ 667 w 1238"/>
                  <a:gd name="connsiteY3" fmla="*/ 476 h 1047"/>
                  <a:gd name="connsiteX4" fmla="*/ 0 w 1238"/>
                  <a:gd name="connsiteY4" fmla="*/ 1048 h 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 h="1047">
                    <a:moveTo>
                      <a:pt x="0" y="1048"/>
                    </a:moveTo>
                    <a:lnTo>
                      <a:pt x="571" y="571"/>
                    </a:lnTo>
                    <a:lnTo>
                      <a:pt x="1238" y="0"/>
                    </a:lnTo>
                    <a:lnTo>
                      <a:pt x="667" y="476"/>
                    </a:lnTo>
                    <a:lnTo>
                      <a:pt x="0" y="104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19" name="Freeform: Shape 318">
                <a:extLst>
                  <a:ext uri="{FF2B5EF4-FFF2-40B4-BE49-F238E27FC236}">
                    <a16:creationId xmlns:a16="http://schemas.microsoft.com/office/drawing/2014/main" id="{BF343BAE-BB12-47D5-BA1B-211041065253}"/>
                  </a:ext>
                </a:extLst>
              </p:cNvPr>
              <p:cNvSpPr/>
              <p:nvPr/>
            </p:nvSpPr>
            <p:spPr>
              <a:xfrm>
                <a:off x="14786024" y="5326300"/>
                <a:ext cx="285" cy="95"/>
              </a:xfrm>
              <a:custGeom>
                <a:avLst/>
                <a:gdLst>
                  <a:gd name="connsiteX0" fmla="*/ 286 w 285"/>
                  <a:gd name="connsiteY0" fmla="*/ 0 h 95"/>
                  <a:gd name="connsiteX1" fmla="*/ 191 w 285"/>
                  <a:gd name="connsiteY1" fmla="*/ 0 h 95"/>
                  <a:gd name="connsiteX2" fmla="*/ 0 w 285"/>
                  <a:gd name="connsiteY2" fmla="*/ 95 h 95"/>
                  <a:gd name="connsiteX3" fmla="*/ 286 w 285"/>
                  <a:gd name="connsiteY3" fmla="*/ 0 h 95"/>
                </a:gdLst>
                <a:ahLst/>
                <a:cxnLst>
                  <a:cxn ang="0">
                    <a:pos x="connsiteX0" y="connsiteY0"/>
                  </a:cxn>
                  <a:cxn ang="0">
                    <a:pos x="connsiteX1" y="connsiteY1"/>
                  </a:cxn>
                  <a:cxn ang="0">
                    <a:pos x="connsiteX2" y="connsiteY2"/>
                  </a:cxn>
                  <a:cxn ang="0">
                    <a:pos x="connsiteX3" y="connsiteY3"/>
                  </a:cxn>
                </a:cxnLst>
                <a:rect l="l" t="t" r="r" b="b"/>
                <a:pathLst>
                  <a:path w="285" h="95">
                    <a:moveTo>
                      <a:pt x="286" y="0"/>
                    </a:moveTo>
                    <a:lnTo>
                      <a:pt x="191" y="0"/>
                    </a:lnTo>
                    <a:lnTo>
                      <a:pt x="0" y="95"/>
                    </a:lnTo>
                    <a:lnTo>
                      <a:pt x="286"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20" name="Freeform: Shape 319">
                <a:extLst>
                  <a:ext uri="{FF2B5EF4-FFF2-40B4-BE49-F238E27FC236}">
                    <a16:creationId xmlns:a16="http://schemas.microsoft.com/office/drawing/2014/main" id="{9BDE389A-A2AB-48B3-A441-270CED5C9501}"/>
                  </a:ext>
                </a:extLst>
              </p:cNvPr>
              <p:cNvSpPr/>
              <p:nvPr/>
            </p:nvSpPr>
            <p:spPr>
              <a:xfrm>
                <a:off x="14782595" y="5328872"/>
                <a:ext cx="9525" cy="9525"/>
              </a:xfrm>
              <a:custGeom>
                <a:avLst/>
                <a:gdLst>
                  <a:gd name="connsiteX0" fmla="*/ 0 w 9525"/>
                  <a:gd name="connsiteY0" fmla="*/ 0 h 9525"/>
                  <a:gd name="connsiteX1" fmla="*/ 0 w 9525"/>
                  <a:gd name="connsiteY1" fmla="*/ 0 h 9525"/>
                  <a:gd name="connsiteX2" fmla="*/ 0 w 9525"/>
                  <a:gd name="connsiteY2" fmla="*/ 0 h 9525"/>
                  <a:gd name="connsiteX3" fmla="*/ 0 w 9525"/>
                  <a:gd name="connsiteY3" fmla="*/ 0 h 9525"/>
                </a:gdLst>
                <a:ahLst/>
                <a:cxnLst>
                  <a:cxn ang="0">
                    <a:pos x="connsiteX0" y="connsiteY0"/>
                  </a:cxn>
                  <a:cxn ang="0">
                    <a:pos x="connsiteX1" y="connsiteY1"/>
                  </a:cxn>
                  <a:cxn ang="0">
                    <a:pos x="connsiteX2" y="connsiteY2"/>
                  </a:cxn>
                  <a:cxn ang="0">
                    <a:pos x="connsiteX3" y="connsiteY3"/>
                  </a:cxn>
                </a:cxnLst>
                <a:rect l="l" t="t" r="r" b="b"/>
                <a:pathLst>
                  <a:path w="9525" h="9525">
                    <a:moveTo>
                      <a:pt x="0" y="0"/>
                    </a:moveTo>
                    <a:lnTo>
                      <a:pt x="0" y="0"/>
                    </a:lnTo>
                    <a:lnTo>
                      <a:pt x="0" y="0"/>
                    </a:lnTo>
                    <a:lnTo>
                      <a:pt x="0"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21" name="Freeform: Shape 320">
                <a:extLst>
                  <a:ext uri="{FF2B5EF4-FFF2-40B4-BE49-F238E27FC236}">
                    <a16:creationId xmlns:a16="http://schemas.microsoft.com/office/drawing/2014/main" id="{478EB3E1-AC21-4FEF-9009-FA46480AB5CF}"/>
                  </a:ext>
                </a:extLst>
              </p:cNvPr>
              <p:cNvSpPr/>
              <p:nvPr/>
            </p:nvSpPr>
            <p:spPr>
              <a:xfrm>
                <a:off x="14740590" y="5356018"/>
                <a:ext cx="2000" cy="1333"/>
              </a:xfrm>
              <a:custGeom>
                <a:avLst/>
                <a:gdLst>
                  <a:gd name="connsiteX0" fmla="*/ 0 w 2000"/>
                  <a:gd name="connsiteY0" fmla="*/ 1334 h 1333"/>
                  <a:gd name="connsiteX1" fmla="*/ 2000 w 2000"/>
                  <a:gd name="connsiteY1" fmla="*/ 0 h 1333"/>
                  <a:gd name="connsiteX2" fmla="*/ 1714 w 2000"/>
                  <a:gd name="connsiteY2" fmla="*/ 286 h 1333"/>
                  <a:gd name="connsiteX3" fmla="*/ 0 w 2000"/>
                  <a:gd name="connsiteY3" fmla="*/ 1334 h 1333"/>
                </a:gdLst>
                <a:ahLst/>
                <a:cxnLst>
                  <a:cxn ang="0">
                    <a:pos x="connsiteX0" y="connsiteY0"/>
                  </a:cxn>
                  <a:cxn ang="0">
                    <a:pos x="connsiteX1" y="connsiteY1"/>
                  </a:cxn>
                  <a:cxn ang="0">
                    <a:pos x="connsiteX2" y="connsiteY2"/>
                  </a:cxn>
                  <a:cxn ang="0">
                    <a:pos x="connsiteX3" y="connsiteY3"/>
                  </a:cxn>
                </a:cxnLst>
                <a:rect l="l" t="t" r="r" b="b"/>
                <a:pathLst>
                  <a:path w="2000" h="1333">
                    <a:moveTo>
                      <a:pt x="0" y="1334"/>
                    </a:moveTo>
                    <a:lnTo>
                      <a:pt x="2000" y="0"/>
                    </a:lnTo>
                    <a:lnTo>
                      <a:pt x="1714" y="286"/>
                    </a:lnTo>
                    <a:lnTo>
                      <a:pt x="0" y="133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22" name="Freeform: Shape 321">
                <a:extLst>
                  <a:ext uri="{FF2B5EF4-FFF2-40B4-BE49-F238E27FC236}">
                    <a16:creationId xmlns:a16="http://schemas.microsoft.com/office/drawing/2014/main" id="{23FB6420-1153-4275-9B11-45F0E3BCFD74}"/>
                  </a:ext>
                </a:extLst>
              </p:cNvPr>
              <p:cNvSpPr/>
              <p:nvPr/>
            </p:nvSpPr>
            <p:spPr>
              <a:xfrm>
                <a:off x="14790691" y="5320776"/>
                <a:ext cx="3333" cy="2286"/>
              </a:xfrm>
              <a:custGeom>
                <a:avLst/>
                <a:gdLst>
                  <a:gd name="connsiteX0" fmla="*/ 3334 w 3333"/>
                  <a:gd name="connsiteY0" fmla="*/ 0 h 2286"/>
                  <a:gd name="connsiteX1" fmla="*/ 0 w 3333"/>
                  <a:gd name="connsiteY1" fmla="*/ 2286 h 2286"/>
                  <a:gd name="connsiteX2" fmla="*/ 1619 w 3333"/>
                  <a:gd name="connsiteY2" fmla="*/ 1143 h 2286"/>
                  <a:gd name="connsiteX3" fmla="*/ 3334 w 3333"/>
                  <a:gd name="connsiteY3" fmla="*/ 0 h 2286"/>
                </a:gdLst>
                <a:ahLst/>
                <a:cxnLst>
                  <a:cxn ang="0">
                    <a:pos x="connsiteX0" y="connsiteY0"/>
                  </a:cxn>
                  <a:cxn ang="0">
                    <a:pos x="connsiteX1" y="connsiteY1"/>
                  </a:cxn>
                  <a:cxn ang="0">
                    <a:pos x="connsiteX2" y="connsiteY2"/>
                  </a:cxn>
                  <a:cxn ang="0">
                    <a:pos x="connsiteX3" y="connsiteY3"/>
                  </a:cxn>
                </a:cxnLst>
                <a:rect l="l" t="t" r="r" b="b"/>
                <a:pathLst>
                  <a:path w="3333" h="2286">
                    <a:moveTo>
                      <a:pt x="3334" y="0"/>
                    </a:moveTo>
                    <a:lnTo>
                      <a:pt x="0" y="2286"/>
                    </a:lnTo>
                    <a:lnTo>
                      <a:pt x="1619" y="1143"/>
                    </a:lnTo>
                    <a:lnTo>
                      <a:pt x="3334"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23" name="Freeform: Shape 322">
                <a:extLst>
                  <a:ext uri="{FF2B5EF4-FFF2-40B4-BE49-F238E27FC236}">
                    <a16:creationId xmlns:a16="http://schemas.microsoft.com/office/drawing/2014/main" id="{FCBD5D24-C213-4E02-B647-0590C9D877F6}"/>
                  </a:ext>
                </a:extLst>
              </p:cNvPr>
              <p:cNvSpPr/>
              <p:nvPr/>
            </p:nvSpPr>
            <p:spPr>
              <a:xfrm>
                <a:off x="15191408" y="3509978"/>
                <a:ext cx="100488" cy="208216"/>
              </a:xfrm>
              <a:custGeom>
                <a:avLst/>
                <a:gdLst>
                  <a:gd name="connsiteX0" fmla="*/ 16002 w 100488"/>
                  <a:gd name="connsiteY0" fmla="*/ 32480 h 208216"/>
                  <a:gd name="connsiteX1" fmla="*/ 15526 w 100488"/>
                  <a:gd name="connsiteY1" fmla="*/ 34004 h 208216"/>
                  <a:gd name="connsiteX2" fmla="*/ 20003 w 100488"/>
                  <a:gd name="connsiteY2" fmla="*/ 45720 h 208216"/>
                  <a:gd name="connsiteX3" fmla="*/ 24384 w 100488"/>
                  <a:gd name="connsiteY3" fmla="*/ 54483 h 208216"/>
                  <a:gd name="connsiteX4" fmla="*/ 31813 w 100488"/>
                  <a:gd name="connsiteY4" fmla="*/ 64389 h 208216"/>
                  <a:gd name="connsiteX5" fmla="*/ 41434 w 100488"/>
                  <a:gd name="connsiteY5" fmla="*/ 80486 h 208216"/>
                  <a:gd name="connsiteX6" fmla="*/ 51340 w 100488"/>
                  <a:gd name="connsiteY6" fmla="*/ 98679 h 208216"/>
                  <a:gd name="connsiteX7" fmla="*/ 56007 w 100488"/>
                  <a:gd name="connsiteY7" fmla="*/ 107156 h 208216"/>
                  <a:gd name="connsiteX8" fmla="*/ 61817 w 100488"/>
                  <a:gd name="connsiteY8" fmla="*/ 117538 h 208216"/>
                  <a:gd name="connsiteX9" fmla="*/ 69818 w 100488"/>
                  <a:gd name="connsiteY9" fmla="*/ 133160 h 208216"/>
                  <a:gd name="connsiteX10" fmla="*/ 81248 w 100488"/>
                  <a:gd name="connsiteY10" fmla="*/ 160020 h 208216"/>
                  <a:gd name="connsiteX11" fmla="*/ 85249 w 100488"/>
                  <a:gd name="connsiteY11" fmla="*/ 169545 h 208216"/>
                  <a:gd name="connsiteX12" fmla="*/ 87821 w 100488"/>
                  <a:gd name="connsiteY12" fmla="*/ 173831 h 208216"/>
                  <a:gd name="connsiteX13" fmla="*/ 94583 w 100488"/>
                  <a:gd name="connsiteY13" fmla="*/ 191357 h 208216"/>
                  <a:gd name="connsiteX14" fmla="*/ 100489 w 100488"/>
                  <a:gd name="connsiteY14" fmla="*/ 208217 h 208216"/>
                  <a:gd name="connsiteX15" fmla="*/ 99536 w 100488"/>
                  <a:gd name="connsiteY15" fmla="*/ 204216 h 208216"/>
                  <a:gd name="connsiteX16" fmla="*/ 94012 w 100488"/>
                  <a:gd name="connsiteY16" fmla="*/ 188500 h 208216"/>
                  <a:gd name="connsiteX17" fmla="*/ 88392 w 100488"/>
                  <a:gd name="connsiteY17" fmla="*/ 173831 h 208216"/>
                  <a:gd name="connsiteX18" fmla="*/ 82677 w 100488"/>
                  <a:gd name="connsiteY18" fmla="*/ 159353 h 208216"/>
                  <a:gd name="connsiteX19" fmla="*/ 77153 w 100488"/>
                  <a:gd name="connsiteY19" fmla="*/ 146304 h 208216"/>
                  <a:gd name="connsiteX20" fmla="*/ 72580 w 100488"/>
                  <a:gd name="connsiteY20" fmla="*/ 135541 h 208216"/>
                  <a:gd name="connsiteX21" fmla="*/ 63627 w 100488"/>
                  <a:gd name="connsiteY21" fmla="*/ 114300 h 208216"/>
                  <a:gd name="connsiteX22" fmla="*/ 55340 w 100488"/>
                  <a:gd name="connsiteY22" fmla="*/ 96298 h 208216"/>
                  <a:gd name="connsiteX23" fmla="*/ 48958 w 100488"/>
                  <a:gd name="connsiteY23" fmla="*/ 85439 h 208216"/>
                  <a:gd name="connsiteX24" fmla="*/ 44577 w 100488"/>
                  <a:gd name="connsiteY24" fmla="*/ 77152 h 208216"/>
                  <a:gd name="connsiteX25" fmla="*/ 39243 w 100488"/>
                  <a:gd name="connsiteY25" fmla="*/ 70390 h 208216"/>
                  <a:gd name="connsiteX26" fmla="*/ 26861 w 100488"/>
                  <a:gd name="connsiteY26" fmla="*/ 45339 h 208216"/>
                  <a:gd name="connsiteX27" fmla="*/ 17336 w 100488"/>
                  <a:gd name="connsiteY27" fmla="*/ 26479 h 208216"/>
                  <a:gd name="connsiteX28" fmla="*/ 8382 w 100488"/>
                  <a:gd name="connsiteY28" fmla="*/ 11049 h 208216"/>
                  <a:gd name="connsiteX29" fmla="*/ 9525 w 100488"/>
                  <a:gd name="connsiteY29" fmla="*/ 15335 h 208216"/>
                  <a:gd name="connsiteX30" fmla="*/ 1619 w 100488"/>
                  <a:gd name="connsiteY30" fmla="*/ 1143 h 208216"/>
                  <a:gd name="connsiteX31" fmla="*/ 0 w 100488"/>
                  <a:gd name="connsiteY31" fmla="*/ 0 h 208216"/>
                  <a:gd name="connsiteX32" fmla="*/ 9144 w 100488"/>
                  <a:gd name="connsiteY32" fmla="*/ 18098 h 208216"/>
                  <a:gd name="connsiteX33" fmla="*/ 16002 w 100488"/>
                  <a:gd name="connsiteY33" fmla="*/ 32480 h 208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0488" h="208216">
                    <a:moveTo>
                      <a:pt x="16002" y="32480"/>
                    </a:moveTo>
                    <a:lnTo>
                      <a:pt x="15526" y="34004"/>
                    </a:lnTo>
                    <a:lnTo>
                      <a:pt x="20003" y="45720"/>
                    </a:lnTo>
                    <a:lnTo>
                      <a:pt x="24384" y="54483"/>
                    </a:lnTo>
                    <a:lnTo>
                      <a:pt x="31813" y="64389"/>
                    </a:lnTo>
                    <a:lnTo>
                      <a:pt x="41434" y="80486"/>
                    </a:lnTo>
                    <a:lnTo>
                      <a:pt x="51340" y="98679"/>
                    </a:lnTo>
                    <a:lnTo>
                      <a:pt x="56007" y="107156"/>
                    </a:lnTo>
                    <a:lnTo>
                      <a:pt x="61817" y="117538"/>
                    </a:lnTo>
                    <a:lnTo>
                      <a:pt x="69818" y="133160"/>
                    </a:lnTo>
                    <a:lnTo>
                      <a:pt x="81248" y="160020"/>
                    </a:lnTo>
                    <a:lnTo>
                      <a:pt x="85249" y="169545"/>
                    </a:lnTo>
                    <a:lnTo>
                      <a:pt x="87821" y="173831"/>
                    </a:lnTo>
                    <a:lnTo>
                      <a:pt x="94583" y="191357"/>
                    </a:lnTo>
                    <a:lnTo>
                      <a:pt x="100489" y="208217"/>
                    </a:lnTo>
                    <a:lnTo>
                      <a:pt x="99536" y="204216"/>
                    </a:lnTo>
                    <a:lnTo>
                      <a:pt x="94012" y="188500"/>
                    </a:lnTo>
                    <a:lnTo>
                      <a:pt x="88392" y="173831"/>
                    </a:lnTo>
                    <a:lnTo>
                      <a:pt x="82677" y="159353"/>
                    </a:lnTo>
                    <a:lnTo>
                      <a:pt x="77153" y="146304"/>
                    </a:lnTo>
                    <a:lnTo>
                      <a:pt x="72580" y="135541"/>
                    </a:lnTo>
                    <a:lnTo>
                      <a:pt x="63627" y="114300"/>
                    </a:lnTo>
                    <a:lnTo>
                      <a:pt x="55340" y="96298"/>
                    </a:lnTo>
                    <a:lnTo>
                      <a:pt x="48958" y="85439"/>
                    </a:lnTo>
                    <a:lnTo>
                      <a:pt x="44577" y="77152"/>
                    </a:lnTo>
                    <a:lnTo>
                      <a:pt x="39243" y="70390"/>
                    </a:lnTo>
                    <a:lnTo>
                      <a:pt x="26861" y="45339"/>
                    </a:lnTo>
                    <a:lnTo>
                      <a:pt x="17336" y="26479"/>
                    </a:lnTo>
                    <a:lnTo>
                      <a:pt x="8382" y="11049"/>
                    </a:lnTo>
                    <a:lnTo>
                      <a:pt x="9525" y="15335"/>
                    </a:lnTo>
                    <a:lnTo>
                      <a:pt x="1619" y="1143"/>
                    </a:lnTo>
                    <a:lnTo>
                      <a:pt x="0" y="0"/>
                    </a:lnTo>
                    <a:lnTo>
                      <a:pt x="9144" y="18098"/>
                    </a:lnTo>
                    <a:lnTo>
                      <a:pt x="16002" y="3248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24" name="Freeform: Shape 323">
                <a:extLst>
                  <a:ext uri="{FF2B5EF4-FFF2-40B4-BE49-F238E27FC236}">
                    <a16:creationId xmlns:a16="http://schemas.microsoft.com/office/drawing/2014/main" id="{F0D17DBD-9555-40D3-900F-7092E1BD67CB}"/>
                  </a:ext>
                </a:extLst>
              </p:cNvPr>
              <p:cNvSpPr/>
              <p:nvPr/>
            </p:nvSpPr>
            <p:spPr>
              <a:xfrm>
                <a:off x="14047836" y="4396565"/>
                <a:ext cx="40957" cy="28765"/>
              </a:xfrm>
              <a:custGeom>
                <a:avLst/>
                <a:gdLst>
                  <a:gd name="connsiteX0" fmla="*/ 29908 w 40957"/>
                  <a:gd name="connsiteY0" fmla="*/ 1333 h 28765"/>
                  <a:gd name="connsiteX1" fmla="*/ 18193 w 40957"/>
                  <a:gd name="connsiteY1" fmla="*/ 0 h 28765"/>
                  <a:gd name="connsiteX2" fmla="*/ 17145 w 40957"/>
                  <a:gd name="connsiteY2" fmla="*/ 8192 h 28765"/>
                  <a:gd name="connsiteX3" fmla="*/ 9620 w 40957"/>
                  <a:gd name="connsiteY3" fmla="*/ 4953 h 28765"/>
                  <a:gd name="connsiteX4" fmla="*/ 0 w 40957"/>
                  <a:gd name="connsiteY4" fmla="*/ 15335 h 28765"/>
                  <a:gd name="connsiteX5" fmla="*/ 7715 w 40957"/>
                  <a:gd name="connsiteY5" fmla="*/ 24384 h 28765"/>
                  <a:gd name="connsiteX6" fmla="*/ 13716 w 40957"/>
                  <a:gd name="connsiteY6" fmla="*/ 22765 h 28765"/>
                  <a:gd name="connsiteX7" fmla="*/ 16669 w 40957"/>
                  <a:gd name="connsiteY7" fmla="*/ 28766 h 28765"/>
                  <a:gd name="connsiteX8" fmla="*/ 30385 w 40957"/>
                  <a:gd name="connsiteY8" fmla="*/ 27622 h 28765"/>
                  <a:gd name="connsiteX9" fmla="*/ 40958 w 40957"/>
                  <a:gd name="connsiteY9" fmla="*/ 19717 h 28765"/>
                  <a:gd name="connsiteX10" fmla="*/ 40862 w 40957"/>
                  <a:gd name="connsiteY10" fmla="*/ 5334 h 28765"/>
                  <a:gd name="connsiteX11" fmla="*/ 29908 w 40957"/>
                  <a:gd name="connsiteY11" fmla="*/ 1333 h 2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957" h="28765">
                    <a:moveTo>
                      <a:pt x="29908" y="1333"/>
                    </a:moveTo>
                    <a:lnTo>
                      <a:pt x="18193" y="0"/>
                    </a:lnTo>
                    <a:lnTo>
                      <a:pt x="17145" y="8192"/>
                    </a:lnTo>
                    <a:lnTo>
                      <a:pt x="9620" y="4953"/>
                    </a:lnTo>
                    <a:lnTo>
                      <a:pt x="0" y="15335"/>
                    </a:lnTo>
                    <a:lnTo>
                      <a:pt x="7715" y="24384"/>
                    </a:lnTo>
                    <a:lnTo>
                      <a:pt x="13716" y="22765"/>
                    </a:lnTo>
                    <a:lnTo>
                      <a:pt x="16669" y="28766"/>
                    </a:lnTo>
                    <a:lnTo>
                      <a:pt x="30385" y="27622"/>
                    </a:lnTo>
                    <a:lnTo>
                      <a:pt x="40958" y="19717"/>
                    </a:lnTo>
                    <a:lnTo>
                      <a:pt x="40862" y="5334"/>
                    </a:lnTo>
                    <a:lnTo>
                      <a:pt x="29908" y="133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25" name="Freeform: Shape 324">
                <a:extLst>
                  <a:ext uri="{FF2B5EF4-FFF2-40B4-BE49-F238E27FC236}">
                    <a16:creationId xmlns:a16="http://schemas.microsoft.com/office/drawing/2014/main" id="{F9BB84CF-FB4F-4E92-9700-D45877864907}"/>
                  </a:ext>
                </a:extLst>
              </p:cNvPr>
              <p:cNvSpPr/>
              <p:nvPr/>
            </p:nvSpPr>
            <p:spPr>
              <a:xfrm>
                <a:off x="14023167" y="4418568"/>
                <a:ext cx="52768" cy="76580"/>
              </a:xfrm>
              <a:custGeom>
                <a:avLst/>
                <a:gdLst>
                  <a:gd name="connsiteX0" fmla="*/ 9716 w 52768"/>
                  <a:gd name="connsiteY0" fmla="*/ 5048 h 76580"/>
                  <a:gd name="connsiteX1" fmla="*/ 0 w 52768"/>
                  <a:gd name="connsiteY1" fmla="*/ 15907 h 76580"/>
                  <a:gd name="connsiteX2" fmla="*/ 7049 w 52768"/>
                  <a:gd name="connsiteY2" fmla="*/ 33623 h 76580"/>
                  <a:gd name="connsiteX3" fmla="*/ 20574 w 52768"/>
                  <a:gd name="connsiteY3" fmla="*/ 51340 h 76580"/>
                  <a:gd name="connsiteX4" fmla="*/ 29718 w 52768"/>
                  <a:gd name="connsiteY4" fmla="*/ 56197 h 76580"/>
                  <a:gd name="connsiteX5" fmla="*/ 27146 w 52768"/>
                  <a:gd name="connsiteY5" fmla="*/ 65532 h 76580"/>
                  <a:gd name="connsiteX6" fmla="*/ 42196 w 52768"/>
                  <a:gd name="connsiteY6" fmla="*/ 76581 h 76580"/>
                  <a:gd name="connsiteX7" fmla="*/ 48387 w 52768"/>
                  <a:gd name="connsiteY7" fmla="*/ 73724 h 76580"/>
                  <a:gd name="connsiteX8" fmla="*/ 44958 w 52768"/>
                  <a:gd name="connsiteY8" fmla="*/ 54197 h 76580"/>
                  <a:gd name="connsiteX9" fmla="*/ 47816 w 52768"/>
                  <a:gd name="connsiteY9" fmla="*/ 48482 h 76580"/>
                  <a:gd name="connsiteX10" fmla="*/ 44863 w 52768"/>
                  <a:gd name="connsiteY10" fmla="*/ 30956 h 76580"/>
                  <a:gd name="connsiteX11" fmla="*/ 52769 w 52768"/>
                  <a:gd name="connsiteY11" fmla="*/ 18002 h 76580"/>
                  <a:gd name="connsiteX12" fmla="*/ 32766 w 52768"/>
                  <a:gd name="connsiteY12" fmla="*/ 6287 h 76580"/>
                  <a:gd name="connsiteX13" fmla="*/ 25051 w 52768"/>
                  <a:gd name="connsiteY13" fmla="*/ 0 h 76580"/>
                  <a:gd name="connsiteX14" fmla="*/ 19336 w 52768"/>
                  <a:gd name="connsiteY14" fmla="*/ 2476 h 76580"/>
                  <a:gd name="connsiteX15" fmla="*/ 19907 w 52768"/>
                  <a:gd name="connsiteY15" fmla="*/ 10858 h 76580"/>
                  <a:gd name="connsiteX16" fmla="*/ 14002 w 52768"/>
                  <a:gd name="connsiteY16" fmla="*/ 12668 h 76580"/>
                  <a:gd name="connsiteX17" fmla="*/ 9716 w 52768"/>
                  <a:gd name="connsiteY17" fmla="*/ 5048 h 7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768" h="76580">
                    <a:moveTo>
                      <a:pt x="9716" y="5048"/>
                    </a:moveTo>
                    <a:lnTo>
                      <a:pt x="0" y="15907"/>
                    </a:lnTo>
                    <a:lnTo>
                      <a:pt x="7049" y="33623"/>
                    </a:lnTo>
                    <a:lnTo>
                      <a:pt x="20574" y="51340"/>
                    </a:lnTo>
                    <a:lnTo>
                      <a:pt x="29718" y="56197"/>
                    </a:lnTo>
                    <a:lnTo>
                      <a:pt x="27146" y="65532"/>
                    </a:lnTo>
                    <a:lnTo>
                      <a:pt x="42196" y="76581"/>
                    </a:lnTo>
                    <a:lnTo>
                      <a:pt x="48387" y="73724"/>
                    </a:lnTo>
                    <a:lnTo>
                      <a:pt x="44958" y="54197"/>
                    </a:lnTo>
                    <a:lnTo>
                      <a:pt x="47816" y="48482"/>
                    </a:lnTo>
                    <a:lnTo>
                      <a:pt x="44863" y="30956"/>
                    </a:lnTo>
                    <a:lnTo>
                      <a:pt x="52769" y="18002"/>
                    </a:lnTo>
                    <a:lnTo>
                      <a:pt x="32766" y="6287"/>
                    </a:lnTo>
                    <a:lnTo>
                      <a:pt x="25051" y="0"/>
                    </a:lnTo>
                    <a:lnTo>
                      <a:pt x="19336" y="2476"/>
                    </a:lnTo>
                    <a:lnTo>
                      <a:pt x="19907" y="10858"/>
                    </a:lnTo>
                    <a:lnTo>
                      <a:pt x="14002" y="12668"/>
                    </a:lnTo>
                    <a:lnTo>
                      <a:pt x="9716" y="504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26" name="Freeform: Shape 325">
                <a:extLst>
                  <a:ext uri="{FF2B5EF4-FFF2-40B4-BE49-F238E27FC236}">
                    <a16:creationId xmlns:a16="http://schemas.microsoft.com/office/drawing/2014/main" id="{348A5F61-A90B-458C-A224-2D6DCD07CE49}"/>
                  </a:ext>
                </a:extLst>
              </p:cNvPr>
              <p:cNvSpPr/>
              <p:nvPr/>
            </p:nvSpPr>
            <p:spPr>
              <a:xfrm>
                <a:off x="14078697" y="4445238"/>
                <a:ext cx="21907" cy="23050"/>
              </a:xfrm>
              <a:custGeom>
                <a:avLst/>
                <a:gdLst>
                  <a:gd name="connsiteX0" fmla="*/ 15145 w 21907"/>
                  <a:gd name="connsiteY0" fmla="*/ 23050 h 23050"/>
                  <a:gd name="connsiteX1" fmla="*/ 21908 w 21907"/>
                  <a:gd name="connsiteY1" fmla="*/ 9430 h 23050"/>
                  <a:gd name="connsiteX2" fmla="*/ 13049 w 21907"/>
                  <a:gd name="connsiteY2" fmla="*/ 7525 h 23050"/>
                  <a:gd name="connsiteX3" fmla="*/ 7715 w 21907"/>
                  <a:gd name="connsiteY3" fmla="*/ 0 h 23050"/>
                  <a:gd name="connsiteX4" fmla="*/ 0 w 21907"/>
                  <a:gd name="connsiteY4" fmla="*/ 8287 h 23050"/>
                  <a:gd name="connsiteX5" fmla="*/ 5620 w 21907"/>
                  <a:gd name="connsiteY5" fmla="*/ 14288 h 23050"/>
                  <a:gd name="connsiteX6" fmla="*/ 4477 w 21907"/>
                  <a:gd name="connsiteY6" fmla="*/ 21336 h 23050"/>
                  <a:gd name="connsiteX7" fmla="*/ 15145 w 21907"/>
                  <a:gd name="connsiteY7" fmla="*/ 23050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 h="23050">
                    <a:moveTo>
                      <a:pt x="15145" y="23050"/>
                    </a:moveTo>
                    <a:lnTo>
                      <a:pt x="21908" y="9430"/>
                    </a:lnTo>
                    <a:lnTo>
                      <a:pt x="13049" y="7525"/>
                    </a:lnTo>
                    <a:lnTo>
                      <a:pt x="7715" y="0"/>
                    </a:lnTo>
                    <a:lnTo>
                      <a:pt x="0" y="8287"/>
                    </a:lnTo>
                    <a:lnTo>
                      <a:pt x="5620" y="14288"/>
                    </a:lnTo>
                    <a:lnTo>
                      <a:pt x="4477" y="21336"/>
                    </a:lnTo>
                    <a:lnTo>
                      <a:pt x="15145" y="2305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27" name="Freeform: Shape 326">
                <a:extLst>
                  <a:ext uri="{FF2B5EF4-FFF2-40B4-BE49-F238E27FC236}">
                    <a16:creationId xmlns:a16="http://schemas.microsoft.com/office/drawing/2014/main" id="{38E0EC34-7DD2-4B71-8111-100CAD2ABFDC}"/>
                  </a:ext>
                </a:extLst>
              </p:cNvPr>
              <p:cNvSpPr/>
              <p:nvPr/>
            </p:nvSpPr>
            <p:spPr>
              <a:xfrm>
                <a:off x="15112160" y="3419872"/>
                <a:ext cx="27908" cy="30860"/>
              </a:xfrm>
              <a:custGeom>
                <a:avLst/>
                <a:gdLst>
                  <a:gd name="connsiteX0" fmla="*/ 17145 w 27908"/>
                  <a:gd name="connsiteY0" fmla="*/ 11240 h 30860"/>
                  <a:gd name="connsiteX1" fmla="*/ 10859 w 27908"/>
                  <a:gd name="connsiteY1" fmla="*/ 6382 h 30860"/>
                  <a:gd name="connsiteX2" fmla="*/ 4858 w 27908"/>
                  <a:gd name="connsiteY2" fmla="*/ 0 h 30860"/>
                  <a:gd name="connsiteX3" fmla="*/ 0 w 27908"/>
                  <a:gd name="connsiteY3" fmla="*/ 476 h 30860"/>
                  <a:gd name="connsiteX4" fmla="*/ 13430 w 27908"/>
                  <a:gd name="connsiteY4" fmla="*/ 12859 h 30860"/>
                  <a:gd name="connsiteX5" fmla="*/ 8858 w 27908"/>
                  <a:gd name="connsiteY5" fmla="*/ 11240 h 30860"/>
                  <a:gd name="connsiteX6" fmla="*/ 16288 w 27908"/>
                  <a:gd name="connsiteY6" fmla="*/ 22193 h 30860"/>
                  <a:gd name="connsiteX7" fmla="*/ 20003 w 27908"/>
                  <a:gd name="connsiteY7" fmla="*/ 22860 h 30860"/>
                  <a:gd name="connsiteX8" fmla="*/ 24289 w 27908"/>
                  <a:gd name="connsiteY8" fmla="*/ 27242 h 30860"/>
                  <a:gd name="connsiteX9" fmla="*/ 27908 w 27908"/>
                  <a:gd name="connsiteY9" fmla="*/ 30861 h 30860"/>
                  <a:gd name="connsiteX10" fmla="*/ 22193 w 27908"/>
                  <a:gd name="connsiteY10" fmla="*/ 16954 h 30860"/>
                  <a:gd name="connsiteX11" fmla="*/ 17145 w 27908"/>
                  <a:gd name="connsiteY11" fmla="*/ 11240 h 3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908" h="30860">
                    <a:moveTo>
                      <a:pt x="17145" y="11240"/>
                    </a:moveTo>
                    <a:lnTo>
                      <a:pt x="10859" y="6382"/>
                    </a:lnTo>
                    <a:lnTo>
                      <a:pt x="4858" y="0"/>
                    </a:lnTo>
                    <a:lnTo>
                      <a:pt x="0" y="476"/>
                    </a:lnTo>
                    <a:lnTo>
                      <a:pt x="13430" y="12859"/>
                    </a:lnTo>
                    <a:lnTo>
                      <a:pt x="8858" y="11240"/>
                    </a:lnTo>
                    <a:lnTo>
                      <a:pt x="16288" y="22193"/>
                    </a:lnTo>
                    <a:lnTo>
                      <a:pt x="20003" y="22860"/>
                    </a:lnTo>
                    <a:lnTo>
                      <a:pt x="24289" y="27242"/>
                    </a:lnTo>
                    <a:lnTo>
                      <a:pt x="27908" y="30861"/>
                    </a:lnTo>
                    <a:lnTo>
                      <a:pt x="22193" y="16954"/>
                    </a:lnTo>
                    <a:lnTo>
                      <a:pt x="17145" y="1124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28" name="Freeform: Shape 327">
                <a:extLst>
                  <a:ext uri="{FF2B5EF4-FFF2-40B4-BE49-F238E27FC236}">
                    <a16:creationId xmlns:a16="http://schemas.microsoft.com/office/drawing/2014/main" id="{2BE08E92-7884-4175-A945-2E4CAC137EBB}"/>
                  </a:ext>
                </a:extLst>
              </p:cNvPr>
              <p:cNvSpPr/>
              <p:nvPr/>
            </p:nvSpPr>
            <p:spPr>
              <a:xfrm>
                <a:off x="15137115" y="3476545"/>
                <a:ext cx="12763" cy="25622"/>
              </a:xfrm>
              <a:custGeom>
                <a:avLst/>
                <a:gdLst>
                  <a:gd name="connsiteX0" fmla="*/ 10287 w 12763"/>
                  <a:gd name="connsiteY0" fmla="*/ 13049 h 25622"/>
                  <a:gd name="connsiteX1" fmla="*/ 7239 w 12763"/>
                  <a:gd name="connsiteY1" fmla="*/ 2953 h 25622"/>
                  <a:gd name="connsiteX2" fmla="*/ 0 w 12763"/>
                  <a:gd name="connsiteY2" fmla="*/ 0 h 25622"/>
                  <a:gd name="connsiteX3" fmla="*/ 2572 w 12763"/>
                  <a:gd name="connsiteY3" fmla="*/ 8096 h 25622"/>
                  <a:gd name="connsiteX4" fmla="*/ 12763 w 12763"/>
                  <a:gd name="connsiteY4" fmla="*/ 25622 h 25622"/>
                  <a:gd name="connsiteX5" fmla="*/ 10287 w 12763"/>
                  <a:gd name="connsiteY5" fmla="*/ 13049 h 2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63" h="25622">
                    <a:moveTo>
                      <a:pt x="10287" y="13049"/>
                    </a:moveTo>
                    <a:lnTo>
                      <a:pt x="7239" y="2953"/>
                    </a:lnTo>
                    <a:lnTo>
                      <a:pt x="0" y="0"/>
                    </a:lnTo>
                    <a:lnTo>
                      <a:pt x="2572" y="8096"/>
                    </a:lnTo>
                    <a:lnTo>
                      <a:pt x="12763" y="25622"/>
                    </a:lnTo>
                    <a:lnTo>
                      <a:pt x="10287" y="1304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29" name="Freeform: Shape 328">
                <a:extLst>
                  <a:ext uri="{FF2B5EF4-FFF2-40B4-BE49-F238E27FC236}">
                    <a16:creationId xmlns:a16="http://schemas.microsoft.com/office/drawing/2014/main" id="{97808B67-0AA5-453B-B6F1-29BB6B0E9318}"/>
                  </a:ext>
                </a:extLst>
              </p:cNvPr>
              <p:cNvSpPr/>
              <p:nvPr/>
            </p:nvSpPr>
            <p:spPr>
              <a:xfrm>
                <a:off x="15089014" y="3386439"/>
                <a:ext cx="19335" cy="33908"/>
              </a:xfrm>
              <a:custGeom>
                <a:avLst/>
                <a:gdLst>
                  <a:gd name="connsiteX0" fmla="*/ 15145 w 19335"/>
                  <a:gd name="connsiteY0" fmla="*/ 33909 h 33908"/>
                  <a:gd name="connsiteX1" fmla="*/ 10096 w 19335"/>
                  <a:gd name="connsiteY1" fmla="*/ 19717 h 33908"/>
                  <a:gd name="connsiteX2" fmla="*/ 11430 w 19335"/>
                  <a:gd name="connsiteY2" fmla="*/ 18383 h 33908"/>
                  <a:gd name="connsiteX3" fmla="*/ 19050 w 19335"/>
                  <a:gd name="connsiteY3" fmla="*/ 30194 h 33908"/>
                  <a:gd name="connsiteX4" fmla="*/ 19336 w 19335"/>
                  <a:gd name="connsiteY4" fmla="*/ 25527 h 33908"/>
                  <a:gd name="connsiteX5" fmla="*/ 15430 w 19335"/>
                  <a:gd name="connsiteY5" fmla="*/ 19431 h 33908"/>
                  <a:gd name="connsiteX6" fmla="*/ 17431 w 19335"/>
                  <a:gd name="connsiteY6" fmla="*/ 16859 h 33908"/>
                  <a:gd name="connsiteX7" fmla="*/ 10096 w 19335"/>
                  <a:gd name="connsiteY7" fmla="*/ 8096 h 33908"/>
                  <a:gd name="connsiteX8" fmla="*/ 11144 w 19335"/>
                  <a:gd name="connsiteY8" fmla="*/ 14478 h 33908"/>
                  <a:gd name="connsiteX9" fmla="*/ 10192 w 19335"/>
                  <a:gd name="connsiteY9" fmla="*/ 15812 h 33908"/>
                  <a:gd name="connsiteX10" fmla="*/ 476 w 19335"/>
                  <a:gd name="connsiteY10" fmla="*/ 0 h 33908"/>
                  <a:gd name="connsiteX11" fmla="*/ 0 w 19335"/>
                  <a:gd name="connsiteY11" fmla="*/ 8668 h 33908"/>
                  <a:gd name="connsiteX12" fmla="*/ 2191 w 19335"/>
                  <a:gd name="connsiteY12" fmla="*/ 15145 h 33908"/>
                  <a:gd name="connsiteX13" fmla="*/ 15145 w 19335"/>
                  <a:gd name="connsiteY13" fmla="*/ 33909 h 3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335" h="33908">
                    <a:moveTo>
                      <a:pt x="15145" y="33909"/>
                    </a:moveTo>
                    <a:lnTo>
                      <a:pt x="10096" y="19717"/>
                    </a:lnTo>
                    <a:lnTo>
                      <a:pt x="11430" y="18383"/>
                    </a:lnTo>
                    <a:lnTo>
                      <a:pt x="19050" y="30194"/>
                    </a:lnTo>
                    <a:lnTo>
                      <a:pt x="19336" y="25527"/>
                    </a:lnTo>
                    <a:lnTo>
                      <a:pt x="15430" y="19431"/>
                    </a:lnTo>
                    <a:lnTo>
                      <a:pt x="17431" y="16859"/>
                    </a:lnTo>
                    <a:lnTo>
                      <a:pt x="10096" y="8096"/>
                    </a:lnTo>
                    <a:lnTo>
                      <a:pt x="11144" y="14478"/>
                    </a:lnTo>
                    <a:lnTo>
                      <a:pt x="10192" y="15812"/>
                    </a:lnTo>
                    <a:lnTo>
                      <a:pt x="476" y="0"/>
                    </a:lnTo>
                    <a:lnTo>
                      <a:pt x="0" y="8668"/>
                    </a:lnTo>
                    <a:lnTo>
                      <a:pt x="2191" y="15145"/>
                    </a:lnTo>
                    <a:lnTo>
                      <a:pt x="15145" y="3390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30" name="Freeform: Shape 329">
                <a:extLst>
                  <a:ext uri="{FF2B5EF4-FFF2-40B4-BE49-F238E27FC236}">
                    <a16:creationId xmlns:a16="http://schemas.microsoft.com/office/drawing/2014/main" id="{5C51245F-8BEE-4E11-989E-F013C13E9BD1}"/>
                  </a:ext>
                </a:extLst>
              </p:cNvPr>
              <p:cNvSpPr/>
              <p:nvPr/>
            </p:nvSpPr>
            <p:spPr>
              <a:xfrm>
                <a:off x="15123399" y="3439684"/>
                <a:ext cx="18859" cy="26384"/>
              </a:xfrm>
              <a:custGeom>
                <a:avLst/>
                <a:gdLst>
                  <a:gd name="connsiteX0" fmla="*/ 1905 w 18859"/>
                  <a:gd name="connsiteY0" fmla="*/ 0 h 26384"/>
                  <a:gd name="connsiteX1" fmla="*/ 0 w 18859"/>
                  <a:gd name="connsiteY1" fmla="*/ 667 h 26384"/>
                  <a:gd name="connsiteX2" fmla="*/ 8287 w 18859"/>
                  <a:gd name="connsiteY2" fmla="*/ 13430 h 26384"/>
                  <a:gd name="connsiteX3" fmla="*/ 14573 w 18859"/>
                  <a:gd name="connsiteY3" fmla="*/ 26384 h 26384"/>
                  <a:gd name="connsiteX4" fmla="*/ 14573 w 18859"/>
                  <a:gd name="connsiteY4" fmla="*/ 22003 h 26384"/>
                  <a:gd name="connsiteX5" fmla="*/ 17526 w 18859"/>
                  <a:gd name="connsiteY5" fmla="*/ 22193 h 26384"/>
                  <a:gd name="connsiteX6" fmla="*/ 18860 w 18859"/>
                  <a:gd name="connsiteY6" fmla="*/ 20383 h 26384"/>
                  <a:gd name="connsiteX7" fmla="*/ 9620 w 18859"/>
                  <a:gd name="connsiteY7" fmla="*/ 8192 h 26384"/>
                  <a:gd name="connsiteX8" fmla="*/ 1905 w 18859"/>
                  <a:gd name="connsiteY8" fmla="*/ 0 h 26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59" h="26384">
                    <a:moveTo>
                      <a:pt x="1905" y="0"/>
                    </a:moveTo>
                    <a:lnTo>
                      <a:pt x="0" y="667"/>
                    </a:lnTo>
                    <a:lnTo>
                      <a:pt x="8287" y="13430"/>
                    </a:lnTo>
                    <a:lnTo>
                      <a:pt x="14573" y="26384"/>
                    </a:lnTo>
                    <a:lnTo>
                      <a:pt x="14573" y="22003"/>
                    </a:lnTo>
                    <a:lnTo>
                      <a:pt x="17526" y="22193"/>
                    </a:lnTo>
                    <a:lnTo>
                      <a:pt x="18860" y="20383"/>
                    </a:lnTo>
                    <a:lnTo>
                      <a:pt x="9620" y="8192"/>
                    </a:lnTo>
                    <a:lnTo>
                      <a:pt x="1905"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31" name="Freeform: Shape 330">
                <a:extLst>
                  <a:ext uri="{FF2B5EF4-FFF2-40B4-BE49-F238E27FC236}">
                    <a16:creationId xmlns:a16="http://schemas.microsoft.com/office/drawing/2014/main" id="{422F4951-CC56-43F2-948F-5803B01A4B86}"/>
                  </a:ext>
                </a:extLst>
              </p:cNvPr>
              <p:cNvSpPr/>
              <p:nvPr/>
            </p:nvSpPr>
            <p:spPr>
              <a:xfrm>
                <a:off x="15097872" y="3423396"/>
                <a:ext cx="47243" cy="96869"/>
              </a:xfrm>
              <a:custGeom>
                <a:avLst/>
                <a:gdLst>
                  <a:gd name="connsiteX0" fmla="*/ 22765 w 47243"/>
                  <a:gd name="connsiteY0" fmla="*/ 59626 h 96869"/>
                  <a:gd name="connsiteX1" fmla="*/ 13526 w 47243"/>
                  <a:gd name="connsiteY1" fmla="*/ 49054 h 96869"/>
                  <a:gd name="connsiteX2" fmla="*/ 5334 w 47243"/>
                  <a:gd name="connsiteY2" fmla="*/ 46958 h 96869"/>
                  <a:gd name="connsiteX3" fmla="*/ 5144 w 47243"/>
                  <a:gd name="connsiteY3" fmla="*/ 56483 h 96869"/>
                  <a:gd name="connsiteX4" fmla="*/ 476 w 47243"/>
                  <a:gd name="connsiteY4" fmla="*/ 54959 h 96869"/>
                  <a:gd name="connsiteX5" fmla="*/ 0 w 47243"/>
                  <a:gd name="connsiteY5" fmla="*/ 57817 h 96869"/>
                  <a:gd name="connsiteX6" fmla="*/ 5429 w 47243"/>
                  <a:gd name="connsiteY6" fmla="*/ 62770 h 96869"/>
                  <a:gd name="connsiteX7" fmla="*/ 11049 w 47243"/>
                  <a:gd name="connsiteY7" fmla="*/ 76009 h 96869"/>
                  <a:gd name="connsiteX8" fmla="*/ 18288 w 47243"/>
                  <a:gd name="connsiteY8" fmla="*/ 88011 h 96869"/>
                  <a:gd name="connsiteX9" fmla="*/ 28004 w 47243"/>
                  <a:gd name="connsiteY9" fmla="*/ 91059 h 96869"/>
                  <a:gd name="connsiteX10" fmla="*/ 38767 w 47243"/>
                  <a:gd name="connsiteY10" fmla="*/ 87630 h 96869"/>
                  <a:gd name="connsiteX11" fmla="*/ 41529 w 47243"/>
                  <a:gd name="connsiteY11" fmla="*/ 96869 h 96869"/>
                  <a:gd name="connsiteX12" fmla="*/ 46577 w 47243"/>
                  <a:gd name="connsiteY12" fmla="*/ 92964 h 96869"/>
                  <a:gd name="connsiteX13" fmla="*/ 47244 w 47243"/>
                  <a:gd name="connsiteY13" fmla="*/ 88487 h 96869"/>
                  <a:gd name="connsiteX14" fmla="*/ 44482 w 47243"/>
                  <a:gd name="connsiteY14" fmla="*/ 76676 h 96869"/>
                  <a:gd name="connsiteX15" fmla="*/ 40957 w 47243"/>
                  <a:gd name="connsiteY15" fmla="*/ 75152 h 96869"/>
                  <a:gd name="connsiteX16" fmla="*/ 38576 w 47243"/>
                  <a:gd name="connsiteY16" fmla="*/ 68389 h 96869"/>
                  <a:gd name="connsiteX17" fmla="*/ 43720 w 47243"/>
                  <a:gd name="connsiteY17" fmla="*/ 73914 h 96869"/>
                  <a:gd name="connsiteX18" fmla="*/ 46482 w 47243"/>
                  <a:gd name="connsiteY18" fmla="*/ 73723 h 96869"/>
                  <a:gd name="connsiteX19" fmla="*/ 41529 w 47243"/>
                  <a:gd name="connsiteY19" fmla="*/ 62960 h 96869"/>
                  <a:gd name="connsiteX20" fmla="*/ 29528 w 47243"/>
                  <a:gd name="connsiteY20" fmla="*/ 45053 h 96869"/>
                  <a:gd name="connsiteX21" fmla="*/ 24289 w 47243"/>
                  <a:gd name="connsiteY21" fmla="*/ 30480 h 96869"/>
                  <a:gd name="connsiteX22" fmla="*/ 19240 w 47243"/>
                  <a:gd name="connsiteY22" fmla="*/ 26479 h 96869"/>
                  <a:gd name="connsiteX23" fmla="*/ 16954 w 47243"/>
                  <a:gd name="connsiteY23" fmla="*/ 17526 h 96869"/>
                  <a:gd name="connsiteX24" fmla="*/ 8858 w 47243"/>
                  <a:gd name="connsiteY24" fmla="*/ 667 h 96869"/>
                  <a:gd name="connsiteX25" fmla="*/ 5429 w 47243"/>
                  <a:gd name="connsiteY25" fmla="*/ 0 h 96869"/>
                  <a:gd name="connsiteX26" fmla="*/ 8668 w 47243"/>
                  <a:gd name="connsiteY26" fmla="*/ 7144 h 96869"/>
                  <a:gd name="connsiteX27" fmla="*/ 4858 w 47243"/>
                  <a:gd name="connsiteY27" fmla="*/ 7048 h 96869"/>
                  <a:gd name="connsiteX28" fmla="*/ 18288 w 47243"/>
                  <a:gd name="connsiteY28" fmla="*/ 33528 h 96869"/>
                  <a:gd name="connsiteX29" fmla="*/ 24479 w 47243"/>
                  <a:gd name="connsiteY29" fmla="*/ 41910 h 96869"/>
                  <a:gd name="connsiteX30" fmla="*/ 30575 w 47243"/>
                  <a:gd name="connsiteY30" fmla="*/ 52864 h 96869"/>
                  <a:gd name="connsiteX31" fmla="*/ 29146 w 47243"/>
                  <a:gd name="connsiteY31" fmla="*/ 60007 h 96869"/>
                  <a:gd name="connsiteX32" fmla="*/ 22765 w 47243"/>
                  <a:gd name="connsiteY32" fmla="*/ 59626 h 96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243" h="96869">
                    <a:moveTo>
                      <a:pt x="22765" y="59626"/>
                    </a:moveTo>
                    <a:lnTo>
                      <a:pt x="13526" y="49054"/>
                    </a:lnTo>
                    <a:lnTo>
                      <a:pt x="5334" y="46958"/>
                    </a:lnTo>
                    <a:lnTo>
                      <a:pt x="5144" y="56483"/>
                    </a:lnTo>
                    <a:lnTo>
                      <a:pt x="476" y="54959"/>
                    </a:lnTo>
                    <a:lnTo>
                      <a:pt x="0" y="57817"/>
                    </a:lnTo>
                    <a:lnTo>
                      <a:pt x="5429" y="62770"/>
                    </a:lnTo>
                    <a:lnTo>
                      <a:pt x="11049" y="76009"/>
                    </a:lnTo>
                    <a:lnTo>
                      <a:pt x="18288" y="88011"/>
                    </a:lnTo>
                    <a:lnTo>
                      <a:pt x="28004" y="91059"/>
                    </a:lnTo>
                    <a:lnTo>
                      <a:pt x="38767" y="87630"/>
                    </a:lnTo>
                    <a:lnTo>
                      <a:pt x="41529" y="96869"/>
                    </a:lnTo>
                    <a:lnTo>
                      <a:pt x="46577" y="92964"/>
                    </a:lnTo>
                    <a:lnTo>
                      <a:pt x="47244" y="88487"/>
                    </a:lnTo>
                    <a:lnTo>
                      <a:pt x="44482" y="76676"/>
                    </a:lnTo>
                    <a:lnTo>
                      <a:pt x="40957" y="75152"/>
                    </a:lnTo>
                    <a:lnTo>
                      <a:pt x="38576" y="68389"/>
                    </a:lnTo>
                    <a:lnTo>
                      <a:pt x="43720" y="73914"/>
                    </a:lnTo>
                    <a:lnTo>
                      <a:pt x="46482" y="73723"/>
                    </a:lnTo>
                    <a:lnTo>
                      <a:pt x="41529" y="62960"/>
                    </a:lnTo>
                    <a:lnTo>
                      <a:pt x="29528" y="45053"/>
                    </a:lnTo>
                    <a:lnTo>
                      <a:pt x="24289" y="30480"/>
                    </a:lnTo>
                    <a:lnTo>
                      <a:pt x="19240" y="26479"/>
                    </a:lnTo>
                    <a:lnTo>
                      <a:pt x="16954" y="17526"/>
                    </a:lnTo>
                    <a:lnTo>
                      <a:pt x="8858" y="667"/>
                    </a:lnTo>
                    <a:lnTo>
                      <a:pt x="5429" y="0"/>
                    </a:lnTo>
                    <a:lnTo>
                      <a:pt x="8668" y="7144"/>
                    </a:lnTo>
                    <a:lnTo>
                      <a:pt x="4858" y="7048"/>
                    </a:lnTo>
                    <a:lnTo>
                      <a:pt x="18288" y="33528"/>
                    </a:lnTo>
                    <a:lnTo>
                      <a:pt x="24479" y="41910"/>
                    </a:lnTo>
                    <a:lnTo>
                      <a:pt x="30575" y="52864"/>
                    </a:lnTo>
                    <a:lnTo>
                      <a:pt x="29146" y="60007"/>
                    </a:lnTo>
                    <a:lnTo>
                      <a:pt x="22765" y="5962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32" name="Freeform: Shape 331">
                <a:extLst>
                  <a:ext uri="{FF2B5EF4-FFF2-40B4-BE49-F238E27FC236}">
                    <a16:creationId xmlns:a16="http://schemas.microsoft.com/office/drawing/2014/main" id="{B25F17B7-3C97-4C8E-A1D0-79469823E051}"/>
                  </a:ext>
                </a:extLst>
              </p:cNvPr>
              <p:cNvSpPr/>
              <p:nvPr/>
            </p:nvSpPr>
            <p:spPr>
              <a:xfrm>
                <a:off x="15169120" y="3507882"/>
                <a:ext cx="37623" cy="48958"/>
              </a:xfrm>
              <a:custGeom>
                <a:avLst/>
                <a:gdLst>
                  <a:gd name="connsiteX0" fmla="*/ 19526 w 37623"/>
                  <a:gd name="connsiteY0" fmla="*/ 25527 h 48958"/>
                  <a:gd name="connsiteX1" fmla="*/ 29908 w 37623"/>
                  <a:gd name="connsiteY1" fmla="*/ 39719 h 48958"/>
                  <a:gd name="connsiteX2" fmla="*/ 37624 w 37623"/>
                  <a:gd name="connsiteY2" fmla="*/ 48958 h 48958"/>
                  <a:gd name="connsiteX3" fmla="*/ 19526 w 37623"/>
                  <a:gd name="connsiteY3" fmla="*/ 22289 h 48958"/>
                  <a:gd name="connsiteX4" fmla="*/ 10954 w 37623"/>
                  <a:gd name="connsiteY4" fmla="*/ 12668 h 48958"/>
                  <a:gd name="connsiteX5" fmla="*/ 1143 w 37623"/>
                  <a:gd name="connsiteY5" fmla="*/ 0 h 48958"/>
                  <a:gd name="connsiteX6" fmla="*/ 0 w 37623"/>
                  <a:gd name="connsiteY6" fmla="*/ 5620 h 48958"/>
                  <a:gd name="connsiteX7" fmla="*/ 10096 w 37623"/>
                  <a:gd name="connsiteY7" fmla="*/ 14288 h 48958"/>
                  <a:gd name="connsiteX8" fmla="*/ 19526 w 37623"/>
                  <a:gd name="connsiteY8" fmla="*/ 25527 h 4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23" h="48958">
                    <a:moveTo>
                      <a:pt x="19526" y="25527"/>
                    </a:moveTo>
                    <a:lnTo>
                      <a:pt x="29908" y="39719"/>
                    </a:lnTo>
                    <a:lnTo>
                      <a:pt x="37624" y="48958"/>
                    </a:lnTo>
                    <a:lnTo>
                      <a:pt x="19526" y="22289"/>
                    </a:lnTo>
                    <a:lnTo>
                      <a:pt x="10954" y="12668"/>
                    </a:lnTo>
                    <a:lnTo>
                      <a:pt x="1143" y="0"/>
                    </a:lnTo>
                    <a:lnTo>
                      <a:pt x="0" y="5620"/>
                    </a:lnTo>
                    <a:lnTo>
                      <a:pt x="10096" y="14288"/>
                    </a:lnTo>
                    <a:lnTo>
                      <a:pt x="19526" y="2552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33" name="Freeform: Shape 332">
                <a:extLst>
                  <a:ext uri="{FF2B5EF4-FFF2-40B4-BE49-F238E27FC236}">
                    <a16:creationId xmlns:a16="http://schemas.microsoft.com/office/drawing/2014/main" id="{29E41EAD-4F25-45A3-966D-84970FFF8C6B}"/>
                  </a:ext>
                </a:extLst>
              </p:cNvPr>
              <p:cNvSpPr/>
              <p:nvPr/>
            </p:nvSpPr>
            <p:spPr>
              <a:xfrm>
                <a:off x="15089490" y="3363007"/>
                <a:ext cx="64103" cy="92297"/>
              </a:xfrm>
              <a:custGeom>
                <a:avLst/>
                <a:gdLst>
                  <a:gd name="connsiteX0" fmla="*/ 11525 w 64103"/>
                  <a:gd name="connsiteY0" fmla="*/ 24479 h 92297"/>
                  <a:gd name="connsiteX1" fmla="*/ 21336 w 64103"/>
                  <a:gd name="connsiteY1" fmla="*/ 38290 h 92297"/>
                  <a:gd name="connsiteX2" fmla="*/ 24955 w 64103"/>
                  <a:gd name="connsiteY2" fmla="*/ 40577 h 92297"/>
                  <a:gd name="connsiteX3" fmla="*/ 36100 w 64103"/>
                  <a:gd name="connsiteY3" fmla="*/ 55245 h 92297"/>
                  <a:gd name="connsiteX4" fmla="*/ 39434 w 64103"/>
                  <a:gd name="connsiteY4" fmla="*/ 63246 h 92297"/>
                  <a:gd name="connsiteX5" fmla="*/ 47816 w 64103"/>
                  <a:gd name="connsiteY5" fmla="*/ 73438 h 92297"/>
                  <a:gd name="connsiteX6" fmla="*/ 56769 w 64103"/>
                  <a:gd name="connsiteY6" fmla="*/ 85725 h 92297"/>
                  <a:gd name="connsiteX7" fmla="*/ 64103 w 64103"/>
                  <a:gd name="connsiteY7" fmla="*/ 92297 h 92297"/>
                  <a:gd name="connsiteX8" fmla="*/ 62770 w 64103"/>
                  <a:gd name="connsiteY8" fmla="*/ 88487 h 92297"/>
                  <a:gd name="connsiteX9" fmla="*/ 51721 w 64103"/>
                  <a:gd name="connsiteY9" fmla="*/ 74295 h 92297"/>
                  <a:gd name="connsiteX10" fmla="*/ 45625 w 64103"/>
                  <a:gd name="connsiteY10" fmla="*/ 64675 h 92297"/>
                  <a:gd name="connsiteX11" fmla="*/ 40291 w 64103"/>
                  <a:gd name="connsiteY11" fmla="*/ 59055 h 92297"/>
                  <a:gd name="connsiteX12" fmla="*/ 33052 w 64103"/>
                  <a:gd name="connsiteY12" fmla="*/ 45529 h 92297"/>
                  <a:gd name="connsiteX13" fmla="*/ 38386 w 64103"/>
                  <a:gd name="connsiteY13" fmla="*/ 50864 h 92297"/>
                  <a:gd name="connsiteX14" fmla="*/ 36195 w 64103"/>
                  <a:gd name="connsiteY14" fmla="*/ 44101 h 92297"/>
                  <a:gd name="connsiteX15" fmla="*/ 21146 w 64103"/>
                  <a:gd name="connsiteY15" fmla="*/ 19812 h 92297"/>
                  <a:gd name="connsiteX16" fmla="*/ 16097 w 64103"/>
                  <a:gd name="connsiteY16" fmla="*/ 14859 h 92297"/>
                  <a:gd name="connsiteX17" fmla="*/ 18955 w 64103"/>
                  <a:gd name="connsiteY17" fmla="*/ 22289 h 92297"/>
                  <a:gd name="connsiteX18" fmla="*/ 11144 w 64103"/>
                  <a:gd name="connsiteY18" fmla="*/ 14002 h 92297"/>
                  <a:gd name="connsiteX19" fmla="*/ 8382 w 64103"/>
                  <a:gd name="connsiteY19" fmla="*/ 5144 h 92297"/>
                  <a:gd name="connsiteX20" fmla="*/ 1334 w 64103"/>
                  <a:gd name="connsiteY20" fmla="*/ 0 h 92297"/>
                  <a:gd name="connsiteX21" fmla="*/ 762 w 64103"/>
                  <a:gd name="connsiteY21" fmla="*/ 2191 h 92297"/>
                  <a:gd name="connsiteX22" fmla="*/ 381 w 64103"/>
                  <a:gd name="connsiteY22" fmla="*/ 5525 h 92297"/>
                  <a:gd name="connsiteX23" fmla="*/ 286 w 64103"/>
                  <a:gd name="connsiteY23" fmla="*/ 7715 h 92297"/>
                  <a:gd name="connsiteX24" fmla="*/ 0 w 64103"/>
                  <a:gd name="connsiteY24" fmla="*/ 10477 h 92297"/>
                  <a:gd name="connsiteX25" fmla="*/ 9811 w 64103"/>
                  <a:gd name="connsiteY25" fmla="*/ 27337 h 92297"/>
                  <a:gd name="connsiteX26" fmla="*/ 11525 w 64103"/>
                  <a:gd name="connsiteY26" fmla="*/ 24479 h 9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103" h="92297">
                    <a:moveTo>
                      <a:pt x="11525" y="24479"/>
                    </a:moveTo>
                    <a:lnTo>
                      <a:pt x="21336" y="38290"/>
                    </a:lnTo>
                    <a:lnTo>
                      <a:pt x="24955" y="40577"/>
                    </a:lnTo>
                    <a:lnTo>
                      <a:pt x="36100" y="55245"/>
                    </a:lnTo>
                    <a:lnTo>
                      <a:pt x="39434" y="63246"/>
                    </a:lnTo>
                    <a:lnTo>
                      <a:pt x="47816" y="73438"/>
                    </a:lnTo>
                    <a:lnTo>
                      <a:pt x="56769" y="85725"/>
                    </a:lnTo>
                    <a:lnTo>
                      <a:pt x="64103" y="92297"/>
                    </a:lnTo>
                    <a:lnTo>
                      <a:pt x="62770" y="88487"/>
                    </a:lnTo>
                    <a:lnTo>
                      <a:pt x="51721" y="74295"/>
                    </a:lnTo>
                    <a:lnTo>
                      <a:pt x="45625" y="64675"/>
                    </a:lnTo>
                    <a:lnTo>
                      <a:pt x="40291" y="59055"/>
                    </a:lnTo>
                    <a:lnTo>
                      <a:pt x="33052" y="45529"/>
                    </a:lnTo>
                    <a:lnTo>
                      <a:pt x="38386" y="50864"/>
                    </a:lnTo>
                    <a:lnTo>
                      <a:pt x="36195" y="44101"/>
                    </a:lnTo>
                    <a:lnTo>
                      <a:pt x="21146" y="19812"/>
                    </a:lnTo>
                    <a:lnTo>
                      <a:pt x="16097" y="14859"/>
                    </a:lnTo>
                    <a:lnTo>
                      <a:pt x="18955" y="22289"/>
                    </a:lnTo>
                    <a:lnTo>
                      <a:pt x="11144" y="14002"/>
                    </a:lnTo>
                    <a:lnTo>
                      <a:pt x="8382" y="5144"/>
                    </a:lnTo>
                    <a:lnTo>
                      <a:pt x="1334" y="0"/>
                    </a:lnTo>
                    <a:lnTo>
                      <a:pt x="762" y="2191"/>
                    </a:lnTo>
                    <a:lnTo>
                      <a:pt x="381" y="5525"/>
                    </a:lnTo>
                    <a:lnTo>
                      <a:pt x="286" y="7715"/>
                    </a:lnTo>
                    <a:lnTo>
                      <a:pt x="0" y="10477"/>
                    </a:lnTo>
                    <a:lnTo>
                      <a:pt x="9811" y="27337"/>
                    </a:lnTo>
                    <a:lnTo>
                      <a:pt x="11525" y="2447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34" name="Freeform: Shape 333">
                <a:extLst>
                  <a:ext uri="{FF2B5EF4-FFF2-40B4-BE49-F238E27FC236}">
                    <a16:creationId xmlns:a16="http://schemas.microsoft.com/office/drawing/2014/main" id="{75697522-DB62-4E76-A3CA-B70BA9A5F784}"/>
                  </a:ext>
                </a:extLst>
              </p:cNvPr>
              <p:cNvSpPr/>
              <p:nvPr/>
            </p:nvSpPr>
            <p:spPr>
              <a:xfrm>
                <a:off x="12753294" y="4700412"/>
                <a:ext cx="16668" cy="35528"/>
              </a:xfrm>
              <a:custGeom>
                <a:avLst/>
                <a:gdLst>
                  <a:gd name="connsiteX0" fmla="*/ 12478 w 16668"/>
                  <a:gd name="connsiteY0" fmla="*/ 30861 h 35528"/>
                  <a:gd name="connsiteX1" fmla="*/ 16669 w 16668"/>
                  <a:gd name="connsiteY1" fmla="*/ 35528 h 35528"/>
                  <a:gd name="connsiteX2" fmla="*/ 16383 w 16668"/>
                  <a:gd name="connsiteY2" fmla="*/ 31052 h 35528"/>
                  <a:gd name="connsiteX3" fmla="*/ 12192 w 16668"/>
                  <a:gd name="connsiteY3" fmla="*/ 20003 h 35528"/>
                  <a:gd name="connsiteX4" fmla="*/ 4763 w 16668"/>
                  <a:gd name="connsiteY4" fmla="*/ 2572 h 35528"/>
                  <a:gd name="connsiteX5" fmla="*/ 2477 w 16668"/>
                  <a:gd name="connsiteY5" fmla="*/ 0 h 35528"/>
                  <a:gd name="connsiteX6" fmla="*/ 0 w 16668"/>
                  <a:gd name="connsiteY6" fmla="*/ 2477 h 35528"/>
                  <a:gd name="connsiteX7" fmla="*/ 5524 w 16668"/>
                  <a:gd name="connsiteY7" fmla="*/ 14859 h 35528"/>
                  <a:gd name="connsiteX8" fmla="*/ 12478 w 16668"/>
                  <a:gd name="connsiteY8" fmla="*/ 30861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68" h="35528">
                    <a:moveTo>
                      <a:pt x="12478" y="30861"/>
                    </a:moveTo>
                    <a:lnTo>
                      <a:pt x="16669" y="35528"/>
                    </a:lnTo>
                    <a:lnTo>
                      <a:pt x="16383" y="31052"/>
                    </a:lnTo>
                    <a:lnTo>
                      <a:pt x="12192" y="20003"/>
                    </a:lnTo>
                    <a:lnTo>
                      <a:pt x="4763" y="2572"/>
                    </a:lnTo>
                    <a:lnTo>
                      <a:pt x="2477" y="0"/>
                    </a:lnTo>
                    <a:lnTo>
                      <a:pt x="0" y="2477"/>
                    </a:lnTo>
                    <a:lnTo>
                      <a:pt x="5524" y="14859"/>
                    </a:lnTo>
                    <a:lnTo>
                      <a:pt x="12478" y="3086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35" name="Freeform: Shape 334">
                <a:extLst>
                  <a:ext uri="{FF2B5EF4-FFF2-40B4-BE49-F238E27FC236}">
                    <a16:creationId xmlns:a16="http://schemas.microsoft.com/office/drawing/2014/main" id="{F9B53189-36EC-4821-AF37-6A54691FD0EE}"/>
                  </a:ext>
                </a:extLst>
              </p:cNvPr>
              <p:cNvSpPr/>
              <p:nvPr/>
            </p:nvSpPr>
            <p:spPr>
              <a:xfrm>
                <a:off x="14471223" y="3409966"/>
                <a:ext cx="102869" cy="132778"/>
              </a:xfrm>
              <a:custGeom>
                <a:avLst/>
                <a:gdLst>
                  <a:gd name="connsiteX0" fmla="*/ 7810 w 102869"/>
                  <a:gd name="connsiteY0" fmla="*/ 122015 h 132778"/>
                  <a:gd name="connsiteX1" fmla="*/ 23908 w 102869"/>
                  <a:gd name="connsiteY1" fmla="*/ 123158 h 132778"/>
                  <a:gd name="connsiteX2" fmla="*/ 41338 w 102869"/>
                  <a:gd name="connsiteY2" fmla="*/ 103156 h 132778"/>
                  <a:gd name="connsiteX3" fmla="*/ 45910 w 102869"/>
                  <a:gd name="connsiteY3" fmla="*/ 82963 h 132778"/>
                  <a:gd name="connsiteX4" fmla="*/ 61817 w 102869"/>
                  <a:gd name="connsiteY4" fmla="*/ 63627 h 132778"/>
                  <a:gd name="connsiteX5" fmla="*/ 73342 w 102869"/>
                  <a:gd name="connsiteY5" fmla="*/ 54864 h 132778"/>
                  <a:gd name="connsiteX6" fmla="*/ 83915 w 102869"/>
                  <a:gd name="connsiteY6" fmla="*/ 38195 h 132778"/>
                  <a:gd name="connsiteX7" fmla="*/ 96202 w 102869"/>
                  <a:gd name="connsiteY7" fmla="*/ 25622 h 132778"/>
                  <a:gd name="connsiteX8" fmla="*/ 102870 w 102869"/>
                  <a:gd name="connsiteY8" fmla="*/ 12097 h 132778"/>
                  <a:gd name="connsiteX9" fmla="*/ 85725 w 102869"/>
                  <a:gd name="connsiteY9" fmla="*/ 16192 h 132778"/>
                  <a:gd name="connsiteX10" fmla="*/ 82010 w 102869"/>
                  <a:gd name="connsiteY10" fmla="*/ 0 h 132778"/>
                  <a:gd name="connsiteX11" fmla="*/ 74295 w 102869"/>
                  <a:gd name="connsiteY11" fmla="*/ 9620 h 132778"/>
                  <a:gd name="connsiteX12" fmla="*/ 76105 w 102869"/>
                  <a:gd name="connsiteY12" fmla="*/ 34004 h 132778"/>
                  <a:gd name="connsiteX13" fmla="*/ 52197 w 102869"/>
                  <a:gd name="connsiteY13" fmla="*/ 49054 h 132778"/>
                  <a:gd name="connsiteX14" fmla="*/ 36767 w 102869"/>
                  <a:gd name="connsiteY14" fmla="*/ 30290 h 132778"/>
                  <a:gd name="connsiteX15" fmla="*/ 30194 w 102869"/>
                  <a:gd name="connsiteY15" fmla="*/ 66294 h 132778"/>
                  <a:gd name="connsiteX16" fmla="*/ 23813 w 102869"/>
                  <a:gd name="connsiteY16" fmla="*/ 85439 h 132778"/>
                  <a:gd name="connsiteX17" fmla="*/ 12192 w 102869"/>
                  <a:gd name="connsiteY17" fmla="*/ 100394 h 132778"/>
                  <a:gd name="connsiteX18" fmla="*/ 4953 w 102869"/>
                  <a:gd name="connsiteY18" fmla="*/ 118491 h 132778"/>
                  <a:gd name="connsiteX19" fmla="*/ 0 w 102869"/>
                  <a:gd name="connsiteY19" fmla="*/ 131064 h 132778"/>
                  <a:gd name="connsiteX20" fmla="*/ 6763 w 102869"/>
                  <a:gd name="connsiteY20" fmla="*/ 132779 h 132778"/>
                  <a:gd name="connsiteX21" fmla="*/ 7810 w 102869"/>
                  <a:gd name="connsiteY21" fmla="*/ 122015 h 1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2869" h="132778">
                    <a:moveTo>
                      <a:pt x="7810" y="122015"/>
                    </a:moveTo>
                    <a:lnTo>
                      <a:pt x="23908" y="123158"/>
                    </a:lnTo>
                    <a:lnTo>
                      <a:pt x="41338" y="103156"/>
                    </a:lnTo>
                    <a:lnTo>
                      <a:pt x="45910" y="82963"/>
                    </a:lnTo>
                    <a:lnTo>
                      <a:pt x="61817" y="63627"/>
                    </a:lnTo>
                    <a:lnTo>
                      <a:pt x="73342" y="54864"/>
                    </a:lnTo>
                    <a:lnTo>
                      <a:pt x="83915" y="38195"/>
                    </a:lnTo>
                    <a:lnTo>
                      <a:pt x="96202" y="25622"/>
                    </a:lnTo>
                    <a:lnTo>
                      <a:pt x="102870" y="12097"/>
                    </a:lnTo>
                    <a:lnTo>
                      <a:pt x="85725" y="16192"/>
                    </a:lnTo>
                    <a:lnTo>
                      <a:pt x="82010" y="0"/>
                    </a:lnTo>
                    <a:lnTo>
                      <a:pt x="74295" y="9620"/>
                    </a:lnTo>
                    <a:lnTo>
                      <a:pt x="76105" y="34004"/>
                    </a:lnTo>
                    <a:lnTo>
                      <a:pt x="52197" y="49054"/>
                    </a:lnTo>
                    <a:lnTo>
                      <a:pt x="36767" y="30290"/>
                    </a:lnTo>
                    <a:lnTo>
                      <a:pt x="30194" y="66294"/>
                    </a:lnTo>
                    <a:lnTo>
                      <a:pt x="23813" y="85439"/>
                    </a:lnTo>
                    <a:lnTo>
                      <a:pt x="12192" y="100394"/>
                    </a:lnTo>
                    <a:lnTo>
                      <a:pt x="4953" y="118491"/>
                    </a:lnTo>
                    <a:lnTo>
                      <a:pt x="0" y="131064"/>
                    </a:lnTo>
                    <a:lnTo>
                      <a:pt x="6763" y="132779"/>
                    </a:lnTo>
                    <a:lnTo>
                      <a:pt x="7810" y="12201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36" name="Freeform: Shape 335">
                <a:extLst>
                  <a:ext uri="{FF2B5EF4-FFF2-40B4-BE49-F238E27FC236}">
                    <a16:creationId xmlns:a16="http://schemas.microsoft.com/office/drawing/2014/main" id="{330F0BD5-0802-4639-8067-BD3EE43C7F67}"/>
                  </a:ext>
                </a:extLst>
              </p:cNvPr>
              <p:cNvSpPr/>
              <p:nvPr/>
            </p:nvSpPr>
            <p:spPr>
              <a:xfrm>
                <a:off x="14268435" y="4305030"/>
                <a:ext cx="98298" cy="158305"/>
              </a:xfrm>
              <a:custGeom>
                <a:avLst/>
                <a:gdLst>
                  <a:gd name="connsiteX0" fmla="*/ 3143 w 98298"/>
                  <a:gd name="connsiteY0" fmla="*/ 67342 h 158305"/>
                  <a:gd name="connsiteX1" fmla="*/ 6001 w 98298"/>
                  <a:gd name="connsiteY1" fmla="*/ 85725 h 158305"/>
                  <a:gd name="connsiteX2" fmla="*/ 15812 w 98298"/>
                  <a:gd name="connsiteY2" fmla="*/ 90297 h 158305"/>
                  <a:gd name="connsiteX3" fmla="*/ 23432 w 98298"/>
                  <a:gd name="connsiteY3" fmla="*/ 115157 h 158305"/>
                  <a:gd name="connsiteX4" fmla="*/ 29432 w 98298"/>
                  <a:gd name="connsiteY4" fmla="*/ 111728 h 158305"/>
                  <a:gd name="connsiteX5" fmla="*/ 37148 w 98298"/>
                  <a:gd name="connsiteY5" fmla="*/ 134779 h 158305"/>
                  <a:gd name="connsiteX6" fmla="*/ 47339 w 98298"/>
                  <a:gd name="connsiteY6" fmla="*/ 142304 h 158305"/>
                  <a:gd name="connsiteX7" fmla="*/ 46482 w 98298"/>
                  <a:gd name="connsiteY7" fmla="*/ 151447 h 158305"/>
                  <a:gd name="connsiteX8" fmla="*/ 56959 w 98298"/>
                  <a:gd name="connsiteY8" fmla="*/ 158305 h 158305"/>
                  <a:gd name="connsiteX9" fmla="*/ 70485 w 98298"/>
                  <a:gd name="connsiteY9" fmla="*/ 150876 h 158305"/>
                  <a:gd name="connsiteX10" fmla="*/ 80010 w 98298"/>
                  <a:gd name="connsiteY10" fmla="*/ 155258 h 158305"/>
                  <a:gd name="connsiteX11" fmla="*/ 97441 w 98298"/>
                  <a:gd name="connsiteY11" fmla="*/ 135350 h 158305"/>
                  <a:gd name="connsiteX12" fmla="*/ 98298 w 98298"/>
                  <a:gd name="connsiteY12" fmla="*/ 130207 h 158305"/>
                  <a:gd name="connsiteX13" fmla="*/ 74200 w 98298"/>
                  <a:gd name="connsiteY13" fmla="*/ 132397 h 158305"/>
                  <a:gd name="connsiteX14" fmla="*/ 57436 w 98298"/>
                  <a:gd name="connsiteY14" fmla="*/ 122777 h 158305"/>
                  <a:gd name="connsiteX15" fmla="*/ 45149 w 98298"/>
                  <a:gd name="connsiteY15" fmla="*/ 100965 h 158305"/>
                  <a:gd name="connsiteX16" fmla="*/ 31242 w 98298"/>
                  <a:gd name="connsiteY16" fmla="*/ 80200 h 158305"/>
                  <a:gd name="connsiteX17" fmla="*/ 21717 w 98298"/>
                  <a:gd name="connsiteY17" fmla="*/ 51816 h 158305"/>
                  <a:gd name="connsiteX18" fmla="*/ 20193 w 98298"/>
                  <a:gd name="connsiteY18" fmla="*/ 30099 h 158305"/>
                  <a:gd name="connsiteX19" fmla="*/ 17812 w 98298"/>
                  <a:gd name="connsiteY19" fmla="*/ 6287 h 158305"/>
                  <a:gd name="connsiteX20" fmla="*/ 12287 w 98298"/>
                  <a:gd name="connsiteY20" fmla="*/ 0 h 158305"/>
                  <a:gd name="connsiteX21" fmla="*/ 2191 w 98298"/>
                  <a:gd name="connsiteY21" fmla="*/ 191 h 158305"/>
                  <a:gd name="connsiteX22" fmla="*/ 857 w 98298"/>
                  <a:gd name="connsiteY22" fmla="*/ 11335 h 158305"/>
                  <a:gd name="connsiteX23" fmla="*/ 4858 w 98298"/>
                  <a:gd name="connsiteY23" fmla="*/ 23717 h 158305"/>
                  <a:gd name="connsiteX24" fmla="*/ 0 w 98298"/>
                  <a:gd name="connsiteY24" fmla="*/ 42767 h 158305"/>
                  <a:gd name="connsiteX25" fmla="*/ 3143 w 98298"/>
                  <a:gd name="connsiteY25" fmla="*/ 67342 h 1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298" h="158305">
                    <a:moveTo>
                      <a:pt x="3143" y="67342"/>
                    </a:moveTo>
                    <a:lnTo>
                      <a:pt x="6001" y="85725"/>
                    </a:lnTo>
                    <a:lnTo>
                      <a:pt x="15812" y="90297"/>
                    </a:lnTo>
                    <a:lnTo>
                      <a:pt x="23432" y="115157"/>
                    </a:lnTo>
                    <a:lnTo>
                      <a:pt x="29432" y="111728"/>
                    </a:lnTo>
                    <a:lnTo>
                      <a:pt x="37148" y="134779"/>
                    </a:lnTo>
                    <a:lnTo>
                      <a:pt x="47339" y="142304"/>
                    </a:lnTo>
                    <a:lnTo>
                      <a:pt x="46482" y="151447"/>
                    </a:lnTo>
                    <a:lnTo>
                      <a:pt x="56959" y="158305"/>
                    </a:lnTo>
                    <a:lnTo>
                      <a:pt x="70485" y="150876"/>
                    </a:lnTo>
                    <a:lnTo>
                      <a:pt x="80010" y="155258"/>
                    </a:lnTo>
                    <a:lnTo>
                      <a:pt x="97441" y="135350"/>
                    </a:lnTo>
                    <a:lnTo>
                      <a:pt x="98298" y="130207"/>
                    </a:lnTo>
                    <a:lnTo>
                      <a:pt x="74200" y="132397"/>
                    </a:lnTo>
                    <a:lnTo>
                      <a:pt x="57436" y="122777"/>
                    </a:lnTo>
                    <a:lnTo>
                      <a:pt x="45149" y="100965"/>
                    </a:lnTo>
                    <a:lnTo>
                      <a:pt x="31242" y="80200"/>
                    </a:lnTo>
                    <a:lnTo>
                      <a:pt x="21717" y="51816"/>
                    </a:lnTo>
                    <a:lnTo>
                      <a:pt x="20193" y="30099"/>
                    </a:lnTo>
                    <a:lnTo>
                      <a:pt x="17812" y="6287"/>
                    </a:lnTo>
                    <a:lnTo>
                      <a:pt x="12287" y="0"/>
                    </a:lnTo>
                    <a:lnTo>
                      <a:pt x="2191" y="191"/>
                    </a:lnTo>
                    <a:lnTo>
                      <a:pt x="857" y="11335"/>
                    </a:lnTo>
                    <a:lnTo>
                      <a:pt x="4858" y="23717"/>
                    </a:lnTo>
                    <a:lnTo>
                      <a:pt x="0" y="42767"/>
                    </a:lnTo>
                    <a:lnTo>
                      <a:pt x="3143" y="6734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37" name="Freeform: Shape 336">
                <a:extLst>
                  <a:ext uri="{FF2B5EF4-FFF2-40B4-BE49-F238E27FC236}">
                    <a16:creationId xmlns:a16="http://schemas.microsoft.com/office/drawing/2014/main" id="{9B226898-2854-4A3E-B7BE-DE658AFEE387}"/>
                  </a:ext>
                </a:extLst>
              </p:cNvPr>
              <p:cNvSpPr/>
              <p:nvPr/>
            </p:nvSpPr>
            <p:spPr>
              <a:xfrm>
                <a:off x="13958778" y="3728196"/>
                <a:ext cx="29051" cy="17906"/>
              </a:xfrm>
              <a:custGeom>
                <a:avLst/>
                <a:gdLst>
                  <a:gd name="connsiteX0" fmla="*/ 18002 w 29051"/>
                  <a:gd name="connsiteY0" fmla="*/ 17907 h 17906"/>
                  <a:gd name="connsiteX1" fmla="*/ 18955 w 29051"/>
                  <a:gd name="connsiteY1" fmla="*/ 16859 h 17906"/>
                  <a:gd name="connsiteX2" fmla="*/ 29051 w 29051"/>
                  <a:gd name="connsiteY2" fmla="*/ 7429 h 17906"/>
                  <a:gd name="connsiteX3" fmla="*/ 27718 w 29051"/>
                  <a:gd name="connsiteY3" fmla="*/ 0 h 17906"/>
                  <a:gd name="connsiteX4" fmla="*/ 18955 w 29051"/>
                  <a:gd name="connsiteY4" fmla="*/ 1143 h 17906"/>
                  <a:gd name="connsiteX5" fmla="*/ 8572 w 29051"/>
                  <a:gd name="connsiteY5" fmla="*/ 2667 h 17906"/>
                  <a:gd name="connsiteX6" fmla="*/ 571 w 29051"/>
                  <a:gd name="connsiteY6" fmla="*/ 8382 h 17906"/>
                  <a:gd name="connsiteX7" fmla="*/ 0 w 29051"/>
                  <a:gd name="connsiteY7" fmla="*/ 11620 h 17906"/>
                  <a:gd name="connsiteX8" fmla="*/ 11430 w 29051"/>
                  <a:gd name="connsiteY8" fmla="*/ 17907 h 17906"/>
                  <a:gd name="connsiteX9" fmla="*/ 18002 w 29051"/>
                  <a:gd name="connsiteY9" fmla="*/ 17907 h 1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51" h="17906">
                    <a:moveTo>
                      <a:pt x="18002" y="17907"/>
                    </a:moveTo>
                    <a:lnTo>
                      <a:pt x="18955" y="16859"/>
                    </a:lnTo>
                    <a:lnTo>
                      <a:pt x="29051" y="7429"/>
                    </a:lnTo>
                    <a:lnTo>
                      <a:pt x="27718" y="0"/>
                    </a:lnTo>
                    <a:lnTo>
                      <a:pt x="18955" y="1143"/>
                    </a:lnTo>
                    <a:lnTo>
                      <a:pt x="8572" y="2667"/>
                    </a:lnTo>
                    <a:lnTo>
                      <a:pt x="571" y="8382"/>
                    </a:lnTo>
                    <a:lnTo>
                      <a:pt x="0" y="11620"/>
                    </a:lnTo>
                    <a:lnTo>
                      <a:pt x="11430" y="17907"/>
                    </a:lnTo>
                    <a:lnTo>
                      <a:pt x="18002" y="1790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38" name="Freeform: Shape 337">
                <a:extLst>
                  <a:ext uri="{FF2B5EF4-FFF2-40B4-BE49-F238E27FC236}">
                    <a16:creationId xmlns:a16="http://schemas.microsoft.com/office/drawing/2014/main" id="{F6876592-2813-4D3B-97A3-36D427896CF4}"/>
                  </a:ext>
                </a:extLst>
              </p:cNvPr>
              <p:cNvSpPr/>
              <p:nvPr/>
            </p:nvSpPr>
            <p:spPr>
              <a:xfrm>
                <a:off x="14230145" y="4114244"/>
                <a:ext cx="35814" cy="25622"/>
              </a:xfrm>
              <a:custGeom>
                <a:avLst/>
                <a:gdLst>
                  <a:gd name="connsiteX0" fmla="*/ 20860 w 35814"/>
                  <a:gd name="connsiteY0" fmla="*/ 0 h 25622"/>
                  <a:gd name="connsiteX1" fmla="*/ 11144 w 35814"/>
                  <a:gd name="connsiteY1" fmla="*/ 1143 h 25622"/>
                  <a:gd name="connsiteX2" fmla="*/ 762 w 35814"/>
                  <a:gd name="connsiteY2" fmla="*/ 15812 h 25622"/>
                  <a:gd name="connsiteX3" fmla="*/ 0 w 35814"/>
                  <a:gd name="connsiteY3" fmla="*/ 19526 h 25622"/>
                  <a:gd name="connsiteX4" fmla="*/ 3429 w 35814"/>
                  <a:gd name="connsiteY4" fmla="*/ 22574 h 25622"/>
                  <a:gd name="connsiteX5" fmla="*/ 35814 w 35814"/>
                  <a:gd name="connsiteY5" fmla="*/ 25622 h 25622"/>
                  <a:gd name="connsiteX6" fmla="*/ 20860 w 35814"/>
                  <a:gd name="connsiteY6" fmla="*/ 0 h 2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14" h="25622">
                    <a:moveTo>
                      <a:pt x="20860" y="0"/>
                    </a:moveTo>
                    <a:lnTo>
                      <a:pt x="11144" y="1143"/>
                    </a:lnTo>
                    <a:lnTo>
                      <a:pt x="762" y="15812"/>
                    </a:lnTo>
                    <a:lnTo>
                      <a:pt x="0" y="19526"/>
                    </a:lnTo>
                    <a:lnTo>
                      <a:pt x="3429" y="22574"/>
                    </a:lnTo>
                    <a:lnTo>
                      <a:pt x="35814" y="25622"/>
                    </a:lnTo>
                    <a:lnTo>
                      <a:pt x="20860"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39" name="Freeform: Shape 338">
                <a:extLst>
                  <a:ext uri="{FF2B5EF4-FFF2-40B4-BE49-F238E27FC236}">
                    <a16:creationId xmlns:a16="http://schemas.microsoft.com/office/drawing/2014/main" id="{40D15AF0-230A-47E5-B810-2063917B0C60}"/>
                  </a:ext>
                </a:extLst>
              </p:cNvPr>
              <p:cNvSpPr/>
              <p:nvPr/>
            </p:nvSpPr>
            <p:spPr>
              <a:xfrm>
                <a:off x="14188997" y="4141295"/>
                <a:ext cx="58483" cy="41719"/>
              </a:xfrm>
              <a:custGeom>
                <a:avLst/>
                <a:gdLst>
                  <a:gd name="connsiteX0" fmla="*/ 11144 w 58483"/>
                  <a:gd name="connsiteY0" fmla="*/ 15716 h 41719"/>
                  <a:gd name="connsiteX1" fmla="*/ 0 w 58483"/>
                  <a:gd name="connsiteY1" fmla="*/ 24479 h 41719"/>
                  <a:gd name="connsiteX2" fmla="*/ 6096 w 58483"/>
                  <a:gd name="connsiteY2" fmla="*/ 32195 h 41719"/>
                  <a:gd name="connsiteX3" fmla="*/ 22955 w 58483"/>
                  <a:gd name="connsiteY3" fmla="*/ 41720 h 41719"/>
                  <a:gd name="connsiteX4" fmla="*/ 27527 w 58483"/>
                  <a:gd name="connsiteY4" fmla="*/ 35909 h 41719"/>
                  <a:gd name="connsiteX5" fmla="*/ 44577 w 58483"/>
                  <a:gd name="connsiteY5" fmla="*/ 31718 h 41719"/>
                  <a:gd name="connsiteX6" fmla="*/ 53150 w 58483"/>
                  <a:gd name="connsiteY6" fmla="*/ 23527 h 41719"/>
                  <a:gd name="connsiteX7" fmla="*/ 58483 w 58483"/>
                  <a:gd name="connsiteY7" fmla="*/ 9716 h 41719"/>
                  <a:gd name="connsiteX8" fmla="*/ 54007 w 58483"/>
                  <a:gd name="connsiteY8" fmla="*/ 0 h 41719"/>
                  <a:gd name="connsiteX9" fmla="*/ 32575 w 58483"/>
                  <a:gd name="connsiteY9" fmla="*/ 2667 h 41719"/>
                  <a:gd name="connsiteX10" fmla="*/ 11144 w 58483"/>
                  <a:gd name="connsiteY10" fmla="*/ 15716 h 4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483" h="41719">
                    <a:moveTo>
                      <a:pt x="11144" y="15716"/>
                    </a:moveTo>
                    <a:lnTo>
                      <a:pt x="0" y="24479"/>
                    </a:lnTo>
                    <a:lnTo>
                      <a:pt x="6096" y="32195"/>
                    </a:lnTo>
                    <a:lnTo>
                      <a:pt x="22955" y="41720"/>
                    </a:lnTo>
                    <a:lnTo>
                      <a:pt x="27527" y="35909"/>
                    </a:lnTo>
                    <a:lnTo>
                      <a:pt x="44577" y="31718"/>
                    </a:lnTo>
                    <a:lnTo>
                      <a:pt x="53150" y="23527"/>
                    </a:lnTo>
                    <a:lnTo>
                      <a:pt x="58483" y="9716"/>
                    </a:lnTo>
                    <a:lnTo>
                      <a:pt x="54007" y="0"/>
                    </a:lnTo>
                    <a:lnTo>
                      <a:pt x="32575" y="2667"/>
                    </a:lnTo>
                    <a:lnTo>
                      <a:pt x="11144" y="1571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40" name="Freeform: Shape 339">
                <a:extLst>
                  <a:ext uri="{FF2B5EF4-FFF2-40B4-BE49-F238E27FC236}">
                    <a16:creationId xmlns:a16="http://schemas.microsoft.com/office/drawing/2014/main" id="{A2EAC0D0-7CDC-4CC0-A8AF-A4E905A732CF}"/>
                  </a:ext>
                </a:extLst>
              </p:cNvPr>
              <p:cNvSpPr/>
              <p:nvPr/>
            </p:nvSpPr>
            <p:spPr>
              <a:xfrm>
                <a:off x="14138705" y="4328175"/>
                <a:ext cx="18192" cy="23050"/>
              </a:xfrm>
              <a:custGeom>
                <a:avLst/>
                <a:gdLst>
                  <a:gd name="connsiteX0" fmla="*/ 2286 w 18192"/>
                  <a:gd name="connsiteY0" fmla="*/ 12954 h 23050"/>
                  <a:gd name="connsiteX1" fmla="*/ 0 w 18192"/>
                  <a:gd name="connsiteY1" fmla="*/ 21527 h 23050"/>
                  <a:gd name="connsiteX2" fmla="*/ 6763 w 18192"/>
                  <a:gd name="connsiteY2" fmla="*/ 15621 h 23050"/>
                  <a:gd name="connsiteX3" fmla="*/ 10573 w 18192"/>
                  <a:gd name="connsiteY3" fmla="*/ 22479 h 23050"/>
                  <a:gd name="connsiteX4" fmla="*/ 17812 w 18192"/>
                  <a:gd name="connsiteY4" fmla="*/ 23051 h 23050"/>
                  <a:gd name="connsiteX5" fmla="*/ 18193 w 18192"/>
                  <a:gd name="connsiteY5" fmla="*/ 16669 h 23050"/>
                  <a:gd name="connsiteX6" fmla="*/ 15621 w 18192"/>
                  <a:gd name="connsiteY6" fmla="*/ 13716 h 23050"/>
                  <a:gd name="connsiteX7" fmla="*/ 16574 w 18192"/>
                  <a:gd name="connsiteY7" fmla="*/ 9716 h 23050"/>
                  <a:gd name="connsiteX8" fmla="*/ 17621 w 18192"/>
                  <a:gd name="connsiteY8" fmla="*/ 3524 h 23050"/>
                  <a:gd name="connsiteX9" fmla="*/ 15716 w 18192"/>
                  <a:gd name="connsiteY9" fmla="*/ 0 h 23050"/>
                  <a:gd name="connsiteX10" fmla="*/ 8001 w 18192"/>
                  <a:gd name="connsiteY10" fmla="*/ 1143 h 23050"/>
                  <a:gd name="connsiteX11" fmla="*/ 8572 w 18192"/>
                  <a:gd name="connsiteY11" fmla="*/ 6572 h 23050"/>
                  <a:gd name="connsiteX12" fmla="*/ 11430 w 18192"/>
                  <a:gd name="connsiteY12" fmla="*/ 12002 h 23050"/>
                  <a:gd name="connsiteX13" fmla="*/ 6001 w 18192"/>
                  <a:gd name="connsiteY13" fmla="*/ 8382 h 23050"/>
                  <a:gd name="connsiteX14" fmla="*/ 2286 w 18192"/>
                  <a:gd name="connsiteY14" fmla="*/ 12954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192" h="23050">
                    <a:moveTo>
                      <a:pt x="2286" y="12954"/>
                    </a:moveTo>
                    <a:lnTo>
                      <a:pt x="0" y="21527"/>
                    </a:lnTo>
                    <a:lnTo>
                      <a:pt x="6763" y="15621"/>
                    </a:lnTo>
                    <a:lnTo>
                      <a:pt x="10573" y="22479"/>
                    </a:lnTo>
                    <a:lnTo>
                      <a:pt x="17812" y="23051"/>
                    </a:lnTo>
                    <a:lnTo>
                      <a:pt x="18193" y="16669"/>
                    </a:lnTo>
                    <a:lnTo>
                      <a:pt x="15621" y="13716"/>
                    </a:lnTo>
                    <a:lnTo>
                      <a:pt x="16574" y="9716"/>
                    </a:lnTo>
                    <a:lnTo>
                      <a:pt x="17621" y="3524"/>
                    </a:lnTo>
                    <a:lnTo>
                      <a:pt x="15716" y="0"/>
                    </a:lnTo>
                    <a:lnTo>
                      <a:pt x="8001" y="1143"/>
                    </a:lnTo>
                    <a:lnTo>
                      <a:pt x="8572" y="6572"/>
                    </a:lnTo>
                    <a:lnTo>
                      <a:pt x="11430" y="12002"/>
                    </a:lnTo>
                    <a:lnTo>
                      <a:pt x="6001" y="8382"/>
                    </a:lnTo>
                    <a:lnTo>
                      <a:pt x="2286" y="1295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41" name="Freeform: Shape 340">
                <a:extLst>
                  <a:ext uri="{FF2B5EF4-FFF2-40B4-BE49-F238E27FC236}">
                    <a16:creationId xmlns:a16="http://schemas.microsoft.com/office/drawing/2014/main" id="{50F7DFA5-2F82-460D-AB09-68C964D7B42C}"/>
                  </a:ext>
                </a:extLst>
              </p:cNvPr>
              <p:cNvSpPr/>
              <p:nvPr/>
            </p:nvSpPr>
            <p:spPr>
              <a:xfrm>
                <a:off x="14153469" y="3869832"/>
                <a:ext cx="23431" cy="26860"/>
              </a:xfrm>
              <a:custGeom>
                <a:avLst/>
                <a:gdLst>
                  <a:gd name="connsiteX0" fmla="*/ 18002 w 23431"/>
                  <a:gd name="connsiteY0" fmla="*/ 26860 h 26860"/>
                  <a:gd name="connsiteX1" fmla="*/ 23431 w 23431"/>
                  <a:gd name="connsiteY1" fmla="*/ 21336 h 26860"/>
                  <a:gd name="connsiteX2" fmla="*/ 18669 w 23431"/>
                  <a:gd name="connsiteY2" fmla="*/ 7144 h 26860"/>
                  <a:gd name="connsiteX3" fmla="*/ 10954 w 23431"/>
                  <a:gd name="connsiteY3" fmla="*/ 0 h 26860"/>
                  <a:gd name="connsiteX4" fmla="*/ 0 w 23431"/>
                  <a:gd name="connsiteY4" fmla="*/ 4477 h 26860"/>
                  <a:gd name="connsiteX5" fmla="*/ 10287 w 23431"/>
                  <a:gd name="connsiteY5" fmla="*/ 17621 h 26860"/>
                  <a:gd name="connsiteX6" fmla="*/ 18002 w 23431"/>
                  <a:gd name="connsiteY6" fmla="*/ 26860 h 2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31" h="26860">
                    <a:moveTo>
                      <a:pt x="18002" y="26860"/>
                    </a:moveTo>
                    <a:lnTo>
                      <a:pt x="23431" y="21336"/>
                    </a:lnTo>
                    <a:lnTo>
                      <a:pt x="18669" y="7144"/>
                    </a:lnTo>
                    <a:lnTo>
                      <a:pt x="10954" y="0"/>
                    </a:lnTo>
                    <a:lnTo>
                      <a:pt x="0" y="4477"/>
                    </a:lnTo>
                    <a:lnTo>
                      <a:pt x="10287" y="17621"/>
                    </a:lnTo>
                    <a:lnTo>
                      <a:pt x="18002" y="2686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42" name="Freeform: Shape 341">
                <a:extLst>
                  <a:ext uri="{FF2B5EF4-FFF2-40B4-BE49-F238E27FC236}">
                    <a16:creationId xmlns:a16="http://schemas.microsoft.com/office/drawing/2014/main" id="{E44A1C72-2949-4341-8B2F-CFC6B77EFA56}"/>
                  </a:ext>
                </a:extLst>
              </p:cNvPr>
              <p:cNvSpPr/>
              <p:nvPr/>
            </p:nvSpPr>
            <p:spPr>
              <a:xfrm>
                <a:off x="14214048" y="3863165"/>
                <a:ext cx="21335" cy="22097"/>
              </a:xfrm>
              <a:custGeom>
                <a:avLst/>
                <a:gdLst>
                  <a:gd name="connsiteX0" fmla="*/ 11621 w 21335"/>
                  <a:gd name="connsiteY0" fmla="*/ 6286 h 22097"/>
                  <a:gd name="connsiteX1" fmla="*/ 2953 w 21335"/>
                  <a:gd name="connsiteY1" fmla="*/ 0 h 22097"/>
                  <a:gd name="connsiteX2" fmla="*/ 0 w 21335"/>
                  <a:gd name="connsiteY2" fmla="*/ 5429 h 22097"/>
                  <a:gd name="connsiteX3" fmla="*/ 2381 w 21335"/>
                  <a:gd name="connsiteY3" fmla="*/ 18478 h 22097"/>
                  <a:gd name="connsiteX4" fmla="*/ 10382 w 21335"/>
                  <a:gd name="connsiteY4" fmla="*/ 22098 h 22097"/>
                  <a:gd name="connsiteX5" fmla="*/ 21336 w 21335"/>
                  <a:gd name="connsiteY5" fmla="*/ 19145 h 22097"/>
                  <a:gd name="connsiteX6" fmla="*/ 21146 w 21335"/>
                  <a:gd name="connsiteY6" fmla="*/ 17431 h 22097"/>
                  <a:gd name="connsiteX7" fmla="*/ 11621 w 21335"/>
                  <a:gd name="connsiteY7" fmla="*/ 6286 h 2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35" h="22097">
                    <a:moveTo>
                      <a:pt x="11621" y="6286"/>
                    </a:moveTo>
                    <a:lnTo>
                      <a:pt x="2953" y="0"/>
                    </a:lnTo>
                    <a:lnTo>
                      <a:pt x="0" y="5429"/>
                    </a:lnTo>
                    <a:lnTo>
                      <a:pt x="2381" y="18478"/>
                    </a:lnTo>
                    <a:lnTo>
                      <a:pt x="10382" y="22098"/>
                    </a:lnTo>
                    <a:lnTo>
                      <a:pt x="21336" y="19145"/>
                    </a:lnTo>
                    <a:lnTo>
                      <a:pt x="21146" y="17431"/>
                    </a:lnTo>
                    <a:lnTo>
                      <a:pt x="11621" y="628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43" name="Freeform: Shape 342">
                <a:extLst>
                  <a:ext uri="{FF2B5EF4-FFF2-40B4-BE49-F238E27FC236}">
                    <a16:creationId xmlns:a16="http://schemas.microsoft.com/office/drawing/2014/main" id="{41AF35F7-93AE-4281-92B9-95CBDF822550}"/>
                  </a:ext>
                </a:extLst>
              </p:cNvPr>
              <p:cNvSpPr/>
              <p:nvPr/>
            </p:nvSpPr>
            <p:spPr>
              <a:xfrm>
                <a:off x="14176996" y="3890883"/>
                <a:ext cx="44005" cy="46958"/>
              </a:xfrm>
              <a:custGeom>
                <a:avLst/>
                <a:gdLst>
                  <a:gd name="connsiteX0" fmla="*/ 14097 w 44005"/>
                  <a:gd name="connsiteY0" fmla="*/ 0 h 46958"/>
                  <a:gd name="connsiteX1" fmla="*/ 0 w 44005"/>
                  <a:gd name="connsiteY1" fmla="*/ 11430 h 46958"/>
                  <a:gd name="connsiteX2" fmla="*/ 9811 w 44005"/>
                  <a:gd name="connsiteY2" fmla="*/ 34385 h 46958"/>
                  <a:gd name="connsiteX3" fmla="*/ 20955 w 44005"/>
                  <a:gd name="connsiteY3" fmla="*/ 45053 h 46958"/>
                  <a:gd name="connsiteX4" fmla="*/ 29718 w 44005"/>
                  <a:gd name="connsiteY4" fmla="*/ 46958 h 46958"/>
                  <a:gd name="connsiteX5" fmla="*/ 43148 w 44005"/>
                  <a:gd name="connsiteY5" fmla="*/ 37243 h 46958"/>
                  <a:gd name="connsiteX6" fmla="*/ 44005 w 44005"/>
                  <a:gd name="connsiteY6" fmla="*/ 17431 h 46958"/>
                  <a:gd name="connsiteX7" fmla="*/ 32385 w 44005"/>
                  <a:gd name="connsiteY7" fmla="*/ 14859 h 46958"/>
                  <a:gd name="connsiteX8" fmla="*/ 14097 w 44005"/>
                  <a:gd name="connsiteY8" fmla="*/ 0 h 4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005" h="46958">
                    <a:moveTo>
                      <a:pt x="14097" y="0"/>
                    </a:moveTo>
                    <a:lnTo>
                      <a:pt x="0" y="11430"/>
                    </a:lnTo>
                    <a:lnTo>
                      <a:pt x="9811" y="34385"/>
                    </a:lnTo>
                    <a:lnTo>
                      <a:pt x="20955" y="45053"/>
                    </a:lnTo>
                    <a:lnTo>
                      <a:pt x="29718" y="46958"/>
                    </a:lnTo>
                    <a:lnTo>
                      <a:pt x="43148" y="37243"/>
                    </a:lnTo>
                    <a:lnTo>
                      <a:pt x="44005" y="17431"/>
                    </a:lnTo>
                    <a:lnTo>
                      <a:pt x="32385" y="14859"/>
                    </a:lnTo>
                    <a:lnTo>
                      <a:pt x="14097"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44" name="Freeform: Shape 343">
                <a:extLst>
                  <a:ext uri="{FF2B5EF4-FFF2-40B4-BE49-F238E27FC236}">
                    <a16:creationId xmlns:a16="http://schemas.microsoft.com/office/drawing/2014/main" id="{4A6B3BA8-0B2A-47C3-B32E-494C589AB234}"/>
                  </a:ext>
                </a:extLst>
              </p:cNvPr>
              <p:cNvSpPr/>
              <p:nvPr/>
            </p:nvSpPr>
            <p:spPr>
              <a:xfrm>
                <a:off x="12764438" y="4834239"/>
                <a:ext cx="15049" cy="21431"/>
              </a:xfrm>
              <a:custGeom>
                <a:avLst/>
                <a:gdLst>
                  <a:gd name="connsiteX0" fmla="*/ 1715 w 15049"/>
                  <a:gd name="connsiteY0" fmla="*/ 4000 h 21431"/>
                  <a:gd name="connsiteX1" fmla="*/ 11716 w 15049"/>
                  <a:gd name="connsiteY1" fmla="*/ 21431 h 21431"/>
                  <a:gd name="connsiteX2" fmla="*/ 15049 w 15049"/>
                  <a:gd name="connsiteY2" fmla="*/ 20574 h 21431"/>
                  <a:gd name="connsiteX3" fmla="*/ 12764 w 15049"/>
                  <a:gd name="connsiteY3" fmla="*/ 16097 h 21431"/>
                  <a:gd name="connsiteX4" fmla="*/ 5715 w 15049"/>
                  <a:gd name="connsiteY4" fmla="*/ 4382 h 21431"/>
                  <a:gd name="connsiteX5" fmla="*/ 4382 w 15049"/>
                  <a:gd name="connsiteY5" fmla="*/ 5620 h 21431"/>
                  <a:gd name="connsiteX6" fmla="*/ 0 w 15049"/>
                  <a:gd name="connsiteY6" fmla="*/ 0 h 21431"/>
                  <a:gd name="connsiteX7" fmla="*/ 1715 w 15049"/>
                  <a:gd name="connsiteY7" fmla="*/ 4000 h 2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49" h="21431">
                    <a:moveTo>
                      <a:pt x="1715" y="4000"/>
                    </a:moveTo>
                    <a:lnTo>
                      <a:pt x="11716" y="21431"/>
                    </a:lnTo>
                    <a:lnTo>
                      <a:pt x="15049" y="20574"/>
                    </a:lnTo>
                    <a:lnTo>
                      <a:pt x="12764" y="16097"/>
                    </a:lnTo>
                    <a:lnTo>
                      <a:pt x="5715" y="4382"/>
                    </a:lnTo>
                    <a:lnTo>
                      <a:pt x="4382" y="5620"/>
                    </a:lnTo>
                    <a:lnTo>
                      <a:pt x="0" y="0"/>
                    </a:lnTo>
                    <a:lnTo>
                      <a:pt x="1715" y="400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45" name="Freeform: Shape 344">
                <a:extLst>
                  <a:ext uri="{FF2B5EF4-FFF2-40B4-BE49-F238E27FC236}">
                    <a16:creationId xmlns:a16="http://schemas.microsoft.com/office/drawing/2014/main" id="{589CA2D8-330B-40D4-985B-591FD5C3220C}"/>
                  </a:ext>
                </a:extLst>
              </p:cNvPr>
              <p:cNvSpPr/>
              <p:nvPr/>
            </p:nvSpPr>
            <p:spPr>
              <a:xfrm>
                <a:off x="15051581" y="3518074"/>
                <a:ext cx="39052" cy="27717"/>
              </a:xfrm>
              <a:custGeom>
                <a:avLst/>
                <a:gdLst>
                  <a:gd name="connsiteX0" fmla="*/ 18478 w 39052"/>
                  <a:gd name="connsiteY0" fmla="*/ 21336 h 27717"/>
                  <a:gd name="connsiteX1" fmla="*/ 33433 w 39052"/>
                  <a:gd name="connsiteY1" fmla="*/ 27718 h 27717"/>
                  <a:gd name="connsiteX2" fmla="*/ 38386 w 39052"/>
                  <a:gd name="connsiteY2" fmla="*/ 21908 h 27717"/>
                  <a:gd name="connsiteX3" fmla="*/ 39052 w 39052"/>
                  <a:gd name="connsiteY3" fmla="*/ 7715 h 27717"/>
                  <a:gd name="connsiteX4" fmla="*/ 27622 w 39052"/>
                  <a:gd name="connsiteY4" fmla="*/ 3334 h 27717"/>
                  <a:gd name="connsiteX5" fmla="*/ 7239 w 39052"/>
                  <a:gd name="connsiteY5" fmla="*/ 0 h 27717"/>
                  <a:gd name="connsiteX6" fmla="*/ 0 w 39052"/>
                  <a:gd name="connsiteY6" fmla="*/ 0 h 27717"/>
                  <a:gd name="connsiteX7" fmla="*/ 2667 w 39052"/>
                  <a:gd name="connsiteY7" fmla="*/ 10192 h 27717"/>
                  <a:gd name="connsiteX8" fmla="*/ 18478 w 39052"/>
                  <a:gd name="connsiteY8" fmla="*/ 21336 h 2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52" h="27717">
                    <a:moveTo>
                      <a:pt x="18478" y="21336"/>
                    </a:moveTo>
                    <a:lnTo>
                      <a:pt x="33433" y="27718"/>
                    </a:lnTo>
                    <a:lnTo>
                      <a:pt x="38386" y="21908"/>
                    </a:lnTo>
                    <a:lnTo>
                      <a:pt x="39052" y="7715"/>
                    </a:lnTo>
                    <a:lnTo>
                      <a:pt x="27622" y="3334"/>
                    </a:lnTo>
                    <a:lnTo>
                      <a:pt x="7239" y="0"/>
                    </a:lnTo>
                    <a:lnTo>
                      <a:pt x="0" y="0"/>
                    </a:lnTo>
                    <a:lnTo>
                      <a:pt x="2667" y="10192"/>
                    </a:lnTo>
                    <a:lnTo>
                      <a:pt x="18478" y="2133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46" name="Freeform: Shape 345">
                <a:extLst>
                  <a:ext uri="{FF2B5EF4-FFF2-40B4-BE49-F238E27FC236}">
                    <a16:creationId xmlns:a16="http://schemas.microsoft.com/office/drawing/2014/main" id="{116D7719-2CCD-4F23-B784-9336F2FAD753}"/>
                  </a:ext>
                </a:extLst>
              </p:cNvPr>
              <p:cNvSpPr/>
              <p:nvPr/>
            </p:nvSpPr>
            <p:spPr>
              <a:xfrm>
                <a:off x="14851556" y="5274675"/>
                <a:ext cx="2857" cy="2286"/>
              </a:xfrm>
              <a:custGeom>
                <a:avLst/>
                <a:gdLst>
                  <a:gd name="connsiteX0" fmla="*/ 1143 w 2857"/>
                  <a:gd name="connsiteY0" fmla="*/ 1334 h 2286"/>
                  <a:gd name="connsiteX1" fmla="*/ 2858 w 2857"/>
                  <a:gd name="connsiteY1" fmla="*/ 0 h 2286"/>
                  <a:gd name="connsiteX2" fmla="*/ 0 w 2857"/>
                  <a:gd name="connsiteY2" fmla="*/ 2286 h 2286"/>
                  <a:gd name="connsiteX3" fmla="*/ 1143 w 2857"/>
                  <a:gd name="connsiteY3" fmla="*/ 1334 h 2286"/>
                </a:gdLst>
                <a:ahLst/>
                <a:cxnLst>
                  <a:cxn ang="0">
                    <a:pos x="connsiteX0" y="connsiteY0"/>
                  </a:cxn>
                  <a:cxn ang="0">
                    <a:pos x="connsiteX1" y="connsiteY1"/>
                  </a:cxn>
                  <a:cxn ang="0">
                    <a:pos x="connsiteX2" y="connsiteY2"/>
                  </a:cxn>
                  <a:cxn ang="0">
                    <a:pos x="connsiteX3" y="connsiteY3"/>
                  </a:cxn>
                </a:cxnLst>
                <a:rect l="l" t="t" r="r" b="b"/>
                <a:pathLst>
                  <a:path w="2857" h="2286">
                    <a:moveTo>
                      <a:pt x="1143" y="1334"/>
                    </a:moveTo>
                    <a:lnTo>
                      <a:pt x="2858" y="0"/>
                    </a:lnTo>
                    <a:lnTo>
                      <a:pt x="0" y="2286"/>
                    </a:lnTo>
                    <a:lnTo>
                      <a:pt x="1143" y="133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47" name="Freeform: Shape 346">
                <a:extLst>
                  <a:ext uri="{FF2B5EF4-FFF2-40B4-BE49-F238E27FC236}">
                    <a16:creationId xmlns:a16="http://schemas.microsoft.com/office/drawing/2014/main" id="{8448E26E-89F9-4F13-808C-46AA1DF8D327}"/>
                  </a:ext>
                </a:extLst>
              </p:cNvPr>
              <p:cNvSpPr/>
              <p:nvPr/>
            </p:nvSpPr>
            <p:spPr>
              <a:xfrm>
                <a:off x="13417472" y="2982674"/>
                <a:ext cx="27050" cy="14287"/>
              </a:xfrm>
              <a:custGeom>
                <a:avLst/>
                <a:gdLst>
                  <a:gd name="connsiteX0" fmla="*/ 10382 w 27050"/>
                  <a:gd name="connsiteY0" fmla="*/ 13716 h 14287"/>
                  <a:gd name="connsiteX1" fmla="*/ 14383 w 27050"/>
                  <a:gd name="connsiteY1" fmla="*/ 12668 h 14287"/>
                  <a:gd name="connsiteX2" fmla="*/ 22955 w 27050"/>
                  <a:gd name="connsiteY2" fmla="*/ 10287 h 14287"/>
                  <a:gd name="connsiteX3" fmla="*/ 24575 w 27050"/>
                  <a:gd name="connsiteY3" fmla="*/ 9811 h 14287"/>
                  <a:gd name="connsiteX4" fmla="*/ 25432 w 27050"/>
                  <a:gd name="connsiteY4" fmla="*/ 8477 h 14287"/>
                  <a:gd name="connsiteX5" fmla="*/ 23336 w 27050"/>
                  <a:gd name="connsiteY5" fmla="*/ 7620 h 14287"/>
                  <a:gd name="connsiteX6" fmla="*/ 26384 w 27050"/>
                  <a:gd name="connsiteY6" fmla="*/ 4763 h 14287"/>
                  <a:gd name="connsiteX7" fmla="*/ 27051 w 27050"/>
                  <a:gd name="connsiteY7" fmla="*/ 3524 h 14287"/>
                  <a:gd name="connsiteX8" fmla="*/ 22384 w 27050"/>
                  <a:gd name="connsiteY8" fmla="*/ 2286 h 14287"/>
                  <a:gd name="connsiteX9" fmla="*/ 22098 w 27050"/>
                  <a:gd name="connsiteY9" fmla="*/ 0 h 14287"/>
                  <a:gd name="connsiteX10" fmla="*/ 16383 w 27050"/>
                  <a:gd name="connsiteY10" fmla="*/ 1334 h 14287"/>
                  <a:gd name="connsiteX11" fmla="*/ 13906 w 27050"/>
                  <a:gd name="connsiteY11" fmla="*/ 3905 h 14287"/>
                  <a:gd name="connsiteX12" fmla="*/ 7715 w 27050"/>
                  <a:gd name="connsiteY12" fmla="*/ 8096 h 14287"/>
                  <a:gd name="connsiteX13" fmla="*/ 286 w 27050"/>
                  <a:gd name="connsiteY13" fmla="*/ 13526 h 14287"/>
                  <a:gd name="connsiteX14" fmla="*/ 0 w 27050"/>
                  <a:gd name="connsiteY14" fmla="*/ 14097 h 14287"/>
                  <a:gd name="connsiteX15" fmla="*/ 6477 w 27050"/>
                  <a:gd name="connsiteY15" fmla="*/ 14288 h 14287"/>
                  <a:gd name="connsiteX16" fmla="*/ 10382 w 27050"/>
                  <a:gd name="connsiteY16" fmla="*/ 13716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050" h="14287">
                    <a:moveTo>
                      <a:pt x="10382" y="13716"/>
                    </a:moveTo>
                    <a:lnTo>
                      <a:pt x="14383" y="12668"/>
                    </a:lnTo>
                    <a:lnTo>
                      <a:pt x="22955" y="10287"/>
                    </a:lnTo>
                    <a:lnTo>
                      <a:pt x="24575" y="9811"/>
                    </a:lnTo>
                    <a:lnTo>
                      <a:pt x="25432" y="8477"/>
                    </a:lnTo>
                    <a:lnTo>
                      <a:pt x="23336" y="7620"/>
                    </a:lnTo>
                    <a:lnTo>
                      <a:pt x="26384" y="4763"/>
                    </a:lnTo>
                    <a:lnTo>
                      <a:pt x="27051" y="3524"/>
                    </a:lnTo>
                    <a:lnTo>
                      <a:pt x="22384" y="2286"/>
                    </a:lnTo>
                    <a:lnTo>
                      <a:pt x="22098" y="0"/>
                    </a:lnTo>
                    <a:lnTo>
                      <a:pt x="16383" y="1334"/>
                    </a:lnTo>
                    <a:lnTo>
                      <a:pt x="13906" y="3905"/>
                    </a:lnTo>
                    <a:lnTo>
                      <a:pt x="7715" y="8096"/>
                    </a:lnTo>
                    <a:lnTo>
                      <a:pt x="286" y="13526"/>
                    </a:lnTo>
                    <a:lnTo>
                      <a:pt x="0" y="14097"/>
                    </a:lnTo>
                    <a:lnTo>
                      <a:pt x="6477" y="14288"/>
                    </a:lnTo>
                    <a:lnTo>
                      <a:pt x="10382" y="1371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48" name="Freeform: Shape 347">
                <a:extLst>
                  <a:ext uri="{FF2B5EF4-FFF2-40B4-BE49-F238E27FC236}">
                    <a16:creationId xmlns:a16="http://schemas.microsoft.com/office/drawing/2014/main" id="{FC7ABC74-D0A1-4FDC-A49A-88EAA9AEF9B9}"/>
                  </a:ext>
                </a:extLst>
              </p:cNvPr>
              <p:cNvSpPr/>
              <p:nvPr/>
            </p:nvSpPr>
            <p:spPr>
              <a:xfrm>
                <a:off x="13446618" y="2989437"/>
                <a:ext cx="15430" cy="5619"/>
              </a:xfrm>
              <a:custGeom>
                <a:avLst/>
                <a:gdLst>
                  <a:gd name="connsiteX0" fmla="*/ 13716 w 15430"/>
                  <a:gd name="connsiteY0" fmla="*/ 1905 h 5619"/>
                  <a:gd name="connsiteX1" fmla="*/ 15431 w 15430"/>
                  <a:gd name="connsiteY1" fmla="*/ 381 h 5619"/>
                  <a:gd name="connsiteX2" fmla="*/ 15050 w 15430"/>
                  <a:gd name="connsiteY2" fmla="*/ 0 h 5619"/>
                  <a:gd name="connsiteX3" fmla="*/ 12383 w 15430"/>
                  <a:gd name="connsiteY3" fmla="*/ 381 h 5619"/>
                  <a:gd name="connsiteX4" fmla="*/ 8001 w 15430"/>
                  <a:gd name="connsiteY4" fmla="*/ 286 h 5619"/>
                  <a:gd name="connsiteX5" fmla="*/ 1238 w 15430"/>
                  <a:gd name="connsiteY5" fmla="*/ 3905 h 5619"/>
                  <a:gd name="connsiteX6" fmla="*/ 0 w 15430"/>
                  <a:gd name="connsiteY6" fmla="*/ 5620 h 5619"/>
                  <a:gd name="connsiteX7" fmla="*/ 5906 w 15430"/>
                  <a:gd name="connsiteY7" fmla="*/ 4381 h 5619"/>
                  <a:gd name="connsiteX8" fmla="*/ 13716 w 15430"/>
                  <a:gd name="connsiteY8" fmla="*/ 1905 h 5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30" h="5619">
                    <a:moveTo>
                      <a:pt x="13716" y="1905"/>
                    </a:moveTo>
                    <a:lnTo>
                      <a:pt x="15431" y="381"/>
                    </a:lnTo>
                    <a:lnTo>
                      <a:pt x="15050" y="0"/>
                    </a:lnTo>
                    <a:lnTo>
                      <a:pt x="12383" y="381"/>
                    </a:lnTo>
                    <a:lnTo>
                      <a:pt x="8001" y="286"/>
                    </a:lnTo>
                    <a:lnTo>
                      <a:pt x="1238" y="3905"/>
                    </a:lnTo>
                    <a:lnTo>
                      <a:pt x="0" y="5620"/>
                    </a:lnTo>
                    <a:lnTo>
                      <a:pt x="5906" y="4381"/>
                    </a:lnTo>
                    <a:lnTo>
                      <a:pt x="13716" y="190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49" name="Freeform: Shape 348">
                <a:extLst>
                  <a:ext uri="{FF2B5EF4-FFF2-40B4-BE49-F238E27FC236}">
                    <a16:creationId xmlns:a16="http://schemas.microsoft.com/office/drawing/2014/main" id="{3C6A7994-D16D-4920-A6FF-F615BE1E26AB}"/>
                  </a:ext>
                </a:extLst>
              </p:cNvPr>
              <p:cNvSpPr/>
              <p:nvPr/>
            </p:nvSpPr>
            <p:spPr>
              <a:xfrm>
                <a:off x="13627974" y="3499405"/>
                <a:ext cx="28479" cy="29813"/>
              </a:xfrm>
              <a:custGeom>
                <a:avLst/>
                <a:gdLst>
                  <a:gd name="connsiteX0" fmla="*/ 16193 w 28479"/>
                  <a:gd name="connsiteY0" fmla="*/ 27146 h 29813"/>
                  <a:gd name="connsiteX1" fmla="*/ 20955 w 28479"/>
                  <a:gd name="connsiteY1" fmla="*/ 21241 h 29813"/>
                  <a:gd name="connsiteX2" fmla="*/ 28480 w 28479"/>
                  <a:gd name="connsiteY2" fmla="*/ 9525 h 29813"/>
                  <a:gd name="connsiteX3" fmla="*/ 22479 w 28479"/>
                  <a:gd name="connsiteY3" fmla="*/ 1715 h 29813"/>
                  <a:gd name="connsiteX4" fmla="*/ 14097 w 28479"/>
                  <a:gd name="connsiteY4" fmla="*/ 0 h 29813"/>
                  <a:gd name="connsiteX5" fmla="*/ 5620 w 28479"/>
                  <a:gd name="connsiteY5" fmla="*/ 12859 h 29813"/>
                  <a:gd name="connsiteX6" fmla="*/ 0 w 28479"/>
                  <a:gd name="connsiteY6" fmla="*/ 26765 h 29813"/>
                  <a:gd name="connsiteX7" fmla="*/ 7906 w 28479"/>
                  <a:gd name="connsiteY7" fmla="*/ 29813 h 29813"/>
                  <a:gd name="connsiteX8" fmla="*/ 16193 w 28479"/>
                  <a:gd name="connsiteY8" fmla="*/ 27146 h 2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79" h="29813">
                    <a:moveTo>
                      <a:pt x="16193" y="27146"/>
                    </a:moveTo>
                    <a:lnTo>
                      <a:pt x="20955" y="21241"/>
                    </a:lnTo>
                    <a:lnTo>
                      <a:pt x="28480" y="9525"/>
                    </a:lnTo>
                    <a:lnTo>
                      <a:pt x="22479" y="1715"/>
                    </a:lnTo>
                    <a:lnTo>
                      <a:pt x="14097" y="0"/>
                    </a:lnTo>
                    <a:lnTo>
                      <a:pt x="5620" y="12859"/>
                    </a:lnTo>
                    <a:lnTo>
                      <a:pt x="0" y="26765"/>
                    </a:lnTo>
                    <a:lnTo>
                      <a:pt x="7906" y="29813"/>
                    </a:lnTo>
                    <a:lnTo>
                      <a:pt x="16193" y="2714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50" name="Freeform: Shape 349">
                <a:extLst>
                  <a:ext uri="{FF2B5EF4-FFF2-40B4-BE49-F238E27FC236}">
                    <a16:creationId xmlns:a16="http://schemas.microsoft.com/office/drawing/2014/main" id="{BBB8868B-8C6A-44A8-827B-18852001E334}"/>
                  </a:ext>
                </a:extLst>
              </p:cNvPr>
              <p:cNvSpPr/>
              <p:nvPr/>
            </p:nvSpPr>
            <p:spPr>
              <a:xfrm>
                <a:off x="13854669" y="3563890"/>
                <a:ext cx="34385" cy="13620"/>
              </a:xfrm>
              <a:custGeom>
                <a:avLst/>
                <a:gdLst>
                  <a:gd name="connsiteX0" fmla="*/ 20860 w 34385"/>
                  <a:gd name="connsiteY0" fmla="*/ 13621 h 13620"/>
                  <a:gd name="connsiteX1" fmla="*/ 27146 w 34385"/>
                  <a:gd name="connsiteY1" fmla="*/ 10287 h 13620"/>
                  <a:gd name="connsiteX2" fmla="*/ 34385 w 34385"/>
                  <a:gd name="connsiteY2" fmla="*/ 13430 h 13620"/>
                  <a:gd name="connsiteX3" fmla="*/ 33814 w 34385"/>
                  <a:gd name="connsiteY3" fmla="*/ 5239 h 13620"/>
                  <a:gd name="connsiteX4" fmla="*/ 30956 w 34385"/>
                  <a:gd name="connsiteY4" fmla="*/ 3715 h 13620"/>
                  <a:gd name="connsiteX5" fmla="*/ 21622 w 34385"/>
                  <a:gd name="connsiteY5" fmla="*/ 6382 h 13620"/>
                  <a:gd name="connsiteX6" fmla="*/ 16859 w 34385"/>
                  <a:gd name="connsiteY6" fmla="*/ 3238 h 13620"/>
                  <a:gd name="connsiteX7" fmla="*/ 7811 w 34385"/>
                  <a:gd name="connsiteY7" fmla="*/ 0 h 13620"/>
                  <a:gd name="connsiteX8" fmla="*/ 381 w 34385"/>
                  <a:gd name="connsiteY8" fmla="*/ 6096 h 13620"/>
                  <a:gd name="connsiteX9" fmla="*/ 0 w 34385"/>
                  <a:gd name="connsiteY9" fmla="*/ 8668 h 13620"/>
                  <a:gd name="connsiteX10" fmla="*/ 11240 w 34385"/>
                  <a:gd name="connsiteY10" fmla="*/ 9430 h 13620"/>
                  <a:gd name="connsiteX11" fmla="*/ 20860 w 34385"/>
                  <a:gd name="connsiteY11" fmla="*/ 13621 h 1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85" h="13620">
                    <a:moveTo>
                      <a:pt x="20860" y="13621"/>
                    </a:moveTo>
                    <a:lnTo>
                      <a:pt x="27146" y="10287"/>
                    </a:lnTo>
                    <a:lnTo>
                      <a:pt x="34385" y="13430"/>
                    </a:lnTo>
                    <a:lnTo>
                      <a:pt x="33814" y="5239"/>
                    </a:lnTo>
                    <a:lnTo>
                      <a:pt x="30956" y="3715"/>
                    </a:lnTo>
                    <a:lnTo>
                      <a:pt x="21622" y="6382"/>
                    </a:lnTo>
                    <a:lnTo>
                      <a:pt x="16859" y="3238"/>
                    </a:lnTo>
                    <a:lnTo>
                      <a:pt x="7811" y="0"/>
                    </a:lnTo>
                    <a:lnTo>
                      <a:pt x="381" y="6096"/>
                    </a:lnTo>
                    <a:lnTo>
                      <a:pt x="0" y="8668"/>
                    </a:lnTo>
                    <a:lnTo>
                      <a:pt x="11240" y="9430"/>
                    </a:lnTo>
                    <a:lnTo>
                      <a:pt x="20860" y="1362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51" name="Freeform: Shape 350">
                <a:extLst>
                  <a:ext uri="{FF2B5EF4-FFF2-40B4-BE49-F238E27FC236}">
                    <a16:creationId xmlns:a16="http://schemas.microsoft.com/office/drawing/2014/main" id="{2B5D818A-C5A4-43CA-AA9F-A039D216D78B}"/>
                  </a:ext>
                </a:extLst>
              </p:cNvPr>
              <p:cNvSpPr/>
              <p:nvPr/>
            </p:nvSpPr>
            <p:spPr>
              <a:xfrm>
                <a:off x="13803425" y="3504739"/>
                <a:ext cx="23621" cy="12572"/>
              </a:xfrm>
              <a:custGeom>
                <a:avLst/>
                <a:gdLst>
                  <a:gd name="connsiteX0" fmla="*/ 12859 w 23621"/>
                  <a:gd name="connsiteY0" fmla="*/ 12192 h 12572"/>
                  <a:gd name="connsiteX1" fmla="*/ 23622 w 23621"/>
                  <a:gd name="connsiteY1" fmla="*/ 5906 h 12572"/>
                  <a:gd name="connsiteX2" fmla="*/ 15145 w 23621"/>
                  <a:gd name="connsiteY2" fmla="*/ 2000 h 12572"/>
                  <a:gd name="connsiteX3" fmla="*/ 6477 w 23621"/>
                  <a:gd name="connsiteY3" fmla="*/ 0 h 12572"/>
                  <a:gd name="connsiteX4" fmla="*/ 0 w 23621"/>
                  <a:gd name="connsiteY4" fmla="*/ 5048 h 12572"/>
                  <a:gd name="connsiteX5" fmla="*/ 3048 w 23621"/>
                  <a:gd name="connsiteY5" fmla="*/ 12573 h 12572"/>
                  <a:gd name="connsiteX6" fmla="*/ 12859 w 23621"/>
                  <a:gd name="connsiteY6" fmla="*/ 12192 h 1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1" h="12572">
                    <a:moveTo>
                      <a:pt x="12859" y="12192"/>
                    </a:moveTo>
                    <a:lnTo>
                      <a:pt x="23622" y="5906"/>
                    </a:lnTo>
                    <a:lnTo>
                      <a:pt x="15145" y="2000"/>
                    </a:lnTo>
                    <a:lnTo>
                      <a:pt x="6477" y="0"/>
                    </a:lnTo>
                    <a:lnTo>
                      <a:pt x="0" y="5048"/>
                    </a:lnTo>
                    <a:lnTo>
                      <a:pt x="3048" y="12573"/>
                    </a:lnTo>
                    <a:lnTo>
                      <a:pt x="12859" y="1219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52" name="Freeform: Shape 351">
                <a:extLst>
                  <a:ext uri="{FF2B5EF4-FFF2-40B4-BE49-F238E27FC236}">
                    <a16:creationId xmlns:a16="http://schemas.microsoft.com/office/drawing/2014/main" id="{CAEA797A-87BD-4D68-A1DE-B0C130D9C4B7}"/>
                  </a:ext>
                </a:extLst>
              </p:cNvPr>
              <p:cNvSpPr/>
              <p:nvPr/>
            </p:nvSpPr>
            <p:spPr>
              <a:xfrm>
                <a:off x="13483195" y="2980579"/>
                <a:ext cx="14287" cy="4381"/>
              </a:xfrm>
              <a:custGeom>
                <a:avLst/>
                <a:gdLst>
                  <a:gd name="connsiteX0" fmla="*/ 9144 w 14287"/>
                  <a:gd name="connsiteY0" fmla="*/ 4191 h 4381"/>
                  <a:gd name="connsiteX1" fmla="*/ 14288 w 14287"/>
                  <a:gd name="connsiteY1" fmla="*/ 857 h 4381"/>
                  <a:gd name="connsiteX2" fmla="*/ 13335 w 14287"/>
                  <a:gd name="connsiteY2" fmla="*/ 762 h 4381"/>
                  <a:gd name="connsiteX3" fmla="*/ 9906 w 14287"/>
                  <a:gd name="connsiteY3" fmla="*/ 0 h 4381"/>
                  <a:gd name="connsiteX4" fmla="*/ 2476 w 14287"/>
                  <a:gd name="connsiteY4" fmla="*/ 2667 h 4381"/>
                  <a:gd name="connsiteX5" fmla="*/ 857 w 14287"/>
                  <a:gd name="connsiteY5" fmla="*/ 3239 h 4381"/>
                  <a:gd name="connsiteX6" fmla="*/ 0 w 14287"/>
                  <a:gd name="connsiteY6" fmla="*/ 4096 h 4381"/>
                  <a:gd name="connsiteX7" fmla="*/ 7144 w 14287"/>
                  <a:gd name="connsiteY7" fmla="*/ 4381 h 4381"/>
                  <a:gd name="connsiteX8" fmla="*/ 9144 w 14287"/>
                  <a:gd name="connsiteY8" fmla="*/ 4191 h 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 h="4381">
                    <a:moveTo>
                      <a:pt x="9144" y="4191"/>
                    </a:moveTo>
                    <a:lnTo>
                      <a:pt x="14288" y="857"/>
                    </a:lnTo>
                    <a:lnTo>
                      <a:pt x="13335" y="762"/>
                    </a:lnTo>
                    <a:lnTo>
                      <a:pt x="9906" y="0"/>
                    </a:lnTo>
                    <a:lnTo>
                      <a:pt x="2476" y="2667"/>
                    </a:lnTo>
                    <a:lnTo>
                      <a:pt x="857" y="3239"/>
                    </a:lnTo>
                    <a:lnTo>
                      <a:pt x="0" y="4096"/>
                    </a:lnTo>
                    <a:lnTo>
                      <a:pt x="7144" y="4381"/>
                    </a:lnTo>
                    <a:lnTo>
                      <a:pt x="9144" y="419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53" name="Freeform: Shape 352">
                <a:extLst>
                  <a:ext uri="{FF2B5EF4-FFF2-40B4-BE49-F238E27FC236}">
                    <a16:creationId xmlns:a16="http://schemas.microsoft.com/office/drawing/2014/main" id="{F01059DD-2B2B-4DE9-8D64-0747947734AB}"/>
                  </a:ext>
                </a:extLst>
              </p:cNvPr>
              <p:cNvSpPr/>
              <p:nvPr/>
            </p:nvSpPr>
            <p:spPr>
              <a:xfrm>
                <a:off x="13463954" y="2985722"/>
                <a:ext cx="11525" cy="5715"/>
              </a:xfrm>
              <a:custGeom>
                <a:avLst/>
                <a:gdLst>
                  <a:gd name="connsiteX0" fmla="*/ 11525 w 11525"/>
                  <a:gd name="connsiteY0" fmla="*/ 0 h 5715"/>
                  <a:gd name="connsiteX1" fmla="*/ 286 w 11525"/>
                  <a:gd name="connsiteY1" fmla="*/ 4572 h 5715"/>
                  <a:gd name="connsiteX2" fmla="*/ 0 w 11525"/>
                  <a:gd name="connsiteY2" fmla="*/ 5715 h 5715"/>
                  <a:gd name="connsiteX3" fmla="*/ 10382 w 11525"/>
                  <a:gd name="connsiteY3" fmla="*/ 1619 h 5715"/>
                  <a:gd name="connsiteX4" fmla="*/ 11525 w 11525"/>
                  <a:gd name="connsiteY4" fmla="*/ 0 h 5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5" h="5715">
                    <a:moveTo>
                      <a:pt x="11525" y="0"/>
                    </a:moveTo>
                    <a:lnTo>
                      <a:pt x="286" y="4572"/>
                    </a:lnTo>
                    <a:lnTo>
                      <a:pt x="0" y="5715"/>
                    </a:lnTo>
                    <a:lnTo>
                      <a:pt x="10382" y="1619"/>
                    </a:lnTo>
                    <a:lnTo>
                      <a:pt x="11525" y="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54" name="Freeform: Shape 353">
                <a:extLst>
                  <a:ext uri="{FF2B5EF4-FFF2-40B4-BE49-F238E27FC236}">
                    <a16:creationId xmlns:a16="http://schemas.microsoft.com/office/drawing/2014/main" id="{9BB68E1A-3855-4077-8E7D-98696EEDABF6}"/>
                  </a:ext>
                </a:extLst>
              </p:cNvPr>
              <p:cNvSpPr/>
              <p:nvPr/>
            </p:nvSpPr>
            <p:spPr>
              <a:xfrm>
                <a:off x="13521009" y="2973339"/>
                <a:ext cx="9905" cy="4667"/>
              </a:xfrm>
              <a:custGeom>
                <a:avLst/>
                <a:gdLst>
                  <a:gd name="connsiteX0" fmla="*/ 6096 w 9905"/>
                  <a:gd name="connsiteY0" fmla="*/ 3048 h 4667"/>
                  <a:gd name="connsiteX1" fmla="*/ 9049 w 9905"/>
                  <a:gd name="connsiteY1" fmla="*/ 953 h 4667"/>
                  <a:gd name="connsiteX2" fmla="*/ 9906 w 9905"/>
                  <a:gd name="connsiteY2" fmla="*/ 0 h 4667"/>
                  <a:gd name="connsiteX3" fmla="*/ 2191 w 9905"/>
                  <a:gd name="connsiteY3" fmla="*/ 1048 h 4667"/>
                  <a:gd name="connsiteX4" fmla="*/ 0 w 9905"/>
                  <a:gd name="connsiteY4" fmla="*/ 2857 h 4667"/>
                  <a:gd name="connsiteX5" fmla="*/ 1143 w 9905"/>
                  <a:gd name="connsiteY5" fmla="*/ 4667 h 4667"/>
                  <a:gd name="connsiteX6" fmla="*/ 6096 w 9905"/>
                  <a:gd name="connsiteY6" fmla="*/ 3048 h 4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5" h="4667">
                    <a:moveTo>
                      <a:pt x="6096" y="3048"/>
                    </a:moveTo>
                    <a:lnTo>
                      <a:pt x="9049" y="953"/>
                    </a:lnTo>
                    <a:lnTo>
                      <a:pt x="9906" y="0"/>
                    </a:lnTo>
                    <a:lnTo>
                      <a:pt x="2191" y="1048"/>
                    </a:lnTo>
                    <a:lnTo>
                      <a:pt x="0" y="2857"/>
                    </a:lnTo>
                    <a:lnTo>
                      <a:pt x="1143" y="4667"/>
                    </a:lnTo>
                    <a:lnTo>
                      <a:pt x="6096" y="304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55" name="Freeform: Shape 354">
                <a:extLst>
                  <a:ext uri="{FF2B5EF4-FFF2-40B4-BE49-F238E27FC236}">
                    <a16:creationId xmlns:a16="http://schemas.microsoft.com/office/drawing/2014/main" id="{F99C42FE-60C5-43FD-91D8-8DA7500519CD}"/>
                  </a:ext>
                </a:extLst>
              </p:cNvPr>
              <p:cNvSpPr/>
              <p:nvPr/>
            </p:nvSpPr>
            <p:spPr>
              <a:xfrm>
                <a:off x="14724111" y="5367543"/>
                <a:ext cx="666" cy="381"/>
              </a:xfrm>
              <a:custGeom>
                <a:avLst/>
                <a:gdLst>
                  <a:gd name="connsiteX0" fmla="*/ 381 w 666"/>
                  <a:gd name="connsiteY0" fmla="*/ 191 h 381"/>
                  <a:gd name="connsiteX1" fmla="*/ 667 w 666"/>
                  <a:gd name="connsiteY1" fmla="*/ 0 h 381"/>
                  <a:gd name="connsiteX2" fmla="*/ 0 w 666"/>
                  <a:gd name="connsiteY2" fmla="*/ 381 h 381"/>
                  <a:gd name="connsiteX3" fmla="*/ 381 w 666"/>
                  <a:gd name="connsiteY3" fmla="*/ 191 h 381"/>
                </a:gdLst>
                <a:ahLst/>
                <a:cxnLst>
                  <a:cxn ang="0">
                    <a:pos x="connsiteX0" y="connsiteY0"/>
                  </a:cxn>
                  <a:cxn ang="0">
                    <a:pos x="connsiteX1" y="connsiteY1"/>
                  </a:cxn>
                  <a:cxn ang="0">
                    <a:pos x="connsiteX2" y="connsiteY2"/>
                  </a:cxn>
                  <a:cxn ang="0">
                    <a:pos x="connsiteX3" y="connsiteY3"/>
                  </a:cxn>
                </a:cxnLst>
                <a:rect l="l" t="t" r="r" b="b"/>
                <a:pathLst>
                  <a:path w="666" h="381">
                    <a:moveTo>
                      <a:pt x="381" y="191"/>
                    </a:moveTo>
                    <a:lnTo>
                      <a:pt x="667" y="0"/>
                    </a:lnTo>
                    <a:lnTo>
                      <a:pt x="0" y="381"/>
                    </a:lnTo>
                    <a:lnTo>
                      <a:pt x="381" y="19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56" name="Freeform: Shape 355">
                <a:extLst>
                  <a:ext uri="{FF2B5EF4-FFF2-40B4-BE49-F238E27FC236}">
                    <a16:creationId xmlns:a16="http://schemas.microsoft.com/office/drawing/2014/main" id="{7B1CC9CF-5B20-450E-9E5F-360B4E14DCD9}"/>
                  </a:ext>
                </a:extLst>
              </p:cNvPr>
              <p:cNvSpPr/>
              <p:nvPr/>
            </p:nvSpPr>
            <p:spPr>
              <a:xfrm>
                <a:off x="14717254" y="3915076"/>
                <a:ext cx="102965" cy="69151"/>
              </a:xfrm>
              <a:custGeom>
                <a:avLst/>
                <a:gdLst>
                  <a:gd name="connsiteX0" fmla="*/ 69628 w 102965"/>
                  <a:gd name="connsiteY0" fmla="*/ 31814 h 69151"/>
                  <a:gd name="connsiteX1" fmla="*/ 69628 w 102965"/>
                  <a:gd name="connsiteY1" fmla="*/ 31814 h 69151"/>
                  <a:gd name="connsiteX2" fmla="*/ 67151 w 102965"/>
                  <a:gd name="connsiteY2" fmla="*/ 33147 h 69151"/>
                  <a:gd name="connsiteX3" fmla="*/ 60388 w 102965"/>
                  <a:gd name="connsiteY3" fmla="*/ 26956 h 69151"/>
                  <a:gd name="connsiteX4" fmla="*/ 55721 w 102965"/>
                  <a:gd name="connsiteY4" fmla="*/ 25051 h 69151"/>
                  <a:gd name="connsiteX5" fmla="*/ 51816 w 102965"/>
                  <a:gd name="connsiteY5" fmla="*/ 21717 h 69151"/>
                  <a:gd name="connsiteX6" fmla="*/ 43529 w 102965"/>
                  <a:gd name="connsiteY6" fmla="*/ 17717 h 69151"/>
                  <a:gd name="connsiteX7" fmla="*/ 34480 w 102965"/>
                  <a:gd name="connsiteY7" fmla="*/ 15526 h 69151"/>
                  <a:gd name="connsiteX8" fmla="*/ 17050 w 102965"/>
                  <a:gd name="connsiteY8" fmla="*/ 11430 h 69151"/>
                  <a:gd name="connsiteX9" fmla="*/ 6763 w 102965"/>
                  <a:gd name="connsiteY9" fmla="*/ 12954 h 69151"/>
                  <a:gd name="connsiteX10" fmla="*/ 1619 w 102965"/>
                  <a:gd name="connsiteY10" fmla="*/ 10192 h 69151"/>
                  <a:gd name="connsiteX11" fmla="*/ 0 w 102965"/>
                  <a:gd name="connsiteY11" fmla="*/ 4572 h 69151"/>
                  <a:gd name="connsiteX12" fmla="*/ 14859 w 102965"/>
                  <a:gd name="connsiteY12" fmla="*/ 2572 h 69151"/>
                  <a:gd name="connsiteX13" fmla="*/ 20002 w 102965"/>
                  <a:gd name="connsiteY13" fmla="*/ 1429 h 69151"/>
                  <a:gd name="connsiteX14" fmla="*/ 27908 w 102965"/>
                  <a:gd name="connsiteY14" fmla="*/ 1238 h 69151"/>
                  <a:gd name="connsiteX15" fmla="*/ 38386 w 102965"/>
                  <a:gd name="connsiteY15" fmla="*/ 0 h 69151"/>
                  <a:gd name="connsiteX16" fmla="*/ 42577 w 102965"/>
                  <a:gd name="connsiteY16" fmla="*/ 95 h 69151"/>
                  <a:gd name="connsiteX17" fmla="*/ 40576 w 102965"/>
                  <a:gd name="connsiteY17" fmla="*/ 4096 h 69151"/>
                  <a:gd name="connsiteX18" fmla="*/ 48768 w 102965"/>
                  <a:gd name="connsiteY18" fmla="*/ 7429 h 69151"/>
                  <a:gd name="connsiteX19" fmla="*/ 48958 w 102965"/>
                  <a:gd name="connsiteY19" fmla="*/ 4286 h 69151"/>
                  <a:gd name="connsiteX20" fmla="*/ 52483 w 102965"/>
                  <a:gd name="connsiteY20" fmla="*/ 3715 h 69151"/>
                  <a:gd name="connsiteX21" fmla="*/ 54959 w 102965"/>
                  <a:gd name="connsiteY21" fmla="*/ 7525 h 69151"/>
                  <a:gd name="connsiteX22" fmla="*/ 62579 w 102965"/>
                  <a:gd name="connsiteY22" fmla="*/ 9335 h 69151"/>
                  <a:gd name="connsiteX23" fmla="*/ 68389 w 102965"/>
                  <a:gd name="connsiteY23" fmla="*/ 13335 h 69151"/>
                  <a:gd name="connsiteX24" fmla="*/ 73438 w 102965"/>
                  <a:gd name="connsiteY24" fmla="*/ 19241 h 69151"/>
                  <a:gd name="connsiteX25" fmla="*/ 78295 w 102965"/>
                  <a:gd name="connsiteY25" fmla="*/ 28289 h 69151"/>
                  <a:gd name="connsiteX26" fmla="*/ 85725 w 102965"/>
                  <a:gd name="connsiteY26" fmla="*/ 34576 h 69151"/>
                  <a:gd name="connsiteX27" fmla="*/ 92392 w 102965"/>
                  <a:gd name="connsiteY27" fmla="*/ 38291 h 69151"/>
                  <a:gd name="connsiteX28" fmla="*/ 98774 w 102965"/>
                  <a:gd name="connsiteY28" fmla="*/ 44291 h 69151"/>
                  <a:gd name="connsiteX29" fmla="*/ 101536 w 102965"/>
                  <a:gd name="connsiteY29" fmla="*/ 50197 h 69151"/>
                  <a:gd name="connsiteX30" fmla="*/ 102775 w 102965"/>
                  <a:gd name="connsiteY30" fmla="*/ 58007 h 69151"/>
                  <a:gd name="connsiteX31" fmla="*/ 102965 w 102965"/>
                  <a:gd name="connsiteY31" fmla="*/ 66389 h 69151"/>
                  <a:gd name="connsiteX32" fmla="*/ 100870 w 102965"/>
                  <a:gd name="connsiteY32" fmla="*/ 69152 h 69151"/>
                  <a:gd name="connsiteX33" fmla="*/ 97726 w 102965"/>
                  <a:gd name="connsiteY33" fmla="*/ 66104 h 69151"/>
                  <a:gd name="connsiteX34" fmla="*/ 95726 w 102965"/>
                  <a:gd name="connsiteY34" fmla="*/ 58293 h 69151"/>
                  <a:gd name="connsiteX35" fmla="*/ 90678 w 102965"/>
                  <a:gd name="connsiteY35" fmla="*/ 49340 h 69151"/>
                  <a:gd name="connsiteX36" fmla="*/ 83820 w 102965"/>
                  <a:gd name="connsiteY36" fmla="*/ 44672 h 69151"/>
                  <a:gd name="connsiteX37" fmla="*/ 77343 w 102965"/>
                  <a:gd name="connsiteY37" fmla="*/ 38767 h 69151"/>
                  <a:gd name="connsiteX38" fmla="*/ 74295 w 102965"/>
                  <a:gd name="connsiteY38" fmla="*/ 35338 h 69151"/>
                  <a:gd name="connsiteX39" fmla="*/ 69628 w 102965"/>
                  <a:gd name="connsiteY39" fmla="*/ 31814 h 69151"/>
                  <a:gd name="connsiteX40" fmla="*/ 69628 w 102965"/>
                  <a:gd name="connsiteY40" fmla="*/ 31814 h 6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2965" h="69151">
                    <a:moveTo>
                      <a:pt x="69628" y="31814"/>
                    </a:moveTo>
                    <a:lnTo>
                      <a:pt x="69628" y="31814"/>
                    </a:lnTo>
                    <a:lnTo>
                      <a:pt x="67151" y="33147"/>
                    </a:lnTo>
                    <a:lnTo>
                      <a:pt x="60388" y="26956"/>
                    </a:lnTo>
                    <a:lnTo>
                      <a:pt x="55721" y="25051"/>
                    </a:lnTo>
                    <a:lnTo>
                      <a:pt x="51816" y="21717"/>
                    </a:lnTo>
                    <a:lnTo>
                      <a:pt x="43529" y="17717"/>
                    </a:lnTo>
                    <a:lnTo>
                      <a:pt x="34480" y="15526"/>
                    </a:lnTo>
                    <a:lnTo>
                      <a:pt x="17050" y="11430"/>
                    </a:lnTo>
                    <a:lnTo>
                      <a:pt x="6763" y="12954"/>
                    </a:lnTo>
                    <a:lnTo>
                      <a:pt x="1619" y="10192"/>
                    </a:lnTo>
                    <a:lnTo>
                      <a:pt x="0" y="4572"/>
                    </a:lnTo>
                    <a:lnTo>
                      <a:pt x="14859" y="2572"/>
                    </a:lnTo>
                    <a:lnTo>
                      <a:pt x="20002" y="1429"/>
                    </a:lnTo>
                    <a:lnTo>
                      <a:pt x="27908" y="1238"/>
                    </a:lnTo>
                    <a:lnTo>
                      <a:pt x="38386" y="0"/>
                    </a:lnTo>
                    <a:lnTo>
                      <a:pt x="42577" y="95"/>
                    </a:lnTo>
                    <a:lnTo>
                      <a:pt x="40576" y="4096"/>
                    </a:lnTo>
                    <a:lnTo>
                      <a:pt x="48768" y="7429"/>
                    </a:lnTo>
                    <a:lnTo>
                      <a:pt x="48958" y="4286"/>
                    </a:lnTo>
                    <a:lnTo>
                      <a:pt x="52483" y="3715"/>
                    </a:lnTo>
                    <a:lnTo>
                      <a:pt x="54959" y="7525"/>
                    </a:lnTo>
                    <a:lnTo>
                      <a:pt x="62579" y="9335"/>
                    </a:lnTo>
                    <a:lnTo>
                      <a:pt x="68389" y="13335"/>
                    </a:lnTo>
                    <a:lnTo>
                      <a:pt x="73438" y="19241"/>
                    </a:lnTo>
                    <a:lnTo>
                      <a:pt x="78295" y="28289"/>
                    </a:lnTo>
                    <a:lnTo>
                      <a:pt x="85725" y="34576"/>
                    </a:lnTo>
                    <a:lnTo>
                      <a:pt x="92392" y="38291"/>
                    </a:lnTo>
                    <a:lnTo>
                      <a:pt x="98774" y="44291"/>
                    </a:lnTo>
                    <a:lnTo>
                      <a:pt x="101536" y="50197"/>
                    </a:lnTo>
                    <a:lnTo>
                      <a:pt x="102775" y="58007"/>
                    </a:lnTo>
                    <a:lnTo>
                      <a:pt x="102965" y="66389"/>
                    </a:lnTo>
                    <a:lnTo>
                      <a:pt x="100870" y="69152"/>
                    </a:lnTo>
                    <a:lnTo>
                      <a:pt x="97726" y="66104"/>
                    </a:lnTo>
                    <a:lnTo>
                      <a:pt x="95726" y="58293"/>
                    </a:lnTo>
                    <a:lnTo>
                      <a:pt x="90678" y="49340"/>
                    </a:lnTo>
                    <a:lnTo>
                      <a:pt x="83820" y="44672"/>
                    </a:lnTo>
                    <a:lnTo>
                      <a:pt x="77343" y="38767"/>
                    </a:lnTo>
                    <a:lnTo>
                      <a:pt x="74295" y="35338"/>
                    </a:lnTo>
                    <a:lnTo>
                      <a:pt x="69628" y="31814"/>
                    </a:lnTo>
                    <a:lnTo>
                      <a:pt x="69628" y="3181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57" name="Freeform: Shape 356">
                <a:extLst>
                  <a:ext uri="{FF2B5EF4-FFF2-40B4-BE49-F238E27FC236}">
                    <a16:creationId xmlns:a16="http://schemas.microsoft.com/office/drawing/2014/main" id="{5C530177-A2DB-47BC-9C36-04790F511647}"/>
                  </a:ext>
                </a:extLst>
              </p:cNvPr>
              <p:cNvSpPr/>
              <p:nvPr/>
            </p:nvSpPr>
            <p:spPr>
              <a:xfrm>
                <a:off x="13094670" y="4053570"/>
                <a:ext cx="76771" cy="38100"/>
              </a:xfrm>
              <a:custGeom>
                <a:avLst/>
                <a:gdLst>
                  <a:gd name="connsiteX0" fmla="*/ 70961 w 76771"/>
                  <a:gd name="connsiteY0" fmla="*/ 6286 h 38100"/>
                  <a:gd name="connsiteX1" fmla="*/ 70961 w 76771"/>
                  <a:gd name="connsiteY1" fmla="*/ 6286 h 38100"/>
                  <a:gd name="connsiteX2" fmla="*/ 76771 w 76771"/>
                  <a:gd name="connsiteY2" fmla="*/ 21526 h 38100"/>
                  <a:gd name="connsiteX3" fmla="*/ 71056 w 76771"/>
                  <a:gd name="connsiteY3" fmla="*/ 22955 h 38100"/>
                  <a:gd name="connsiteX4" fmla="*/ 58388 w 76771"/>
                  <a:gd name="connsiteY4" fmla="*/ 23527 h 38100"/>
                  <a:gd name="connsiteX5" fmla="*/ 17240 w 76771"/>
                  <a:gd name="connsiteY5" fmla="*/ 37243 h 38100"/>
                  <a:gd name="connsiteX6" fmla="*/ 3715 w 76771"/>
                  <a:gd name="connsiteY6" fmla="*/ 38100 h 38100"/>
                  <a:gd name="connsiteX7" fmla="*/ 0 w 76771"/>
                  <a:gd name="connsiteY7" fmla="*/ 30099 h 38100"/>
                  <a:gd name="connsiteX8" fmla="*/ 6096 w 76771"/>
                  <a:gd name="connsiteY8" fmla="*/ 27813 h 38100"/>
                  <a:gd name="connsiteX9" fmla="*/ 20669 w 76771"/>
                  <a:gd name="connsiteY9" fmla="*/ 24765 h 38100"/>
                  <a:gd name="connsiteX10" fmla="*/ 35719 w 76771"/>
                  <a:gd name="connsiteY10" fmla="*/ 12097 h 38100"/>
                  <a:gd name="connsiteX11" fmla="*/ 57817 w 76771"/>
                  <a:gd name="connsiteY11" fmla="*/ 0 h 38100"/>
                  <a:gd name="connsiteX12" fmla="*/ 70961 w 76771"/>
                  <a:gd name="connsiteY12" fmla="*/ 6286 h 38100"/>
                  <a:gd name="connsiteX13" fmla="*/ 70961 w 76771"/>
                  <a:gd name="connsiteY13" fmla="*/ 6286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771" h="38100">
                    <a:moveTo>
                      <a:pt x="70961" y="6286"/>
                    </a:moveTo>
                    <a:lnTo>
                      <a:pt x="70961" y="6286"/>
                    </a:lnTo>
                    <a:lnTo>
                      <a:pt x="76771" y="21526"/>
                    </a:lnTo>
                    <a:lnTo>
                      <a:pt x="71056" y="22955"/>
                    </a:lnTo>
                    <a:lnTo>
                      <a:pt x="58388" y="23527"/>
                    </a:lnTo>
                    <a:lnTo>
                      <a:pt x="17240" y="37243"/>
                    </a:lnTo>
                    <a:lnTo>
                      <a:pt x="3715" y="38100"/>
                    </a:lnTo>
                    <a:lnTo>
                      <a:pt x="0" y="30099"/>
                    </a:lnTo>
                    <a:lnTo>
                      <a:pt x="6096" y="27813"/>
                    </a:lnTo>
                    <a:lnTo>
                      <a:pt x="20669" y="24765"/>
                    </a:lnTo>
                    <a:lnTo>
                      <a:pt x="35719" y="12097"/>
                    </a:lnTo>
                    <a:lnTo>
                      <a:pt x="57817" y="0"/>
                    </a:lnTo>
                    <a:lnTo>
                      <a:pt x="70961" y="6286"/>
                    </a:lnTo>
                    <a:lnTo>
                      <a:pt x="70961" y="628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58" name="Freeform: Shape 357">
                <a:extLst>
                  <a:ext uri="{FF2B5EF4-FFF2-40B4-BE49-F238E27FC236}">
                    <a16:creationId xmlns:a16="http://schemas.microsoft.com/office/drawing/2014/main" id="{A0A5D234-FC02-4255-B309-6D9915425E37}"/>
                  </a:ext>
                </a:extLst>
              </p:cNvPr>
              <p:cNvSpPr/>
              <p:nvPr/>
            </p:nvSpPr>
            <p:spPr>
              <a:xfrm>
                <a:off x="13359179" y="3870023"/>
                <a:ext cx="44767" cy="109156"/>
              </a:xfrm>
              <a:custGeom>
                <a:avLst/>
                <a:gdLst>
                  <a:gd name="connsiteX0" fmla="*/ 23908 w 44767"/>
                  <a:gd name="connsiteY0" fmla="*/ 40481 h 109156"/>
                  <a:gd name="connsiteX1" fmla="*/ 23908 w 44767"/>
                  <a:gd name="connsiteY1" fmla="*/ 40481 h 109156"/>
                  <a:gd name="connsiteX2" fmla="*/ 38862 w 44767"/>
                  <a:gd name="connsiteY2" fmla="*/ 37528 h 109156"/>
                  <a:gd name="connsiteX3" fmla="*/ 44768 w 44767"/>
                  <a:gd name="connsiteY3" fmla="*/ 37243 h 109156"/>
                  <a:gd name="connsiteX4" fmla="*/ 43148 w 44767"/>
                  <a:gd name="connsiteY4" fmla="*/ 39052 h 109156"/>
                  <a:gd name="connsiteX5" fmla="*/ 30194 w 44767"/>
                  <a:gd name="connsiteY5" fmla="*/ 50197 h 109156"/>
                  <a:gd name="connsiteX6" fmla="*/ 17621 w 44767"/>
                  <a:gd name="connsiteY6" fmla="*/ 58293 h 109156"/>
                  <a:gd name="connsiteX7" fmla="*/ 18669 w 44767"/>
                  <a:gd name="connsiteY7" fmla="*/ 78105 h 109156"/>
                  <a:gd name="connsiteX8" fmla="*/ 25241 w 44767"/>
                  <a:gd name="connsiteY8" fmla="*/ 89535 h 109156"/>
                  <a:gd name="connsiteX9" fmla="*/ 25241 w 44767"/>
                  <a:gd name="connsiteY9" fmla="*/ 99441 h 109156"/>
                  <a:gd name="connsiteX10" fmla="*/ 18098 w 44767"/>
                  <a:gd name="connsiteY10" fmla="*/ 106299 h 109156"/>
                  <a:gd name="connsiteX11" fmla="*/ 15716 w 44767"/>
                  <a:gd name="connsiteY11" fmla="*/ 109156 h 109156"/>
                  <a:gd name="connsiteX12" fmla="*/ 13240 w 44767"/>
                  <a:gd name="connsiteY12" fmla="*/ 108013 h 109156"/>
                  <a:gd name="connsiteX13" fmla="*/ 13335 w 44767"/>
                  <a:gd name="connsiteY13" fmla="*/ 96298 h 109156"/>
                  <a:gd name="connsiteX14" fmla="*/ 14669 w 44767"/>
                  <a:gd name="connsiteY14" fmla="*/ 82677 h 109156"/>
                  <a:gd name="connsiteX15" fmla="*/ 4763 w 44767"/>
                  <a:gd name="connsiteY15" fmla="*/ 61913 h 109156"/>
                  <a:gd name="connsiteX16" fmla="*/ 0 w 44767"/>
                  <a:gd name="connsiteY16" fmla="*/ 47053 h 109156"/>
                  <a:gd name="connsiteX17" fmla="*/ 4381 w 44767"/>
                  <a:gd name="connsiteY17" fmla="*/ 26860 h 109156"/>
                  <a:gd name="connsiteX18" fmla="*/ 9716 w 44767"/>
                  <a:gd name="connsiteY18" fmla="*/ 15049 h 109156"/>
                  <a:gd name="connsiteX19" fmla="*/ 27051 w 44767"/>
                  <a:gd name="connsiteY19" fmla="*/ 2476 h 109156"/>
                  <a:gd name="connsiteX20" fmla="*/ 29527 w 44767"/>
                  <a:gd name="connsiteY20" fmla="*/ 0 h 109156"/>
                  <a:gd name="connsiteX21" fmla="*/ 32766 w 44767"/>
                  <a:gd name="connsiteY21" fmla="*/ 1238 h 109156"/>
                  <a:gd name="connsiteX22" fmla="*/ 32290 w 44767"/>
                  <a:gd name="connsiteY22" fmla="*/ 3715 h 109156"/>
                  <a:gd name="connsiteX23" fmla="*/ 20479 w 44767"/>
                  <a:gd name="connsiteY23" fmla="*/ 15621 h 109156"/>
                  <a:gd name="connsiteX24" fmla="*/ 21812 w 44767"/>
                  <a:gd name="connsiteY24" fmla="*/ 30861 h 109156"/>
                  <a:gd name="connsiteX25" fmla="*/ 23908 w 44767"/>
                  <a:gd name="connsiteY25" fmla="*/ 40481 h 109156"/>
                  <a:gd name="connsiteX26" fmla="*/ 23908 w 44767"/>
                  <a:gd name="connsiteY26" fmla="*/ 40481 h 10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67" h="109156">
                    <a:moveTo>
                      <a:pt x="23908" y="40481"/>
                    </a:moveTo>
                    <a:lnTo>
                      <a:pt x="23908" y="40481"/>
                    </a:lnTo>
                    <a:lnTo>
                      <a:pt x="38862" y="37528"/>
                    </a:lnTo>
                    <a:lnTo>
                      <a:pt x="44768" y="37243"/>
                    </a:lnTo>
                    <a:lnTo>
                      <a:pt x="43148" y="39052"/>
                    </a:lnTo>
                    <a:lnTo>
                      <a:pt x="30194" y="50197"/>
                    </a:lnTo>
                    <a:lnTo>
                      <a:pt x="17621" y="58293"/>
                    </a:lnTo>
                    <a:lnTo>
                      <a:pt x="18669" y="78105"/>
                    </a:lnTo>
                    <a:lnTo>
                      <a:pt x="25241" y="89535"/>
                    </a:lnTo>
                    <a:lnTo>
                      <a:pt x="25241" y="99441"/>
                    </a:lnTo>
                    <a:lnTo>
                      <a:pt x="18098" y="106299"/>
                    </a:lnTo>
                    <a:lnTo>
                      <a:pt x="15716" y="109156"/>
                    </a:lnTo>
                    <a:lnTo>
                      <a:pt x="13240" y="108013"/>
                    </a:lnTo>
                    <a:lnTo>
                      <a:pt x="13335" y="96298"/>
                    </a:lnTo>
                    <a:lnTo>
                      <a:pt x="14669" y="82677"/>
                    </a:lnTo>
                    <a:lnTo>
                      <a:pt x="4763" y="61913"/>
                    </a:lnTo>
                    <a:lnTo>
                      <a:pt x="0" y="47053"/>
                    </a:lnTo>
                    <a:lnTo>
                      <a:pt x="4381" y="26860"/>
                    </a:lnTo>
                    <a:lnTo>
                      <a:pt x="9716" y="15049"/>
                    </a:lnTo>
                    <a:lnTo>
                      <a:pt x="27051" y="2476"/>
                    </a:lnTo>
                    <a:lnTo>
                      <a:pt x="29527" y="0"/>
                    </a:lnTo>
                    <a:lnTo>
                      <a:pt x="32766" y="1238"/>
                    </a:lnTo>
                    <a:lnTo>
                      <a:pt x="32290" y="3715"/>
                    </a:lnTo>
                    <a:lnTo>
                      <a:pt x="20479" y="15621"/>
                    </a:lnTo>
                    <a:lnTo>
                      <a:pt x="21812" y="30861"/>
                    </a:lnTo>
                    <a:lnTo>
                      <a:pt x="23908" y="40481"/>
                    </a:lnTo>
                    <a:lnTo>
                      <a:pt x="23908" y="4048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59" name="Freeform: Shape 358">
                <a:extLst>
                  <a:ext uri="{FF2B5EF4-FFF2-40B4-BE49-F238E27FC236}">
                    <a16:creationId xmlns:a16="http://schemas.microsoft.com/office/drawing/2014/main" id="{EB17C48B-6E3E-48BE-ABAD-F9F5D9CB9CF7}"/>
                  </a:ext>
                </a:extLst>
              </p:cNvPr>
              <p:cNvSpPr/>
              <p:nvPr/>
            </p:nvSpPr>
            <p:spPr>
              <a:xfrm>
                <a:off x="12977322" y="4368466"/>
                <a:ext cx="26860" cy="60959"/>
              </a:xfrm>
              <a:custGeom>
                <a:avLst/>
                <a:gdLst>
                  <a:gd name="connsiteX0" fmla="*/ 1905 w 26860"/>
                  <a:gd name="connsiteY0" fmla="*/ 12382 h 60959"/>
                  <a:gd name="connsiteX1" fmla="*/ 1905 w 26860"/>
                  <a:gd name="connsiteY1" fmla="*/ 12382 h 60959"/>
                  <a:gd name="connsiteX2" fmla="*/ 0 w 26860"/>
                  <a:gd name="connsiteY2" fmla="*/ 7239 h 60959"/>
                  <a:gd name="connsiteX3" fmla="*/ 286 w 26860"/>
                  <a:gd name="connsiteY3" fmla="*/ 0 h 60959"/>
                  <a:gd name="connsiteX4" fmla="*/ 6953 w 26860"/>
                  <a:gd name="connsiteY4" fmla="*/ 4191 h 60959"/>
                  <a:gd name="connsiteX5" fmla="*/ 9906 w 26860"/>
                  <a:gd name="connsiteY5" fmla="*/ 9049 h 60959"/>
                  <a:gd name="connsiteX6" fmla="*/ 14668 w 26860"/>
                  <a:gd name="connsiteY6" fmla="*/ 20764 h 60959"/>
                  <a:gd name="connsiteX7" fmla="*/ 20002 w 26860"/>
                  <a:gd name="connsiteY7" fmla="*/ 34766 h 60959"/>
                  <a:gd name="connsiteX8" fmla="*/ 18574 w 26860"/>
                  <a:gd name="connsiteY8" fmla="*/ 43053 h 60959"/>
                  <a:gd name="connsiteX9" fmla="*/ 23336 w 26860"/>
                  <a:gd name="connsiteY9" fmla="*/ 47054 h 60959"/>
                  <a:gd name="connsiteX10" fmla="*/ 26860 w 26860"/>
                  <a:gd name="connsiteY10" fmla="*/ 51911 h 60959"/>
                  <a:gd name="connsiteX11" fmla="*/ 26575 w 26860"/>
                  <a:gd name="connsiteY11" fmla="*/ 55817 h 60959"/>
                  <a:gd name="connsiteX12" fmla="*/ 24479 w 26860"/>
                  <a:gd name="connsiteY12" fmla="*/ 58388 h 60959"/>
                  <a:gd name="connsiteX13" fmla="*/ 18288 w 26860"/>
                  <a:gd name="connsiteY13" fmla="*/ 60960 h 60959"/>
                  <a:gd name="connsiteX14" fmla="*/ 9811 w 26860"/>
                  <a:gd name="connsiteY14" fmla="*/ 49339 h 60959"/>
                  <a:gd name="connsiteX15" fmla="*/ 8001 w 26860"/>
                  <a:gd name="connsiteY15" fmla="*/ 34861 h 60959"/>
                  <a:gd name="connsiteX16" fmla="*/ 5810 w 26860"/>
                  <a:gd name="connsiteY16" fmla="*/ 21050 h 60959"/>
                  <a:gd name="connsiteX17" fmla="*/ 1905 w 26860"/>
                  <a:gd name="connsiteY17" fmla="*/ 12382 h 60959"/>
                  <a:gd name="connsiteX18" fmla="*/ 1905 w 26860"/>
                  <a:gd name="connsiteY18" fmla="*/ 12382 h 6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60" h="60959">
                    <a:moveTo>
                      <a:pt x="1905" y="12382"/>
                    </a:moveTo>
                    <a:lnTo>
                      <a:pt x="1905" y="12382"/>
                    </a:lnTo>
                    <a:lnTo>
                      <a:pt x="0" y="7239"/>
                    </a:lnTo>
                    <a:lnTo>
                      <a:pt x="286" y="0"/>
                    </a:lnTo>
                    <a:lnTo>
                      <a:pt x="6953" y="4191"/>
                    </a:lnTo>
                    <a:lnTo>
                      <a:pt x="9906" y="9049"/>
                    </a:lnTo>
                    <a:lnTo>
                      <a:pt x="14668" y="20764"/>
                    </a:lnTo>
                    <a:lnTo>
                      <a:pt x="20002" y="34766"/>
                    </a:lnTo>
                    <a:lnTo>
                      <a:pt x="18574" y="43053"/>
                    </a:lnTo>
                    <a:lnTo>
                      <a:pt x="23336" y="47054"/>
                    </a:lnTo>
                    <a:lnTo>
                      <a:pt x="26860" y="51911"/>
                    </a:lnTo>
                    <a:lnTo>
                      <a:pt x="26575" y="55817"/>
                    </a:lnTo>
                    <a:lnTo>
                      <a:pt x="24479" y="58388"/>
                    </a:lnTo>
                    <a:lnTo>
                      <a:pt x="18288" y="60960"/>
                    </a:lnTo>
                    <a:lnTo>
                      <a:pt x="9811" y="49339"/>
                    </a:lnTo>
                    <a:lnTo>
                      <a:pt x="8001" y="34861"/>
                    </a:lnTo>
                    <a:lnTo>
                      <a:pt x="5810" y="21050"/>
                    </a:lnTo>
                    <a:lnTo>
                      <a:pt x="1905" y="12382"/>
                    </a:lnTo>
                    <a:lnTo>
                      <a:pt x="1905" y="12382"/>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60" name="Freeform: Shape 359">
                <a:extLst>
                  <a:ext uri="{FF2B5EF4-FFF2-40B4-BE49-F238E27FC236}">
                    <a16:creationId xmlns:a16="http://schemas.microsoft.com/office/drawing/2014/main" id="{2EE6FDC4-96D6-4EA9-B9E0-EB9F8645A630}"/>
                  </a:ext>
                </a:extLst>
              </p:cNvPr>
              <p:cNvSpPr/>
              <p:nvPr/>
            </p:nvSpPr>
            <p:spPr>
              <a:xfrm>
                <a:off x="12939889" y="4306458"/>
                <a:ext cx="35052" cy="78390"/>
              </a:xfrm>
              <a:custGeom>
                <a:avLst/>
                <a:gdLst>
                  <a:gd name="connsiteX0" fmla="*/ 8953 w 35052"/>
                  <a:gd name="connsiteY0" fmla="*/ 5525 h 78390"/>
                  <a:gd name="connsiteX1" fmla="*/ 8953 w 35052"/>
                  <a:gd name="connsiteY1" fmla="*/ 5525 h 78390"/>
                  <a:gd name="connsiteX2" fmla="*/ 9144 w 35052"/>
                  <a:gd name="connsiteY2" fmla="*/ 15526 h 78390"/>
                  <a:gd name="connsiteX3" fmla="*/ 16097 w 35052"/>
                  <a:gd name="connsiteY3" fmla="*/ 28004 h 78390"/>
                  <a:gd name="connsiteX4" fmla="*/ 21812 w 35052"/>
                  <a:gd name="connsiteY4" fmla="*/ 35147 h 78390"/>
                  <a:gd name="connsiteX5" fmla="*/ 23336 w 35052"/>
                  <a:gd name="connsiteY5" fmla="*/ 40291 h 78390"/>
                  <a:gd name="connsiteX6" fmla="*/ 23336 w 35052"/>
                  <a:gd name="connsiteY6" fmla="*/ 50292 h 78390"/>
                  <a:gd name="connsiteX7" fmla="*/ 26670 w 35052"/>
                  <a:gd name="connsiteY7" fmla="*/ 54578 h 78390"/>
                  <a:gd name="connsiteX8" fmla="*/ 30194 w 35052"/>
                  <a:gd name="connsiteY8" fmla="*/ 62770 h 78390"/>
                  <a:gd name="connsiteX9" fmla="*/ 35052 w 35052"/>
                  <a:gd name="connsiteY9" fmla="*/ 77724 h 78390"/>
                  <a:gd name="connsiteX10" fmla="*/ 33528 w 35052"/>
                  <a:gd name="connsiteY10" fmla="*/ 78391 h 78390"/>
                  <a:gd name="connsiteX11" fmla="*/ 21050 w 35052"/>
                  <a:gd name="connsiteY11" fmla="*/ 64961 h 78390"/>
                  <a:gd name="connsiteX12" fmla="*/ 14002 w 35052"/>
                  <a:gd name="connsiteY12" fmla="*/ 52388 h 78390"/>
                  <a:gd name="connsiteX13" fmla="*/ 10382 w 35052"/>
                  <a:gd name="connsiteY13" fmla="*/ 43529 h 78390"/>
                  <a:gd name="connsiteX14" fmla="*/ 4286 w 35052"/>
                  <a:gd name="connsiteY14" fmla="*/ 33528 h 78390"/>
                  <a:gd name="connsiteX15" fmla="*/ 286 w 35052"/>
                  <a:gd name="connsiteY15" fmla="*/ 20765 h 78390"/>
                  <a:gd name="connsiteX16" fmla="*/ 0 w 35052"/>
                  <a:gd name="connsiteY16" fmla="*/ 11621 h 78390"/>
                  <a:gd name="connsiteX17" fmla="*/ 1905 w 35052"/>
                  <a:gd name="connsiteY17" fmla="*/ 0 h 78390"/>
                  <a:gd name="connsiteX18" fmla="*/ 8953 w 35052"/>
                  <a:gd name="connsiteY18" fmla="*/ 5525 h 78390"/>
                  <a:gd name="connsiteX19" fmla="*/ 8953 w 35052"/>
                  <a:gd name="connsiteY19" fmla="*/ 5525 h 78390"/>
                  <a:gd name="connsiteX20" fmla="*/ 8953 w 35052"/>
                  <a:gd name="connsiteY20" fmla="*/ 5525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52" h="78390">
                    <a:moveTo>
                      <a:pt x="8953" y="5525"/>
                    </a:moveTo>
                    <a:lnTo>
                      <a:pt x="8953" y="5525"/>
                    </a:lnTo>
                    <a:lnTo>
                      <a:pt x="9144" y="15526"/>
                    </a:lnTo>
                    <a:lnTo>
                      <a:pt x="16097" y="28004"/>
                    </a:lnTo>
                    <a:lnTo>
                      <a:pt x="21812" y="35147"/>
                    </a:lnTo>
                    <a:lnTo>
                      <a:pt x="23336" y="40291"/>
                    </a:lnTo>
                    <a:lnTo>
                      <a:pt x="23336" y="50292"/>
                    </a:lnTo>
                    <a:lnTo>
                      <a:pt x="26670" y="54578"/>
                    </a:lnTo>
                    <a:lnTo>
                      <a:pt x="30194" y="62770"/>
                    </a:lnTo>
                    <a:lnTo>
                      <a:pt x="35052" y="77724"/>
                    </a:lnTo>
                    <a:lnTo>
                      <a:pt x="33528" y="78391"/>
                    </a:lnTo>
                    <a:lnTo>
                      <a:pt x="21050" y="64961"/>
                    </a:lnTo>
                    <a:lnTo>
                      <a:pt x="14002" y="52388"/>
                    </a:lnTo>
                    <a:lnTo>
                      <a:pt x="10382" y="43529"/>
                    </a:lnTo>
                    <a:lnTo>
                      <a:pt x="4286" y="33528"/>
                    </a:lnTo>
                    <a:lnTo>
                      <a:pt x="286" y="20765"/>
                    </a:lnTo>
                    <a:lnTo>
                      <a:pt x="0" y="11621"/>
                    </a:lnTo>
                    <a:lnTo>
                      <a:pt x="1905" y="0"/>
                    </a:lnTo>
                    <a:lnTo>
                      <a:pt x="8953" y="5525"/>
                    </a:lnTo>
                    <a:lnTo>
                      <a:pt x="8953" y="5525"/>
                    </a:lnTo>
                    <a:lnTo>
                      <a:pt x="8953" y="552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61" name="Freeform: Shape 360">
                <a:extLst>
                  <a:ext uri="{FF2B5EF4-FFF2-40B4-BE49-F238E27FC236}">
                    <a16:creationId xmlns:a16="http://schemas.microsoft.com/office/drawing/2014/main" id="{B083C8B9-1D76-4D34-83BE-D53113ABA339}"/>
                  </a:ext>
                </a:extLst>
              </p:cNvPr>
              <p:cNvSpPr/>
              <p:nvPr/>
            </p:nvSpPr>
            <p:spPr>
              <a:xfrm>
                <a:off x="13016946" y="4154154"/>
                <a:ext cx="44005" cy="127063"/>
              </a:xfrm>
              <a:custGeom>
                <a:avLst/>
                <a:gdLst>
                  <a:gd name="connsiteX0" fmla="*/ 26670 w 44005"/>
                  <a:gd name="connsiteY0" fmla="*/ 40196 h 127063"/>
                  <a:gd name="connsiteX1" fmla="*/ 26670 w 44005"/>
                  <a:gd name="connsiteY1" fmla="*/ 40196 h 127063"/>
                  <a:gd name="connsiteX2" fmla="*/ 33909 w 44005"/>
                  <a:gd name="connsiteY2" fmla="*/ 46672 h 127063"/>
                  <a:gd name="connsiteX3" fmla="*/ 36957 w 44005"/>
                  <a:gd name="connsiteY3" fmla="*/ 55817 h 127063"/>
                  <a:gd name="connsiteX4" fmla="*/ 41529 w 44005"/>
                  <a:gd name="connsiteY4" fmla="*/ 59246 h 127063"/>
                  <a:gd name="connsiteX5" fmla="*/ 44005 w 44005"/>
                  <a:gd name="connsiteY5" fmla="*/ 62770 h 127063"/>
                  <a:gd name="connsiteX6" fmla="*/ 40862 w 44005"/>
                  <a:gd name="connsiteY6" fmla="*/ 77819 h 127063"/>
                  <a:gd name="connsiteX7" fmla="*/ 41053 w 44005"/>
                  <a:gd name="connsiteY7" fmla="*/ 88963 h 127063"/>
                  <a:gd name="connsiteX8" fmla="*/ 38862 w 44005"/>
                  <a:gd name="connsiteY8" fmla="*/ 92964 h 127063"/>
                  <a:gd name="connsiteX9" fmla="*/ 28956 w 44005"/>
                  <a:gd name="connsiteY9" fmla="*/ 99060 h 127063"/>
                  <a:gd name="connsiteX10" fmla="*/ 27622 w 44005"/>
                  <a:gd name="connsiteY10" fmla="*/ 117538 h 127063"/>
                  <a:gd name="connsiteX11" fmla="*/ 22289 w 44005"/>
                  <a:gd name="connsiteY11" fmla="*/ 115062 h 127063"/>
                  <a:gd name="connsiteX12" fmla="*/ 17621 w 44005"/>
                  <a:gd name="connsiteY12" fmla="*/ 122015 h 127063"/>
                  <a:gd name="connsiteX13" fmla="*/ 10668 w 44005"/>
                  <a:gd name="connsiteY13" fmla="*/ 119825 h 127063"/>
                  <a:gd name="connsiteX14" fmla="*/ 9049 w 44005"/>
                  <a:gd name="connsiteY14" fmla="*/ 127063 h 127063"/>
                  <a:gd name="connsiteX15" fmla="*/ 2762 w 44005"/>
                  <a:gd name="connsiteY15" fmla="*/ 124111 h 127063"/>
                  <a:gd name="connsiteX16" fmla="*/ 3048 w 44005"/>
                  <a:gd name="connsiteY16" fmla="*/ 118967 h 127063"/>
                  <a:gd name="connsiteX17" fmla="*/ 7715 w 44005"/>
                  <a:gd name="connsiteY17" fmla="*/ 115062 h 127063"/>
                  <a:gd name="connsiteX18" fmla="*/ 4858 w 44005"/>
                  <a:gd name="connsiteY18" fmla="*/ 98774 h 127063"/>
                  <a:gd name="connsiteX19" fmla="*/ 0 w 44005"/>
                  <a:gd name="connsiteY19" fmla="*/ 84201 h 127063"/>
                  <a:gd name="connsiteX20" fmla="*/ 6191 w 44005"/>
                  <a:gd name="connsiteY20" fmla="*/ 72104 h 127063"/>
                  <a:gd name="connsiteX21" fmla="*/ 8191 w 44005"/>
                  <a:gd name="connsiteY21" fmla="*/ 62579 h 127063"/>
                  <a:gd name="connsiteX22" fmla="*/ 17812 w 44005"/>
                  <a:gd name="connsiteY22" fmla="*/ 67532 h 127063"/>
                  <a:gd name="connsiteX23" fmla="*/ 11430 w 44005"/>
                  <a:gd name="connsiteY23" fmla="*/ 53150 h 127063"/>
                  <a:gd name="connsiteX24" fmla="*/ 5524 w 44005"/>
                  <a:gd name="connsiteY24" fmla="*/ 39910 h 127063"/>
                  <a:gd name="connsiteX25" fmla="*/ 952 w 44005"/>
                  <a:gd name="connsiteY25" fmla="*/ 26956 h 127063"/>
                  <a:gd name="connsiteX26" fmla="*/ 7239 w 44005"/>
                  <a:gd name="connsiteY26" fmla="*/ 16859 h 127063"/>
                  <a:gd name="connsiteX27" fmla="*/ 3905 w 44005"/>
                  <a:gd name="connsiteY27" fmla="*/ 0 h 127063"/>
                  <a:gd name="connsiteX28" fmla="*/ 6572 w 44005"/>
                  <a:gd name="connsiteY28" fmla="*/ 190 h 127063"/>
                  <a:gd name="connsiteX29" fmla="*/ 13716 w 44005"/>
                  <a:gd name="connsiteY29" fmla="*/ 11621 h 127063"/>
                  <a:gd name="connsiteX30" fmla="*/ 20669 w 44005"/>
                  <a:gd name="connsiteY30" fmla="*/ 23431 h 127063"/>
                  <a:gd name="connsiteX31" fmla="*/ 26670 w 44005"/>
                  <a:gd name="connsiteY31" fmla="*/ 40196 h 127063"/>
                  <a:gd name="connsiteX32" fmla="*/ 26670 w 44005"/>
                  <a:gd name="connsiteY32" fmla="*/ 40196 h 127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4005" h="127063">
                    <a:moveTo>
                      <a:pt x="26670" y="40196"/>
                    </a:moveTo>
                    <a:lnTo>
                      <a:pt x="26670" y="40196"/>
                    </a:lnTo>
                    <a:lnTo>
                      <a:pt x="33909" y="46672"/>
                    </a:lnTo>
                    <a:lnTo>
                      <a:pt x="36957" y="55817"/>
                    </a:lnTo>
                    <a:lnTo>
                      <a:pt x="41529" y="59246"/>
                    </a:lnTo>
                    <a:lnTo>
                      <a:pt x="44005" y="62770"/>
                    </a:lnTo>
                    <a:lnTo>
                      <a:pt x="40862" y="77819"/>
                    </a:lnTo>
                    <a:lnTo>
                      <a:pt x="41053" y="88963"/>
                    </a:lnTo>
                    <a:lnTo>
                      <a:pt x="38862" y="92964"/>
                    </a:lnTo>
                    <a:lnTo>
                      <a:pt x="28956" y="99060"/>
                    </a:lnTo>
                    <a:lnTo>
                      <a:pt x="27622" y="117538"/>
                    </a:lnTo>
                    <a:lnTo>
                      <a:pt x="22289" y="115062"/>
                    </a:lnTo>
                    <a:lnTo>
                      <a:pt x="17621" y="122015"/>
                    </a:lnTo>
                    <a:lnTo>
                      <a:pt x="10668" y="119825"/>
                    </a:lnTo>
                    <a:lnTo>
                      <a:pt x="9049" y="127063"/>
                    </a:lnTo>
                    <a:lnTo>
                      <a:pt x="2762" y="124111"/>
                    </a:lnTo>
                    <a:lnTo>
                      <a:pt x="3048" y="118967"/>
                    </a:lnTo>
                    <a:lnTo>
                      <a:pt x="7715" y="115062"/>
                    </a:lnTo>
                    <a:lnTo>
                      <a:pt x="4858" y="98774"/>
                    </a:lnTo>
                    <a:lnTo>
                      <a:pt x="0" y="84201"/>
                    </a:lnTo>
                    <a:lnTo>
                      <a:pt x="6191" y="72104"/>
                    </a:lnTo>
                    <a:lnTo>
                      <a:pt x="8191" y="62579"/>
                    </a:lnTo>
                    <a:lnTo>
                      <a:pt x="17812" y="67532"/>
                    </a:lnTo>
                    <a:lnTo>
                      <a:pt x="11430" y="53150"/>
                    </a:lnTo>
                    <a:lnTo>
                      <a:pt x="5524" y="39910"/>
                    </a:lnTo>
                    <a:lnTo>
                      <a:pt x="952" y="26956"/>
                    </a:lnTo>
                    <a:lnTo>
                      <a:pt x="7239" y="16859"/>
                    </a:lnTo>
                    <a:lnTo>
                      <a:pt x="3905" y="0"/>
                    </a:lnTo>
                    <a:lnTo>
                      <a:pt x="6572" y="190"/>
                    </a:lnTo>
                    <a:lnTo>
                      <a:pt x="13716" y="11621"/>
                    </a:lnTo>
                    <a:lnTo>
                      <a:pt x="20669" y="23431"/>
                    </a:lnTo>
                    <a:lnTo>
                      <a:pt x="26670" y="40196"/>
                    </a:lnTo>
                    <a:lnTo>
                      <a:pt x="26670" y="4019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62" name="Freeform: Shape 361">
                <a:extLst>
                  <a:ext uri="{FF2B5EF4-FFF2-40B4-BE49-F238E27FC236}">
                    <a16:creationId xmlns:a16="http://schemas.microsoft.com/office/drawing/2014/main" id="{43382470-8B79-45F6-8895-F635BF38875D}"/>
                  </a:ext>
                </a:extLst>
              </p:cNvPr>
              <p:cNvSpPr/>
              <p:nvPr/>
            </p:nvSpPr>
            <p:spPr>
              <a:xfrm>
                <a:off x="14699537" y="4761944"/>
                <a:ext cx="178784" cy="148970"/>
              </a:xfrm>
              <a:custGeom>
                <a:avLst/>
                <a:gdLst>
                  <a:gd name="connsiteX0" fmla="*/ 58769 w 178784"/>
                  <a:gd name="connsiteY0" fmla="*/ 114395 h 148970"/>
                  <a:gd name="connsiteX1" fmla="*/ 58769 w 178784"/>
                  <a:gd name="connsiteY1" fmla="*/ 114395 h 148970"/>
                  <a:gd name="connsiteX2" fmla="*/ 31242 w 178784"/>
                  <a:gd name="connsiteY2" fmla="*/ 116014 h 148970"/>
                  <a:gd name="connsiteX3" fmla="*/ 24098 w 178784"/>
                  <a:gd name="connsiteY3" fmla="*/ 107156 h 148970"/>
                  <a:gd name="connsiteX4" fmla="*/ 1429 w 178784"/>
                  <a:gd name="connsiteY4" fmla="*/ 107823 h 148970"/>
                  <a:gd name="connsiteX5" fmla="*/ 0 w 178784"/>
                  <a:gd name="connsiteY5" fmla="*/ 83153 h 148970"/>
                  <a:gd name="connsiteX6" fmla="*/ 8858 w 178784"/>
                  <a:gd name="connsiteY6" fmla="*/ 68961 h 148970"/>
                  <a:gd name="connsiteX7" fmla="*/ 6096 w 178784"/>
                  <a:gd name="connsiteY7" fmla="*/ 56388 h 148970"/>
                  <a:gd name="connsiteX8" fmla="*/ 13430 w 178784"/>
                  <a:gd name="connsiteY8" fmla="*/ 42005 h 148970"/>
                  <a:gd name="connsiteX9" fmla="*/ 19621 w 178784"/>
                  <a:gd name="connsiteY9" fmla="*/ 22098 h 148970"/>
                  <a:gd name="connsiteX10" fmla="*/ 31813 w 178784"/>
                  <a:gd name="connsiteY10" fmla="*/ 13716 h 148970"/>
                  <a:gd name="connsiteX11" fmla="*/ 41243 w 178784"/>
                  <a:gd name="connsiteY11" fmla="*/ 0 h 148970"/>
                  <a:gd name="connsiteX12" fmla="*/ 51816 w 178784"/>
                  <a:gd name="connsiteY12" fmla="*/ 4191 h 148970"/>
                  <a:gd name="connsiteX13" fmla="*/ 63627 w 178784"/>
                  <a:gd name="connsiteY13" fmla="*/ 16859 h 148970"/>
                  <a:gd name="connsiteX14" fmla="*/ 52483 w 178784"/>
                  <a:gd name="connsiteY14" fmla="*/ 27146 h 148970"/>
                  <a:gd name="connsiteX15" fmla="*/ 45625 w 178784"/>
                  <a:gd name="connsiteY15" fmla="*/ 40291 h 148970"/>
                  <a:gd name="connsiteX16" fmla="*/ 55054 w 178784"/>
                  <a:gd name="connsiteY16" fmla="*/ 48673 h 148970"/>
                  <a:gd name="connsiteX17" fmla="*/ 43148 w 178784"/>
                  <a:gd name="connsiteY17" fmla="*/ 60770 h 148970"/>
                  <a:gd name="connsiteX18" fmla="*/ 47720 w 178784"/>
                  <a:gd name="connsiteY18" fmla="*/ 63913 h 148970"/>
                  <a:gd name="connsiteX19" fmla="*/ 57150 w 178784"/>
                  <a:gd name="connsiteY19" fmla="*/ 59150 h 148970"/>
                  <a:gd name="connsiteX20" fmla="*/ 73914 w 178784"/>
                  <a:gd name="connsiteY20" fmla="*/ 62389 h 148970"/>
                  <a:gd name="connsiteX21" fmla="*/ 91154 w 178784"/>
                  <a:gd name="connsiteY21" fmla="*/ 49625 h 148970"/>
                  <a:gd name="connsiteX22" fmla="*/ 97822 w 178784"/>
                  <a:gd name="connsiteY22" fmla="*/ 50387 h 148970"/>
                  <a:gd name="connsiteX23" fmla="*/ 100489 w 178784"/>
                  <a:gd name="connsiteY23" fmla="*/ 58102 h 148970"/>
                  <a:gd name="connsiteX24" fmla="*/ 104299 w 178784"/>
                  <a:gd name="connsiteY24" fmla="*/ 59722 h 148970"/>
                  <a:gd name="connsiteX25" fmla="*/ 116014 w 178784"/>
                  <a:gd name="connsiteY25" fmla="*/ 61531 h 148970"/>
                  <a:gd name="connsiteX26" fmla="*/ 107728 w 178784"/>
                  <a:gd name="connsiteY26" fmla="*/ 52864 h 148970"/>
                  <a:gd name="connsiteX27" fmla="*/ 113157 w 178784"/>
                  <a:gd name="connsiteY27" fmla="*/ 38671 h 148970"/>
                  <a:gd name="connsiteX28" fmla="*/ 123730 w 178784"/>
                  <a:gd name="connsiteY28" fmla="*/ 40005 h 148970"/>
                  <a:gd name="connsiteX29" fmla="*/ 139351 w 178784"/>
                  <a:gd name="connsiteY29" fmla="*/ 34766 h 148970"/>
                  <a:gd name="connsiteX30" fmla="*/ 134017 w 178784"/>
                  <a:gd name="connsiteY30" fmla="*/ 50863 h 148970"/>
                  <a:gd name="connsiteX31" fmla="*/ 120491 w 178784"/>
                  <a:gd name="connsiteY31" fmla="*/ 62484 h 148970"/>
                  <a:gd name="connsiteX32" fmla="*/ 128588 w 178784"/>
                  <a:gd name="connsiteY32" fmla="*/ 73819 h 148970"/>
                  <a:gd name="connsiteX33" fmla="*/ 136779 w 178784"/>
                  <a:gd name="connsiteY33" fmla="*/ 64484 h 148970"/>
                  <a:gd name="connsiteX34" fmla="*/ 142399 w 178784"/>
                  <a:gd name="connsiteY34" fmla="*/ 74771 h 148970"/>
                  <a:gd name="connsiteX35" fmla="*/ 155353 w 178784"/>
                  <a:gd name="connsiteY35" fmla="*/ 66008 h 148970"/>
                  <a:gd name="connsiteX36" fmla="*/ 166497 w 178784"/>
                  <a:gd name="connsiteY36" fmla="*/ 77533 h 148970"/>
                  <a:gd name="connsiteX37" fmla="*/ 177165 w 178784"/>
                  <a:gd name="connsiteY37" fmla="*/ 80867 h 148970"/>
                  <a:gd name="connsiteX38" fmla="*/ 178784 w 178784"/>
                  <a:gd name="connsiteY38" fmla="*/ 84392 h 148970"/>
                  <a:gd name="connsiteX39" fmla="*/ 163544 w 178784"/>
                  <a:gd name="connsiteY39" fmla="*/ 111062 h 148970"/>
                  <a:gd name="connsiteX40" fmla="*/ 144399 w 178784"/>
                  <a:gd name="connsiteY40" fmla="*/ 131254 h 148970"/>
                  <a:gd name="connsiteX41" fmla="*/ 130111 w 178784"/>
                  <a:gd name="connsiteY41" fmla="*/ 136970 h 148970"/>
                  <a:gd name="connsiteX42" fmla="*/ 115824 w 178784"/>
                  <a:gd name="connsiteY42" fmla="*/ 148971 h 148970"/>
                  <a:gd name="connsiteX43" fmla="*/ 103537 w 178784"/>
                  <a:gd name="connsiteY43" fmla="*/ 146304 h 148970"/>
                  <a:gd name="connsiteX44" fmla="*/ 97536 w 178784"/>
                  <a:gd name="connsiteY44" fmla="*/ 141732 h 148970"/>
                  <a:gd name="connsiteX45" fmla="*/ 99346 w 178784"/>
                  <a:gd name="connsiteY45" fmla="*/ 134112 h 148970"/>
                  <a:gd name="connsiteX46" fmla="*/ 97441 w 178784"/>
                  <a:gd name="connsiteY46" fmla="*/ 128111 h 148970"/>
                  <a:gd name="connsiteX47" fmla="*/ 90297 w 178784"/>
                  <a:gd name="connsiteY47" fmla="*/ 117824 h 148970"/>
                  <a:gd name="connsiteX48" fmla="*/ 99250 w 178784"/>
                  <a:gd name="connsiteY48" fmla="*/ 105251 h 148970"/>
                  <a:gd name="connsiteX49" fmla="*/ 92297 w 178784"/>
                  <a:gd name="connsiteY49" fmla="*/ 106871 h 148970"/>
                  <a:gd name="connsiteX50" fmla="*/ 86106 w 178784"/>
                  <a:gd name="connsiteY50" fmla="*/ 113062 h 148970"/>
                  <a:gd name="connsiteX51" fmla="*/ 71438 w 178784"/>
                  <a:gd name="connsiteY51" fmla="*/ 112776 h 148970"/>
                  <a:gd name="connsiteX52" fmla="*/ 58769 w 178784"/>
                  <a:gd name="connsiteY52" fmla="*/ 114395 h 148970"/>
                  <a:gd name="connsiteX53" fmla="*/ 58769 w 178784"/>
                  <a:gd name="connsiteY53" fmla="*/ 114395 h 148970"/>
                  <a:gd name="connsiteX54" fmla="*/ 58769 w 178784"/>
                  <a:gd name="connsiteY54" fmla="*/ 114395 h 148970"/>
                  <a:gd name="connsiteX55" fmla="*/ 58769 w 178784"/>
                  <a:gd name="connsiteY55" fmla="*/ 114395 h 14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8784" h="148970">
                    <a:moveTo>
                      <a:pt x="58769" y="114395"/>
                    </a:moveTo>
                    <a:lnTo>
                      <a:pt x="58769" y="114395"/>
                    </a:lnTo>
                    <a:lnTo>
                      <a:pt x="31242" y="116014"/>
                    </a:lnTo>
                    <a:lnTo>
                      <a:pt x="24098" y="107156"/>
                    </a:lnTo>
                    <a:lnTo>
                      <a:pt x="1429" y="107823"/>
                    </a:lnTo>
                    <a:lnTo>
                      <a:pt x="0" y="83153"/>
                    </a:lnTo>
                    <a:lnTo>
                      <a:pt x="8858" y="68961"/>
                    </a:lnTo>
                    <a:lnTo>
                      <a:pt x="6096" y="56388"/>
                    </a:lnTo>
                    <a:lnTo>
                      <a:pt x="13430" y="42005"/>
                    </a:lnTo>
                    <a:lnTo>
                      <a:pt x="19621" y="22098"/>
                    </a:lnTo>
                    <a:lnTo>
                      <a:pt x="31813" y="13716"/>
                    </a:lnTo>
                    <a:lnTo>
                      <a:pt x="41243" y="0"/>
                    </a:lnTo>
                    <a:lnTo>
                      <a:pt x="51816" y="4191"/>
                    </a:lnTo>
                    <a:lnTo>
                      <a:pt x="63627" y="16859"/>
                    </a:lnTo>
                    <a:lnTo>
                      <a:pt x="52483" y="27146"/>
                    </a:lnTo>
                    <a:lnTo>
                      <a:pt x="45625" y="40291"/>
                    </a:lnTo>
                    <a:lnTo>
                      <a:pt x="55054" y="48673"/>
                    </a:lnTo>
                    <a:lnTo>
                      <a:pt x="43148" y="60770"/>
                    </a:lnTo>
                    <a:lnTo>
                      <a:pt x="47720" y="63913"/>
                    </a:lnTo>
                    <a:lnTo>
                      <a:pt x="57150" y="59150"/>
                    </a:lnTo>
                    <a:lnTo>
                      <a:pt x="73914" y="62389"/>
                    </a:lnTo>
                    <a:lnTo>
                      <a:pt x="91154" y="49625"/>
                    </a:lnTo>
                    <a:lnTo>
                      <a:pt x="97822" y="50387"/>
                    </a:lnTo>
                    <a:lnTo>
                      <a:pt x="100489" y="58102"/>
                    </a:lnTo>
                    <a:lnTo>
                      <a:pt x="104299" y="59722"/>
                    </a:lnTo>
                    <a:lnTo>
                      <a:pt x="116014" y="61531"/>
                    </a:lnTo>
                    <a:lnTo>
                      <a:pt x="107728" y="52864"/>
                    </a:lnTo>
                    <a:lnTo>
                      <a:pt x="113157" y="38671"/>
                    </a:lnTo>
                    <a:lnTo>
                      <a:pt x="123730" y="40005"/>
                    </a:lnTo>
                    <a:lnTo>
                      <a:pt x="139351" y="34766"/>
                    </a:lnTo>
                    <a:lnTo>
                      <a:pt x="134017" y="50863"/>
                    </a:lnTo>
                    <a:lnTo>
                      <a:pt x="120491" y="62484"/>
                    </a:lnTo>
                    <a:lnTo>
                      <a:pt x="128588" y="73819"/>
                    </a:lnTo>
                    <a:lnTo>
                      <a:pt x="136779" y="64484"/>
                    </a:lnTo>
                    <a:lnTo>
                      <a:pt x="142399" y="74771"/>
                    </a:lnTo>
                    <a:lnTo>
                      <a:pt x="155353" y="66008"/>
                    </a:lnTo>
                    <a:lnTo>
                      <a:pt x="166497" y="77533"/>
                    </a:lnTo>
                    <a:lnTo>
                      <a:pt x="177165" y="80867"/>
                    </a:lnTo>
                    <a:lnTo>
                      <a:pt x="178784" y="84392"/>
                    </a:lnTo>
                    <a:lnTo>
                      <a:pt x="163544" y="111062"/>
                    </a:lnTo>
                    <a:lnTo>
                      <a:pt x="144399" y="131254"/>
                    </a:lnTo>
                    <a:lnTo>
                      <a:pt x="130111" y="136970"/>
                    </a:lnTo>
                    <a:lnTo>
                      <a:pt x="115824" y="148971"/>
                    </a:lnTo>
                    <a:lnTo>
                      <a:pt x="103537" y="146304"/>
                    </a:lnTo>
                    <a:lnTo>
                      <a:pt x="97536" y="141732"/>
                    </a:lnTo>
                    <a:lnTo>
                      <a:pt x="99346" y="134112"/>
                    </a:lnTo>
                    <a:lnTo>
                      <a:pt x="97441" y="128111"/>
                    </a:lnTo>
                    <a:lnTo>
                      <a:pt x="90297" y="117824"/>
                    </a:lnTo>
                    <a:lnTo>
                      <a:pt x="99250" y="105251"/>
                    </a:lnTo>
                    <a:lnTo>
                      <a:pt x="92297" y="106871"/>
                    </a:lnTo>
                    <a:lnTo>
                      <a:pt x="86106" y="113062"/>
                    </a:lnTo>
                    <a:lnTo>
                      <a:pt x="71438" y="112776"/>
                    </a:lnTo>
                    <a:lnTo>
                      <a:pt x="58769" y="114395"/>
                    </a:lnTo>
                    <a:lnTo>
                      <a:pt x="58769" y="114395"/>
                    </a:lnTo>
                    <a:lnTo>
                      <a:pt x="58769" y="114395"/>
                    </a:lnTo>
                    <a:lnTo>
                      <a:pt x="58769" y="11439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63" name="Freeform: Shape 362">
                <a:extLst>
                  <a:ext uri="{FF2B5EF4-FFF2-40B4-BE49-F238E27FC236}">
                    <a16:creationId xmlns:a16="http://schemas.microsoft.com/office/drawing/2014/main" id="{EA28CF36-D593-40D2-82A7-57AFB9AFDB37}"/>
                  </a:ext>
                </a:extLst>
              </p:cNvPr>
              <p:cNvSpPr/>
              <p:nvPr/>
            </p:nvSpPr>
            <p:spPr>
              <a:xfrm>
                <a:off x="14312155" y="4754705"/>
                <a:ext cx="39243" cy="32194"/>
              </a:xfrm>
              <a:custGeom>
                <a:avLst/>
                <a:gdLst>
                  <a:gd name="connsiteX0" fmla="*/ 0 w 39243"/>
                  <a:gd name="connsiteY0" fmla="*/ 16193 h 32194"/>
                  <a:gd name="connsiteX1" fmla="*/ 0 w 39243"/>
                  <a:gd name="connsiteY1" fmla="*/ 16193 h 32194"/>
                  <a:gd name="connsiteX2" fmla="*/ 0 w 39243"/>
                  <a:gd name="connsiteY2" fmla="*/ 16193 h 32194"/>
                  <a:gd name="connsiteX3" fmla="*/ 4286 w 39243"/>
                  <a:gd name="connsiteY3" fmla="*/ 0 h 32194"/>
                  <a:gd name="connsiteX4" fmla="*/ 28194 w 39243"/>
                  <a:gd name="connsiteY4" fmla="*/ 1810 h 32194"/>
                  <a:gd name="connsiteX5" fmla="*/ 37910 w 39243"/>
                  <a:gd name="connsiteY5" fmla="*/ 7620 h 32194"/>
                  <a:gd name="connsiteX6" fmla="*/ 38386 w 39243"/>
                  <a:gd name="connsiteY6" fmla="*/ 11335 h 32194"/>
                  <a:gd name="connsiteX7" fmla="*/ 35624 w 39243"/>
                  <a:gd name="connsiteY7" fmla="*/ 11811 h 32194"/>
                  <a:gd name="connsiteX8" fmla="*/ 39243 w 39243"/>
                  <a:gd name="connsiteY8" fmla="*/ 17717 h 32194"/>
                  <a:gd name="connsiteX9" fmla="*/ 29813 w 39243"/>
                  <a:gd name="connsiteY9" fmla="*/ 22860 h 32194"/>
                  <a:gd name="connsiteX10" fmla="*/ 31337 w 39243"/>
                  <a:gd name="connsiteY10" fmla="*/ 29813 h 32194"/>
                  <a:gd name="connsiteX11" fmla="*/ 27051 w 39243"/>
                  <a:gd name="connsiteY11" fmla="*/ 32195 h 32194"/>
                  <a:gd name="connsiteX12" fmla="*/ 24670 w 39243"/>
                  <a:gd name="connsiteY12" fmla="*/ 28194 h 32194"/>
                  <a:gd name="connsiteX13" fmla="*/ 13526 w 39243"/>
                  <a:gd name="connsiteY13" fmla="*/ 22955 h 32194"/>
                  <a:gd name="connsiteX14" fmla="*/ 10858 w 39243"/>
                  <a:gd name="connsiteY14" fmla="*/ 19241 h 32194"/>
                  <a:gd name="connsiteX15" fmla="*/ 0 w 39243"/>
                  <a:gd name="connsiteY15" fmla="*/ 16193 h 32194"/>
                  <a:gd name="connsiteX16" fmla="*/ 0 w 39243"/>
                  <a:gd name="connsiteY16" fmla="*/ 16193 h 32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43" h="32194">
                    <a:moveTo>
                      <a:pt x="0" y="16193"/>
                    </a:moveTo>
                    <a:lnTo>
                      <a:pt x="0" y="16193"/>
                    </a:lnTo>
                    <a:lnTo>
                      <a:pt x="0" y="16193"/>
                    </a:lnTo>
                    <a:lnTo>
                      <a:pt x="4286" y="0"/>
                    </a:lnTo>
                    <a:lnTo>
                      <a:pt x="28194" y="1810"/>
                    </a:lnTo>
                    <a:lnTo>
                      <a:pt x="37910" y="7620"/>
                    </a:lnTo>
                    <a:lnTo>
                      <a:pt x="38386" y="11335"/>
                    </a:lnTo>
                    <a:lnTo>
                      <a:pt x="35624" y="11811"/>
                    </a:lnTo>
                    <a:lnTo>
                      <a:pt x="39243" y="17717"/>
                    </a:lnTo>
                    <a:lnTo>
                      <a:pt x="29813" y="22860"/>
                    </a:lnTo>
                    <a:lnTo>
                      <a:pt x="31337" y="29813"/>
                    </a:lnTo>
                    <a:lnTo>
                      <a:pt x="27051" y="32195"/>
                    </a:lnTo>
                    <a:lnTo>
                      <a:pt x="24670" y="28194"/>
                    </a:lnTo>
                    <a:lnTo>
                      <a:pt x="13526" y="22955"/>
                    </a:lnTo>
                    <a:lnTo>
                      <a:pt x="10858" y="19241"/>
                    </a:lnTo>
                    <a:lnTo>
                      <a:pt x="0" y="16193"/>
                    </a:lnTo>
                    <a:lnTo>
                      <a:pt x="0" y="16193"/>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64" name="Freeform: Shape 363">
                <a:extLst>
                  <a:ext uri="{FF2B5EF4-FFF2-40B4-BE49-F238E27FC236}">
                    <a16:creationId xmlns:a16="http://schemas.microsoft.com/office/drawing/2014/main" id="{890AD271-C806-4385-8791-6F6D37BA899E}"/>
                  </a:ext>
                </a:extLst>
              </p:cNvPr>
              <p:cNvSpPr/>
              <p:nvPr/>
            </p:nvSpPr>
            <p:spPr>
              <a:xfrm>
                <a:off x="14900514" y="4366657"/>
                <a:ext cx="26955" cy="99631"/>
              </a:xfrm>
              <a:custGeom>
                <a:avLst/>
                <a:gdLst>
                  <a:gd name="connsiteX0" fmla="*/ 16383 w 26955"/>
                  <a:gd name="connsiteY0" fmla="*/ 3905 h 99631"/>
                  <a:gd name="connsiteX1" fmla="*/ 16383 w 26955"/>
                  <a:gd name="connsiteY1" fmla="*/ 3905 h 99631"/>
                  <a:gd name="connsiteX2" fmla="*/ 16383 w 26955"/>
                  <a:gd name="connsiteY2" fmla="*/ 3905 h 99631"/>
                  <a:gd name="connsiteX3" fmla="*/ 18955 w 26955"/>
                  <a:gd name="connsiteY3" fmla="*/ 0 h 99631"/>
                  <a:gd name="connsiteX4" fmla="*/ 22670 w 26955"/>
                  <a:gd name="connsiteY4" fmla="*/ 6763 h 99631"/>
                  <a:gd name="connsiteX5" fmla="*/ 22479 w 26955"/>
                  <a:gd name="connsiteY5" fmla="*/ 14383 h 99631"/>
                  <a:gd name="connsiteX6" fmla="*/ 16383 w 26955"/>
                  <a:gd name="connsiteY6" fmla="*/ 34385 h 99631"/>
                  <a:gd name="connsiteX7" fmla="*/ 8096 w 26955"/>
                  <a:gd name="connsiteY7" fmla="*/ 60008 h 99631"/>
                  <a:gd name="connsiteX8" fmla="*/ 4667 w 26955"/>
                  <a:gd name="connsiteY8" fmla="*/ 61627 h 99631"/>
                  <a:gd name="connsiteX9" fmla="*/ 7906 w 26955"/>
                  <a:gd name="connsiteY9" fmla="*/ 63437 h 99631"/>
                  <a:gd name="connsiteX10" fmla="*/ 6858 w 26955"/>
                  <a:gd name="connsiteY10" fmla="*/ 71818 h 99631"/>
                  <a:gd name="connsiteX11" fmla="*/ 11335 w 26955"/>
                  <a:gd name="connsiteY11" fmla="*/ 75438 h 99631"/>
                  <a:gd name="connsiteX12" fmla="*/ 10858 w 26955"/>
                  <a:gd name="connsiteY12" fmla="*/ 84010 h 99631"/>
                  <a:gd name="connsiteX13" fmla="*/ 26956 w 26955"/>
                  <a:gd name="connsiteY13" fmla="*/ 91726 h 99631"/>
                  <a:gd name="connsiteX14" fmla="*/ 13525 w 26955"/>
                  <a:gd name="connsiteY14" fmla="*/ 99631 h 99631"/>
                  <a:gd name="connsiteX15" fmla="*/ 10192 w 26955"/>
                  <a:gd name="connsiteY15" fmla="*/ 98584 h 99631"/>
                  <a:gd name="connsiteX16" fmla="*/ 8192 w 26955"/>
                  <a:gd name="connsiteY16" fmla="*/ 92678 h 99631"/>
                  <a:gd name="connsiteX17" fmla="*/ 5048 w 26955"/>
                  <a:gd name="connsiteY17" fmla="*/ 92869 h 99631"/>
                  <a:gd name="connsiteX18" fmla="*/ 6287 w 26955"/>
                  <a:gd name="connsiteY18" fmla="*/ 87154 h 99631"/>
                  <a:gd name="connsiteX19" fmla="*/ 2858 w 26955"/>
                  <a:gd name="connsiteY19" fmla="*/ 84963 h 99631"/>
                  <a:gd name="connsiteX20" fmla="*/ 0 w 26955"/>
                  <a:gd name="connsiteY20" fmla="*/ 69437 h 99631"/>
                  <a:gd name="connsiteX21" fmla="*/ 5810 w 26955"/>
                  <a:gd name="connsiteY21" fmla="*/ 49149 h 99631"/>
                  <a:gd name="connsiteX22" fmla="*/ 12002 w 26955"/>
                  <a:gd name="connsiteY22" fmla="*/ 33814 h 99631"/>
                  <a:gd name="connsiteX23" fmla="*/ 14383 w 26955"/>
                  <a:gd name="connsiteY23" fmla="*/ 22765 h 99631"/>
                  <a:gd name="connsiteX24" fmla="*/ 18955 w 26955"/>
                  <a:gd name="connsiteY24" fmla="*/ 16192 h 99631"/>
                  <a:gd name="connsiteX25" fmla="*/ 16002 w 26955"/>
                  <a:gd name="connsiteY25" fmla="*/ 13906 h 99631"/>
                  <a:gd name="connsiteX26" fmla="*/ 16383 w 26955"/>
                  <a:gd name="connsiteY26" fmla="*/ 3905 h 99631"/>
                  <a:gd name="connsiteX27" fmla="*/ 16383 w 26955"/>
                  <a:gd name="connsiteY27" fmla="*/ 3905 h 99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955" h="99631">
                    <a:moveTo>
                      <a:pt x="16383" y="3905"/>
                    </a:moveTo>
                    <a:lnTo>
                      <a:pt x="16383" y="3905"/>
                    </a:lnTo>
                    <a:lnTo>
                      <a:pt x="16383" y="3905"/>
                    </a:lnTo>
                    <a:lnTo>
                      <a:pt x="18955" y="0"/>
                    </a:lnTo>
                    <a:lnTo>
                      <a:pt x="22670" y="6763"/>
                    </a:lnTo>
                    <a:lnTo>
                      <a:pt x="22479" y="14383"/>
                    </a:lnTo>
                    <a:lnTo>
                      <a:pt x="16383" y="34385"/>
                    </a:lnTo>
                    <a:lnTo>
                      <a:pt x="8096" y="60008"/>
                    </a:lnTo>
                    <a:lnTo>
                      <a:pt x="4667" y="61627"/>
                    </a:lnTo>
                    <a:lnTo>
                      <a:pt x="7906" y="63437"/>
                    </a:lnTo>
                    <a:lnTo>
                      <a:pt x="6858" y="71818"/>
                    </a:lnTo>
                    <a:lnTo>
                      <a:pt x="11335" y="75438"/>
                    </a:lnTo>
                    <a:lnTo>
                      <a:pt x="10858" y="84010"/>
                    </a:lnTo>
                    <a:lnTo>
                      <a:pt x="26956" y="91726"/>
                    </a:lnTo>
                    <a:lnTo>
                      <a:pt x="13525" y="99631"/>
                    </a:lnTo>
                    <a:lnTo>
                      <a:pt x="10192" y="98584"/>
                    </a:lnTo>
                    <a:lnTo>
                      <a:pt x="8192" y="92678"/>
                    </a:lnTo>
                    <a:lnTo>
                      <a:pt x="5048" y="92869"/>
                    </a:lnTo>
                    <a:lnTo>
                      <a:pt x="6287" y="87154"/>
                    </a:lnTo>
                    <a:lnTo>
                      <a:pt x="2858" y="84963"/>
                    </a:lnTo>
                    <a:lnTo>
                      <a:pt x="0" y="69437"/>
                    </a:lnTo>
                    <a:lnTo>
                      <a:pt x="5810" y="49149"/>
                    </a:lnTo>
                    <a:lnTo>
                      <a:pt x="12002" y="33814"/>
                    </a:lnTo>
                    <a:lnTo>
                      <a:pt x="14383" y="22765"/>
                    </a:lnTo>
                    <a:lnTo>
                      <a:pt x="18955" y="16192"/>
                    </a:lnTo>
                    <a:lnTo>
                      <a:pt x="16002" y="13906"/>
                    </a:lnTo>
                    <a:lnTo>
                      <a:pt x="16383" y="3905"/>
                    </a:lnTo>
                    <a:lnTo>
                      <a:pt x="16383" y="390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65" name="Freeform: Shape 364">
                <a:extLst>
                  <a:ext uri="{FF2B5EF4-FFF2-40B4-BE49-F238E27FC236}">
                    <a16:creationId xmlns:a16="http://schemas.microsoft.com/office/drawing/2014/main" id="{B7340DD5-B435-4A46-BE08-409B068AB505}"/>
                  </a:ext>
                </a:extLst>
              </p:cNvPr>
              <p:cNvSpPr/>
              <p:nvPr/>
            </p:nvSpPr>
            <p:spPr>
              <a:xfrm>
                <a:off x="14808979" y="4670123"/>
                <a:ext cx="35242" cy="41529"/>
              </a:xfrm>
              <a:custGeom>
                <a:avLst/>
                <a:gdLst>
                  <a:gd name="connsiteX0" fmla="*/ 35242 w 35242"/>
                  <a:gd name="connsiteY0" fmla="*/ 16859 h 41529"/>
                  <a:gd name="connsiteX1" fmla="*/ 35242 w 35242"/>
                  <a:gd name="connsiteY1" fmla="*/ 16859 h 41529"/>
                  <a:gd name="connsiteX2" fmla="*/ 34290 w 35242"/>
                  <a:gd name="connsiteY2" fmla="*/ 22003 h 41529"/>
                  <a:gd name="connsiteX3" fmla="*/ 24956 w 35242"/>
                  <a:gd name="connsiteY3" fmla="*/ 30861 h 41529"/>
                  <a:gd name="connsiteX4" fmla="*/ 18193 w 35242"/>
                  <a:gd name="connsiteY4" fmla="*/ 21146 h 41529"/>
                  <a:gd name="connsiteX5" fmla="*/ 15431 w 35242"/>
                  <a:gd name="connsiteY5" fmla="*/ 19241 h 41529"/>
                  <a:gd name="connsiteX6" fmla="*/ 9239 w 35242"/>
                  <a:gd name="connsiteY6" fmla="*/ 23431 h 41529"/>
                  <a:gd name="connsiteX7" fmla="*/ 12859 w 35242"/>
                  <a:gd name="connsiteY7" fmla="*/ 26479 h 41529"/>
                  <a:gd name="connsiteX8" fmla="*/ 18288 w 35242"/>
                  <a:gd name="connsiteY8" fmla="*/ 29718 h 41529"/>
                  <a:gd name="connsiteX9" fmla="*/ 22098 w 35242"/>
                  <a:gd name="connsiteY9" fmla="*/ 40672 h 41529"/>
                  <a:gd name="connsiteX10" fmla="*/ 16383 w 35242"/>
                  <a:gd name="connsiteY10" fmla="*/ 41529 h 41529"/>
                  <a:gd name="connsiteX11" fmla="*/ 10287 w 35242"/>
                  <a:gd name="connsiteY11" fmla="*/ 37719 h 41529"/>
                  <a:gd name="connsiteX12" fmla="*/ 4953 w 35242"/>
                  <a:gd name="connsiteY12" fmla="*/ 26289 h 41529"/>
                  <a:gd name="connsiteX13" fmla="*/ 0 w 35242"/>
                  <a:gd name="connsiteY13" fmla="*/ 21526 h 41529"/>
                  <a:gd name="connsiteX14" fmla="*/ 2858 w 35242"/>
                  <a:gd name="connsiteY14" fmla="*/ 14859 h 41529"/>
                  <a:gd name="connsiteX15" fmla="*/ 9239 w 35242"/>
                  <a:gd name="connsiteY15" fmla="*/ 12097 h 41529"/>
                  <a:gd name="connsiteX16" fmla="*/ 381 w 35242"/>
                  <a:gd name="connsiteY16" fmla="*/ 6382 h 41529"/>
                  <a:gd name="connsiteX17" fmla="*/ 2953 w 35242"/>
                  <a:gd name="connsiteY17" fmla="*/ 3810 h 41529"/>
                  <a:gd name="connsiteX18" fmla="*/ 8382 w 35242"/>
                  <a:gd name="connsiteY18" fmla="*/ 0 h 41529"/>
                  <a:gd name="connsiteX19" fmla="*/ 11525 w 35242"/>
                  <a:gd name="connsiteY19" fmla="*/ 1905 h 41529"/>
                  <a:gd name="connsiteX20" fmla="*/ 11240 w 35242"/>
                  <a:gd name="connsiteY20" fmla="*/ 5143 h 41529"/>
                  <a:gd name="connsiteX21" fmla="*/ 14669 w 35242"/>
                  <a:gd name="connsiteY21" fmla="*/ 9239 h 41529"/>
                  <a:gd name="connsiteX22" fmla="*/ 16288 w 35242"/>
                  <a:gd name="connsiteY22" fmla="*/ 4572 h 41529"/>
                  <a:gd name="connsiteX23" fmla="*/ 29146 w 35242"/>
                  <a:gd name="connsiteY23" fmla="*/ 9620 h 41529"/>
                  <a:gd name="connsiteX24" fmla="*/ 35242 w 35242"/>
                  <a:gd name="connsiteY24" fmla="*/ 16859 h 41529"/>
                  <a:gd name="connsiteX25" fmla="*/ 35242 w 35242"/>
                  <a:gd name="connsiteY25" fmla="*/ 16859 h 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242" h="41529">
                    <a:moveTo>
                      <a:pt x="35242" y="16859"/>
                    </a:moveTo>
                    <a:lnTo>
                      <a:pt x="35242" y="16859"/>
                    </a:lnTo>
                    <a:lnTo>
                      <a:pt x="34290" y="22003"/>
                    </a:lnTo>
                    <a:lnTo>
                      <a:pt x="24956" y="30861"/>
                    </a:lnTo>
                    <a:lnTo>
                      <a:pt x="18193" y="21146"/>
                    </a:lnTo>
                    <a:lnTo>
                      <a:pt x="15431" y="19241"/>
                    </a:lnTo>
                    <a:lnTo>
                      <a:pt x="9239" y="23431"/>
                    </a:lnTo>
                    <a:lnTo>
                      <a:pt x="12859" y="26479"/>
                    </a:lnTo>
                    <a:lnTo>
                      <a:pt x="18288" y="29718"/>
                    </a:lnTo>
                    <a:lnTo>
                      <a:pt x="22098" y="40672"/>
                    </a:lnTo>
                    <a:lnTo>
                      <a:pt x="16383" y="41529"/>
                    </a:lnTo>
                    <a:lnTo>
                      <a:pt x="10287" y="37719"/>
                    </a:lnTo>
                    <a:lnTo>
                      <a:pt x="4953" y="26289"/>
                    </a:lnTo>
                    <a:lnTo>
                      <a:pt x="0" y="21526"/>
                    </a:lnTo>
                    <a:lnTo>
                      <a:pt x="2858" y="14859"/>
                    </a:lnTo>
                    <a:lnTo>
                      <a:pt x="9239" y="12097"/>
                    </a:lnTo>
                    <a:lnTo>
                      <a:pt x="381" y="6382"/>
                    </a:lnTo>
                    <a:lnTo>
                      <a:pt x="2953" y="3810"/>
                    </a:lnTo>
                    <a:lnTo>
                      <a:pt x="8382" y="0"/>
                    </a:lnTo>
                    <a:lnTo>
                      <a:pt x="11525" y="1905"/>
                    </a:lnTo>
                    <a:lnTo>
                      <a:pt x="11240" y="5143"/>
                    </a:lnTo>
                    <a:lnTo>
                      <a:pt x="14669" y="9239"/>
                    </a:lnTo>
                    <a:lnTo>
                      <a:pt x="16288" y="4572"/>
                    </a:lnTo>
                    <a:lnTo>
                      <a:pt x="29146" y="9620"/>
                    </a:lnTo>
                    <a:lnTo>
                      <a:pt x="35242" y="16859"/>
                    </a:lnTo>
                    <a:lnTo>
                      <a:pt x="35242" y="16859"/>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66" name="Freeform: Shape 365">
                <a:extLst>
                  <a:ext uri="{FF2B5EF4-FFF2-40B4-BE49-F238E27FC236}">
                    <a16:creationId xmlns:a16="http://schemas.microsoft.com/office/drawing/2014/main" id="{559E47E5-7880-439C-AD70-6728ECFA8491}"/>
                  </a:ext>
                </a:extLst>
              </p:cNvPr>
              <p:cNvSpPr/>
              <p:nvPr/>
            </p:nvSpPr>
            <p:spPr>
              <a:xfrm>
                <a:off x="14134228" y="4879959"/>
                <a:ext cx="16954" cy="20097"/>
              </a:xfrm>
              <a:custGeom>
                <a:avLst/>
                <a:gdLst>
                  <a:gd name="connsiteX0" fmla="*/ 16192 w 16954"/>
                  <a:gd name="connsiteY0" fmla="*/ 1524 h 20097"/>
                  <a:gd name="connsiteX1" fmla="*/ 16192 w 16954"/>
                  <a:gd name="connsiteY1" fmla="*/ 1524 h 20097"/>
                  <a:gd name="connsiteX2" fmla="*/ 16192 w 16954"/>
                  <a:gd name="connsiteY2" fmla="*/ 1524 h 20097"/>
                  <a:gd name="connsiteX3" fmla="*/ 16859 w 16954"/>
                  <a:gd name="connsiteY3" fmla="*/ 4000 h 20097"/>
                  <a:gd name="connsiteX4" fmla="*/ 16954 w 16954"/>
                  <a:gd name="connsiteY4" fmla="*/ 7906 h 20097"/>
                  <a:gd name="connsiteX5" fmla="*/ 10573 w 16954"/>
                  <a:gd name="connsiteY5" fmla="*/ 15716 h 20097"/>
                  <a:gd name="connsiteX6" fmla="*/ 5429 w 16954"/>
                  <a:gd name="connsiteY6" fmla="*/ 19050 h 20097"/>
                  <a:gd name="connsiteX7" fmla="*/ 857 w 16954"/>
                  <a:gd name="connsiteY7" fmla="*/ 20098 h 20097"/>
                  <a:gd name="connsiteX8" fmla="*/ 667 w 16954"/>
                  <a:gd name="connsiteY8" fmla="*/ 14478 h 20097"/>
                  <a:gd name="connsiteX9" fmla="*/ 0 w 16954"/>
                  <a:gd name="connsiteY9" fmla="*/ 12383 h 20097"/>
                  <a:gd name="connsiteX10" fmla="*/ 1810 w 16954"/>
                  <a:gd name="connsiteY10" fmla="*/ 10382 h 20097"/>
                  <a:gd name="connsiteX11" fmla="*/ 5620 w 16954"/>
                  <a:gd name="connsiteY11" fmla="*/ 8668 h 20097"/>
                  <a:gd name="connsiteX12" fmla="*/ 7049 w 16954"/>
                  <a:gd name="connsiteY12" fmla="*/ 5429 h 20097"/>
                  <a:gd name="connsiteX13" fmla="*/ 10858 w 16954"/>
                  <a:gd name="connsiteY13" fmla="*/ 0 h 20097"/>
                  <a:gd name="connsiteX14" fmla="*/ 16192 w 16954"/>
                  <a:gd name="connsiteY14" fmla="*/ 1524 h 20097"/>
                  <a:gd name="connsiteX15" fmla="*/ 16192 w 16954"/>
                  <a:gd name="connsiteY15" fmla="*/ 1524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54" h="20097">
                    <a:moveTo>
                      <a:pt x="16192" y="1524"/>
                    </a:moveTo>
                    <a:lnTo>
                      <a:pt x="16192" y="1524"/>
                    </a:lnTo>
                    <a:lnTo>
                      <a:pt x="16192" y="1524"/>
                    </a:lnTo>
                    <a:lnTo>
                      <a:pt x="16859" y="4000"/>
                    </a:lnTo>
                    <a:lnTo>
                      <a:pt x="16954" y="7906"/>
                    </a:lnTo>
                    <a:lnTo>
                      <a:pt x="10573" y="15716"/>
                    </a:lnTo>
                    <a:lnTo>
                      <a:pt x="5429" y="19050"/>
                    </a:lnTo>
                    <a:lnTo>
                      <a:pt x="857" y="20098"/>
                    </a:lnTo>
                    <a:lnTo>
                      <a:pt x="667" y="14478"/>
                    </a:lnTo>
                    <a:lnTo>
                      <a:pt x="0" y="12383"/>
                    </a:lnTo>
                    <a:lnTo>
                      <a:pt x="1810" y="10382"/>
                    </a:lnTo>
                    <a:lnTo>
                      <a:pt x="5620" y="8668"/>
                    </a:lnTo>
                    <a:lnTo>
                      <a:pt x="7049" y="5429"/>
                    </a:lnTo>
                    <a:lnTo>
                      <a:pt x="10858" y="0"/>
                    </a:lnTo>
                    <a:lnTo>
                      <a:pt x="16192" y="1524"/>
                    </a:lnTo>
                    <a:lnTo>
                      <a:pt x="16192" y="152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67" name="Freeform: Shape 366">
                <a:extLst>
                  <a:ext uri="{FF2B5EF4-FFF2-40B4-BE49-F238E27FC236}">
                    <a16:creationId xmlns:a16="http://schemas.microsoft.com/office/drawing/2014/main" id="{36D4B50A-A44F-42E8-A405-F69A4E2566C0}"/>
                  </a:ext>
                </a:extLst>
              </p:cNvPr>
              <p:cNvSpPr/>
              <p:nvPr/>
            </p:nvSpPr>
            <p:spPr>
              <a:xfrm>
                <a:off x="12747198" y="4383992"/>
                <a:ext cx="3143" cy="5143"/>
              </a:xfrm>
              <a:custGeom>
                <a:avLst/>
                <a:gdLst>
                  <a:gd name="connsiteX0" fmla="*/ 381 w 3143"/>
                  <a:gd name="connsiteY0" fmla="*/ 5144 h 5143"/>
                  <a:gd name="connsiteX1" fmla="*/ 381 w 3143"/>
                  <a:gd name="connsiteY1" fmla="*/ 5144 h 5143"/>
                  <a:gd name="connsiteX2" fmla="*/ 0 w 3143"/>
                  <a:gd name="connsiteY2" fmla="*/ 191 h 5143"/>
                  <a:gd name="connsiteX3" fmla="*/ 2762 w 3143"/>
                  <a:gd name="connsiteY3" fmla="*/ 0 h 5143"/>
                  <a:gd name="connsiteX4" fmla="*/ 3143 w 3143"/>
                  <a:gd name="connsiteY4" fmla="*/ 4953 h 5143"/>
                  <a:gd name="connsiteX5" fmla="*/ 381 w 3143"/>
                  <a:gd name="connsiteY5" fmla="*/ 5144 h 5143"/>
                  <a:gd name="connsiteX6" fmla="*/ 381 w 3143"/>
                  <a:gd name="connsiteY6" fmla="*/ 5144 h 5143"/>
                  <a:gd name="connsiteX7" fmla="*/ 381 w 3143"/>
                  <a:gd name="connsiteY7" fmla="*/ 5144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3" h="5143">
                    <a:moveTo>
                      <a:pt x="381" y="5144"/>
                    </a:moveTo>
                    <a:lnTo>
                      <a:pt x="381" y="5144"/>
                    </a:lnTo>
                    <a:lnTo>
                      <a:pt x="0" y="191"/>
                    </a:lnTo>
                    <a:lnTo>
                      <a:pt x="2762" y="0"/>
                    </a:lnTo>
                    <a:lnTo>
                      <a:pt x="3143" y="4953"/>
                    </a:lnTo>
                    <a:lnTo>
                      <a:pt x="381" y="5144"/>
                    </a:lnTo>
                    <a:lnTo>
                      <a:pt x="381" y="5144"/>
                    </a:lnTo>
                    <a:lnTo>
                      <a:pt x="381" y="514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68" name="Freeform: Shape 367">
                <a:extLst>
                  <a:ext uri="{FF2B5EF4-FFF2-40B4-BE49-F238E27FC236}">
                    <a16:creationId xmlns:a16="http://schemas.microsoft.com/office/drawing/2014/main" id="{9822B5F2-B948-4F28-AC74-FC50B7EC791E}"/>
                  </a:ext>
                </a:extLst>
              </p:cNvPr>
              <p:cNvSpPr/>
              <p:nvPr/>
            </p:nvSpPr>
            <p:spPr>
              <a:xfrm>
                <a:off x="12612514" y="4285885"/>
                <a:ext cx="3143" cy="24764"/>
              </a:xfrm>
              <a:custGeom>
                <a:avLst/>
                <a:gdLst>
                  <a:gd name="connsiteX0" fmla="*/ 762 w 3143"/>
                  <a:gd name="connsiteY0" fmla="*/ 24765 h 24764"/>
                  <a:gd name="connsiteX1" fmla="*/ 762 w 3143"/>
                  <a:gd name="connsiteY1" fmla="*/ 24765 h 24764"/>
                  <a:gd name="connsiteX2" fmla="*/ 0 w 3143"/>
                  <a:gd name="connsiteY2" fmla="*/ 14383 h 24764"/>
                  <a:gd name="connsiteX3" fmla="*/ 667 w 3143"/>
                  <a:gd name="connsiteY3" fmla="*/ 2381 h 24764"/>
                  <a:gd name="connsiteX4" fmla="*/ 2381 w 3143"/>
                  <a:gd name="connsiteY4" fmla="*/ 0 h 24764"/>
                  <a:gd name="connsiteX5" fmla="*/ 3143 w 3143"/>
                  <a:gd name="connsiteY5" fmla="*/ 7525 h 24764"/>
                  <a:gd name="connsiteX6" fmla="*/ 2096 w 3143"/>
                  <a:gd name="connsiteY6" fmla="*/ 20288 h 24764"/>
                  <a:gd name="connsiteX7" fmla="*/ 762 w 3143"/>
                  <a:gd name="connsiteY7" fmla="*/ 24765 h 24764"/>
                  <a:gd name="connsiteX8" fmla="*/ 762 w 3143"/>
                  <a:gd name="connsiteY8" fmla="*/ 24765 h 24764"/>
                  <a:gd name="connsiteX9" fmla="*/ 762 w 3143"/>
                  <a:gd name="connsiteY9" fmla="*/ 24765 h 2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3" h="24764">
                    <a:moveTo>
                      <a:pt x="762" y="24765"/>
                    </a:moveTo>
                    <a:lnTo>
                      <a:pt x="762" y="24765"/>
                    </a:lnTo>
                    <a:lnTo>
                      <a:pt x="0" y="14383"/>
                    </a:lnTo>
                    <a:lnTo>
                      <a:pt x="667" y="2381"/>
                    </a:lnTo>
                    <a:lnTo>
                      <a:pt x="2381" y="0"/>
                    </a:lnTo>
                    <a:lnTo>
                      <a:pt x="3143" y="7525"/>
                    </a:lnTo>
                    <a:lnTo>
                      <a:pt x="2096" y="20288"/>
                    </a:lnTo>
                    <a:lnTo>
                      <a:pt x="762" y="24765"/>
                    </a:lnTo>
                    <a:lnTo>
                      <a:pt x="762" y="24765"/>
                    </a:lnTo>
                    <a:lnTo>
                      <a:pt x="762" y="24765"/>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69" name="Freeform: Shape 368">
                <a:extLst>
                  <a:ext uri="{FF2B5EF4-FFF2-40B4-BE49-F238E27FC236}">
                    <a16:creationId xmlns:a16="http://schemas.microsoft.com/office/drawing/2014/main" id="{3D8879E4-F1F1-41C1-92E0-E20E988A26BB}"/>
                  </a:ext>
                </a:extLst>
              </p:cNvPr>
              <p:cNvSpPr/>
              <p:nvPr/>
            </p:nvSpPr>
            <p:spPr>
              <a:xfrm>
                <a:off x="14799931" y="5270484"/>
                <a:ext cx="9429" cy="7810"/>
              </a:xfrm>
              <a:custGeom>
                <a:avLst/>
                <a:gdLst>
                  <a:gd name="connsiteX0" fmla="*/ 2953 w 9429"/>
                  <a:gd name="connsiteY0" fmla="*/ 6668 h 7810"/>
                  <a:gd name="connsiteX1" fmla="*/ 2953 w 9429"/>
                  <a:gd name="connsiteY1" fmla="*/ 6668 h 7810"/>
                  <a:gd name="connsiteX2" fmla="*/ 0 w 9429"/>
                  <a:gd name="connsiteY2" fmla="*/ 7811 h 7810"/>
                  <a:gd name="connsiteX3" fmla="*/ 3715 w 9429"/>
                  <a:gd name="connsiteY3" fmla="*/ 3715 h 7810"/>
                  <a:gd name="connsiteX4" fmla="*/ 9144 w 9429"/>
                  <a:gd name="connsiteY4" fmla="*/ 0 h 7810"/>
                  <a:gd name="connsiteX5" fmla="*/ 9430 w 9429"/>
                  <a:gd name="connsiteY5" fmla="*/ 1905 h 7810"/>
                  <a:gd name="connsiteX6" fmla="*/ 7049 w 9429"/>
                  <a:gd name="connsiteY6" fmla="*/ 4382 h 7810"/>
                  <a:gd name="connsiteX7" fmla="*/ 2953 w 9429"/>
                  <a:gd name="connsiteY7" fmla="*/ 6668 h 7810"/>
                  <a:gd name="connsiteX8" fmla="*/ 2953 w 9429"/>
                  <a:gd name="connsiteY8" fmla="*/ 6668 h 7810"/>
                  <a:gd name="connsiteX9" fmla="*/ 2953 w 9429"/>
                  <a:gd name="connsiteY9" fmla="*/ 6668 h 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9" h="7810">
                    <a:moveTo>
                      <a:pt x="2953" y="6668"/>
                    </a:moveTo>
                    <a:lnTo>
                      <a:pt x="2953" y="6668"/>
                    </a:lnTo>
                    <a:lnTo>
                      <a:pt x="0" y="7811"/>
                    </a:lnTo>
                    <a:lnTo>
                      <a:pt x="3715" y="3715"/>
                    </a:lnTo>
                    <a:lnTo>
                      <a:pt x="9144" y="0"/>
                    </a:lnTo>
                    <a:lnTo>
                      <a:pt x="9430" y="1905"/>
                    </a:lnTo>
                    <a:lnTo>
                      <a:pt x="7049" y="4382"/>
                    </a:lnTo>
                    <a:lnTo>
                      <a:pt x="2953" y="6668"/>
                    </a:lnTo>
                    <a:lnTo>
                      <a:pt x="2953" y="6668"/>
                    </a:lnTo>
                    <a:lnTo>
                      <a:pt x="2953" y="6668"/>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70" name="Freeform: Shape 369">
                <a:extLst>
                  <a:ext uri="{FF2B5EF4-FFF2-40B4-BE49-F238E27FC236}">
                    <a16:creationId xmlns:a16="http://schemas.microsoft.com/office/drawing/2014/main" id="{DAAEBD21-E387-4725-8338-D7805B7E42FB}"/>
                  </a:ext>
                </a:extLst>
              </p:cNvPr>
              <p:cNvSpPr/>
              <p:nvPr/>
            </p:nvSpPr>
            <p:spPr>
              <a:xfrm>
                <a:off x="13151058" y="4034996"/>
                <a:ext cx="23431" cy="16478"/>
              </a:xfrm>
              <a:custGeom>
                <a:avLst/>
                <a:gdLst>
                  <a:gd name="connsiteX0" fmla="*/ 0 w 23431"/>
                  <a:gd name="connsiteY0" fmla="*/ 15907 h 16478"/>
                  <a:gd name="connsiteX1" fmla="*/ 0 w 23431"/>
                  <a:gd name="connsiteY1" fmla="*/ 15907 h 16478"/>
                  <a:gd name="connsiteX2" fmla="*/ 286 w 23431"/>
                  <a:gd name="connsiteY2" fmla="*/ 13811 h 16478"/>
                  <a:gd name="connsiteX3" fmla="*/ 1333 w 23431"/>
                  <a:gd name="connsiteY3" fmla="*/ 10192 h 16478"/>
                  <a:gd name="connsiteX4" fmla="*/ 5620 w 23431"/>
                  <a:gd name="connsiteY4" fmla="*/ 1619 h 16478"/>
                  <a:gd name="connsiteX5" fmla="*/ 10858 w 23431"/>
                  <a:gd name="connsiteY5" fmla="*/ 0 h 16478"/>
                  <a:gd name="connsiteX6" fmla="*/ 14288 w 23431"/>
                  <a:gd name="connsiteY6" fmla="*/ 4667 h 16478"/>
                  <a:gd name="connsiteX7" fmla="*/ 17717 w 23431"/>
                  <a:gd name="connsiteY7" fmla="*/ 3905 h 16478"/>
                  <a:gd name="connsiteX8" fmla="*/ 18383 w 23431"/>
                  <a:gd name="connsiteY8" fmla="*/ 4382 h 16478"/>
                  <a:gd name="connsiteX9" fmla="*/ 21050 w 23431"/>
                  <a:gd name="connsiteY9" fmla="*/ 6001 h 16478"/>
                  <a:gd name="connsiteX10" fmla="*/ 23431 w 23431"/>
                  <a:gd name="connsiteY10" fmla="*/ 7811 h 16478"/>
                  <a:gd name="connsiteX11" fmla="*/ 22574 w 23431"/>
                  <a:gd name="connsiteY11" fmla="*/ 11049 h 16478"/>
                  <a:gd name="connsiteX12" fmla="*/ 20479 w 23431"/>
                  <a:gd name="connsiteY12" fmla="*/ 10001 h 16478"/>
                  <a:gd name="connsiteX13" fmla="*/ 17526 w 23431"/>
                  <a:gd name="connsiteY13" fmla="*/ 7429 h 16478"/>
                  <a:gd name="connsiteX14" fmla="*/ 16669 w 23431"/>
                  <a:gd name="connsiteY14" fmla="*/ 11906 h 16478"/>
                  <a:gd name="connsiteX15" fmla="*/ 14669 w 23431"/>
                  <a:gd name="connsiteY15" fmla="*/ 10954 h 16478"/>
                  <a:gd name="connsiteX16" fmla="*/ 7715 w 23431"/>
                  <a:gd name="connsiteY16" fmla="*/ 7620 h 16478"/>
                  <a:gd name="connsiteX17" fmla="*/ 3905 w 23431"/>
                  <a:gd name="connsiteY17" fmla="*/ 12668 h 16478"/>
                  <a:gd name="connsiteX18" fmla="*/ 2762 w 23431"/>
                  <a:gd name="connsiteY18" fmla="*/ 16478 h 16478"/>
                  <a:gd name="connsiteX19" fmla="*/ 0 w 23431"/>
                  <a:gd name="connsiteY19" fmla="*/ 15907 h 16478"/>
                  <a:gd name="connsiteX20" fmla="*/ 0 w 23431"/>
                  <a:gd name="connsiteY20" fmla="*/ 15907 h 16478"/>
                  <a:gd name="connsiteX21" fmla="*/ 0 w 23431"/>
                  <a:gd name="connsiteY21" fmla="*/ 15907 h 1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431" h="16478">
                    <a:moveTo>
                      <a:pt x="0" y="15907"/>
                    </a:moveTo>
                    <a:lnTo>
                      <a:pt x="0" y="15907"/>
                    </a:lnTo>
                    <a:lnTo>
                      <a:pt x="286" y="13811"/>
                    </a:lnTo>
                    <a:lnTo>
                      <a:pt x="1333" y="10192"/>
                    </a:lnTo>
                    <a:lnTo>
                      <a:pt x="5620" y="1619"/>
                    </a:lnTo>
                    <a:lnTo>
                      <a:pt x="10858" y="0"/>
                    </a:lnTo>
                    <a:lnTo>
                      <a:pt x="14288" y="4667"/>
                    </a:lnTo>
                    <a:lnTo>
                      <a:pt x="17717" y="3905"/>
                    </a:lnTo>
                    <a:lnTo>
                      <a:pt x="18383" y="4382"/>
                    </a:lnTo>
                    <a:lnTo>
                      <a:pt x="21050" y="6001"/>
                    </a:lnTo>
                    <a:lnTo>
                      <a:pt x="23431" y="7811"/>
                    </a:lnTo>
                    <a:lnTo>
                      <a:pt x="22574" y="11049"/>
                    </a:lnTo>
                    <a:lnTo>
                      <a:pt x="20479" y="10001"/>
                    </a:lnTo>
                    <a:lnTo>
                      <a:pt x="17526" y="7429"/>
                    </a:lnTo>
                    <a:lnTo>
                      <a:pt x="16669" y="11906"/>
                    </a:lnTo>
                    <a:lnTo>
                      <a:pt x="14669" y="10954"/>
                    </a:lnTo>
                    <a:lnTo>
                      <a:pt x="7715" y="7620"/>
                    </a:lnTo>
                    <a:lnTo>
                      <a:pt x="3905" y="12668"/>
                    </a:lnTo>
                    <a:lnTo>
                      <a:pt x="2762" y="16478"/>
                    </a:lnTo>
                    <a:lnTo>
                      <a:pt x="0" y="15907"/>
                    </a:lnTo>
                    <a:lnTo>
                      <a:pt x="0" y="15907"/>
                    </a:lnTo>
                    <a:lnTo>
                      <a:pt x="0" y="15907"/>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71" name="Freeform: Shape 370">
                <a:extLst>
                  <a:ext uri="{FF2B5EF4-FFF2-40B4-BE49-F238E27FC236}">
                    <a16:creationId xmlns:a16="http://schemas.microsoft.com/office/drawing/2014/main" id="{304231D5-4247-47A4-8648-9C03B8C0720E}"/>
                  </a:ext>
                </a:extLst>
              </p:cNvPr>
              <p:cNvSpPr/>
              <p:nvPr/>
            </p:nvSpPr>
            <p:spPr>
              <a:xfrm>
                <a:off x="14340730" y="4711366"/>
                <a:ext cx="35814" cy="29813"/>
              </a:xfrm>
              <a:custGeom>
                <a:avLst/>
                <a:gdLst>
                  <a:gd name="connsiteX0" fmla="*/ 16193 w 35814"/>
                  <a:gd name="connsiteY0" fmla="*/ 3810 h 29813"/>
                  <a:gd name="connsiteX1" fmla="*/ 16193 w 35814"/>
                  <a:gd name="connsiteY1" fmla="*/ 3810 h 29813"/>
                  <a:gd name="connsiteX2" fmla="*/ 26384 w 35814"/>
                  <a:gd name="connsiteY2" fmla="*/ 11335 h 29813"/>
                  <a:gd name="connsiteX3" fmla="*/ 35147 w 35814"/>
                  <a:gd name="connsiteY3" fmla="*/ 16669 h 29813"/>
                  <a:gd name="connsiteX4" fmla="*/ 35814 w 35814"/>
                  <a:gd name="connsiteY4" fmla="*/ 23050 h 29813"/>
                  <a:gd name="connsiteX5" fmla="*/ 29337 w 35814"/>
                  <a:gd name="connsiteY5" fmla="*/ 29527 h 29813"/>
                  <a:gd name="connsiteX6" fmla="*/ 22574 w 35814"/>
                  <a:gd name="connsiteY6" fmla="*/ 29813 h 29813"/>
                  <a:gd name="connsiteX7" fmla="*/ 25908 w 35814"/>
                  <a:gd name="connsiteY7" fmla="*/ 27622 h 29813"/>
                  <a:gd name="connsiteX8" fmla="*/ 29813 w 35814"/>
                  <a:gd name="connsiteY8" fmla="*/ 25527 h 29813"/>
                  <a:gd name="connsiteX9" fmla="*/ 22003 w 35814"/>
                  <a:gd name="connsiteY9" fmla="*/ 23050 h 29813"/>
                  <a:gd name="connsiteX10" fmla="*/ 17145 w 35814"/>
                  <a:gd name="connsiteY10" fmla="*/ 22288 h 29813"/>
                  <a:gd name="connsiteX11" fmla="*/ 9811 w 35814"/>
                  <a:gd name="connsiteY11" fmla="*/ 19145 h 29813"/>
                  <a:gd name="connsiteX12" fmla="*/ 3429 w 35814"/>
                  <a:gd name="connsiteY12" fmla="*/ 14288 h 29813"/>
                  <a:gd name="connsiteX13" fmla="*/ 2667 w 35814"/>
                  <a:gd name="connsiteY13" fmla="*/ 12763 h 29813"/>
                  <a:gd name="connsiteX14" fmla="*/ 7049 w 35814"/>
                  <a:gd name="connsiteY14" fmla="*/ 11525 h 29813"/>
                  <a:gd name="connsiteX15" fmla="*/ 3905 w 35814"/>
                  <a:gd name="connsiteY15" fmla="*/ 7810 h 29813"/>
                  <a:gd name="connsiteX16" fmla="*/ 7811 w 35814"/>
                  <a:gd name="connsiteY16" fmla="*/ 9239 h 29813"/>
                  <a:gd name="connsiteX17" fmla="*/ 12002 w 35814"/>
                  <a:gd name="connsiteY17" fmla="*/ 10382 h 29813"/>
                  <a:gd name="connsiteX18" fmla="*/ 12668 w 35814"/>
                  <a:gd name="connsiteY18" fmla="*/ 8572 h 29813"/>
                  <a:gd name="connsiteX19" fmla="*/ 14192 w 35814"/>
                  <a:gd name="connsiteY19" fmla="*/ 5905 h 29813"/>
                  <a:gd name="connsiteX20" fmla="*/ 8287 w 35814"/>
                  <a:gd name="connsiteY20" fmla="*/ 3905 h 29813"/>
                  <a:gd name="connsiteX21" fmla="*/ 0 w 35814"/>
                  <a:gd name="connsiteY21" fmla="*/ 2381 h 29813"/>
                  <a:gd name="connsiteX22" fmla="*/ 3715 w 35814"/>
                  <a:gd name="connsiteY22" fmla="*/ 190 h 29813"/>
                  <a:gd name="connsiteX23" fmla="*/ 6763 w 35814"/>
                  <a:gd name="connsiteY23" fmla="*/ 0 h 29813"/>
                  <a:gd name="connsiteX24" fmla="*/ 16193 w 35814"/>
                  <a:gd name="connsiteY24" fmla="*/ 3810 h 29813"/>
                  <a:gd name="connsiteX25" fmla="*/ 16193 w 35814"/>
                  <a:gd name="connsiteY25" fmla="*/ 3810 h 2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814" h="29813">
                    <a:moveTo>
                      <a:pt x="16193" y="3810"/>
                    </a:moveTo>
                    <a:lnTo>
                      <a:pt x="16193" y="3810"/>
                    </a:lnTo>
                    <a:lnTo>
                      <a:pt x="26384" y="11335"/>
                    </a:lnTo>
                    <a:lnTo>
                      <a:pt x="35147" y="16669"/>
                    </a:lnTo>
                    <a:lnTo>
                      <a:pt x="35814" y="23050"/>
                    </a:lnTo>
                    <a:lnTo>
                      <a:pt x="29337" y="29527"/>
                    </a:lnTo>
                    <a:lnTo>
                      <a:pt x="22574" y="29813"/>
                    </a:lnTo>
                    <a:lnTo>
                      <a:pt x="25908" y="27622"/>
                    </a:lnTo>
                    <a:lnTo>
                      <a:pt x="29813" y="25527"/>
                    </a:lnTo>
                    <a:lnTo>
                      <a:pt x="22003" y="23050"/>
                    </a:lnTo>
                    <a:lnTo>
                      <a:pt x="17145" y="22288"/>
                    </a:lnTo>
                    <a:lnTo>
                      <a:pt x="9811" y="19145"/>
                    </a:lnTo>
                    <a:lnTo>
                      <a:pt x="3429" y="14288"/>
                    </a:lnTo>
                    <a:lnTo>
                      <a:pt x="2667" y="12763"/>
                    </a:lnTo>
                    <a:lnTo>
                      <a:pt x="7049" y="11525"/>
                    </a:lnTo>
                    <a:lnTo>
                      <a:pt x="3905" y="7810"/>
                    </a:lnTo>
                    <a:lnTo>
                      <a:pt x="7811" y="9239"/>
                    </a:lnTo>
                    <a:lnTo>
                      <a:pt x="12002" y="10382"/>
                    </a:lnTo>
                    <a:lnTo>
                      <a:pt x="12668" y="8572"/>
                    </a:lnTo>
                    <a:lnTo>
                      <a:pt x="14192" y="5905"/>
                    </a:lnTo>
                    <a:lnTo>
                      <a:pt x="8287" y="3905"/>
                    </a:lnTo>
                    <a:lnTo>
                      <a:pt x="0" y="2381"/>
                    </a:lnTo>
                    <a:lnTo>
                      <a:pt x="3715" y="190"/>
                    </a:lnTo>
                    <a:lnTo>
                      <a:pt x="6763" y="0"/>
                    </a:lnTo>
                    <a:lnTo>
                      <a:pt x="16193" y="3810"/>
                    </a:lnTo>
                    <a:lnTo>
                      <a:pt x="16193" y="381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72" name="Freeform: Shape 371">
                <a:extLst>
                  <a:ext uri="{FF2B5EF4-FFF2-40B4-BE49-F238E27FC236}">
                    <a16:creationId xmlns:a16="http://schemas.microsoft.com/office/drawing/2014/main" id="{78DA1178-D9F4-4896-97D7-6CF06A656C07}"/>
                  </a:ext>
                </a:extLst>
              </p:cNvPr>
              <p:cNvSpPr/>
              <p:nvPr/>
            </p:nvSpPr>
            <p:spPr>
              <a:xfrm>
                <a:off x="12999610" y="3782012"/>
                <a:ext cx="16478" cy="9906"/>
              </a:xfrm>
              <a:custGeom>
                <a:avLst/>
                <a:gdLst>
                  <a:gd name="connsiteX0" fmla="*/ 7334 w 16478"/>
                  <a:gd name="connsiteY0" fmla="*/ 9906 h 9906"/>
                  <a:gd name="connsiteX1" fmla="*/ 7334 w 16478"/>
                  <a:gd name="connsiteY1" fmla="*/ 9906 h 9906"/>
                  <a:gd name="connsiteX2" fmla="*/ 4096 w 16478"/>
                  <a:gd name="connsiteY2" fmla="*/ 9525 h 9906"/>
                  <a:gd name="connsiteX3" fmla="*/ 0 w 16478"/>
                  <a:gd name="connsiteY3" fmla="*/ 7144 h 9906"/>
                  <a:gd name="connsiteX4" fmla="*/ 7715 w 16478"/>
                  <a:gd name="connsiteY4" fmla="*/ 286 h 9906"/>
                  <a:gd name="connsiteX5" fmla="*/ 8382 w 16478"/>
                  <a:gd name="connsiteY5" fmla="*/ 0 h 9906"/>
                  <a:gd name="connsiteX6" fmla="*/ 16478 w 16478"/>
                  <a:gd name="connsiteY6" fmla="*/ 0 h 9906"/>
                  <a:gd name="connsiteX7" fmla="*/ 11620 w 16478"/>
                  <a:gd name="connsiteY7" fmla="*/ 3715 h 9906"/>
                  <a:gd name="connsiteX8" fmla="*/ 8858 w 16478"/>
                  <a:gd name="connsiteY8" fmla="*/ 6191 h 9906"/>
                  <a:gd name="connsiteX9" fmla="*/ 8858 w 16478"/>
                  <a:gd name="connsiteY9" fmla="*/ 9906 h 9906"/>
                  <a:gd name="connsiteX10" fmla="*/ 7334 w 16478"/>
                  <a:gd name="connsiteY10" fmla="*/ 9906 h 9906"/>
                  <a:gd name="connsiteX11" fmla="*/ 7334 w 16478"/>
                  <a:gd name="connsiteY11" fmla="*/ 9906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78" h="9906">
                    <a:moveTo>
                      <a:pt x="7334" y="9906"/>
                    </a:moveTo>
                    <a:lnTo>
                      <a:pt x="7334" y="9906"/>
                    </a:lnTo>
                    <a:lnTo>
                      <a:pt x="4096" y="9525"/>
                    </a:lnTo>
                    <a:lnTo>
                      <a:pt x="0" y="7144"/>
                    </a:lnTo>
                    <a:lnTo>
                      <a:pt x="7715" y="286"/>
                    </a:lnTo>
                    <a:lnTo>
                      <a:pt x="8382" y="0"/>
                    </a:lnTo>
                    <a:lnTo>
                      <a:pt x="16478" y="0"/>
                    </a:lnTo>
                    <a:lnTo>
                      <a:pt x="11620" y="3715"/>
                    </a:lnTo>
                    <a:lnTo>
                      <a:pt x="8858" y="6191"/>
                    </a:lnTo>
                    <a:lnTo>
                      <a:pt x="8858" y="9906"/>
                    </a:lnTo>
                    <a:lnTo>
                      <a:pt x="7334" y="9906"/>
                    </a:lnTo>
                    <a:lnTo>
                      <a:pt x="7334" y="990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73" name="Freeform: Shape 372">
                <a:extLst>
                  <a:ext uri="{FF2B5EF4-FFF2-40B4-BE49-F238E27FC236}">
                    <a16:creationId xmlns:a16="http://schemas.microsoft.com/office/drawing/2014/main" id="{D3261308-D84C-4A4D-A53A-BBF18D453B5C}"/>
                  </a:ext>
                </a:extLst>
              </p:cNvPr>
              <p:cNvSpPr/>
              <p:nvPr/>
            </p:nvSpPr>
            <p:spPr>
              <a:xfrm>
                <a:off x="13471574" y="3863070"/>
                <a:ext cx="43148" cy="67341"/>
              </a:xfrm>
              <a:custGeom>
                <a:avLst/>
                <a:gdLst>
                  <a:gd name="connsiteX0" fmla="*/ 8001 w 43148"/>
                  <a:gd name="connsiteY0" fmla="*/ 62484 h 67341"/>
                  <a:gd name="connsiteX1" fmla="*/ 8001 w 43148"/>
                  <a:gd name="connsiteY1" fmla="*/ 62484 h 67341"/>
                  <a:gd name="connsiteX2" fmla="*/ 1715 w 43148"/>
                  <a:gd name="connsiteY2" fmla="*/ 56769 h 67341"/>
                  <a:gd name="connsiteX3" fmla="*/ 571 w 43148"/>
                  <a:gd name="connsiteY3" fmla="*/ 54673 h 67341"/>
                  <a:gd name="connsiteX4" fmla="*/ 7810 w 43148"/>
                  <a:gd name="connsiteY4" fmla="*/ 40196 h 67341"/>
                  <a:gd name="connsiteX5" fmla="*/ 6382 w 43148"/>
                  <a:gd name="connsiteY5" fmla="*/ 39148 h 67341"/>
                  <a:gd name="connsiteX6" fmla="*/ 3524 w 43148"/>
                  <a:gd name="connsiteY6" fmla="*/ 38481 h 67341"/>
                  <a:gd name="connsiteX7" fmla="*/ 667 w 43148"/>
                  <a:gd name="connsiteY7" fmla="*/ 36385 h 67341"/>
                  <a:gd name="connsiteX8" fmla="*/ 0 w 43148"/>
                  <a:gd name="connsiteY8" fmla="*/ 16288 h 67341"/>
                  <a:gd name="connsiteX9" fmla="*/ 2000 w 43148"/>
                  <a:gd name="connsiteY9" fmla="*/ 17812 h 67341"/>
                  <a:gd name="connsiteX10" fmla="*/ 7239 w 43148"/>
                  <a:gd name="connsiteY10" fmla="*/ 25527 h 67341"/>
                  <a:gd name="connsiteX11" fmla="*/ 9049 w 43148"/>
                  <a:gd name="connsiteY11" fmla="*/ 25432 h 67341"/>
                  <a:gd name="connsiteX12" fmla="*/ 9430 w 43148"/>
                  <a:gd name="connsiteY12" fmla="*/ 7429 h 67341"/>
                  <a:gd name="connsiteX13" fmla="*/ 15907 w 43148"/>
                  <a:gd name="connsiteY13" fmla="*/ 3524 h 67341"/>
                  <a:gd name="connsiteX14" fmla="*/ 18193 w 43148"/>
                  <a:gd name="connsiteY14" fmla="*/ 5620 h 67341"/>
                  <a:gd name="connsiteX15" fmla="*/ 22384 w 43148"/>
                  <a:gd name="connsiteY15" fmla="*/ 18574 h 67341"/>
                  <a:gd name="connsiteX16" fmla="*/ 24575 w 43148"/>
                  <a:gd name="connsiteY16" fmla="*/ 19621 h 67341"/>
                  <a:gd name="connsiteX17" fmla="*/ 41529 w 43148"/>
                  <a:gd name="connsiteY17" fmla="*/ 0 h 67341"/>
                  <a:gd name="connsiteX18" fmla="*/ 43148 w 43148"/>
                  <a:gd name="connsiteY18" fmla="*/ 1715 h 67341"/>
                  <a:gd name="connsiteX19" fmla="*/ 30671 w 43148"/>
                  <a:gd name="connsiteY19" fmla="*/ 55817 h 67341"/>
                  <a:gd name="connsiteX20" fmla="*/ 28194 w 43148"/>
                  <a:gd name="connsiteY20" fmla="*/ 55912 h 67341"/>
                  <a:gd name="connsiteX21" fmla="*/ 24194 w 43148"/>
                  <a:gd name="connsiteY21" fmla="*/ 44482 h 67341"/>
                  <a:gd name="connsiteX22" fmla="*/ 13906 w 43148"/>
                  <a:gd name="connsiteY22" fmla="*/ 67342 h 67341"/>
                  <a:gd name="connsiteX23" fmla="*/ 11240 w 43148"/>
                  <a:gd name="connsiteY23" fmla="*/ 65818 h 67341"/>
                  <a:gd name="connsiteX24" fmla="*/ 8001 w 43148"/>
                  <a:gd name="connsiteY24" fmla="*/ 62484 h 67341"/>
                  <a:gd name="connsiteX25" fmla="*/ 8001 w 43148"/>
                  <a:gd name="connsiteY25" fmla="*/ 62484 h 67341"/>
                  <a:gd name="connsiteX26" fmla="*/ 8001 w 43148"/>
                  <a:gd name="connsiteY26" fmla="*/ 62484 h 6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148" h="67341">
                    <a:moveTo>
                      <a:pt x="8001" y="62484"/>
                    </a:moveTo>
                    <a:lnTo>
                      <a:pt x="8001" y="62484"/>
                    </a:lnTo>
                    <a:lnTo>
                      <a:pt x="1715" y="56769"/>
                    </a:lnTo>
                    <a:lnTo>
                      <a:pt x="571" y="54673"/>
                    </a:lnTo>
                    <a:lnTo>
                      <a:pt x="7810" y="40196"/>
                    </a:lnTo>
                    <a:lnTo>
                      <a:pt x="6382" y="39148"/>
                    </a:lnTo>
                    <a:lnTo>
                      <a:pt x="3524" y="38481"/>
                    </a:lnTo>
                    <a:lnTo>
                      <a:pt x="667" y="36385"/>
                    </a:lnTo>
                    <a:lnTo>
                      <a:pt x="0" y="16288"/>
                    </a:lnTo>
                    <a:lnTo>
                      <a:pt x="2000" y="17812"/>
                    </a:lnTo>
                    <a:lnTo>
                      <a:pt x="7239" y="25527"/>
                    </a:lnTo>
                    <a:lnTo>
                      <a:pt x="9049" y="25432"/>
                    </a:lnTo>
                    <a:lnTo>
                      <a:pt x="9430" y="7429"/>
                    </a:lnTo>
                    <a:lnTo>
                      <a:pt x="15907" y="3524"/>
                    </a:lnTo>
                    <a:lnTo>
                      <a:pt x="18193" y="5620"/>
                    </a:lnTo>
                    <a:lnTo>
                      <a:pt x="22384" y="18574"/>
                    </a:lnTo>
                    <a:lnTo>
                      <a:pt x="24575" y="19621"/>
                    </a:lnTo>
                    <a:lnTo>
                      <a:pt x="41529" y="0"/>
                    </a:lnTo>
                    <a:lnTo>
                      <a:pt x="43148" y="1715"/>
                    </a:lnTo>
                    <a:lnTo>
                      <a:pt x="30671" y="55817"/>
                    </a:lnTo>
                    <a:lnTo>
                      <a:pt x="28194" y="55912"/>
                    </a:lnTo>
                    <a:lnTo>
                      <a:pt x="24194" y="44482"/>
                    </a:lnTo>
                    <a:lnTo>
                      <a:pt x="13906" y="67342"/>
                    </a:lnTo>
                    <a:lnTo>
                      <a:pt x="11240" y="65818"/>
                    </a:lnTo>
                    <a:lnTo>
                      <a:pt x="8001" y="62484"/>
                    </a:lnTo>
                    <a:lnTo>
                      <a:pt x="8001" y="62484"/>
                    </a:lnTo>
                    <a:lnTo>
                      <a:pt x="8001" y="62484"/>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74" name="Freeform: Shape 373">
                <a:extLst>
                  <a:ext uri="{FF2B5EF4-FFF2-40B4-BE49-F238E27FC236}">
                    <a16:creationId xmlns:a16="http://schemas.microsoft.com/office/drawing/2014/main" id="{8F7975B0-E854-4339-85F8-695BC26F8ACF}"/>
                  </a:ext>
                </a:extLst>
              </p:cNvPr>
              <p:cNvSpPr/>
              <p:nvPr/>
            </p:nvSpPr>
            <p:spPr>
              <a:xfrm>
                <a:off x="13294218" y="3925363"/>
                <a:ext cx="14763" cy="59531"/>
              </a:xfrm>
              <a:custGeom>
                <a:avLst/>
                <a:gdLst>
                  <a:gd name="connsiteX0" fmla="*/ 6953 w 14763"/>
                  <a:gd name="connsiteY0" fmla="*/ 20860 h 59531"/>
                  <a:gd name="connsiteX1" fmla="*/ 6953 w 14763"/>
                  <a:gd name="connsiteY1" fmla="*/ 20860 h 59531"/>
                  <a:gd name="connsiteX2" fmla="*/ 3905 w 14763"/>
                  <a:gd name="connsiteY2" fmla="*/ 381 h 59531"/>
                  <a:gd name="connsiteX3" fmla="*/ 6858 w 14763"/>
                  <a:gd name="connsiteY3" fmla="*/ 0 h 59531"/>
                  <a:gd name="connsiteX4" fmla="*/ 8192 w 14763"/>
                  <a:gd name="connsiteY4" fmla="*/ 1048 h 59531"/>
                  <a:gd name="connsiteX5" fmla="*/ 14764 w 14763"/>
                  <a:gd name="connsiteY5" fmla="*/ 30956 h 59531"/>
                  <a:gd name="connsiteX6" fmla="*/ 572 w 14763"/>
                  <a:gd name="connsiteY6" fmla="*/ 59531 h 59531"/>
                  <a:gd name="connsiteX7" fmla="*/ 0 w 14763"/>
                  <a:gd name="connsiteY7" fmla="*/ 59341 h 59531"/>
                  <a:gd name="connsiteX8" fmla="*/ 6953 w 14763"/>
                  <a:gd name="connsiteY8" fmla="*/ 20860 h 59531"/>
                  <a:gd name="connsiteX9" fmla="*/ 6953 w 14763"/>
                  <a:gd name="connsiteY9" fmla="*/ 20860 h 59531"/>
                  <a:gd name="connsiteX10" fmla="*/ 6953 w 14763"/>
                  <a:gd name="connsiteY10" fmla="*/ 20860 h 5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63" h="59531">
                    <a:moveTo>
                      <a:pt x="6953" y="20860"/>
                    </a:moveTo>
                    <a:lnTo>
                      <a:pt x="6953" y="20860"/>
                    </a:lnTo>
                    <a:lnTo>
                      <a:pt x="3905" y="381"/>
                    </a:lnTo>
                    <a:lnTo>
                      <a:pt x="6858" y="0"/>
                    </a:lnTo>
                    <a:lnTo>
                      <a:pt x="8192" y="1048"/>
                    </a:lnTo>
                    <a:lnTo>
                      <a:pt x="14764" y="30956"/>
                    </a:lnTo>
                    <a:lnTo>
                      <a:pt x="572" y="59531"/>
                    </a:lnTo>
                    <a:lnTo>
                      <a:pt x="0" y="59341"/>
                    </a:lnTo>
                    <a:lnTo>
                      <a:pt x="6953" y="20860"/>
                    </a:lnTo>
                    <a:lnTo>
                      <a:pt x="6953" y="20860"/>
                    </a:lnTo>
                    <a:lnTo>
                      <a:pt x="6953" y="20860"/>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75" name="Freeform: Shape 374">
                <a:extLst>
                  <a:ext uri="{FF2B5EF4-FFF2-40B4-BE49-F238E27FC236}">
                    <a16:creationId xmlns:a16="http://schemas.microsoft.com/office/drawing/2014/main" id="{F845A0A9-92C6-4CA6-B21B-302A6A13B447}"/>
                  </a:ext>
                </a:extLst>
              </p:cNvPr>
              <p:cNvSpPr/>
              <p:nvPr/>
            </p:nvSpPr>
            <p:spPr>
              <a:xfrm>
                <a:off x="13224305" y="4010326"/>
                <a:ext cx="30384" cy="28860"/>
              </a:xfrm>
              <a:custGeom>
                <a:avLst/>
                <a:gdLst>
                  <a:gd name="connsiteX0" fmla="*/ 29623 w 30384"/>
                  <a:gd name="connsiteY0" fmla="*/ 25051 h 28860"/>
                  <a:gd name="connsiteX1" fmla="*/ 29623 w 30384"/>
                  <a:gd name="connsiteY1" fmla="*/ 25051 h 28860"/>
                  <a:gd name="connsiteX2" fmla="*/ 29623 w 30384"/>
                  <a:gd name="connsiteY2" fmla="*/ 25051 h 28860"/>
                  <a:gd name="connsiteX3" fmla="*/ 25813 w 30384"/>
                  <a:gd name="connsiteY3" fmla="*/ 28861 h 28860"/>
                  <a:gd name="connsiteX4" fmla="*/ 16478 w 30384"/>
                  <a:gd name="connsiteY4" fmla="*/ 21241 h 28860"/>
                  <a:gd name="connsiteX5" fmla="*/ 14002 w 30384"/>
                  <a:gd name="connsiteY5" fmla="*/ 21146 h 28860"/>
                  <a:gd name="connsiteX6" fmla="*/ 0 w 30384"/>
                  <a:gd name="connsiteY6" fmla="*/ 762 h 28860"/>
                  <a:gd name="connsiteX7" fmla="*/ 1524 w 30384"/>
                  <a:gd name="connsiteY7" fmla="*/ 0 h 28860"/>
                  <a:gd name="connsiteX8" fmla="*/ 6953 w 30384"/>
                  <a:gd name="connsiteY8" fmla="*/ 3143 h 28860"/>
                  <a:gd name="connsiteX9" fmla="*/ 6858 w 30384"/>
                  <a:gd name="connsiteY9" fmla="*/ 4096 h 28860"/>
                  <a:gd name="connsiteX10" fmla="*/ 3810 w 30384"/>
                  <a:gd name="connsiteY10" fmla="*/ 4191 h 28860"/>
                  <a:gd name="connsiteX11" fmla="*/ 9906 w 30384"/>
                  <a:gd name="connsiteY11" fmla="*/ 11621 h 28860"/>
                  <a:gd name="connsiteX12" fmla="*/ 17621 w 30384"/>
                  <a:gd name="connsiteY12" fmla="*/ 10096 h 28860"/>
                  <a:gd name="connsiteX13" fmla="*/ 21146 w 30384"/>
                  <a:gd name="connsiteY13" fmla="*/ 10954 h 28860"/>
                  <a:gd name="connsiteX14" fmla="*/ 30385 w 30384"/>
                  <a:gd name="connsiteY14" fmla="*/ 22098 h 28860"/>
                  <a:gd name="connsiteX15" fmla="*/ 29623 w 30384"/>
                  <a:gd name="connsiteY15" fmla="*/ 25051 h 28860"/>
                  <a:gd name="connsiteX16" fmla="*/ 29623 w 30384"/>
                  <a:gd name="connsiteY16" fmla="*/ 25051 h 28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384" h="28860">
                    <a:moveTo>
                      <a:pt x="29623" y="25051"/>
                    </a:moveTo>
                    <a:lnTo>
                      <a:pt x="29623" y="25051"/>
                    </a:lnTo>
                    <a:lnTo>
                      <a:pt x="29623" y="25051"/>
                    </a:lnTo>
                    <a:lnTo>
                      <a:pt x="25813" y="28861"/>
                    </a:lnTo>
                    <a:lnTo>
                      <a:pt x="16478" y="21241"/>
                    </a:lnTo>
                    <a:lnTo>
                      <a:pt x="14002" y="21146"/>
                    </a:lnTo>
                    <a:lnTo>
                      <a:pt x="0" y="762"/>
                    </a:lnTo>
                    <a:lnTo>
                      <a:pt x="1524" y="0"/>
                    </a:lnTo>
                    <a:lnTo>
                      <a:pt x="6953" y="3143"/>
                    </a:lnTo>
                    <a:lnTo>
                      <a:pt x="6858" y="4096"/>
                    </a:lnTo>
                    <a:lnTo>
                      <a:pt x="3810" y="4191"/>
                    </a:lnTo>
                    <a:lnTo>
                      <a:pt x="9906" y="11621"/>
                    </a:lnTo>
                    <a:lnTo>
                      <a:pt x="17621" y="10096"/>
                    </a:lnTo>
                    <a:lnTo>
                      <a:pt x="21146" y="10954"/>
                    </a:lnTo>
                    <a:lnTo>
                      <a:pt x="30385" y="22098"/>
                    </a:lnTo>
                    <a:lnTo>
                      <a:pt x="29623" y="25051"/>
                    </a:lnTo>
                    <a:lnTo>
                      <a:pt x="29623" y="25051"/>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76" name="Freeform: Shape 375">
                <a:extLst>
                  <a:ext uri="{FF2B5EF4-FFF2-40B4-BE49-F238E27FC236}">
                    <a16:creationId xmlns:a16="http://schemas.microsoft.com/office/drawing/2014/main" id="{5D424BFC-843B-48F4-BEB0-C4B3208AA6E9}"/>
                  </a:ext>
                </a:extLst>
              </p:cNvPr>
              <p:cNvSpPr/>
              <p:nvPr/>
            </p:nvSpPr>
            <p:spPr>
              <a:xfrm>
                <a:off x="12965035" y="4273883"/>
                <a:ext cx="57531" cy="89916"/>
              </a:xfrm>
              <a:custGeom>
                <a:avLst/>
                <a:gdLst>
                  <a:gd name="connsiteX0" fmla="*/ 49244 w 57531"/>
                  <a:gd name="connsiteY0" fmla="*/ 76676 h 89916"/>
                  <a:gd name="connsiteX1" fmla="*/ 49244 w 57531"/>
                  <a:gd name="connsiteY1" fmla="*/ 76676 h 89916"/>
                  <a:gd name="connsiteX2" fmla="*/ 38100 w 57531"/>
                  <a:gd name="connsiteY2" fmla="*/ 89916 h 89916"/>
                  <a:gd name="connsiteX3" fmla="*/ 31528 w 57531"/>
                  <a:gd name="connsiteY3" fmla="*/ 85439 h 89916"/>
                  <a:gd name="connsiteX4" fmla="*/ 31528 w 57531"/>
                  <a:gd name="connsiteY4" fmla="*/ 71152 h 89916"/>
                  <a:gd name="connsiteX5" fmla="*/ 40672 w 57531"/>
                  <a:gd name="connsiteY5" fmla="*/ 60865 h 89916"/>
                  <a:gd name="connsiteX6" fmla="*/ 30290 w 57531"/>
                  <a:gd name="connsiteY6" fmla="*/ 64675 h 89916"/>
                  <a:gd name="connsiteX7" fmla="*/ 19717 w 57531"/>
                  <a:gd name="connsiteY7" fmla="*/ 57817 h 89916"/>
                  <a:gd name="connsiteX8" fmla="*/ 11906 w 57531"/>
                  <a:gd name="connsiteY8" fmla="*/ 59912 h 89916"/>
                  <a:gd name="connsiteX9" fmla="*/ 7048 w 57531"/>
                  <a:gd name="connsiteY9" fmla="*/ 59150 h 89916"/>
                  <a:gd name="connsiteX10" fmla="*/ 0 w 57531"/>
                  <a:gd name="connsiteY10" fmla="*/ 48482 h 89916"/>
                  <a:gd name="connsiteX11" fmla="*/ 6668 w 57531"/>
                  <a:gd name="connsiteY11" fmla="*/ 46768 h 89916"/>
                  <a:gd name="connsiteX12" fmla="*/ 16002 w 57531"/>
                  <a:gd name="connsiteY12" fmla="*/ 42291 h 89916"/>
                  <a:gd name="connsiteX13" fmla="*/ 16859 w 57531"/>
                  <a:gd name="connsiteY13" fmla="*/ 35624 h 89916"/>
                  <a:gd name="connsiteX14" fmla="*/ 8192 w 57531"/>
                  <a:gd name="connsiteY14" fmla="*/ 25717 h 89916"/>
                  <a:gd name="connsiteX15" fmla="*/ 8001 w 57531"/>
                  <a:gd name="connsiteY15" fmla="*/ 22193 h 89916"/>
                  <a:gd name="connsiteX16" fmla="*/ 12097 w 57531"/>
                  <a:gd name="connsiteY16" fmla="*/ 20860 h 89916"/>
                  <a:gd name="connsiteX17" fmla="*/ 19907 w 57531"/>
                  <a:gd name="connsiteY17" fmla="*/ 29718 h 89916"/>
                  <a:gd name="connsiteX18" fmla="*/ 27813 w 57531"/>
                  <a:gd name="connsiteY18" fmla="*/ 30290 h 89916"/>
                  <a:gd name="connsiteX19" fmla="*/ 35433 w 57531"/>
                  <a:gd name="connsiteY19" fmla="*/ 28004 h 89916"/>
                  <a:gd name="connsiteX20" fmla="*/ 40767 w 57531"/>
                  <a:gd name="connsiteY20" fmla="*/ 14669 h 89916"/>
                  <a:gd name="connsiteX21" fmla="*/ 42863 w 57531"/>
                  <a:gd name="connsiteY21" fmla="*/ 0 h 89916"/>
                  <a:gd name="connsiteX22" fmla="*/ 45434 w 57531"/>
                  <a:gd name="connsiteY22" fmla="*/ 2762 h 89916"/>
                  <a:gd name="connsiteX23" fmla="*/ 45434 w 57531"/>
                  <a:gd name="connsiteY23" fmla="*/ 3334 h 89916"/>
                  <a:gd name="connsiteX24" fmla="*/ 48482 w 57531"/>
                  <a:gd name="connsiteY24" fmla="*/ 18002 h 89916"/>
                  <a:gd name="connsiteX25" fmla="*/ 54578 w 57531"/>
                  <a:gd name="connsiteY25" fmla="*/ 8954 h 89916"/>
                  <a:gd name="connsiteX26" fmla="*/ 57531 w 57531"/>
                  <a:gd name="connsiteY26" fmla="*/ 11811 h 89916"/>
                  <a:gd name="connsiteX27" fmla="*/ 53912 w 57531"/>
                  <a:gd name="connsiteY27" fmla="*/ 15526 h 89916"/>
                  <a:gd name="connsiteX28" fmla="*/ 53149 w 57531"/>
                  <a:gd name="connsiteY28" fmla="*/ 28289 h 89916"/>
                  <a:gd name="connsiteX29" fmla="*/ 54578 w 57531"/>
                  <a:gd name="connsiteY29" fmla="*/ 41053 h 89916"/>
                  <a:gd name="connsiteX30" fmla="*/ 54769 w 57531"/>
                  <a:gd name="connsiteY30" fmla="*/ 54864 h 89916"/>
                  <a:gd name="connsiteX31" fmla="*/ 53721 w 57531"/>
                  <a:gd name="connsiteY31" fmla="*/ 70295 h 89916"/>
                  <a:gd name="connsiteX32" fmla="*/ 49244 w 57531"/>
                  <a:gd name="connsiteY32" fmla="*/ 76676 h 89916"/>
                  <a:gd name="connsiteX33" fmla="*/ 49244 w 57531"/>
                  <a:gd name="connsiteY33" fmla="*/ 76676 h 89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7531" h="89916">
                    <a:moveTo>
                      <a:pt x="49244" y="76676"/>
                    </a:moveTo>
                    <a:lnTo>
                      <a:pt x="49244" y="76676"/>
                    </a:lnTo>
                    <a:lnTo>
                      <a:pt x="38100" y="89916"/>
                    </a:lnTo>
                    <a:lnTo>
                      <a:pt x="31528" y="85439"/>
                    </a:lnTo>
                    <a:lnTo>
                      <a:pt x="31528" y="71152"/>
                    </a:lnTo>
                    <a:lnTo>
                      <a:pt x="40672" y="60865"/>
                    </a:lnTo>
                    <a:lnTo>
                      <a:pt x="30290" y="64675"/>
                    </a:lnTo>
                    <a:lnTo>
                      <a:pt x="19717" y="57817"/>
                    </a:lnTo>
                    <a:lnTo>
                      <a:pt x="11906" y="59912"/>
                    </a:lnTo>
                    <a:lnTo>
                      <a:pt x="7048" y="59150"/>
                    </a:lnTo>
                    <a:lnTo>
                      <a:pt x="0" y="48482"/>
                    </a:lnTo>
                    <a:lnTo>
                      <a:pt x="6668" y="46768"/>
                    </a:lnTo>
                    <a:lnTo>
                      <a:pt x="16002" y="42291"/>
                    </a:lnTo>
                    <a:lnTo>
                      <a:pt x="16859" y="35624"/>
                    </a:lnTo>
                    <a:lnTo>
                      <a:pt x="8192" y="25717"/>
                    </a:lnTo>
                    <a:lnTo>
                      <a:pt x="8001" y="22193"/>
                    </a:lnTo>
                    <a:lnTo>
                      <a:pt x="12097" y="20860"/>
                    </a:lnTo>
                    <a:lnTo>
                      <a:pt x="19907" y="29718"/>
                    </a:lnTo>
                    <a:lnTo>
                      <a:pt x="27813" y="30290"/>
                    </a:lnTo>
                    <a:lnTo>
                      <a:pt x="35433" y="28004"/>
                    </a:lnTo>
                    <a:lnTo>
                      <a:pt x="40767" y="14669"/>
                    </a:lnTo>
                    <a:lnTo>
                      <a:pt x="42863" y="0"/>
                    </a:lnTo>
                    <a:lnTo>
                      <a:pt x="45434" y="2762"/>
                    </a:lnTo>
                    <a:lnTo>
                      <a:pt x="45434" y="3334"/>
                    </a:lnTo>
                    <a:lnTo>
                      <a:pt x="48482" y="18002"/>
                    </a:lnTo>
                    <a:lnTo>
                      <a:pt x="54578" y="8954"/>
                    </a:lnTo>
                    <a:lnTo>
                      <a:pt x="57531" y="11811"/>
                    </a:lnTo>
                    <a:lnTo>
                      <a:pt x="53912" y="15526"/>
                    </a:lnTo>
                    <a:lnTo>
                      <a:pt x="53149" y="28289"/>
                    </a:lnTo>
                    <a:lnTo>
                      <a:pt x="54578" y="41053"/>
                    </a:lnTo>
                    <a:lnTo>
                      <a:pt x="54769" y="54864"/>
                    </a:lnTo>
                    <a:lnTo>
                      <a:pt x="53721" y="70295"/>
                    </a:lnTo>
                    <a:lnTo>
                      <a:pt x="49244" y="76676"/>
                    </a:lnTo>
                    <a:lnTo>
                      <a:pt x="49244" y="7667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sp>
            <p:nvSpPr>
              <p:cNvPr id="377" name="Freeform: Shape 376">
                <a:extLst>
                  <a:ext uri="{FF2B5EF4-FFF2-40B4-BE49-F238E27FC236}">
                    <a16:creationId xmlns:a16="http://schemas.microsoft.com/office/drawing/2014/main" id="{41346AAE-0FA5-4604-B2EC-2F9515A36814}"/>
                  </a:ext>
                </a:extLst>
              </p:cNvPr>
              <p:cNvSpPr/>
              <p:nvPr/>
            </p:nvSpPr>
            <p:spPr>
              <a:xfrm>
                <a:off x="12935221" y="4222639"/>
                <a:ext cx="76009" cy="54006"/>
              </a:xfrm>
              <a:custGeom>
                <a:avLst/>
                <a:gdLst>
                  <a:gd name="connsiteX0" fmla="*/ 76009 w 76009"/>
                  <a:gd name="connsiteY0" fmla="*/ 40576 h 54006"/>
                  <a:gd name="connsiteX1" fmla="*/ 76009 w 76009"/>
                  <a:gd name="connsiteY1" fmla="*/ 40576 h 54006"/>
                  <a:gd name="connsiteX2" fmla="*/ 75248 w 76009"/>
                  <a:gd name="connsiteY2" fmla="*/ 54007 h 54006"/>
                  <a:gd name="connsiteX3" fmla="*/ 72676 w 76009"/>
                  <a:gd name="connsiteY3" fmla="*/ 51244 h 54006"/>
                  <a:gd name="connsiteX4" fmla="*/ 65818 w 76009"/>
                  <a:gd name="connsiteY4" fmla="*/ 49435 h 54006"/>
                  <a:gd name="connsiteX5" fmla="*/ 63818 w 76009"/>
                  <a:gd name="connsiteY5" fmla="*/ 45815 h 54006"/>
                  <a:gd name="connsiteX6" fmla="*/ 55054 w 76009"/>
                  <a:gd name="connsiteY6" fmla="*/ 43434 h 54006"/>
                  <a:gd name="connsiteX7" fmla="*/ 60674 w 76009"/>
                  <a:gd name="connsiteY7" fmla="*/ 41434 h 54006"/>
                  <a:gd name="connsiteX8" fmla="*/ 56102 w 76009"/>
                  <a:gd name="connsiteY8" fmla="*/ 34861 h 54006"/>
                  <a:gd name="connsiteX9" fmla="*/ 50006 w 76009"/>
                  <a:gd name="connsiteY9" fmla="*/ 30956 h 54006"/>
                  <a:gd name="connsiteX10" fmla="*/ 41434 w 76009"/>
                  <a:gd name="connsiteY10" fmla="*/ 26956 h 54006"/>
                  <a:gd name="connsiteX11" fmla="*/ 34195 w 76009"/>
                  <a:gd name="connsiteY11" fmla="*/ 26479 h 54006"/>
                  <a:gd name="connsiteX12" fmla="*/ 24194 w 76009"/>
                  <a:gd name="connsiteY12" fmla="*/ 33052 h 54006"/>
                  <a:gd name="connsiteX13" fmla="*/ 13335 w 76009"/>
                  <a:gd name="connsiteY13" fmla="*/ 33242 h 54006"/>
                  <a:gd name="connsiteX14" fmla="*/ 4858 w 76009"/>
                  <a:gd name="connsiteY14" fmla="*/ 26384 h 54006"/>
                  <a:gd name="connsiteX15" fmla="*/ 2477 w 76009"/>
                  <a:gd name="connsiteY15" fmla="*/ 22860 h 54006"/>
                  <a:gd name="connsiteX16" fmla="*/ 381 w 76009"/>
                  <a:gd name="connsiteY16" fmla="*/ 18097 h 54006"/>
                  <a:gd name="connsiteX17" fmla="*/ 0 w 76009"/>
                  <a:gd name="connsiteY17" fmla="*/ 11906 h 54006"/>
                  <a:gd name="connsiteX18" fmla="*/ 1048 w 76009"/>
                  <a:gd name="connsiteY18" fmla="*/ 10192 h 54006"/>
                  <a:gd name="connsiteX19" fmla="*/ 9430 w 76009"/>
                  <a:gd name="connsiteY19" fmla="*/ 4953 h 54006"/>
                  <a:gd name="connsiteX20" fmla="*/ 13716 w 76009"/>
                  <a:gd name="connsiteY20" fmla="*/ 4667 h 54006"/>
                  <a:gd name="connsiteX21" fmla="*/ 17717 w 76009"/>
                  <a:gd name="connsiteY21" fmla="*/ 4953 h 54006"/>
                  <a:gd name="connsiteX22" fmla="*/ 25813 w 76009"/>
                  <a:gd name="connsiteY22" fmla="*/ 2381 h 54006"/>
                  <a:gd name="connsiteX23" fmla="*/ 35433 w 76009"/>
                  <a:gd name="connsiteY23" fmla="*/ 5429 h 54006"/>
                  <a:gd name="connsiteX24" fmla="*/ 47434 w 76009"/>
                  <a:gd name="connsiteY24" fmla="*/ 8858 h 54006"/>
                  <a:gd name="connsiteX25" fmla="*/ 61055 w 76009"/>
                  <a:gd name="connsiteY25" fmla="*/ 17145 h 54006"/>
                  <a:gd name="connsiteX26" fmla="*/ 60865 w 76009"/>
                  <a:gd name="connsiteY26" fmla="*/ 14573 h 54006"/>
                  <a:gd name="connsiteX27" fmla="*/ 49244 w 76009"/>
                  <a:gd name="connsiteY27" fmla="*/ 2381 h 54006"/>
                  <a:gd name="connsiteX28" fmla="*/ 51149 w 76009"/>
                  <a:gd name="connsiteY28" fmla="*/ 0 h 54006"/>
                  <a:gd name="connsiteX29" fmla="*/ 57626 w 76009"/>
                  <a:gd name="connsiteY29" fmla="*/ 6477 h 54006"/>
                  <a:gd name="connsiteX30" fmla="*/ 69342 w 76009"/>
                  <a:gd name="connsiteY30" fmla="*/ 16192 h 54006"/>
                  <a:gd name="connsiteX31" fmla="*/ 71533 w 76009"/>
                  <a:gd name="connsiteY31" fmla="*/ 27622 h 54006"/>
                  <a:gd name="connsiteX32" fmla="*/ 76009 w 76009"/>
                  <a:gd name="connsiteY32" fmla="*/ 40576 h 54006"/>
                  <a:gd name="connsiteX33" fmla="*/ 76009 w 76009"/>
                  <a:gd name="connsiteY33" fmla="*/ 40576 h 5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009" h="54006">
                    <a:moveTo>
                      <a:pt x="76009" y="40576"/>
                    </a:moveTo>
                    <a:lnTo>
                      <a:pt x="76009" y="40576"/>
                    </a:lnTo>
                    <a:lnTo>
                      <a:pt x="75248" y="54007"/>
                    </a:lnTo>
                    <a:lnTo>
                      <a:pt x="72676" y="51244"/>
                    </a:lnTo>
                    <a:lnTo>
                      <a:pt x="65818" y="49435"/>
                    </a:lnTo>
                    <a:lnTo>
                      <a:pt x="63818" y="45815"/>
                    </a:lnTo>
                    <a:lnTo>
                      <a:pt x="55054" y="43434"/>
                    </a:lnTo>
                    <a:lnTo>
                      <a:pt x="60674" y="41434"/>
                    </a:lnTo>
                    <a:lnTo>
                      <a:pt x="56102" y="34861"/>
                    </a:lnTo>
                    <a:lnTo>
                      <a:pt x="50006" y="30956"/>
                    </a:lnTo>
                    <a:lnTo>
                      <a:pt x="41434" y="26956"/>
                    </a:lnTo>
                    <a:lnTo>
                      <a:pt x="34195" y="26479"/>
                    </a:lnTo>
                    <a:lnTo>
                      <a:pt x="24194" y="33052"/>
                    </a:lnTo>
                    <a:lnTo>
                      <a:pt x="13335" y="33242"/>
                    </a:lnTo>
                    <a:lnTo>
                      <a:pt x="4858" y="26384"/>
                    </a:lnTo>
                    <a:lnTo>
                      <a:pt x="2477" y="22860"/>
                    </a:lnTo>
                    <a:lnTo>
                      <a:pt x="381" y="18097"/>
                    </a:lnTo>
                    <a:lnTo>
                      <a:pt x="0" y="11906"/>
                    </a:lnTo>
                    <a:lnTo>
                      <a:pt x="1048" y="10192"/>
                    </a:lnTo>
                    <a:lnTo>
                      <a:pt x="9430" y="4953"/>
                    </a:lnTo>
                    <a:lnTo>
                      <a:pt x="13716" y="4667"/>
                    </a:lnTo>
                    <a:lnTo>
                      <a:pt x="17717" y="4953"/>
                    </a:lnTo>
                    <a:lnTo>
                      <a:pt x="25813" y="2381"/>
                    </a:lnTo>
                    <a:lnTo>
                      <a:pt x="35433" y="5429"/>
                    </a:lnTo>
                    <a:lnTo>
                      <a:pt x="47434" y="8858"/>
                    </a:lnTo>
                    <a:lnTo>
                      <a:pt x="61055" y="17145"/>
                    </a:lnTo>
                    <a:lnTo>
                      <a:pt x="60865" y="14573"/>
                    </a:lnTo>
                    <a:lnTo>
                      <a:pt x="49244" y="2381"/>
                    </a:lnTo>
                    <a:lnTo>
                      <a:pt x="51149" y="0"/>
                    </a:lnTo>
                    <a:lnTo>
                      <a:pt x="57626" y="6477"/>
                    </a:lnTo>
                    <a:lnTo>
                      <a:pt x="69342" y="16192"/>
                    </a:lnTo>
                    <a:lnTo>
                      <a:pt x="71533" y="27622"/>
                    </a:lnTo>
                    <a:lnTo>
                      <a:pt x="76009" y="40576"/>
                    </a:lnTo>
                    <a:lnTo>
                      <a:pt x="76009" y="40576"/>
                    </a:lnTo>
                    <a:close/>
                  </a:path>
                </a:pathLst>
              </a:custGeom>
              <a:solidFill>
                <a:schemeClr val="accent2">
                  <a:lumMod val="20000"/>
                  <a:lumOff val="80000"/>
                </a:schemeClr>
              </a:solidFill>
              <a:ln w="9525" cap="flat">
                <a:noFill/>
                <a:prstDash val="solid"/>
                <a:miter/>
              </a:ln>
            </p:spPr>
            <p:txBody>
              <a:bodyPr rtlCol="0" anchor="ctr"/>
              <a:lstStyle/>
              <a:p>
                <a:pPr algn="l" rtl="0"/>
                <a:endParaRPr lang="en-US" dirty="0"/>
              </a:p>
            </p:txBody>
          </p:sp>
        </p:grpSp>
      </p:grpSp>
      <p:grpSp>
        <p:nvGrpSpPr>
          <p:cNvPr id="378" name="Group 377">
            <a:extLst>
              <a:ext uri="{FF2B5EF4-FFF2-40B4-BE49-F238E27FC236}">
                <a16:creationId xmlns:a16="http://schemas.microsoft.com/office/drawing/2014/main" id="{2DF46269-C760-43A3-BE95-A128D2872A07}"/>
              </a:ext>
            </a:extLst>
          </p:cNvPr>
          <p:cNvGrpSpPr/>
          <p:nvPr/>
        </p:nvGrpSpPr>
        <p:grpSpPr>
          <a:xfrm>
            <a:off x="554736" y="2111674"/>
            <a:ext cx="452492" cy="313333"/>
            <a:chOff x="-3833246" y="2075562"/>
            <a:chExt cx="3117986" cy="2159082"/>
          </a:xfrm>
        </p:grpSpPr>
        <p:sp>
          <p:nvSpPr>
            <p:cNvPr id="379" name="Freeform: Shape 378">
              <a:extLst>
                <a:ext uri="{FF2B5EF4-FFF2-40B4-BE49-F238E27FC236}">
                  <a16:creationId xmlns:a16="http://schemas.microsoft.com/office/drawing/2014/main" id="{08E90F0A-D7A9-4384-92D5-3FFFBAE0B119}"/>
                </a:ext>
              </a:extLst>
            </p:cNvPr>
            <p:cNvSpPr/>
            <p:nvPr/>
          </p:nvSpPr>
          <p:spPr>
            <a:xfrm rot="10800000">
              <a:off x="-2689981" y="3056170"/>
              <a:ext cx="61000" cy="1074474"/>
            </a:xfrm>
            <a:custGeom>
              <a:avLst/>
              <a:gdLst>
                <a:gd name="connsiteX0" fmla="*/ 0 w 61000"/>
                <a:gd name="connsiteY0" fmla="*/ 0 h 1074474"/>
                <a:gd name="connsiteX1" fmla="*/ 61000 w 61000"/>
                <a:gd name="connsiteY1" fmla="*/ 0 h 1074474"/>
                <a:gd name="connsiteX2" fmla="*/ 61000 w 61000"/>
                <a:gd name="connsiteY2" fmla="*/ 1074475 h 1074474"/>
                <a:gd name="connsiteX3" fmla="*/ 0 w 61000"/>
                <a:gd name="connsiteY3" fmla="*/ 1074475 h 1074474"/>
              </a:gdLst>
              <a:ahLst/>
              <a:cxnLst>
                <a:cxn ang="0">
                  <a:pos x="connsiteX0" y="connsiteY0"/>
                </a:cxn>
                <a:cxn ang="0">
                  <a:pos x="connsiteX1" y="connsiteY1"/>
                </a:cxn>
                <a:cxn ang="0">
                  <a:pos x="connsiteX2" y="connsiteY2"/>
                </a:cxn>
                <a:cxn ang="0">
                  <a:pos x="connsiteX3" y="connsiteY3"/>
                </a:cxn>
              </a:cxnLst>
              <a:rect l="l" t="t" r="r" b="b"/>
              <a:pathLst>
                <a:path w="61000" h="1074474">
                  <a:moveTo>
                    <a:pt x="0" y="0"/>
                  </a:moveTo>
                  <a:lnTo>
                    <a:pt x="61000" y="0"/>
                  </a:lnTo>
                  <a:lnTo>
                    <a:pt x="61000" y="1074475"/>
                  </a:lnTo>
                  <a:lnTo>
                    <a:pt x="0" y="1074475"/>
                  </a:lnTo>
                  <a:close/>
                </a:path>
              </a:pathLst>
            </a:custGeom>
            <a:solidFill>
              <a:schemeClr val="accent2">
                <a:lumMod val="50000"/>
              </a:schemeClr>
            </a:solidFill>
            <a:ln w="5065" cap="flat">
              <a:noFill/>
              <a:prstDash val="solid"/>
              <a:miter/>
            </a:ln>
          </p:spPr>
          <p:txBody>
            <a:bodyPr rtlCol="0" anchor="ctr"/>
            <a:lstStyle/>
            <a:p>
              <a:pPr algn="l" rtl="0"/>
              <a:endParaRPr lang="en-US" dirty="0"/>
            </a:p>
          </p:txBody>
        </p:sp>
        <p:sp>
          <p:nvSpPr>
            <p:cNvPr id="380" name="Freeform: Shape 379">
              <a:extLst>
                <a:ext uri="{FF2B5EF4-FFF2-40B4-BE49-F238E27FC236}">
                  <a16:creationId xmlns:a16="http://schemas.microsoft.com/office/drawing/2014/main" id="{102F9791-0EAD-413A-8072-1622D14A2FEC}"/>
                </a:ext>
              </a:extLst>
            </p:cNvPr>
            <p:cNvSpPr/>
            <p:nvPr/>
          </p:nvSpPr>
          <p:spPr>
            <a:xfrm>
              <a:off x="-2850062" y="3016416"/>
              <a:ext cx="241414" cy="89649"/>
            </a:xfrm>
            <a:custGeom>
              <a:avLst/>
              <a:gdLst>
                <a:gd name="connsiteX0" fmla="*/ 44825 w 241414"/>
                <a:gd name="connsiteY0" fmla="*/ 89649 h 89649"/>
                <a:gd name="connsiteX1" fmla="*/ 196590 w 241414"/>
                <a:gd name="connsiteY1" fmla="*/ 89649 h 89649"/>
                <a:gd name="connsiteX2" fmla="*/ 241415 w 241414"/>
                <a:gd name="connsiteY2" fmla="*/ 44825 h 89649"/>
                <a:gd name="connsiteX3" fmla="*/ 241415 w 241414"/>
                <a:gd name="connsiteY3" fmla="*/ 44825 h 89649"/>
                <a:gd name="connsiteX4" fmla="*/ 196590 w 241414"/>
                <a:gd name="connsiteY4" fmla="*/ 0 h 89649"/>
                <a:gd name="connsiteX5" fmla="*/ 44825 w 241414"/>
                <a:gd name="connsiteY5" fmla="*/ 0 h 89649"/>
                <a:gd name="connsiteX6" fmla="*/ 0 w 241414"/>
                <a:gd name="connsiteY6" fmla="*/ 44825 h 89649"/>
                <a:gd name="connsiteX7" fmla="*/ 0 w 241414"/>
                <a:gd name="connsiteY7" fmla="*/ 44825 h 89649"/>
                <a:gd name="connsiteX8" fmla="*/ 44825 w 241414"/>
                <a:gd name="connsiteY8" fmla="*/ 89649 h 8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414" h="89649">
                  <a:moveTo>
                    <a:pt x="44825" y="89649"/>
                  </a:moveTo>
                  <a:lnTo>
                    <a:pt x="196590" y="89649"/>
                  </a:lnTo>
                  <a:cubicBezTo>
                    <a:pt x="221335" y="89649"/>
                    <a:pt x="241415" y="69570"/>
                    <a:pt x="241415" y="44825"/>
                  </a:cubicBezTo>
                  <a:lnTo>
                    <a:pt x="241415" y="44825"/>
                  </a:lnTo>
                  <a:cubicBezTo>
                    <a:pt x="241415" y="20080"/>
                    <a:pt x="221335" y="0"/>
                    <a:pt x="196590" y="0"/>
                  </a:cubicBezTo>
                  <a:lnTo>
                    <a:pt x="44825" y="0"/>
                  </a:lnTo>
                  <a:cubicBezTo>
                    <a:pt x="20080" y="0"/>
                    <a:pt x="0" y="20080"/>
                    <a:pt x="0" y="44825"/>
                  </a:cubicBezTo>
                  <a:lnTo>
                    <a:pt x="0" y="44825"/>
                  </a:lnTo>
                  <a:cubicBezTo>
                    <a:pt x="0" y="69570"/>
                    <a:pt x="20080" y="89649"/>
                    <a:pt x="44825" y="89649"/>
                  </a:cubicBezTo>
                  <a:close/>
                </a:path>
              </a:pathLst>
            </a:custGeom>
            <a:solidFill>
              <a:schemeClr val="accent2">
                <a:lumMod val="75000"/>
              </a:schemeClr>
            </a:solidFill>
            <a:ln w="5065" cap="flat">
              <a:noFill/>
              <a:prstDash val="solid"/>
              <a:miter/>
            </a:ln>
          </p:spPr>
          <p:txBody>
            <a:bodyPr rtlCol="0" anchor="ctr"/>
            <a:lstStyle/>
            <a:p>
              <a:pPr algn="l" rtl="0"/>
              <a:endParaRPr lang="en-US" dirty="0"/>
            </a:p>
          </p:txBody>
        </p:sp>
        <p:sp>
          <p:nvSpPr>
            <p:cNvPr id="381" name="Freeform: Shape 380">
              <a:extLst>
                <a:ext uri="{FF2B5EF4-FFF2-40B4-BE49-F238E27FC236}">
                  <a16:creationId xmlns:a16="http://schemas.microsoft.com/office/drawing/2014/main" id="{A8CDAF70-2BD3-45BE-974C-7B3E6FDC7512}"/>
                </a:ext>
              </a:extLst>
            </p:cNvPr>
            <p:cNvSpPr/>
            <p:nvPr/>
          </p:nvSpPr>
          <p:spPr>
            <a:xfrm>
              <a:off x="-2634508" y="3593408"/>
              <a:ext cx="334664" cy="468428"/>
            </a:xfrm>
            <a:custGeom>
              <a:avLst/>
              <a:gdLst>
                <a:gd name="connsiteX0" fmla="*/ 5527 w 334664"/>
                <a:gd name="connsiteY0" fmla="*/ 0 h 468428"/>
                <a:gd name="connsiteX1" fmla="*/ 334664 w 334664"/>
                <a:gd name="connsiteY1" fmla="*/ 190860 h 468428"/>
                <a:gd name="connsiteX2" fmla="*/ 334664 w 334664"/>
                <a:gd name="connsiteY2" fmla="*/ 468428 h 468428"/>
                <a:gd name="connsiteX3" fmla="*/ 0 w 334664"/>
                <a:gd name="connsiteY3" fmla="*/ 468428 h 468428"/>
                <a:gd name="connsiteX4" fmla="*/ 5527 w 334664"/>
                <a:gd name="connsiteY4" fmla="*/ 0 h 46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664" h="468428">
                  <a:moveTo>
                    <a:pt x="5527" y="0"/>
                  </a:moveTo>
                  <a:cubicBezTo>
                    <a:pt x="12930" y="659"/>
                    <a:pt x="334664" y="190860"/>
                    <a:pt x="334664" y="190860"/>
                  </a:cubicBezTo>
                  <a:lnTo>
                    <a:pt x="334664" y="468428"/>
                  </a:lnTo>
                  <a:lnTo>
                    <a:pt x="0" y="468428"/>
                  </a:lnTo>
                  <a:lnTo>
                    <a:pt x="5527" y="0"/>
                  </a:lnTo>
                  <a:close/>
                </a:path>
              </a:pathLst>
            </a:custGeom>
            <a:solidFill>
              <a:schemeClr val="accent2">
                <a:lumMod val="50000"/>
              </a:schemeClr>
            </a:solidFill>
            <a:ln w="5065" cap="flat">
              <a:noFill/>
              <a:prstDash val="solid"/>
              <a:miter/>
            </a:ln>
          </p:spPr>
          <p:txBody>
            <a:bodyPr rtlCol="0" anchor="ctr"/>
            <a:lstStyle/>
            <a:p>
              <a:pPr algn="l" rtl="0"/>
              <a:endParaRPr lang="en-US" dirty="0"/>
            </a:p>
          </p:txBody>
        </p:sp>
        <p:sp>
          <p:nvSpPr>
            <p:cNvPr id="382" name="Freeform: Shape 381">
              <a:extLst>
                <a:ext uri="{FF2B5EF4-FFF2-40B4-BE49-F238E27FC236}">
                  <a16:creationId xmlns:a16="http://schemas.microsoft.com/office/drawing/2014/main" id="{D38B9FD5-C776-4124-BC77-7E117D0F7B21}"/>
                </a:ext>
              </a:extLst>
            </p:cNvPr>
            <p:cNvSpPr/>
            <p:nvPr/>
          </p:nvSpPr>
          <p:spPr>
            <a:xfrm>
              <a:off x="-935276" y="4052810"/>
              <a:ext cx="181834" cy="181834"/>
            </a:xfrm>
            <a:custGeom>
              <a:avLst/>
              <a:gdLst>
                <a:gd name="connsiteX0" fmla="*/ 181834 w 181834"/>
                <a:gd name="connsiteY0" fmla="*/ 90917 h 181834"/>
                <a:gd name="connsiteX1" fmla="*/ 90917 w 181834"/>
                <a:gd name="connsiteY1" fmla="*/ 0 h 181834"/>
                <a:gd name="connsiteX2" fmla="*/ 0 w 181834"/>
                <a:gd name="connsiteY2" fmla="*/ 90917 h 181834"/>
                <a:gd name="connsiteX3" fmla="*/ 90917 w 181834"/>
                <a:gd name="connsiteY3" fmla="*/ 181834 h 181834"/>
                <a:gd name="connsiteX4" fmla="*/ 181834 w 181834"/>
                <a:gd name="connsiteY4" fmla="*/ 90917 h 181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834" h="181834">
                  <a:moveTo>
                    <a:pt x="181834" y="90917"/>
                  </a:moveTo>
                  <a:cubicBezTo>
                    <a:pt x="181834" y="40717"/>
                    <a:pt x="141117" y="0"/>
                    <a:pt x="90917" y="0"/>
                  </a:cubicBezTo>
                  <a:cubicBezTo>
                    <a:pt x="40717" y="0"/>
                    <a:pt x="0" y="40717"/>
                    <a:pt x="0" y="90917"/>
                  </a:cubicBezTo>
                  <a:cubicBezTo>
                    <a:pt x="0" y="141117"/>
                    <a:pt x="40717" y="181834"/>
                    <a:pt x="90917" y="181834"/>
                  </a:cubicBezTo>
                  <a:cubicBezTo>
                    <a:pt x="141117" y="181834"/>
                    <a:pt x="181834" y="141117"/>
                    <a:pt x="181834" y="90917"/>
                  </a:cubicBezTo>
                  <a:close/>
                </a:path>
              </a:pathLst>
            </a:custGeom>
            <a:solidFill>
              <a:schemeClr val="accent2">
                <a:lumMod val="75000"/>
              </a:schemeClr>
            </a:solidFill>
            <a:ln w="5065" cap="flat">
              <a:noFill/>
              <a:prstDash val="solid"/>
              <a:miter/>
            </a:ln>
          </p:spPr>
          <p:txBody>
            <a:bodyPr rtlCol="0" anchor="ctr"/>
            <a:lstStyle/>
            <a:p>
              <a:pPr algn="l" rtl="0"/>
              <a:endParaRPr lang="en-US" dirty="0"/>
            </a:p>
          </p:txBody>
        </p:sp>
        <p:sp>
          <p:nvSpPr>
            <p:cNvPr id="383" name="Freeform: Shape 382">
              <a:extLst>
                <a:ext uri="{FF2B5EF4-FFF2-40B4-BE49-F238E27FC236}">
                  <a16:creationId xmlns:a16="http://schemas.microsoft.com/office/drawing/2014/main" id="{2E9B6462-F1FE-486F-AA22-4FC866011ABC}"/>
                </a:ext>
              </a:extLst>
            </p:cNvPr>
            <p:cNvSpPr/>
            <p:nvPr/>
          </p:nvSpPr>
          <p:spPr>
            <a:xfrm>
              <a:off x="-901302" y="4086784"/>
              <a:ext cx="113887" cy="113887"/>
            </a:xfrm>
            <a:custGeom>
              <a:avLst/>
              <a:gdLst>
                <a:gd name="connsiteX0" fmla="*/ 113887 w 113887"/>
                <a:gd name="connsiteY0" fmla="*/ 56944 h 113887"/>
                <a:gd name="connsiteX1" fmla="*/ 56944 w 113887"/>
                <a:gd name="connsiteY1" fmla="*/ 0 h 113887"/>
                <a:gd name="connsiteX2" fmla="*/ 0 w 113887"/>
                <a:gd name="connsiteY2" fmla="*/ 56944 h 113887"/>
                <a:gd name="connsiteX3" fmla="*/ 56944 w 113887"/>
                <a:gd name="connsiteY3" fmla="*/ 113887 h 113887"/>
                <a:gd name="connsiteX4" fmla="*/ 113887 w 113887"/>
                <a:gd name="connsiteY4" fmla="*/ 56944 h 11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87" h="113887">
                  <a:moveTo>
                    <a:pt x="113887" y="56944"/>
                  </a:moveTo>
                  <a:cubicBezTo>
                    <a:pt x="113887" y="25505"/>
                    <a:pt x="88382" y="0"/>
                    <a:pt x="56944" y="0"/>
                  </a:cubicBezTo>
                  <a:cubicBezTo>
                    <a:pt x="25505" y="0"/>
                    <a:pt x="0" y="25505"/>
                    <a:pt x="0" y="56944"/>
                  </a:cubicBezTo>
                  <a:cubicBezTo>
                    <a:pt x="0" y="88382"/>
                    <a:pt x="25505" y="113887"/>
                    <a:pt x="56944" y="113887"/>
                  </a:cubicBezTo>
                  <a:cubicBezTo>
                    <a:pt x="88382" y="113887"/>
                    <a:pt x="113887" y="88382"/>
                    <a:pt x="113887" y="56944"/>
                  </a:cubicBezTo>
                  <a:close/>
                </a:path>
              </a:pathLst>
            </a:custGeom>
            <a:solidFill>
              <a:schemeClr val="accent2">
                <a:lumMod val="20000"/>
                <a:lumOff val="80000"/>
              </a:schemeClr>
            </a:solidFill>
            <a:ln w="5065" cap="flat">
              <a:noFill/>
              <a:prstDash val="solid"/>
              <a:miter/>
            </a:ln>
          </p:spPr>
          <p:txBody>
            <a:bodyPr rtlCol="0" anchor="ctr"/>
            <a:lstStyle/>
            <a:p>
              <a:pPr algn="l" rtl="0"/>
              <a:endParaRPr lang="en-US" dirty="0"/>
            </a:p>
          </p:txBody>
        </p:sp>
        <p:sp>
          <p:nvSpPr>
            <p:cNvPr id="384" name="Freeform: Shape 383">
              <a:extLst>
                <a:ext uri="{FF2B5EF4-FFF2-40B4-BE49-F238E27FC236}">
                  <a16:creationId xmlns:a16="http://schemas.microsoft.com/office/drawing/2014/main" id="{9EA9893A-1B2B-4C90-AE4B-7E39E466B8E9}"/>
                </a:ext>
              </a:extLst>
            </p:cNvPr>
            <p:cNvSpPr/>
            <p:nvPr/>
          </p:nvSpPr>
          <p:spPr>
            <a:xfrm rot="10800000">
              <a:off x="-2690031" y="4048906"/>
              <a:ext cx="1974771" cy="81739"/>
            </a:xfrm>
            <a:custGeom>
              <a:avLst/>
              <a:gdLst>
                <a:gd name="connsiteX0" fmla="*/ 0 w 1974771"/>
                <a:gd name="connsiteY0" fmla="*/ 0 h 81739"/>
                <a:gd name="connsiteX1" fmla="*/ 1974772 w 1974771"/>
                <a:gd name="connsiteY1" fmla="*/ 0 h 81739"/>
                <a:gd name="connsiteX2" fmla="*/ 1974772 w 1974771"/>
                <a:gd name="connsiteY2" fmla="*/ 81739 h 81739"/>
                <a:gd name="connsiteX3" fmla="*/ 0 w 1974771"/>
                <a:gd name="connsiteY3" fmla="*/ 81739 h 81739"/>
              </a:gdLst>
              <a:ahLst/>
              <a:cxnLst>
                <a:cxn ang="0">
                  <a:pos x="connsiteX0" y="connsiteY0"/>
                </a:cxn>
                <a:cxn ang="0">
                  <a:pos x="connsiteX1" y="connsiteY1"/>
                </a:cxn>
                <a:cxn ang="0">
                  <a:pos x="connsiteX2" y="connsiteY2"/>
                </a:cxn>
                <a:cxn ang="0">
                  <a:pos x="connsiteX3" y="connsiteY3"/>
                </a:cxn>
              </a:cxnLst>
              <a:rect l="l" t="t" r="r" b="b"/>
              <a:pathLst>
                <a:path w="1974771" h="81739">
                  <a:moveTo>
                    <a:pt x="0" y="0"/>
                  </a:moveTo>
                  <a:lnTo>
                    <a:pt x="1974772" y="0"/>
                  </a:lnTo>
                  <a:lnTo>
                    <a:pt x="1974772" y="81739"/>
                  </a:lnTo>
                  <a:lnTo>
                    <a:pt x="0" y="81739"/>
                  </a:lnTo>
                  <a:close/>
                </a:path>
              </a:pathLst>
            </a:custGeom>
            <a:solidFill>
              <a:schemeClr val="accent2">
                <a:lumMod val="50000"/>
              </a:schemeClr>
            </a:solidFill>
            <a:ln w="5065" cap="flat">
              <a:noFill/>
              <a:prstDash val="solid"/>
              <a:miter/>
            </a:ln>
          </p:spPr>
          <p:txBody>
            <a:bodyPr rtlCol="0" anchor="ctr"/>
            <a:lstStyle/>
            <a:p>
              <a:pPr algn="l" rtl="0"/>
              <a:endParaRPr lang="en-US" dirty="0"/>
            </a:p>
          </p:txBody>
        </p:sp>
        <p:sp>
          <p:nvSpPr>
            <p:cNvPr id="385" name="Freeform: Shape 384">
              <a:extLst>
                <a:ext uri="{FF2B5EF4-FFF2-40B4-BE49-F238E27FC236}">
                  <a16:creationId xmlns:a16="http://schemas.microsoft.com/office/drawing/2014/main" id="{CE1A5597-6383-4C4E-9050-8BFDD5E8241E}"/>
                </a:ext>
              </a:extLst>
            </p:cNvPr>
            <p:cNvSpPr/>
            <p:nvPr/>
          </p:nvSpPr>
          <p:spPr>
            <a:xfrm>
              <a:off x="-2773849" y="3944906"/>
              <a:ext cx="289737" cy="289737"/>
            </a:xfrm>
            <a:custGeom>
              <a:avLst/>
              <a:gdLst>
                <a:gd name="connsiteX0" fmla="*/ 289738 w 289737"/>
                <a:gd name="connsiteY0" fmla="*/ 144869 h 289737"/>
                <a:gd name="connsiteX1" fmla="*/ 144869 w 289737"/>
                <a:gd name="connsiteY1" fmla="*/ 0 h 289737"/>
                <a:gd name="connsiteX2" fmla="*/ 0 w 289737"/>
                <a:gd name="connsiteY2" fmla="*/ 144869 h 289737"/>
                <a:gd name="connsiteX3" fmla="*/ 144869 w 289737"/>
                <a:gd name="connsiteY3" fmla="*/ 289738 h 289737"/>
                <a:gd name="connsiteX4" fmla="*/ 289738 w 289737"/>
                <a:gd name="connsiteY4" fmla="*/ 144869 h 289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737" h="289737">
                  <a:moveTo>
                    <a:pt x="289738" y="144869"/>
                  </a:moveTo>
                  <a:cubicBezTo>
                    <a:pt x="289738" y="64854"/>
                    <a:pt x="224884" y="0"/>
                    <a:pt x="144869" y="0"/>
                  </a:cubicBezTo>
                  <a:cubicBezTo>
                    <a:pt x="64854" y="0"/>
                    <a:pt x="0" y="64854"/>
                    <a:pt x="0" y="144869"/>
                  </a:cubicBezTo>
                  <a:cubicBezTo>
                    <a:pt x="0" y="224884"/>
                    <a:pt x="64854" y="289738"/>
                    <a:pt x="144869" y="289738"/>
                  </a:cubicBezTo>
                  <a:cubicBezTo>
                    <a:pt x="224884" y="289738"/>
                    <a:pt x="289738" y="224884"/>
                    <a:pt x="289738" y="144869"/>
                  </a:cubicBezTo>
                  <a:close/>
                </a:path>
              </a:pathLst>
            </a:custGeom>
            <a:solidFill>
              <a:schemeClr val="accent2">
                <a:lumMod val="75000"/>
              </a:schemeClr>
            </a:solidFill>
            <a:ln w="5065" cap="flat">
              <a:noFill/>
              <a:prstDash val="solid"/>
              <a:miter/>
            </a:ln>
          </p:spPr>
          <p:txBody>
            <a:bodyPr rtlCol="0" anchor="ctr"/>
            <a:lstStyle/>
            <a:p>
              <a:pPr algn="l" rtl="0"/>
              <a:endParaRPr lang="en-US" dirty="0"/>
            </a:p>
          </p:txBody>
        </p:sp>
        <p:sp>
          <p:nvSpPr>
            <p:cNvPr id="386" name="Freeform: Shape 385">
              <a:extLst>
                <a:ext uri="{FF2B5EF4-FFF2-40B4-BE49-F238E27FC236}">
                  <a16:creationId xmlns:a16="http://schemas.microsoft.com/office/drawing/2014/main" id="{7CD8E854-0480-4FB2-A593-77C20E19DD6A}"/>
                </a:ext>
              </a:extLst>
            </p:cNvPr>
            <p:cNvSpPr/>
            <p:nvPr/>
          </p:nvSpPr>
          <p:spPr>
            <a:xfrm>
              <a:off x="-2719745" y="3999010"/>
              <a:ext cx="181529" cy="181530"/>
            </a:xfrm>
            <a:custGeom>
              <a:avLst/>
              <a:gdLst>
                <a:gd name="connsiteX0" fmla="*/ 181530 w 181529"/>
                <a:gd name="connsiteY0" fmla="*/ 90765 h 181530"/>
                <a:gd name="connsiteX1" fmla="*/ 90765 w 181529"/>
                <a:gd name="connsiteY1" fmla="*/ 0 h 181530"/>
                <a:gd name="connsiteX2" fmla="*/ 0 w 181529"/>
                <a:gd name="connsiteY2" fmla="*/ 90765 h 181530"/>
                <a:gd name="connsiteX3" fmla="*/ 90765 w 181529"/>
                <a:gd name="connsiteY3" fmla="*/ 181530 h 181530"/>
                <a:gd name="connsiteX4" fmla="*/ 181530 w 181529"/>
                <a:gd name="connsiteY4" fmla="*/ 90765 h 181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529" h="181530">
                  <a:moveTo>
                    <a:pt x="181530" y="90765"/>
                  </a:moveTo>
                  <a:cubicBezTo>
                    <a:pt x="181530" y="40667"/>
                    <a:pt x="140914" y="0"/>
                    <a:pt x="90765" y="0"/>
                  </a:cubicBezTo>
                  <a:cubicBezTo>
                    <a:pt x="40616" y="0"/>
                    <a:pt x="0" y="40616"/>
                    <a:pt x="0" y="90765"/>
                  </a:cubicBezTo>
                  <a:cubicBezTo>
                    <a:pt x="0" y="140914"/>
                    <a:pt x="40616" y="181530"/>
                    <a:pt x="90765" y="181530"/>
                  </a:cubicBezTo>
                  <a:cubicBezTo>
                    <a:pt x="140914" y="181530"/>
                    <a:pt x="181530" y="140914"/>
                    <a:pt x="181530" y="90765"/>
                  </a:cubicBezTo>
                  <a:close/>
                </a:path>
              </a:pathLst>
            </a:custGeom>
            <a:solidFill>
              <a:schemeClr val="accent2">
                <a:lumMod val="20000"/>
                <a:lumOff val="80000"/>
              </a:schemeClr>
            </a:solidFill>
            <a:ln w="5065" cap="flat">
              <a:noFill/>
              <a:prstDash val="solid"/>
              <a:miter/>
            </a:ln>
          </p:spPr>
          <p:txBody>
            <a:bodyPr rtlCol="0" anchor="ctr"/>
            <a:lstStyle/>
            <a:p>
              <a:pPr algn="l" rtl="0"/>
              <a:endParaRPr lang="en-US" dirty="0"/>
            </a:p>
          </p:txBody>
        </p:sp>
        <p:sp>
          <p:nvSpPr>
            <p:cNvPr id="387" name="Freeform: Shape 386">
              <a:extLst>
                <a:ext uri="{FF2B5EF4-FFF2-40B4-BE49-F238E27FC236}">
                  <a16:creationId xmlns:a16="http://schemas.microsoft.com/office/drawing/2014/main" id="{01BBB94C-F0FC-4B7F-8E9D-25CA1A975FAD}"/>
                </a:ext>
              </a:extLst>
            </p:cNvPr>
            <p:cNvSpPr/>
            <p:nvPr/>
          </p:nvSpPr>
          <p:spPr>
            <a:xfrm>
              <a:off x="-2781119" y="2964645"/>
              <a:ext cx="97433" cy="103543"/>
            </a:xfrm>
            <a:custGeom>
              <a:avLst/>
              <a:gdLst>
                <a:gd name="connsiteX0" fmla="*/ 22025 w 97433"/>
                <a:gd name="connsiteY0" fmla="*/ 0 h 103543"/>
                <a:gd name="connsiteX1" fmla="*/ 95499 w 97433"/>
                <a:gd name="connsiteY1" fmla="*/ 40667 h 103543"/>
                <a:gd name="connsiteX2" fmla="*/ 80692 w 97433"/>
                <a:gd name="connsiteY2" fmla="*/ 103543 h 103543"/>
                <a:gd name="connsiteX3" fmla="*/ 34448 w 97433"/>
                <a:gd name="connsiteY3" fmla="*/ 60087 h 103543"/>
                <a:gd name="connsiteX4" fmla="*/ 221 w 97433"/>
                <a:gd name="connsiteY4" fmla="*/ 43456 h 103543"/>
                <a:gd name="connsiteX5" fmla="*/ 21974 w 97433"/>
                <a:gd name="connsiteY5" fmla="*/ 0 h 10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433" h="103543">
                  <a:moveTo>
                    <a:pt x="22025" y="0"/>
                  </a:moveTo>
                  <a:cubicBezTo>
                    <a:pt x="22025" y="0"/>
                    <a:pt x="91797" y="27737"/>
                    <a:pt x="95499" y="40667"/>
                  </a:cubicBezTo>
                  <a:cubicBezTo>
                    <a:pt x="99200" y="53597"/>
                    <a:pt x="99200" y="103543"/>
                    <a:pt x="80692" y="103543"/>
                  </a:cubicBezTo>
                  <a:cubicBezTo>
                    <a:pt x="62184" y="103543"/>
                    <a:pt x="42764" y="61000"/>
                    <a:pt x="34448" y="60087"/>
                  </a:cubicBezTo>
                  <a:cubicBezTo>
                    <a:pt x="26132" y="59175"/>
                    <a:pt x="3010" y="53597"/>
                    <a:pt x="221" y="43456"/>
                  </a:cubicBezTo>
                  <a:cubicBezTo>
                    <a:pt x="-2568" y="33264"/>
                    <a:pt x="21974" y="0"/>
                    <a:pt x="21974" y="0"/>
                  </a:cubicBezTo>
                  <a:close/>
                </a:path>
              </a:pathLst>
            </a:custGeom>
            <a:solidFill>
              <a:schemeClr val="bg1">
                <a:lumMod val="75000"/>
              </a:schemeClr>
            </a:solidFill>
            <a:ln w="5065" cap="flat">
              <a:noFill/>
              <a:prstDash val="solid"/>
              <a:miter/>
            </a:ln>
          </p:spPr>
          <p:txBody>
            <a:bodyPr rtlCol="0" anchor="ctr"/>
            <a:lstStyle/>
            <a:p>
              <a:pPr algn="l" rtl="0"/>
              <a:endParaRPr lang="en-US" dirty="0"/>
            </a:p>
          </p:txBody>
        </p:sp>
        <p:sp>
          <p:nvSpPr>
            <p:cNvPr id="388" name="Freeform: Shape 387">
              <a:extLst>
                <a:ext uri="{FF2B5EF4-FFF2-40B4-BE49-F238E27FC236}">
                  <a16:creationId xmlns:a16="http://schemas.microsoft.com/office/drawing/2014/main" id="{3EC7FE7E-C1A4-4CD5-B29F-433FE190164B}"/>
                </a:ext>
              </a:extLst>
            </p:cNvPr>
            <p:cNvSpPr/>
            <p:nvPr/>
          </p:nvSpPr>
          <p:spPr>
            <a:xfrm>
              <a:off x="-3290137" y="2477241"/>
              <a:ext cx="537716" cy="533546"/>
            </a:xfrm>
            <a:custGeom>
              <a:avLst/>
              <a:gdLst>
                <a:gd name="connsiteX0" fmla="*/ 533224 w 537716"/>
                <a:gd name="connsiteY0" fmla="*/ 507686 h 533546"/>
                <a:gd name="connsiteX1" fmla="*/ 533427 w 537716"/>
                <a:gd name="connsiteY1" fmla="*/ 478732 h 533546"/>
                <a:gd name="connsiteX2" fmla="*/ 313258 w 537716"/>
                <a:gd name="connsiteY2" fmla="*/ 339542 h 533546"/>
                <a:gd name="connsiteX3" fmla="*/ 202616 w 537716"/>
                <a:gd name="connsiteY3" fmla="*/ 97773 h 533546"/>
                <a:gd name="connsiteX4" fmla="*/ 112511 w 537716"/>
                <a:gd name="connsiteY4" fmla="*/ 365 h 533546"/>
                <a:gd name="connsiteX5" fmla="*/ 15002 w 537716"/>
                <a:gd name="connsiteY5" fmla="*/ 53810 h 533546"/>
                <a:gd name="connsiteX6" fmla="*/ 20833 w 537716"/>
                <a:gd name="connsiteY6" fmla="*/ 168914 h 533546"/>
                <a:gd name="connsiteX7" fmla="*/ 223254 w 537716"/>
                <a:gd name="connsiteY7" fmla="*/ 417884 h 533546"/>
                <a:gd name="connsiteX8" fmla="*/ 512231 w 537716"/>
                <a:gd name="connsiteY8" fmla="*/ 533546 h 533546"/>
                <a:gd name="connsiteX9" fmla="*/ 533224 w 537716"/>
                <a:gd name="connsiteY9" fmla="*/ 507686 h 53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716" h="533546">
                  <a:moveTo>
                    <a:pt x="533224" y="507686"/>
                  </a:moveTo>
                  <a:cubicBezTo>
                    <a:pt x="543213" y="486693"/>
                    <a:pt x="533427" y="478732"/>
                    <a:pt x="533427" y="478732"/>
                  </a:cubicBezTo>
                  <a:cubicBezTo>
                    <a:pt x="533427" y="478732"/>
                    <a:pt x="329637" y="352777"/>
                    <a:pt x="313258" y="339542"/>
                  </a:cubicBezTo>
                  <a:cubicBezTo>
                    <a:pt x="296880" y="326308"/>
                    <a:pt x="202616" y="97773"/>
                    <a:pt x="202616" y="97773"/>
                  </a:cubicBezTo>
                  <a:cubicBezTo>
                    <a:pt x="202616" y="97773"/>
                    <a:pt x="168592" y="4828"/>
                    <a:pt x="112511" y="365"/>
                  </a:cubicBezTo>
                  <a:cubicBezTo>
                    <a:pt x="63832" y="-3488"/>
                    <a:pt x="33459" y="23741"/>
                    <a:pt x="15002" y="53810"/>
                  </a:cubicBezTo>
                  <a:cubicBezTo>
                    <a:pt x="-7056" y="89609"/>
                    <a:pt x="-4520" y="135347"/>
                    <a:pt x="20833" y="168914"/>
                  </a:cubicBezTo>
                  <a:cubicBezTo>
                    <a:pt x="77675" y="244265"/>
                    <a:pt x="192019" y="393647"/>
                    <a:pt x="223254" y="417884"/>
                  </a:cubicBezTo>
                  <a:cubicBezTo>
                    <a:pt x="292773" y="471785"/>
                    <a:pt x="512231" y="533546"/>
                    <a:pt x="512231" y="533546"/>
                  </a:cubicBezTo>
                  <a:cubicBezTo>
                    <a:pt x="512231" y="533546"/>
                    <a:pt x="525364" y="524216"/>
                    <a:pt x="533224" y="507686"/>
                  </a:cubicBezTo>
                  <a:close/>
                </a:path>
              </a:pathLst>
            </a:custGeom>
            <a:solidFill>
              <a:schemeClr val="accent1"/>
            </a:solidFill>
            <a:ln w="5065" cap="flat">
              <a:noFill/>
              <a:prstDash val="solid"/>
              <a:miter/>
            </a:ln>
          </p:spPr>
          <p:txBody>
            <a:bodyPr rtlCol="0" anchor="ctr"/>
            <a:lstStyle/>
            <a:p>
              <a:pPr algn="l" rtl="0"/>
              <a:endParaRPr lang="en-US" dirty="0"/>
            </a:p>
          </p:txBody>
        </p:sp>
        <p:sp>
          <p:nvSpPr>
            <p:cNvPr id="389" name="Freeform: Shape 388">
              <a:extLst>
                <a:ext uri="{FF2B5EF4-FFF2-40B4-BE49-F238E27FC236}">
                  <a16:creationId xmlns:a16="http://schemas.microsoft.com/office/drawing/2014/main" id="{ECB60172-09D8-4BE9-BD0A-F56280FC01A4}"/>
                </a:ext>
              </a:extLst>
            </p:cNvPr>
            <p:cNvSpPr/>
            <p:nvPr/>
          </p:nvSpPr>
          <p:spPr>
            <a:xfrm>
              <a:off x="-3374496" y="4112803"/>
              <a:ext cx="208784" cy="106376"/>
            </a:xfrm>
            <a:custGeom>
              <a:avLst/>
              <a:gdLst>
                <a:gd name="connsiteX0" fmla="*/ 208785 w 208784"/>
                <a:gd name="connsiteY0" fmla="*/ 106376 h 106376"/>
                <a:gd name="connsiteX1" fmla="*/ 13412 w 208784"/>
                <a:gd name="connsiteY1" fmla="*/ 106376 h 106376"/>
                <a:gd name="connsiteX2" fmla="*/ 9254 w 208784"/>
                <a:gd name="connsiteY2" fmla="*/ 105159 h 106376"/>
                <a:gd name="connsiteX3" fmla="*/ 1851 w 208784"/>
                <a:gd name="connsiteY3" fmla="*/ 33257 h 106376"/>
                <a:gd name="connsiteX4" fmla="*/ 2358 w 208784"/>
                <a:gd name="connsiteY4" fmla="*/ 28744 h 106376"/>
                <a:gd name="connsiteX5" fmla="*/ 80497 w 208784"/>
                <a:gd name="connsiteY5" fmla="*/ 15865 h 106376"/>
                <a:gd name="connsiteX6" fmla="*/ 81511 w 208784"/>
                <a:gd name="connsiteY6" fmla="*/ 19718 h 106376"/>
                <a:gd name="connsiteX7" fmla="*/ 81511 w 208784"/>
                <a:gd name="connsiteY7" fmla="*/ 19718 h 106376"/>
                <a:gd name="connsiteX8" fmla="*/ 177550 w 208784"/>
                <a:gd name="connsiteY8" fmla="*/ 81986 h 106376"/>
                <a:gd name="connsiteX9" fmla="*/ 208734 w 208784"/>
                <a:gd name="connsiteY9" fmla="*/ 106376 h 10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784" h="106376">
                  <a:moveTo>
                    <a:pt x="208785" y="106376"/>
                  </a:moveTo>
                  <a:lnTo>
                    <a:pt x="13412" y="106376"/>
                  </a:lnTo>
                  <a:cubicBezTo>
                    <a:pt x="11536" y="106021"/>
                    <a:pt x="10116" y="105616"/>
                    <a:pt x="9254" y="105159"/>
                  </a:cubicBezTo>
                  <a:cubicBezTo>
                    <a:pt x="-3778" y="98618"/>
                    <a:pt x="279" y="48672"/>
                    <a:pt x="1851" y="33257"/>
                  </a:cubicBezTo>
                  <a:cubicBezTo>
                    <a:pt x="2155" y="30417"/>
                    <a:pt x="2358" y="28744"/>
                    <a:pt x="2358" y="28744"/>
                  </a:cubicBezTo>
                  <a:cubicBezTo>
                    <a:pt x="2358" y="28744"/>
                    <a:pt x="71065" y="-26222"/>
                    <a:pt x="80497" y="15865"/>
                  </a:cubicBezTo>
                  <a:cubicBezTo>
                    <a:pt x="80801" y="17183"/>
                    <a:pt x="81156" y="18451"/>
                    <a:pt x="81511" y="19718"/>
                  </a:cubicBezTo>
                  <a:lnTo>
                    <a:pt x="81511" y="19718"/>
                  </a:lnTo>
                  <a:cubicBezTo>
                    <a:pt x="93427" y="59117"/>
                    <a:pt x="146771" y="76966"/>
                    <a:pt x="177550" y="81986"/>
                  </a:cubicBezTo>
                  <a:cubicBezTo>
                    <a:pt x="201077" y="85789"/>
                    <a:pt x="207162" y="99531"/>
                    <a:pt x="208734" y="106376"/>
                  </a:cubicBezTo>
                  <a:close/>
                </a:path>
              </a:pathLst>
            </a:custGeom>
            <a:solidFill>
              <a:schemeClr val="accent1">
                <a:lumMod val="75000"/>
              </a:schemeClr>
            </a:solidFill>
            <a:ln w="5065" cap="flat">
              <a:noFill/>
              <a:prstDash val="solid"/>
              <a:miter/>
            </a:ln>
          </p:spPr>
          <p:txBody>
            <a:bodyPr rtlCol="0" anchor="ctr"/>
            <a:lstStyle/>
            <a:p>
              <a:pPr algn="l" rtl="0"/>
              <a:endParaRPr lang="en-US" dirty="0"/>
            </a:p>
          </p:txBody>
        </p:sp>
        <p:sp>
          <p:nvSpPr>
            <p:cNvPr id="390" name="Freeform: Shape 389">
              <a:extLst>
                <a:ext uri="{FF2B5EF4-FFF2-40B4-BE49-F238E27FC236}">
                  <a16:creationId xmlns:a16="http://schemas.microsoft.com/office/drawing/2014/main" id="{24A8B473-562E-4512-8503-47159B642107}"/>
                </a:ext>
              </a:extLst>
            </p:cNvPr>
            <p:cNvSpPr/>
            <p:nvPr/>
          </p:nvSpPr>
          <p:spPr>
            <a:xfrm>
              <a:off x="-3289638" y="2282886"/>
              <a:ext cx="158914" cy="182147"/>
            </a:xfrm>
            <a:custGeom>
              <a:avLst/>
              <a:gdLst>
                <a:gd name="connsiteX0" fmla="*/ 0 w 158914"/>
                <a:gd name="connsiteY0" fmla="*/ 120994 h 182147"/>
                <a:gd name="connsiteX1" fmla="*/ 122862 w 158914"/>
                <a:gd name="connsiteY1" fmla="*/ 179611 h 182147"/>
                <a:gd name="connsiteX2" fmla="*/ 148469 w 158914"/>
                <a:gd name="connsiteY2" fmla="*/ 116785 h 182147"/>
                <a:gd name="connsiteX3" fmla="*/ 150092 w 158914"/>
                <a:gd name="connsiteY3" fmla="*/ 106948 h 182147"/>
                <a:gd name="connsiteX4" fmla="*/ 158915 w 158914"/>
                <a:gd name="connsiteY4" fmla="*/ 58523 h 182147"/>
                <a:gd name="connsiteX5" fmla="*/ 158864 w 158914"/>
                <a:gd name="connsiteY5" fmla="*/ 58523 h 182147"/>
                <a:gd name="connsiteX6" fmla="*/ 54966 w 158914"/>
                <a:gd name="connsiteY6" fmla="*/ 160 h 182147"/>
                <a:gd name="connsiteX7" fmla="*/ 0 w 158914"/>
                <a:gd name="connsiteY7" fmla="*/ 120994 h 182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914" h="182147">
                  <a:moveTo>
                    <a:pt x="0" y="120994"/>
                  </a:moveTo>
                  <a:cubicBezTo>
                    <a:pt x="0" y="120994"/>
                    <a:pt x="46447" y="196800"/>
                    <a:pt x="122862" y="179611"/>
                  </a:cubicBezTo>
                  <a:cubicBezTo>
                    <a:pt x="122862" y="179611"/>
                    <a:pt x="144058" y="144420"/>
                    <a:pt x="148469" y="116785"/>
                  </a:cubicBezTo>
                  <a:cubicBezTo>
                    <a:pt x="149027" y="113388"/>
                    <a:pt x="149534" y="110092"/>
                    <a:pt x="150092" y="106948"/>
                  </a:cubicBezTo>
                  <a:cubicBezTo>
                    <a:pt x="155213" y="75865"/>
                    <a:pt x="158915" y="58523"/>
                    <a:pt x="158915" y="58523"/>
                  </a:cubicBezTo>
                  <a:cubicBezTo>
                    <a:pt x="158915" y="58523"/>
                    <a:pt x="158915" y="58523"/>
                    <a:pt x="158864" y="58523"/>
                  </a:cubicBezTo>
                  <a:cubicBezTo>
                    <a:pt x="155771" y="56647"/>
                    <a:pt x="55422" y="-3491"/>
                    <a:pt x="54966" y="160"/>
                  </a:cubicBezTo>
                  <a:cubicBezTo>
                    <a:pt x="44013" y="84688"/>
                    <a:pt x="0" y="120994"/>
                    <a:pt x="0" y="120994"/>
                  </a:cubicBezTo>
                  <a:close/>
                </a:path>
              </a:pathLst>
            </a:custGeom>
            <a:solidFill>
              <a:schemeClr val="bg1">
                <a:lumMod val="75000"/>
              </a:schemeClr>
            </a:solidFill>
            <a:ln w="5065" cap="flat">
              <a:noFill/>
              <a:prstDash val="solid"/>
              <a:miter/>
            </a:ln>
          </p:spPr>
          <p:txBody>
            <a:bodyPr rtlCol="0" anchor="ctr"/>
            <a:lstStyle/>
            <a:p>
              <a:pPr algn="l" rtl="0"/>
              <a:endParaRPr lang="en-US" dirty="0"/>
            </a:p>
          </p:txBody>
        </p:sp>
        <p:sp>
          <p:nvSpPr>
            <p:cNvPr id="391" name="Freeform: Shape 390">
              <a:extLst>
                <a:ext uri="{FF2B5EF4-FFF2-40B4-BE49-F238E27FC236}">
                  <a16:creationId xmlns:a16="http://schemas.microsoft.com/office/drawing/2014/main" id="{2E783707-9A71-447B-AA90-D9CDECEB211D}"/>
                </a:ext>
              </a:extLst>
            </p:cNvPr>
            <p:cNvSpPr/>
            <p:nvPr/>
          </p:nvSpPr>
          <p:spPr>
            <a:xfrm>
              <a:off x="-3227015" y="2304180"/>
              <a:ext cx="96291" cy="85653"/>
            </a:xfrm>
            <a:custGeom>
              <a:avLst/>
              <a:gdLst>
                <a:gd name="connsiteX0" fmla="*/ 0 w 96291"/>
                <a:gd name="connsiteY0" fmla="*/ 568 h 85653"/>
                <a:gd name="connsiteX1" fmla="*/ 87469 w 96291"/>
                <a:gd name="connsiteY1" fmla="*/ 85654 h 85653"/>
                <a:gd name="connsiteX2" fmla="*/ 96292 w 96291"/>
                <a:gd name="connsiteY2" fmla="*/ 37229 h 85653"/>
                <a:gd name="connsiteX3" fmla="*/ 96241 w 96291"/>
                <a:gd name="connsiteY3" fmla="*/ 37229 h 85653"/>
                <a:gd name="connsiteX4" fmla="*/ 51 w 96291"/>
                <a:gd name="connsiteY4" fmla="*/ 619 h 85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91" h="85653">
                  <a:moveTo>
                    <a:pt x="0" y="568"/>
                  </a:moveTo>
                  <a:cubicBezTo>
                    <a:pt x="7403" y="21256"/>
                    <a:pt x="37168" y="64053"/>
                    <a:pt x="87469" y="85654"/>
                  </a:cubicBezTo>
                  <a:cubicBezTo>
                    <a:pt x="92590" y="54571"/>
                    <a:pt x="96292" y="37229"/>
                    <a:pt x="96292" y="37229"/>
                  </a:cubicBezTo>
                  <a:cubicBezTo>
                    <a:pt x="96292" y="37229"/>
                    <a:pt x="96292" y="37229"/>
                    <a:pt x="96241" y="37229"/>
                  </a:cubicBezTo>
                  <a:cubicBezTo>
                    <a:pt x="93402" y="35961"/>
                    <a:pt x="-2180" y="-5517"/>
                    <a:pt x="51" y="619"/>
                  </a:cubicBezTo>
                  <a:close/>
                </a:path>
              </a:pathLst>
            </a:custGeom>
            <a:solidFill>
              <a:schemeClr val="bg1">
                <a:lumMod val="50000"/>
              </a:schemeClr>
            </a:solidFill>
            <a:ln w="5065" cap="flat">
              <a:noFill/>
              <a:prstDash val="solid"/>
              <a:miter/>
            </a:ln>
          </p:spPr>
          <p:txBody>
            <a:bodyPr rtlCol="0" anchor="ctr"/>
            <a:lstStyle/>
            <a:p>
              <a:pPr algn="l" rtl="0"/>
              <a:endParaRPr lang="en-US" dirty="0"/>
            </a:p>
          </p:txBody>
        </p:sp>
        <p:sp>
          <p:nvSpPr>
            <p:cNvPr id="392" name="Freeform: Shape 391">
              <a:extLst>
                <a:ext uri="{FF2B5EF4-FFF2-40B4-BE49-F238E27FC236}">
                  <a16:creationId xmlns:a16="http://schemas.microsoft.com/office/drawing/2014/main" id="{56FD71E4-C8DA-47A3-B682-7A6632EAD86F}"/>
                </a:ext>
              </a:extLst>
            </p:cNvPr>
            <p:cNvSpPr/>
            <p:nvPr/>
          </p:nvSpPr>
          <p:spPr>
            <a:xfrm>
              <a:off x="-3243387" y="2133558"/>
              <a:ext cx="168610" cy="208426"/>
            </a:xfrm>
            <a:custGeom>
              <a:avLst/>
              <a:gdLst>
                <a:gd name="connsiteX0" fmla="*/ 135533 w 168610"/>
                <a:gd name="connsiteY0" fmla="*/ 208003 h 208426"/>
                <a:gd name="connsiteX1" fmla="*/ 5825 w 168610"/>
                <a:gd name="connsiteY1" fmla="*/ 140360 h 208426"/>
                <a:gd name="connsiteX2" fmla="*/ 60588 w 168610"/>
                <a:gd name="connsiteY2" fmla="*/ 1931 h 208426"/>
                <a:gd name="connsiteX3" fmla="*/ 165348 w 168610"/>
                <a:gd name="connsiteY3" fmla="*/ 46401 h 208426"/>
                <a:gd name="connsiteX4" fmla="*/ 135482 w 168610"/>
                <a:gd name="connsiteY4" fmla="*/ 208054 h 20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610" h="208426">
                  <a:moveTo>
                    <a:pt x="135533" y="208003"/>
                  </a:moveTo>
                  <a:cubicBezTo>
                    <a:pt x="135533" y="208003"/>
                    <a:pt x="10896" y="218043"/>
                    <a:pt x="5825" y="140360"/>
                  </a:cubicBezTo>
                  <a:cubicBezTo>
                    <a:pt x="754" y="62627"/>
                    <a:pt x="-18768" y="11616"/>
                    <a:pt x="60588" y="1931"/>
                  </a:cubicBezTo>
                  <a:cubicBezTo>
                    <a:pt x="139944" y="-7754"/>
                    <a:pt x="157336" y="20845"/>
                    <a:pt x="165348" y="46401"/>
                  </a:cubicBezTo>
                  <a:cubicBezTo>
                    <a:pt x="173360" y="71906"/>
                    <a:pt x="167782" y="203440"/>
                    <a:pt x="135482" y="208054"/>
                  </a:cubicBezTo>
                  <a:close/>
                </a:path>
              </a:pathLst>
            </a:custGeom>
            <a:solidFill>
              <a:schemeClr val="bg1">
                <a:lumMod val="75000"/>
              </a:schemeClr>
            </a:solidFill>
            <a:ln w="5065" cap="flat">
              <a:noFill/>
              <a:prstDash val="solid"/>
              <a:miter/>
            </a:ln>
          </p:spPr>
          <p:txBody>
            <a:bodyPr rtlCol="0" anchor="ctr"/>
            <a:lstStyle/>
            <a:p>
              <a:pPr algn="l" rtl="0"/>
              <a:endParaRPr lang="en-US" dirty="0"/>
            </a:p>
          </p:txBody>
        </p:sp>
        <p:sp>
          <p:nvSpPr>
            <p:cNvPr id="393" name="Freeform: Shape 392">
              <a:extLst>
                <a:ext uri="{FF2B5EF4-FFF2-40B4-BE49-F238E27FC236}">
                  <a16:creationId xmlns:a16="http://schemas.microsoft.com/office/drawing/2014/main" id="{EC28EB66-3890-4200-A4B9-13F2D859820D}"/>
                </a:ext>
              </a:extLst>
            </p:cNvPr>
            <p:cNvSpPr/>
            <p:nvPr/>
          </p:nvSpPr>
          <p:spPr>
            <a:xfrm>
              <a:off x="-3302634" y="2075562"/>
              <a:ext cx="276265" cy="219685"/>
            </a:xfrm>
            <a:custGeom>
              <a:avLst/>
              <a:gdLst>
                <a:gd name="connsiteX0" fmla="*/ 66137 w 276265"/>
                <a:gd name="connsiteY0" fmla="*/ 219450 h 219685"/>
                <a:gd name="connsiteX1" fmla="*/ 3007 w 276265"/>
                <a:gd name="connsiteY1" fmla="*/ 119152 h 219685"/>
                <a:gd name="connsiteX2" fmla="*/ 19791 w 276265"/>
                <a:gd name="connsiteY2" fmla="*/ 42078 h 219685"/>
                <a:gd name="connsiteX3" fmla="*/ 163646 w 276265"/>
                <a:gd name="connsiteY3" fmla="*/ 92 h 219685"/>
                <a:gd name="connsiteX4" fmla="*/ 234128 w 276265"/>
                <a:gd name="connsiteY4" fmla="*/ 61549 h 219685"/>
                <a:gd name="connsiteX5" fmla="*/ 276265 w 276265"/>
                <a:gd name="connsiteY5" fmla="*/ 126454 h 219685"/>
                <a:gd name="connsiteX6" fmla="*/ 157510 w 276265"/>
                <a:gd name="connsiteY6" fmla="*/ 103382 h 219685"/>
                <a:gd name="connsiteX7" fmla="*/ 123435 w 276265"/>
                <a:gd name="connsiteY7" fmla="*/ 144860 h 219685"/>
                <a:gd name="connsiteX8" fmla="*/ 94532 w 276265"/>
                <a:gd name="connsiteY8" fmla="*/ 149677 h 219685"/>
                <a:gd name="connsiteX9" fmla="*/ 81196 w 276265"/>
                <a:gd name="connsiteY9" fmla="*/ 190648 h 219685"/>
                <a:gd name="connsiteX10" fmla="*/ 66137 w 276265"/>
                <a:gd name="connsiteY10" fmla="*/ 219500 h 219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265" h="219685">
                  <a:moveTo>
                    <a:pt x="66137" y="219450"/>
                  </a:moveTo>
                  <a:cubicBezTo>
                    <a:pt x="64362" y="220261"/>
                    <a:pt x="37234" y="224267"/>
                    <a:pt x="3007" y="119152"/>
                  </a:cubicBezTo>
                  <a:cubicBezTo>
                    <a:pt x="-2368" y="102672"/>
                    <a:pt x="-2571" y="68699"/>
                    <a:pt x="19791" y="42078"/>
                  </a:cubicBezTo>
                  <a:cubicBezTo>
                    <a:pt x="42152" y="15507"/>
                    <a:pt x="109288" y="2121"/>
                    <a:pt x="163646" y="92"/>
                  </a:cubicBezTo>
                  <a:cubicBezTo>
                    <a:pt x="218054" y="-1936"/>
                    <a:pt x="226218" y="29756"/>
                    <a:pt x="234128" y="61549"/>
                  </a:cubicBezTo>
                  <a:cubicBezTo>
                    <a:pt x="242444" y="94914"/>
                    <a:pt x="276265" y="126454"/>
                    <a:pt x="276265" y="126454"/>
                  </a:cubicBezTo>
                  <a:cubicBezTo>
                    <a:pt x="226826" y="145012"/>
                    <a:pt x="177438" y="100289"/>
                    <a:pt x="157510" y="103382"/>
                  </a:cubicBezTo>
                  <a:cubicBezTo>
                    <a:pt x="137582" y="106475"/>
                    <a:pt x="126325" y="135429"/>
                    <a:pt x="123435" y="144860"/>
                  </a:cubicBezTo>
                  <a:cubicBezTo>
                    <a:pt x="120545" y="154241"/>
                    <a:pt x="117147" y="161897"/>
                    <a:pt x="94532" y="149677"/>
                  </a:cubicBezTo>
                  <a:cubicBezTo>
                    <a:pt x="71917" y="137457"/>
                    <a:pt x="78560" y="181927"/>
                    <a:pt x="81196" y="190648"/>
                  </a:cubicBezTo>
                  <a:cubicBezTo>
                    <a:pt x="81196" y="190648"/>
                    <a:pt x="81196" y="212756"/>
                    <a:pt x="66137" y="219500"/>
                  </a:cubicBezTo>
                  <a:close/>
                </a:path>
              </a:pathLst>
            </a:custGeom>
            <a:solidFill>
              <a:schemeClr val="accent1"/>
            </a:solidFill>
            <a:ln w="5065" cap="flat">
              <a:noFill/>
              <a:prstDash val="solid"/>
              <a:miter/>
            </a:ln>
          </p:spPr>
          <p:txBody>
            <a:bodyPr rtlCol="0" anchor="ctr"/>
            <a:lstStyle/>
            <a:p>
              <a:pPr algn="l" rtl="0"/>
              <a:endParaRPr lang="en-US" dirty="0"/>
            </a:p>
          </p:txBody>
        </p:sp>
        <p:sp>
          <p:nvSpPr>
            <p:cNvPr id="394" name="Freeform: Shape 393">
              <a:extLst>
                <a:ext uri="{FF2B5EF4-FFF2-40B4-BE49-F238E27FC236}">
                  <a16:creationId xmlns:a16="http://schemas.microsoft.com/office/drawing/2014/main" id="{86D6F66E-E598-4CA9-B274-57734849CD35}"/>
                </a:ext>
              </a:extLst>
            </p:cNvPr>
            <p:cNvSpPr/>
            <p:nvPr/>
          </p:nvSpPr>
          <p:spPr>
            <a:xfrm>
              <a:off x="-3833246" y="4037091"/>
              <a:ext cx="156760" cy="182087"/>
            </a:xfrm>
            <a:custGeom>
              <a:avLst/>
              <a:gdLst>
                <a:gd name="connsiteX0" fmla="*/ 154485 w 156760"/>
                <a:gd name="connsiteY0" fmla="*/ 182088 h 182087"/>
                <a:gd name="connsiteX1" fmla="*/ 80758 w 156760"/>
                <a:gd name="connsiteY1" fmla="*/ 182088 h 182087"/>
                <a:gd name="connsiteX2" fmla="*/ 43843 w 156760"/>
                <a:gd name="connsiteY2" fmla="*/ 138277 h 182087"/>
                <a:gd name="connsiteX3" fmla="*/ 895 w 156760"/>
                <a:gd name="connsiteY3" fmla="*/ 71294 h 182087"/>
                <a:gd name="connsiteX4" fmla="*/ 29240 w 156760"/>
                <a:gd name="connsiteY4" fmla="*/ 15466 h 182087"/>
                <a:gd name="connsiteX5" fmla="*/ 35122 w 156760"/>
                <a:gd name="connsiteY5" fmla="*/ 7910 h 182087"/>
                <a:gd name="connsiteX6" fmla="*/ 41257 w 156760"/>
                <a:gd name="connsiteY6" fmla="*/ 0 h 182087"/>
                <a:gd name="connsiteX7" fmla="*/ 99620 w 156760"/>
                <a:gd name="connsiteY7" fmla="*/ 13741 h 182087"/>
                <a:gd name="connsiteX8" fmla="*/ 101953 w 156760"/>
                <a:gd name="connsiteY8" fmla="*/ 45332 h 182087"/>
                <a:gd name="connsiteX9" fmla="*/ 102206 w 156760"/>
                <a:gd name="connsiteY9" fmla="*/ 85846 h 182087"/>
                <a:gd name="connsiteX10" fmla="*/ 138310 w 156760"/>
                <a:gd name="connsiteY10" fmla="*/ 156075 h 182087"/>
                <a:gd name="connsiteX11" fmla="*/ 154434 w 156760"/>
                <a:gd name="connsiteY11" fmla="*/ 182037 h 182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760" h="182087">
                  <a:moveTo>
                    <a:pt x="154485" y="182088"/>
                  </a:moveTo>
                  <a:lnTo>
                    <a:pt x="80758" y="182088"/>
                  </a:lnTo>
                  <a:cubicBezTo>
                    <a:pt x="65292" y="182088"/>
                    <a:pt x="48153" y="166622"/>
                    <a:pt x="43843" y="138277"/>
                  </a:cubicBezTo>
                  <a:cubicBezTo>
                    <a:pt x="39533" y="109932"/>
                    <a:pt x="7791" y="94467"/>
                    <a:pt x="895" y="71294"/>
                  </a:cubicBezTo>
                  <a:cubicBezTo>
                    <a:pt x="-6002" y="48121"/>
                    <a:pt x="29240" y="15466"/>
                    <a:pt x="29240" y="15466"/>
                  </a:cubicBezTo>
                  <a:lnTo>
                    <a:pt x="35122" y="7910"/>
                  </a:lnTo>
                  <a:lnTo>
                    <a:pt x="41257" y="0"/>
                  </a:lnTo>
                  <a:lnTo>
                    <a:pt x="99620" y="13741"/>
                  </a:lnTo>
                  <a:cubicBezTo>
                    <a:pt x="99620" y="13741"/>
                    <a:pt x="101040" y="27635"/>
                    <a:pt x="101953" y="45332"/>
                  </a:cubicBezTo>
                  <a:cubicBezTo>
                    <a:pt x="102561" y="58110"/>
                    <a:pt x="102916" y="72916"/>
                    <a:pt x="102206" y="85846"/>
                  </a:cubicBezTo>
                  <a:cubicBezTo>
                    <a:pt x="100482" y="116778"/>
                    <a:pt x="110877" y="150041"/>
                    <a:pt x="138310" y="156075"/>
                  </a:cubicBezTo>
                  <a:cubicBezTo>
                    <a:pt x="165793" y="162109"/>
                    <a:pt x="154434" y="182037"/>
                    <a:pt x="154434" y="182037"/>
                  </a:cubicBezTo>
                  <a:close/>
                </a:path>
              </a:pathLst>
            </a:custGeom>
            <a:solidFill>
              <a:schemeClr val="accent1">
                <a:lumMod val="75000"/>
              </a:schemeClr>
            </a:solidFill>
            <a:ln w="5065" cap="flat">
              <a:noFill/>
              <a:prstDash val="solid"/>
              <a:miter/>
            </a:ln>
          </p:spPr>
          <p:txBody>
            <a:bodyPr rtlCol="0" anchor="ctr"/>
            <a:lstStyle/>
            <a:p>
              <a:pPr algn="l" rtl="0"/>
              <a:endParaRPr lang="en-US" dirty="0"/>
            </a:p>
          </p:txBody>
        </p:sp>
        <p:sp>
          <p:nvSpPr>
            <p:cNvPr id="395" name="Freeform: Shape 394">
              <a:extLst>
                <a:ext uri="{FF2B5EF4-FFF2-40B4-BE49-F238E27FC236}">
                  <a16:creationId xmlns:a16="http://schemas.microsoft.com/office/drawing/2014/main" id="{DEE173D0-34C0-4BBA-A2DB-560949A9DA6B}"/>
                </a:ext>
              </a:extLst>
            </p:cNvPr>
            <p:cNvSpPr/>
            <p:nvPr/>
          </p:nvSpPr>
          <p:spPr>
            <a:xfrm>
              <a:off x="-3496623" y="3074627"/>
              <a:ext cx="291512" cy="1073257"/>
            </a:xfrm>
            <a:custGeom>
              <a:avLst/>
              <a:gdLst>
                <a:gd name="connsiteX0" fmla="*/ 291513 w 291512"/>
                <a:gd name="connsiteY0" fmla="*/ 18001 h 1073257"/>
                <a:gd name="connsiteX1" fmla="*/ 268796 w 291512"/>
                <a:gd name="connsiteY1" fmla="*/ 304646 h 1073257"/>
                <a:gd name="connsiteX2" fmla="*/ 230107 w 291512"/>
                <a:gd name="connsiteY2" fmla="*/ 827736 h 1073257"/>
                <a:gd name="connsiteX3" fmla="*/ 212917 w 291512"/>
                <a:gd name="connsiteY3" fmla="*/ 1050998 h 1073257"/>
                <a:gd name="connsiteX4" fmla="*/ 115053 w 291512"/>
                <a:gd name="connsiteY4" fmla="*/ 1069860 h 1073257"/>
                <a:gd name="connsiteX5" fmla="*/ 40261 w 291512"/>
                <a:gd name="connsiteY5" fmla="*/ 666286 h 1073257"/>
                <a:gd name="connsiteX6" fmla="*/ 39501 w 291512"/>
                <a:gd name="connsiteY6" fmla="*/ 656043 h 1073257"/>
                <a:gd name="connsiteX7" fmla="*/ 0 w 291512"/>
                <a:gd name="connsiteY7" fmla="*/ 0 h 1073257"/>
                <a:gd name="connsiteX8" fmla="*/ 291513 w 291512"/>
                <a:gd name="connsiteY8" fmla="*/ 18052 h 1073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12" h="1073257">
                  <a:moveTo>
                    <a:pt x="291513" y="18001"/>
                  </a:moveTo>
                  <a:cubicBezTo>
                    <a:pt x="291513" y="18001"/>
                    <a:pt x="281067" y="148165"/>
                    <a:pt x="268796" y="304646"/>
                  </a:cubicBezTo>
                  <a:cubicBezTo>
                    <a:pt x="252114" y="517208"/>
                    <a:pt x="232085" y="778246"/>
                    <a:pt x="230107" y="827736"/>
                  </a:cubicBezTo>
                  <a:cubicBezTo>
                    <a:pt x="226659" y="913633"/>
                    <a:pt x="212917" y="1050998"/>
                    <a:pt x="212917" y="1050998"/>
                  </a:cubicBezTo>
                  <a:cubicBezTo>
                    <a:pt x="212917" y="1050998"/>
                    <a:pt x="180313" y="1083653"/>
                    <a:pt x="115053" y="1069860"/>
                  </a:cubicBezTo>
                  <a:cubicBezTo>
                    <a:pt x="115053" y="1069860"/>
                    <a:pt x="56893" y="873778"/>
                    <a:pt x="40261" y="666286"/>
                  </a:cubicBezTo>
                  <a:cubicBezTo>
                    <a:pt x="40008" y="662889"/>
                    <a:pt x="39754" y="659440"/>
                    <a:pt x="39501" y="656043"/>
                  </a:cubicBezTo>
                  <a:cubicBezTo>
                    <a:pt x="24035" y="444799"/>
                    <a:pt x="0" y="0"/>
                    <a:pt x="0" y="0"/>
                  </a:cubicBezTo>
                  <a:lnTo>
                    <a:pt x="291513" y="18052"/>
                  </a:lnTo>
                  <a:close/>
                </a:path>
              </a:pathLst>
            </a:custGeom>
            <a:solidFill>
              <a:schemeClr val="accent1">
                <a:lumMod val="50000"/>
              </a:schemeClr>
            </a:solidFill>
            <a:ln w="5065" cap="flat">
              <a:noFill/>
              <a:prstDash val="solid"/>
              <a:miter/>
            </a:ln>
          </p:spPr>
          <p:txBody>
            <a:bodyPr rtlCol="0" anchor="ctr"/>
            <a:lstStyle/>
            <a:p>
              <a:pPr algn="l" rtl="0"/>
              <a:endParaRPr lang="en-US" dirty="0"/>
            </a:p>
          </p:txBody>
        </p:sp>
        <p:sp>
          <p:nvSpPr>
            <p:cNvPr id="396" name="Freeform: Shape 395">
              <a:extLst>
                <a:ext uri="{FF2B5EF4-FFF2-40B4-BE49-F238E27FC236}">
                  <a16:creationId xmlns:a16="http://schemas.microsoft.com/office/drawing/2014/main" id="{CD5A0F44-8508-4FC6-84B0-F8F8739DFE8F}"/>
                </a:ext>
              </a:extLst>
            </p:cNvPr>
            <p:cNvSpPr/>
            <p:nvPr/>
          </p:nvSpPr>
          <p:spPr>
            <a:xfrm>
              <a:off x="-3496572" y="3074577"/>
              <a:ext cx="244429" cy="666285"/>
            </a:xfrm>
            <a:custGeom>
              <a:avLst/>
              <a:gdLst>
                <a:gd name="connsiteX0" fmla="*/ 238828 w 244429"/>
                <a:gd name="connsiteY0" fmla="*/ 43760 h 666285"/>
                <a:gd name="connsiteX1" fmla="*/ 221791 w 244429"/>
                <a:gd name="connsiteY1" fmla="*/ 242986 h 666285"/>
                <a:gd name="connsiteX2" fmla="*/ 40261 w 244429"/>
                <a:gd name="connsiteY2" fmla="*/ 666286 h 666285"/>
                <a:gd name="connsiteX3" fmla="*/ 39501 w 244429"/>
                <a:gd name="connsiteY3" fmla="*/ 656043 h 666285"/>
                <a:gd name="connsiteX4" fmla="*/ 0 w 244429"/>
                <a:gd name="connsiteY4" fmla="*/ 0 h 666285"/>
                <a:gd name="connsiteX5" fmla="*/ 238828 w 244429"/>
                <a:gd name="connsiteY5" fmla="*/ 43760 h 666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429" h="666285">
                  <a:moveTo>
                    <a:pt x="238828" y="43760"/>
                  </a:moveTo>
                  <a:cubicBezTo>
                    <a:pt x="238828" y="43760"/>
                    <a:pt x="259365" y="90613"/>
                    <a:pt x="221791" y="242986"/>
                  </a:cubicBezTo>
                  <a:cubicBezTo>
                    <a:pt x="194207" y="354795"/>
                    <a:pt x="40261" y="666286"/>
                    <a:pt x="40261" y="666286"/>
                  </a:cubicBezTo>
                  <a:cubicBezTo>
                    <a:pt x="40008" y="662889"/>
                    <a:pt x="39754" y="659441"/>
                    <a:pt x="39501" y="656043"/>
                  </a:cubicBezTo>
                  <a:cubicBezTo>
                    <a:pt x="24035" y="444799"/>
                    <a:pt x="0" y="0"/>
                    <a:pt x="0" y="0"/>
                  </a:cubicBezTo>
                  <a:lnTo>
                    <a:pt x="238828" y="43760"/>
                  </a:lnTo>
                  <a:close/>
                </a:path>
              </a:pathLst>
            </a:custGeom>
            <a:solidFill>
              <a:schemeClr val="accent1">
                <a:lumMod val="40000"/>
                <a:lumOff val="60000"/>
              </a:schemeClr>
            </a:solidFill>
            <a:ln w="5065" cap="flat">
              <a:noFill/>
              <a:prstDash val="solid"/>
              <a:miter/>
            </a:ln>
          </p:spPr>
          <p:txBody>
            <a:bodyPr rtlCol="0" anchor="ctr"/>
            <a:lstStyle/>
            <a:p>
              <a:pPr algn="l" rtl="0"/>
              <a:endParaRPr lang="en-US" dirty="0"/>
            </a:p>
          </p:txBody>
        </p:sp>
        <p:sp>
          <p:nvSpPr>
            <p:cNvPr id="397" name="Freeform: Shape 396">
              <a:extLst>
                <a:ext uri="{FF2B5EF4-FFF2-40B4-BE49-F238E27FC236}">
                  <a16:creationId xmlns:a16="http://schemas.microsoft.com/office/drawing/2014/main" id="{ABE7DA42-7192-4D81-AF59-9B55A9EBBF41}"/>
                </a:ext>
              </a:extLst>
            </p:cNvPr>
            <p:cNvSpPr/>
            <p:nvPr/>
          </p:nvSpPr>
          <p:spPr>
            <a:xfrm>
              <a:off x="-3803956" y="3023059"/>
              <a:ext cx="560004" cy="1061291"/>
            </a:xfrm>
            <a:custGeom>
              <a:avLst/>
              <a:gdLst>
                <a:gd name="connsiteX0" fmla="*/ 560005 w 560004"/>
                <a:gd name="connsiteY0" fmla="*/ 60899 h 1061291"/>
                <a:gd name="connsiteX1" fmla="*/ 239538 w 560004"/>
                <a:gd name="connsiteY1" fmla="*/ 777942 h 1061291"/>
                <a:gd name="connsiteX2" fmla="*/ 77277 w 560004"/>
                <a:gd name="connsiteY2" fmla="*/ 1061291 h 1061291"/>
                <a:gd name="connsiteX3" fmla="*/ 0 w 560004"/>
                <a:gd name="connsiteY3" fmla="*/ 1013627 h 1061291"/>
                <a:gd name="connsiteX4" fmla="*/ 130063 w 560004"/>
                <a:gd name="connsiteY4" fmla="*/ 481713 h 1061291"/>
                <a:gd name="connsiteX5" fmla="*/ 234366 w 560004"/>
                <a:gd name="connsiteY5" fmla="*/ 184167 h 1061291"/>
                <a:gd name="connsiteX6" fmla="*/ 251100 w 560004"/>
                <a:gd name="connsiteY6" fmla="*/ 0 h 1061291"/>
                <a:gd name="connsiteX7" fmla="*/ 559954 w 560004"/>
                <a:gd name="connsiteY7" fmla="*/ 60899 h 106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0004" h="1061291">
                  <a:moveTo>
                    <a:pt x="560005" y="60899"/>
                  </a:moveTo>
                  <a:cubicBezTo>
                    <a:pt x="560005" y="60899"/>
                    <a:pt x="363212" y="556405"/>
                    <a:pt x="239538" y="777942"/>
                  </a:cubicBezTo>
                  <a:cubicBezTo>
                    <a:pt x="115915" y="999480"/>
                    <a:pt x="77277" y="1061291"/>
                    <a:pt x="77277" y="1061291"/>
                  </a:cubicBezTo>
                  <a:cubicBezTo>
                    <a:pt x="77277" y="1061291"/>
                    <a:pt x="6440" y="1032946"/>
                    <a:pt x="0" y="1013627"/>
                  </a:cubicBezTo>
                  <a:cubicBezTo>
                    <a:pt x="0" y="1013627"/>
                    <a:pt x="47259" y="585967"/>
                    <a:pt x="130063" y="481713"/>
                  </a:cubicBezTo>
                  <a:cubicBezTo>
                    <a:pt x="176865" y="422792"/>
                    <a:pt x="231831" y="246029"/>
                    <a:pt x="234366" y="184167"/>
                  </a:cubicBezTo>
                  <a:cubicBezTo>
                    <a:pt x="236952" y="122355"/>
                    <a:pt x="251100" y="0"/>
                    <a:pt x="251100" y="0"/>
                  </a:cubicBezTo>
                  <a:lnTo>
                    <a:pt x="559954" y="60899"/>
                  </a:lnTo>
                  <a:close/>
                </a:path>
              </a:pathLst>
            </a:custGeom>
            <a:solidFill>
              <a:schemeClr val="accent1">
                <a:lumMod val="50000"/>
              </a:schemeClr>
            </a:solidFill>
            <a:ln w="5065" cap="flat">
              <a:noFill/>
              <a:prstDash val="solid"/>
              <a:miter/>
            </a:ln>
          </p:spPr>
          <p:txBody>
            <a:bodyPr rtlCol="0" anchor="ctr"/>
            <a:lstStyle/>
            <a:p>
              <a:pPr algn="l" rtl="0"/>
              <a:endParaRPr lang="en-US" dirty="0"/>
            </a:p>
          </p:txBody>
        </p:sp>
        <p:sp>
          <p:nvSpPr>
            <p:cNvPr id="398" name="Freeform: Shape 397">
              <a:extLst>
                <a:ext uri="{FF2B5EF4-FFF2-40B4-BE49-F238E27FC236}">
                  <a16:creationId xmlns:a16="http://schemas.microsoft.com/office/drawing/2014/main" id="{F204B698-06D2-4074-9307-9F879C6708D5}"/>
                </a:ext>
              </a:extLst>
            </p:cNvPr>
            <p:cNvSpPr/>
            <p:nvPr/>
          </p:nvSpPr>
          <p:spPr>
            <a:xfrm>
              <a:off x="-3526058" y="2373224"/>
              <a:ext cx="429156" cy="733146"/>
            </a:xfrm>
            <a:custGeom>
              <a:avLst/>
              <a:gdLst>
                <a:gd name="connsiteX0" fmla="*/ 292096 w 429156"/>
                <a:gd name="connsiteY0" fmla="*/ 733095 h 733146"/>
                <a:gd name="connsiteX1" fmla="*/ 76 w 429156"/>
                <a:gd name="connsiteY1" fmla="*/ 604148 h 733146"/>
                <a:gd name="connsiteX2" fmla="*/ 60011 w 429156"/>
                <a:gd name="connsiteY2" fmla="*/ 351020 h 733146"/>
                <a:gd name="connsiteX3" fmla="*/ 74209 w 429156"/>
                <a:gd name="connsiteY3" fmla="*/ 290882 h 733146"/>
                <a:gd name="connsiteX4" fmla="*/ 123192 w 429156"/>
                <a:gd name="connsiteY4" fmla="*/ 149512 h 733146"/>
                <a:gd name="connsiteX5" fmla="*/ 260607 w 429156"/>
                <a:gd name="connsiteY5" fmla="*/ 181 h 733146"/>
                <a:gd name="connsiteX6" fmla="*/ 303302 w 429156"/>
                <a:gd name="connsiteY6" fmla="*/ 38109 h 733146"/>
                <a:gd name="connsiteX7" fmla="*/ 375052 w 429156"/>
                <a:gd name="connsiteY7" fmla="*/ 59102 h 733146"/>
                <a:gd name="connsiteX8" fmla="*/ 395943 w 429156"/>
                <a:gd name="connsiteY8" fmla="*/ 96118 h 733146"/>
                <a:gd name="connsiteX9" fmla="*/ 429156 w 429156"/>
                <a:gd name="connsiteY9" fmla="*/ 209802 h 733146"/>
                <a:gd name="connsiteX10" fmla="*/ 292045 w 429156"/>
                <a:gd name="connsiteY10" fmla="*/ 733146 h 73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9156" h="733146">
                  <a:moveTo>
                    <a:pt x="292096" y="733095"/>
                  </a:moveTo>
                  <a:cubicBezTo>
                    <a:pt x="265526" y="725591"/>
                    <a:pt x="-5197" y="619512"/>
                    <a:pt x="76" y="604148"/>
                  </a:cubicBezTo>
                  <a:cubicBezTo>
                    <a:pt x="18432" y="550754"/>
                    <a:pt x="37396" y="460597"/>
                    <a:pt x="60011" y="351020"/>
                  </a:cubicBezTo>
                  <a:cubicBezTo>
                    <a:pt x="64271" y="330586"/>
                    <a:pt x="69037" y="310556"/>
                    <a:pt x="74209" y="290882"/>
                  </a:cubicBezTo>
                  <a:cubicBezTo>
                    <a:pt x="87748" y="239668"/>
                    <a:pt x="104380" y="191598"/>
                    <a:pt x="123192" y="149512"/>
                  </a:cubicBezTo>
                  <a:cubicBezTo>
                    <a:pt x="158230" y="71322"/>
                    <a:pt x="215123" y="18283"/>
                    <a:pt x="260607" y="181"/>
                  </a:cubicBezTo>
                  <a:cubicBezTo>
                    <a:pt x="266540" y="-2050"/>
                    <a:pt x="278963" y="16711"/>
                    <a:pt x="303302" y="38109"/>
                  </a:cubicBezTo>
                  <a:cubicBezTo>
                    <a:pt x="325816" y="57834"/>
                    <a:pt x="349192" y="57479"/>
                    <a:pt x="375052" y="59102"/>
                  </a:cubicBezTo>
                  <a:lnTo>
                    <a:pt x="395943" y="96118"/>
                  </a:lnTo>
                  <a:cubicBezTo>
                    <a:pt x="412828" y="128215"/>
                    <a:pt x="427280" y="173192"/>
                    <a:pt x="429156" y="209802"/>
                  </a:cubicBezTo>
                  <a:cubicBezTo>
                    <a:pt x="429156" y="209802"/>
                    <a:pt x="294428" y="733805"/>
                    <a:pt x="292045" y="733146"/>
                  </a:cubicBezTo>
                  <a:close/>
                </a:path>
              </a:pathLst>
            </a:custGeom>
            <a:solidFill>
              <a:schemeClr val="accent1"/>
            </a:solidFill>
            <a:ln w="5065" cap="flat">
              <a:noFill/>
              <a:prstDash val="solid"/>
              <a:miter/>
            </a:ln>
          </p:spPr>
          <p:txBody>
            <a:bodyPr rtlCol="0" anchor="ctr"/>
            <a:lstStyle/>
            <a:p>
              <a:pPr algn="l" rtl="0"/>
              <a:endParaRPr lang="en-US" dirty="0"/>
            </a:p>
          </p:txBody>
        </p:sp>
        <p:sp>
          <p:nvSpPr>
            <p:cNvPr id="399" name="Freeform: Shape 398">
              <a:extLst>
                <a:ext uri="{FF2B5EF4-FFF2-40B4-BE49-F238E27FC236}">
                  <a16:creationId xmlns:a16="http://schemas.microsoft.com/office/drawing/2014/main" id="{C27BED80-F288-403E-8A4C-CF8355B46B5A}"/>
                </a:ext>
              </a:extLst>
            </p:cNvPr>
            <p:cNvSpPr/>
            <p:nvPr/>
          </p:nvSpPr>
          <p:spPr>
            <a:xfrm>
              <a:off x="-3552806" y="2574254"/>
              <a:ext cx="456005" cy="558635"/>
            </a:xfrm>
            <a:custGeom>
              <a:avLst/>
              <a:gdLst>
                <a:gd name="connsiteX0" fmla="*/ 456005 w 456005"/>
                <a:gd name="connsiteY0" fmla="*/ 8722 h 558635"/>
                <a:gd name="connsiteX1" fmla="*/ 374976 w 456005"/>
                <a:gd name="connsiteY1" fmla="*/ 0 h 558635"/>
                <a:gd name="connsiteX2" fmla="*/ 174431 w 456005"/>
                <a:gd name="connsiteY2" fmla="*/ 243291 h 558635"/>
                <a:gd name="connsiteX3" fmla="*/ 55372 w 456005"/>
                <a:gd name="connsiteY3" fmla="*/ 276605 h 558635"/>
                <a:gd name="connsiteX4" fmla="*/ 55372 w 456005"/>
                <a:gd name="connsiteY4" fmla="*/ 276605 h 558635"/>
                <a:gd name="connsiteX5" fmla="*/ 0 w 456005"/>
                <a:gd name="connsiteY5" fmla="*/ 448805 h 558635"/>
                <a:gd name="connsiteX6" fmla="*/ 340293 w 456005"/>
                <a:gd name="connsiteY6" fmla="*/ 558636 h 558635"/>
                <a:gd name="connsiteX7" fmla="*/ 456005 w 456005"/>
                <a:gd name="connsiteY7" fmla="*/ 8722 h 55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005" h="558635">
                  <a:moveTo>
                    <a:pt x="456005" y="8722"/>
                  </a:moveTo>
                  <a:lnTo>
                    <a:pt x="374976" y="0"/>
                  </a:lnTo>
                  <a:lnTo>
                    <a:pt x="174431" y="243291"/>
                  </a:lnTo>
                  <a:cubicBezTo>
                    <a:pt x="145630" y="278228"/>
                    <a:pt x="98117" y="291513"/>
                    <a:pt x="55372" y="276605"/>
                  </a:cubicBezTo>
                  <a:lnTo>
                    <a:pt x="55372" y="276605"/>
                  </a:lnTo>
                  <a:lnTo>
                    <a:pt x="0" y="448805"/>
                  </a:lnTo>
                  <a:lnTo>
                    <a:pt x="340293" y="558636"/>
                  </a:lnTo>
                  <a:lnTo>
                    <a:pt x="456005" y="8722"/>
                  </a:lnTo>
                  <a:close/>
                </a:path>
              </a:pathLst>
            </a:custGeom>
            <a:solidFill>
              <a:schemeClr val="accent1">
                <a:lumMod val="50000"/>
              </a:schemeClr>
            </a:solidFill>
            <a:ln w="5065" cap="flat">
              <a:noFill/>
              <a:prstDash val="solid"/>
              <a:miter/>
            </a:ln>
          </p:spPr>
          <p:txBody>
            <a:bodyPr rtlCol="0" anchor="ctr"/>
            <a:lstStyle/>
            <a:p>
              <a:pPr algn="l" rtl="0"/>
              <a:endParaRPr lang="en-US" dirty="0"/>
            </a:p>
          </p:txBody>
        </p:sp>
        <p:sp>
          <p:nvSpPr>
            <p:cNvPr id="400" name="Freeform: Shape 399">
              <a:extLst>
                <a:ext uri="{FF2B5EF4-FFF2-40B4-BE49-F238E27FC236}">
                  <a16:creationId xmlns:a16="http://schemas.microsoft.com/office/drawing/2014/main" id="{EAFD34B2-5098-4EB7-A19A-2AE7E6097DF2}"/>
                </a:ext>
              </a:extLst>
            </p:cNvPr>
            <p:cNvSpPr/>
            <p:nvPr/>
          </p:nvSpPr>
          <p:spPr>
            <a:xfrm>
              <a:off x="-3279446" y="2373354"/>
              <a:ext cx="134829" cy="207136"/>
            </a:xfrm>
            <a:custGeom>
              <a:avLst/>
              <a:gdLst>
                <a:gd name="connsiteX0" fmla="*/ 52177 w 134829"/>
                <a:gd name="connsiteY0" fmla="*/ 92895 h 207136"/>
                <a:gd name="connsiteX1" fmla="*/ 0 w 134829"/>
                <a:gd name="connsiteY1" fmla="*/ 6541 h 207136"/>
                <a:gd name="connsiteX2" fmla="*/ 14096 w 134829"/>
                <a:gd name="connsiteY2" fmla="*/ 0 h 207136"/>
                <a:gd name="connsiteX3" fmla="*/ 78038 w 134829"/>
                <a:gd name="connsiteY3" fmla="*/ 88534 h 207136"/>
                <a:gd name="connsiteX4" fmla="*/ 134829 w 134829"/>
                <a:gd name="connsiteY4" fmla="*/ 207137 h 207136"/>
                <a:gd name="connsiteX5" fmla="*/ 101616 w 134829"/>
                <a:gd name="connsiteY5" fmla="*/ 200849 h 207136"/>
                <a:gd name="connsiteX6" fmla="*/ 52177 w 134829"/>
                <a:gd name="connsiteY6" fmla="*/ 92844 h 20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829" h="207136">
                  <a:moveTo>
                    <a:pt x="52177" y="92895"/>
                  </a:moveTo>
                  <a:cubicBezTo>
                    <a:pt x="40363" y="70584"/>
                    <a:pt x="0" y="6541"/>
                    <a:pt x="0" y="6541"/>
                  </a:cubicBezTo>
                  <a:lnTo>
                    <a:pt x="14096" y="0"/>
                  </a:lnTo>
                  <a:cubicBezTo>
                    <a:pt x="22108" y="1014"/>
                    <a:pt x="64752" y="64702"/>
                    <a:pt x="78038" y="88534"/>
                  </a:cubicBezTo>
                  <a:cubicBezTo>
                    <a:pt x="94010" y="117285"/>
                    <a:pt x="134829" y="207137"/>
                    <a:pt x="134829" y="207137"/>
                  </a:cubicBezTo>
                  <a:lnTo>
                    <a:pt x="101616" y="200849"/>
                  </a:lnTo>
                  <a:cubicBezTo>
                    <a:pt x="101616" y="200849"/>
                    <a:pt x="66071" y="119110"/>
                    <a:pt x="52177" y="92844"/>
                  </a:cubicBezTo>
                  <a:close/>
                </a:path>
              </a:pathLst>
            </a:custGeom>
            <a:solidFill>
              <a:schemeClr val="accent1">
                <a:lumMod val="40000"/>
                <a:lumOff val="60000"/>
              </a:schemeClr>
            </a:solidFill>
            <a:ln w="5065" cap="flat">
              <a:noFill/>
              <a:prstDash val="solid"/>
              <a:miter/>
            </a:ln>
          </p:spPr>
          <p:txBody>
            <a:bodyPr rtlCol="0" anchor="ctr"/>
            <a:lstStyle/>
            <a:p>
              <a:pPr algn="l" rtl="0"/>
              <a:endParaRPr lang="en-US" dirty="0"/>
            </a:p>
          </p:txBody>
        </p:sp>
        <p:sp>
          <p:nvSpPr>
            <p:cNvPr id="401" name="Freeform: Shape 400">
              <a:extLst>
                <a:ext uri="{FF2B5EF4-FFF2-40B4-BE49-F238E27FC236}">
                  <a16:creationId xmlns:a16="http://schemas.microsoft.com/office/drawing/2014/main" id="{18107DE1-886A-4F37-AA2A-7152228E0E02}"/>
                </a:ext>
              </a:extLst>
            </p:cNvPr>
            <p:cNvSpPr/>
            <p:nvPr/>
          </p:nvSpPr>
          <p:spPr>
            <a:xfrm>
              <a:off x="-2867776" y="2990353"/>
              <a:ext cx="97432" cy="103543"/>
            </a:xfrm>
            <a:custGeom>
              <a:avLst/>
              <a:gdLst>
                <a:gd name="connsiteX0" fmla="*/ 22025 w 97432"/>
                <a:gd name="connsiteY0" fmla="*/ 0 h 103543"/>
                <a:gd name="connsiteX1" fmla="*/ 95499 w 97432"/>
                <a:gd name="connsiteY1" fmla="*/ 40667 h 103543"/>
                <a:gd name="connsiteX2" fmla="*/ 80692 w 97432"/>
                <a:gd name="connsiteY2" fmla="*/ 103543 h 103543"/>
                <a:gd name="connsiteX3" fmla="*/ 34448 w 97432"/>
                <a:gd name="connsiteY3" fmla="*/ 60087 h 103543"/>
                <a:gd name="connsiteX4" fmla="*/ 221 w 97432"/>
                <a:gd name="connsiteY4" fmla="*/ 43456 h 103543"/>
                <a:gd name="connsiteX5" fmla="*/ 21974 w 97432"/>
                <a:gd name="connsiteY5" fmla="*/ 0 h 10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432" h="103543">
                  <a:moveTo>
                    <a:pt x="22025" y="0"/>
                  </a:moveTo>
                  <a:cubicBezTo>
                    <a:pt x="22025" y="0"/>
                    <a:pt x="91797" y="27737"/>
                    <a:pt x="95499" y="40667"/>
                  </a:cubicBezTo>
                  <a:cubicBezTo>
                    <a:pt x="99200" y="53597"/>
                    <a:pt x="99200" y="103543"/>
                    <a:pt x="80692" y="103543"/>
                  </a:cubicBezTo>
                  <a:cubicBezTo>
                    <a:pt x="62184" y="103543"/>
                    <a:pt x="42764" y="61000"/>
                    <a:pt x="34448" y="60087"/>
                  </a:cubicBezTo>
                  <a:cubicBezTo>
                    <a:pt x="26132" y="59175"/>
                    <a:pt x="3010" y="53597"/>
                    <a:pt x="221" y="43456"/>
                  </a:cubicBezTo>
                  <a:cubicBezTo>
                    <a:pt x="-2568" y="33314"/>
                    <a:pt x="21974" y="0"/>
                    <a:pt x="21974" y="0"/>
                  </a:cubicBezTo>
                  <a:close/>
                </a:path>
              </a:pathLst>
            </a:custGeom>
            <a:solidFill>
              <a:schemeClr val="bg1">
                <a:lumMod val="75000"/>
              </a:schemeClr>
            </a:solidFill>
            <a:ln w="5065" cap="flat">
              <a:noFill/>
              <a:prstDash val="solid"/>
              <a:miter/>
            </a:ln>
          </p:spPr>
          <p:txBody>
            <a:bodyPr rtlCol="0" anchor="ctr"/>
            <a:lstStyle/>
            <a:p>
              <a:pPr algn="l" rtl="0"/>
              <a:endParaRPr lang="en-US" dirty="0"/>
            </a:p>
          </p:txBody>
        </p:sp>
        <p:sp>
          <p:nvSpPr>
            <p:cNvPr id="402" name="Freeform: Shape 401">
              <a:extLst>
                <a:ext uri="{FF2B5EF4-FFF2-40B4-BE49-F238E27FC236}">
                  <a16:creationId xmlns:a16="http://schemas.microsoft.com/office/drawing/2014/main" id="{E10AAC37-7695-4CB3-9436-922DE98465B8}"/>
                </a:ext>
              </a:extLst>
            </p:cNvPr>
            <p:cNvSpPr/>
            <p:nvPr/>
          </p:nvSpPr>
          <p:spPr>
            <a:xfrm>
              <a:off x="-3379178" y="2511621"/>
              <a:ext cx="537666" cy="533546"/>
            </a:xfrm>
            <a:custGeom>
              <a:avLst/>
              <a:gdLst>
                <a:gd name="connsiteX0" fmla="*/ 533173 w 537666"/>
                <a:gd name="connsiteY0" fmla="*/ 507686 h 533546"/>
                <a:gd name="connsiteX1" fmla="*/ 533376 w 537666"/>
                <a:gd name="connsiteY1" fmla="*/ 478732 h 533546"/>
                <a:gd name="connsiteX2" fmla="*/ 313258 w 537666"/>
                <a:gd name="connsiteY2" fmla="*/ 339542 h 533546"/>
                <a:gd name="connsiteX3" fmla="*/ 202616 w 537666"/>
                <a:gd name="connsiteY3" fmla="*/ 97773 h 533546"/>
                <a:gd name="connsiteX4" fmla="*/ 112511 w 537666"/>
                <a:gd name="connsiteY4" fmla="*/ 365 h 533546"/>
                <a:gd name="connsiteX5" fmla="*/ 15002 w 537666"/>
                <a:gd name="connsiteY5" fmla="*/ 53810 h 533546"/>
                <a:gd name="connsiteX6" fmla="*/ 20833 w 537666"/>
                <a:gd name="connsiteY6" fmla="*/ 168914 h 533546"/>
                <a:gd name="connsiteX7" fmla="*/ 223254 w 537666"/>
                <a:gd name="connsiteY7" fmla="*/ 417884 h 533546"/>
                <a:gd name="connsiteX8" fmla="*/ 512231 w 537666"/>
                <a:gd name="connsiteY8" fmla="*/ 533546 h 533546"/>
                <a:gd name="connsiteX9" fmla="*/ 533224 w 537666"/>
                <a:gd name="connsiteY9" fmla="*/ 507686 h 53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666" h="533546">
                  <a:moveTo>
                    <a:pt x="533173" y="507686"/>
                  </a:moveTo>
                  <a:cubicBezTo>
                    <a:pt x="543163" y="486693"/>
                    <a:pt x="533376" y="478732"/>
                    <a:pt x="533376" y="478732"/>
                  </a:cubicBezTo>
                  <a:cubicBezTo>
                    <a:pt x="533376" y="478732"/>
                    <a:pt x="329586" y="352777"/>
                    <a:pt x="313258" y="339542"/>
                  </a:cubicBezTo>
                  <a:cubicBezTo>
                    <a:pt x="296931" y="326359"/>
                    <a:pt x="202616" y="97773"/>
                    <a:pt x="202616" y="97773"/>
                  </a:cubicBezTo>
                  <a:cubicBezTo>
                    <a:pt x="202616" y="97773"/>
                    <a:pt x="168592" y="4828"/>
                    <a:pt x="112511" y="365"/>
                  </a:cubicBezTo>
                  <a:cubicBezTo>
                    <a:pt x="63832" y="-3488"/>
                    <a:pt x="33459" y="23741"/>
                    <a:pt x="15002" y="53810"/>
                  </a:cubicBezTo>
                  <a:cubicBezTo>
                    <a:pt x="-7056" y="89609"/>
                    <a:pt x="-4520" y="135347"/>
                    <a:pt x="20833" y="168914"/>
                  </a:cubicBezTo>
                  <a:cubicBezTo>
                    <a:pt x="77675" y="244265"/>
                    <a:pt x="192019" y="393647"/>
                    <a:pt x="223254" y="417884"/>
                  </a:cubicBezTo>
                  <a:cubicBezTo>
                    <a:pt x="292773" y="471785"/>
                    <a:pt x="512231" y="533546"/>
                    <a:pt x="512231" y="533546"/>
                  </a:cubicBezTo>
                  <a:cubicBezTo>
                    <a:pt x="512231" y="533546"/>
                    <a:pt x="525364" y="524165"/>
                    <a:pt x="533224" y="507686"/>
                  </a:cubicBezTo>
                  <a:close/>
                </a:path>
              </a:pathLst>
            </a:custGeom>
            <a:solidFill>
              <a:schemeClr val="accent1"/>
            </a:solidFill>
            <a:ln w="5065" cap="flat">
              <a:noFill/>
              <a:prstDash val="solid"/>
              <a:miter/>
            </a:ln>
          </p:spPr>
          <p:txBody>
            <a:bodyPr rtlCol="0" anchor="ctr"/>
            <a:lstStyle/>
            <a:p>
              <a:pPr algn="l" rtl="0"/>
              <a:endParaRPr lang="en-US" dirty="0"/>
            </a:p>
          </p:txBody>
        </p:sp>
        <p:sp>
          <p:nvSpPr>
            <p:cNvPr id="403" name="Freeform: Shape 402">
              <a:extLst>
                <a:ext uri="{FF2B5EF4-FFF2-40B4-BE49-F238E27FC236}">
                  <a16:creationId xmlns:a16="http://schemas.microsoft.com/office/drawing/2014/main" id="{C7D5875F-9581-4704-950B-3BFBDD9DFC39}"/>
                </a:ext>
              </a:extLst>
            </p:cNvPr>
            <p:cNvSpPr/>
            <p:nvPr/>
          </p:nvSpPr>
          <p:spPr>
            <a:xfrm>
              <a:off x="-1727111" y="3376890"/>
              <a:ext cx="825809" cy="680940"/>
            </a:xfrm>
            <a:custGeom>
              <a:avLst/>
              <a:gdLst>
                <a:gd name="connsiteX0" fmla="*/ 0 w 825809"/>
                <a:gd name="connsiteY0" fmla="*/ 0 h 680940"/>
                <a:gd name="connsiteX1" fmla="*/ 825809 w 825809"/>
                <a:gd name="connsiteY1" fmla="*/ 0 h 680940"/>
                <a:gd name="connsiteX2" fmla="*/ 825809 w 825809"/>
                <a:gd name="connsiteY2" fmla="*/ 680940 h 680940"/>
                <a:gd name="connsiteX3" fmla="*/ 0 w 825809"/>
                <a:gd name="connsiteY3" fmla="*/ 680940 h 680940"/>
              </a:gdLst>
              <a:ahLst/>
              <a:cxnLst>
                <a:cxn ang="0">
                  <a:pos x="connsiteX0" y="connsiteY0"/>
                </a:cxn>
                <a:cxn ang="0">
                  <a:pos x="connsiteX1" y="connsiteY1"/>
                </a:cxn>
                <a:cxn ang="0">
                  <a:pos x="connsiteX2" y="connsiteY2"/>
                </a:cxn>
                <a:cxn ang="0">
                  <a:pos x="connsiteX3" y="connsiteY3"/>
                </a:cxn>
              </a:cxnLst>
              <a:rect l="l" t="t" r="r" b="b"/>
              <a:pathLst>
                <a:path w="825809" h="680940">
                  <a:moveTo>
                    <a:pt x="0" y="0"/>
                  </a:moveTo>
                  <a:lnTo>
                    <a:pt x="825809" y="0"/>
                  </a:lnTo>
                  <a:lnTo>
                    <a:pt x="825809" y="680940"/>
                  </a:lnTo>
                  <a:lnTo>
                    <a:pt x="0" y="680940"/>
                  </a:lnTo>
                  <a:close/>
                </a:path>
              </a:pathLst>
            </a:custGeom>
            <a:solidFill>
              <a:schemeClr val="accent2">
                <a:lumMod val="75000"/>
              </a:schemeClr>
            </a:solidFill>
            <a:ln w="5065" cap="flat">
              <a:noFill/>
              <a:prstDash val="solid"/>
              <a:miter/>
            </a:ln>
          </p:spPr>
          <p:txBody>
            <a:bodyPr rtlCol="0" anchor="ctr"/>
            <a:lstStyle/>
            <a:p>
              <a:pPr algn="l" rtl="0"/>
              <a:endParaRPr lang="en-US" dirty="0"/>
            </a:p>
          </p:txBody>
        </p:sp>
        <p:sp>
          <p:nvSpPr>
            <p:cNvPr id="404" name="Freeform: Shape 403">
              <a:extLst>
                <a:ext uri="{FF2B5EF4-FFF2-40B4-BE49-F238E27FC236}">
                  <a16:creationId xmlns:a16="http://schemas.microsoft.com/office/drawing/2014/main" id="{E6D7C28D-62D1-4C9A-8387-1775823570E4}"/>
                </a:ext>
              </a:extLst>
            </p:cNvPr>
            <p:cNvSpPr/>
            <p:nvPr/>
          </p:nvSpPr>
          <p:spPr>
            <a:xfrm>
              <a:off x="-2140016" y="3376890"/>
              <a:ext cx="825809" cy="680940"/>
            </a:xfrm>
            <a:custGeom>
              <a:avLst/>
              <a:gdLst>
                <a:gd name="connsiteX0" fmla="*/ 0 w 825809"/>
                <a:gd name="connsiteY0" fmla="*/ 0 h 680940"/>
                <a:gd name="connsiteX1" fmla="*/ 825809 w 825809"/>
                <a:gd name="connsiteY1" fmla="*/ 0 h 680940"/>
                <a:gd name="connsiteX2" fmla="*/ 825809 w 825809"/>
                <a:gd name="connsiteY2" fmla="*/ 680940 h 680940"/>
                <a:gd name="connsiteX3" fmla="*/ 0 w 825809"/>
                <a:gd name="connsiteY3" fmla="*/ 680940 h 680940"/>
              </a:gdLst>
              <a:ahLst/>
              <a:cxnLst>
                <a:cxn ang="0">
                  <a:pos x="connsiteX0" y="connsiteY0"/>
                </a:cxn>
                <a:cxn ang="0">
                  <a:pos x="connsiteX1" y="connsiteY1"/>
                </a:cxn>
                <a:cxn ang="0">
                  <a:pos x="connsiteX2" y="connsiteY2"/>
                </a:cxn>
                <a:cxn ang="0">
                  <a:pos x="connsiteX3" y="connsiteY3"/>
                </a:cxn>
              </a:cxnLst>
              <a:rect l="l" t="t" r="r" b="b"/>
              <a:pathLst>
                <a:path w="825809" h="680940">
                  <a:moveTo>
                    <a:pt x="0" y="0"/>
                  </a:moveTo>
                  <a:lnTo>
                    <a:pt x="825809" y="0"/>
                  </a:lnTo>
                  <a:lnTo>
                    <a:pt x="825809" y="680940"/>
                  </a:lnTo>
                  <a:lnTo>
                    <a:pt x="0" y="680940"/>
                  </a:lnTo>
                  <a:close/>
                </a:path>
              </a:pathLst>
            </a:custGeom>
            <a:solidFill>
              <a:schemeClr val="accent2">
                <a:lumMod val="60000"/>
                <a:lumOff val="40000"/>
              </a:schemeClr>
            </a:solidFill>
            <a:ln w="5065" cap="flat">
              <a:noFill/>
              <a:prstDash val="solid"/>
              <a:miter/>
            </a:ln>
          </p:spPr>
          <p:txBody>
            <a:bodyPr rtlCol="0" anchor="ctr"/>
            <a:lstStyle/>
            <a:p>
              <a:pPr algn="l" rtl="0"/>
              <a:endParaRPr lang="en-US" dirty="0"/>
            </a:p>
          </p:txBody>
        </p:sp>
        <p:sp>
          <p:nvSpPr>
            <p:cNvPr id="405" name="Freeform: Shape 404">
              <a:extLst>
                <a:ext uri="{FF2B5EF4-FFF2-40B4-BE49-F238E27FC236}">
                  <a16:creationId xmlns:a16="http://schemas.microsoft.com/office/drawing/2014/main" id="{9317650C-AADC-4EDF-B5EB-A5C30E1B4380}"/>
                </a:ext>
              </a:extLst>
            </p:cNvPr>
            <p:cNvSpPr/>
            <p:nvPr/>
          </p:nvSpPr>
          <p:spPr>
            <a:xfrm>
              <a:off x="-1032633" y="3821993"/>
              <a:ext cx="130823" cy="63129"/>
            </a:xfrm>
            <a:custGeom>
              <a:avLst/>
              <a:gdLst>
                <a:gd name="connsiteX0" fmla="*/ 130823 w 130823"/>
                <a:gd name="connsiteY0" fmla="*/ 63130 h 63129"/>
                <a:gd name="connsiteX1" fmla="*/ 0 w 130823"/>
                <a:gd name="connsiteY1" fmla="*/ 63130 h 63129"/>
                <a:gd name="connsiteX2" fmla="*/ 11511 w 130823"/>
                <a:gd name="connsiteY2" fmla="*/ 26317 h 63129"/>
                <a:gd name="connsiteX3" fmla="*/ 0 w 130823"/>
                <a:gd name="connsiteY3" fmla="*/ 0 h 63129"/>
                <a:gd name="connsiteX4" fmla="*/ 130823 w 130823"/>
                <a:gd name="connsiteY4" fmla="*/ 0 h 63129"/>
                <a:gd name="connsiteX5" fmla="*/ 130823 w 130823"/>
                <a:gd name="connsiteY5" fmla="*/ 63130 h 63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823" h="63129">
                  <a:moveTo>
                    <a:pt x="130823" y="63130"/>
                  </a:moveTo>
                  <a:lnTo>
                    <a:pt x="0" y="63130"/>
                  </a:lnTo>
                  <a:lnTo>
                    <a:pt x="11511" y="26317"/>
                  </a:lnTo>
                  <a:lnTo>
                    <a:pt x="0" y="0"/>
                  </a:lnTo>
                  <a:lnTo>
                    <a:pt x="130823" y="0"/>
                  </a:lnTo>
                  <a:lnTo>
                    <a:pt x="130823" y="63130"/>
                  </a:lnTo>
                  <a:close/>
                </a:path>
              </a:pathLst>
            </a:custGeom>
            <a:solidFill>
              <a:schemeClr val="bg2"/>
            </a:solidFill>
            <a:ln w="5065" cap="flat">
              <a:noFill/>
              <a:prstDash val="solid"/>
              <a:miter/>
            </a:ln>
          </p:spPr>
          <p:txBody>
            <a:bodyPr rtlCol="0" anchor="ctr"/>
            <a:lstStyle/>
            <a:p>
              <a:pPr algn="l" rtl="0"/>
              <a:endParaRPr lang="en-US" dirty="0"/>
            </a:p>
          </p:txBody>
        </p:sp>
        <p:sp>
          <p:nvSpPr>
            <p:cNvPr id="406" name="Freeform: Shape 405">
              <a:extLst>
                <a:ext uri="{FF2B5EF4-FFF2-40B4-BE49-F238E27FC236}">
                  <a16:creationId xmlns:a16="http://schemas.microsoft.com/office/drawing/2014/main" id="{F5E3E727-5F05-4108-8F21-94A8AB74ADA0}"/>
                </a:ext>
              </a:extLst>
            </p:cNvPr>
            <p:cNvSpPr/>
            <p:nvPr/>
          </p:nvSpPr>
          <p:spPr>
            <a:xfrm>
              <a:off x="-1445081" y="3524497"/>
              <a:ext cx="130873" cy="63129"/>
            </a:xfrm>
            <a:custGeom>
              <a:avLst/>
              <a:gdLst>
                <a:gd name="connsiteX0" fmla="*/ 130874 w 130873"/>
                <a:gd name="connsiteY0" fmla="*/ 63130 h 63129"/>
                <a:gd name="connsiteX1" fmla="*/ 0 w 130873"/>
                <a:gd name="connsiteY1" fmla="*/ 63130 h 63129"/>
                <a:gd name="connsiteX2" fmla="*/ 11561 w 130873"/>
                <a:gd name="connsiteY2" fmla="*/ 26317 h 63129"/>
                <a:gd name="connsiteX3" fmla="*/ 0 w 130873"/>
                <a:gd name="connsiteY3" fmla="*/ 0 h 63129"/>
                <a:gd name="connsiteX4" fmla="*/ 130874 w 130873"/>
                <a:gd name="connsiteY4" fmla="*/ 0 h 63129"/>
                <a:gd name="connsiteX5" fmla="*/ 130874 w 130873"/>
                <a:gd name="connsiteY5" fmla="*/ 63130 h 63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873" h="63129">
                  <a:moveTo>
                    <a:pt x="130874" y="63130"/>
                  </a:moveTo>
                  <a:lnTo>
                    <a:pt x="0" y="63130"/>
                  </a:lnTo>
                  <a:lnTo>
                    <a:pt x="11561" y="26317"/>
                  </a:lnTo>
                  <a:lnTo>
                    <a:pt x="0" y="0"/>
                  </a:lnTo>
                  <a:lnTo>
                    <a:pt x="130874" y="0"/>
                  </a:lnTo>
                  <a:lnTo>
                    <a:pt x="130874" y="63130"/>
                  </a:lnTo>
                  <a:close/>
                </a:path>
              </a:pathLst>
            </a:custGeom>
            <a:solidFill>
              <a:srgbClr val="E3F0FF"/>
            </a:solidFill>
            <a:ln w="5065" cap="flat">
              <a:noFill/>
              <a:prstDash val="solid"/>
              <a:miter/>
            </a:ln>
          </p:spPr>
          <p:txBody>
            <a:bodyPr rtlCol="0" anchor="ctr"/>
            <a:lstStyle/>
            <a:p>
              <a:pPr algn="l" rtl="0"/>
              <a:endParaRPr lang="en-US" dirty="0"/>
            </a:p>
          </p:txBody>
        </p:sp>
        <p:sp>
          <p:nvSpPr>
            <p:cNvPr id="407" name="Freeform: Shape 406">
              <a:extLst>
                <a:ext uri="{FF2B5EF4-FFF2-40B4-BE49-F238E27FC236}">
                  <a16:creationId xmlns:a16="http://schemas.microsoft.com/office/drawing/2014/main" id="{E9630CD6-FBFD-49CE-B91E-7DE8E9BBF023}"/>
                </a:ext>
              </a:extLst>
            </p:cNvPr>
            <p:cNvSpPr/>
            <p:nvPr/>
          </p:nvSpPr>
          <p:spPr>
            <a:xfrm>
              <a:off x="-1314207" y="3524497"/>
              <a:ext cx="130874" cy="63129"/>
            </a:xfrm>
            <a:custGeom>
              <a:avLst/>
              <a:gdLst>
                <a:gd name="connsiteX0" fmla="*/ 0 w 130874"/>
                <a:gd name="connsiteY0" fmla="*/ 0 h 63129"/>
                <a:gd name="connsiteX1" fmla="*/ 130874 w 130874"/>
                <a:gd name="connsiteY1" fmla="*/ 0 h 63129"/>
                <a:gd name="connsiteX2" fmla="*/ 119313 w 130874"/>
                <a:gd name="connsiteY2" fmla="*/ 36813 h 63129"/>
                <a:gd name="connsiteX3" fmla="*/ 130874 w 130874"/>
                <a:gd name="connsiteY3" fmla="*/ 63130 h 63129"/>
                <a:gd name="connsiteX4" fmla="*/ 0 w 130874"/>
                <a:gd name="connsiteY4" fmla="*/ 63130 h 63129"/>
                <a:gd name="connsiteX5" fmla="*/ 0 w 130874"/>
                <a:gd name="connsiteY5" fmla="*/ 0 h 63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874" h="63129">
                  <a:moveTo>
                    <a:pt x="0" y="0"/>
                  </a:moveTo>
                  <a:lnTo>
                    <a:pt x="130874" y="0"/>
                  </a:lnTo>
                  <a:lnTo>
                    <a:pt x="119313" y="36813"/>
                  </a:lnTo>
                  <a:lnTo>
                    <a:pt x="130874" y="63130"/>
                  </a:lnTo>
                  <a:lnTo>
                    <a:pt x="0" y="63130"/>
                  </a:lnTo>
                  <a:lnTo>
                    <a:pt x="0" y="0"/>
                  </a:lnTo>
                  <a:close/>
                </a:path>
              </a:pathLst>
            </a:custGeom>
            <a:solidFill>
              <a:schemeClr val="bg2"/>
            </a:solidFill>
            <a:ln w="5065" cap="flat">
              <a:noFill/>
              <a:prstDash val="solid"/>
              <a:miter/>
            </a:ln>
          </p:spPr>
          <p:txBody>
            <a:bodyPr rtlCol="0" anchor="ctr"/>
            <a:lstStyle/>
            <a:p>
              <a:pPr algn="l" rtl="0"/>
              <a:endParaRPr lang="en-US" dirty="0"/>
            </a:p>
          </p:txBody>
        </p:sp>
        <p:sp>
          <p:nvSpPr>
            <p:cNvPr id="408" name="Freeform: Shape 407">
              <a:extLst>
                <a:ext uri="{FF2B5EF4-FFF2-40B4-BE49-F238E27FC236}">
                  <a16:creationId xmlns:a16="http://schemas.microsoft.com/office/drawing/2014/main" id="{4598928C-1DB1-4FB8-8BC8-418A272D6EB7}"/>
                </a:ext>
              </a:extLst>
            </p:cNvPr>
            <p:cNvSpPr/>
            <p:nvPr/>
          </p:nvSpPr>
          <p:spPr>
            <a:xfrm>
              <a:off x="-2140016" y="3892425"/>
              <a:ext cx="130823" cy="63180"/>
            </a:xfrm>
            <a:custGeom>
              <a:avLst/>
              <a:gdLst>
                <a:gd name="connsiteX0" fmla="*/ 0 w 130823"/>
                <a:gd name="connsiteY0" fmla="*/ 0 h 63180"/>
                <a:gd name="connsiteX1" fmla="*/ 130823 w 130823"/>
                <a:gd name="connsiteY1" fmla="*/ 0 h 63180"/>
                <a:gd name="connsiteX2" fmla="*/ 119313 w 130823"/>
                <a:gd name="connsiteY2" fmla="*/ 36864 h 63180"/>
                <a:gd name="connsiteX3" fmla="*/ 130823 w 130823"/>
                <a:gd name="connsiteY3" fmla="*/ 63180 h 63180"/>
                <a:gd name="connsiteX4" fmla="*/ 0 w 130823"/>
                <a:gd name="connsiteY4" fmla="*/ 63180 h 63180"/>
                <a:gd name="connsiteX5" fmla="*/ 0 w 130823"/>
                <a:gd name="connsiteY5" fmla="*/ 0 h 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823" h="63180">
                  <a:moveTo>
                    <a:pt x="0" y="0"/>
                  </a:moveTo>
                  <a:lnTo>
                    <a:pt x="130823" y="0"/>
                  </a:lnTo>
                  <a:lnTo>
                    <a:pt x="119313" y="36864"/>
                  </a:lnTo>
                  <a:lnTo>
                    <a:pt x="130823" y="63180"/>
                  </a:lnTo>
                  <a:lnTo>
                    <a:pt x="0" y="63180"/>
                  </a:lnTo>
                  <a:lnTo>
                    <a:pt x="0" y="0"/>
                  </a:lnTo>
                  <a:close/>
                </a:path>
              </a:pathLst>
            </a:custGeom>
            <a:solidFill>
              <a:srgbClr val="E3F0FF"/>
            </a:solidFill>
            <a:ln w="5065" cap="flat">
              <a:noFill/>
              <a:prstDash val="solid"/>
              <a:miter/>
            </a:ln>
          </p:spPr>
          <p:txBody>
            <a:bodyPr rtlCol="0" anchor="ctr"/>
            <a:lstStyle/>
            <a:p>
              <a:pPr algn="l" rtl="0"/>
              <a:endParaRPr lang="en-US" dirty="0"/>
            </a:p>
          </p:txBody>
        </p:sp>
        <p:sp>
          <p:nvSpPr>
            <p:cNvPr id="409" name="Freeform: Shape 408">
              <a:extLst>
                <a:ext uri="{FF2B5EF4-FFF2-40B4-BE49-F238E27FC236}">
                  <a16:creationId xmlns:a16="http://schemas.microsoft.com/office/drawing/2014/main" id="{D51E3171-0BEE-4C9D-B59D-1E8E3A7D8C42}"/>
                </a:ext>
              </a:extLst>
            </p:cNvPr>
            <p:cNvSpPr/>
            <p:nvPr/>
          </p:nvSpPr>
          <p:spPr>
            <a:xfrm rot="10800000">
              <a:off x="-2085963" y="3423084"/>
              <a:ext cx="237662" cy="92438"/>
            </a:xfrm>
            <a:custGeom>
              <a:avLst/>
              <a:gdLst>
                <a:gd name="connsiteX0" fmla="*/ 0 w 237662"/>
                <a:gd name="connsiteY0" fmla="*/ 0 h 92438"/>
                <a:gd name="connsiteX1" fmla="*/ 237662 w 237662"/>
                <a:gd name="connsiteY1" fmla="*/ 0 h 92438"/>
                <a:gd name="connsiteX2" fmla="*/ 237662 w 237662"/>
                <a:gd name="connsiteY2" fmla="*/ 92438 h 92438"/>
                <a:gd name="connsiteX3" fmla="*/ 0 w 237662"/>
                <a:gd name="connsiteY3" fmla="*/ 92438 h 92438"/>
              </a:gdLst>
              <a:ahLst/>
              <a:cxnLst>
                <a:cxn ang="0">
                  <a:pos x="connsiteX0" y="connsiteY0"/>
                </a:cxn>
                <a:cxn ang="0">
                  <a:pos x="connsiteX1" y="connsiteY1"/>
                </a:cxn>
                <a:cxn ang="0">
                  <a:pos x="connsiteX2" y="connsiteY2"/>
                </a:cxn>
                <a:cxn ang="0">
                  <a:pos x="connsiteX3" y="connsiteY3"/>
                </a:cxn>
              </a:cxnLst>
              <a:rect l="l" t="t" r="r" b="b"/>
              <a:pathLst>
                <a:path w="237662" h="92438">
                  <a:moveTo>
                    <a:pt x="0" y="0"/>
                  </a:moveTo>
                  <a:lnTo>
                    <a:pt x="237662" y="0"/>
                  </a:lnTo>
                  <a:lnTo>
                    <a:pt x="237662" y="92438"/>
                  </a:lnTo>
                  <a:lnTo>
                    <a:pt x="0" y="92438"/>
                  </a:lnTo>
                  <a:close/>
                </a:path>
              </a:pathLst>
            </a:custGeom>
            <a:solidFill>
              <a:srgbClr val="FFFFFF"/>
            </a:solidFill>
            <a:ln w="5065" cap="flat">
              <a:noFill/>
              <a:prstDash val="solid"/>
              <a:miter/>
            </a:ln>
          </p:spPr>
          <p:txBody>
            <a:bodyPr rtlCol="0" anchor="ctr"/>
            <a:lstStyle/>
            <a:p>
              <a:pPr algn="l" rtl="0"/>
              <a:endParaRPr lang="en-US" dirty="0"/>
            </a:p>
          </p:txBody>
        </p:sp>
        <p:sp>
          <p:nvSpPr>
            <p:cNvPr id="410" name="Freeform: Shape 409">
              <a:extLst>
                <a:ext uri="{FF2B5EF4-FFF2-40B4-BE49-F238E27FC236}">
                  <a16:creationId xmlns:a16="http://schemas.microsoft.com/office/drawing/2014/main" id="{CCE66397-5F1B-4FF5-9263-FBC531ECF21A}"/>
                </a:ext>
              </a:extLst>
            </p:cNvPr>
            <p:cNvSpPr/>
            <p:nvPr/>
          </p:nvSpPr>
          <p:spPr>
            <a:xfrm rot="10800000">
              <a:off x="-1727111" y="2975952"/>
              <a:ext cx="494694" cy="407935"/>
            </a:xfrm>
            <a:custGeom>
              <a:avLst/>
              <a:gdLst>
                <a:gd name="connsiteX0" fmla="*/ 0 w 494694"/>
                <a:gd name="connsiteY0" fmla="*/ 0 h 407935"/>
                <a:gd name="connsiteX1" fmla="*/ 494695 w 494694"/>
                <a:gd name="connsiteY1" fmla="*/ 0 h 407935"/>
                <a:gd name="connsiteX2" fmla="*/ 494695 w 494694"/>
                <a:gd name="connsiteY2" fmla="*/ 407935 h 407935"/>
                <a:gd name="connsiteX3" fmla="*/ 0 w 494694"/>
                <a:gd name="connsiteY3" fmla="*/ 407935 h 407935"/>
              </a:gdLst>
              <a:ahLst/>
              <a:cxnLst>
                <a:cxn ang="0">
                  <a:pos x="connsiteX0" y="connsiteY0"/>
                </a:cxn>
                <a:cxn ang="0">
                  <a:pos x="connsiteX1" y="connsiteY1"/>
                </a:cxn>
                <a:cxn ang="0">
                  <a:pos x="connsiteX2" y="connsiteY2"/>
                </a:cxn>
                <a:cxn ang="0">
                  <a:pos x="connsiteX3" y="connsiteY3"/>
                </a:cxn>
              </a:cxnLst>
              <a:rect l="l" t="t" r="r" b="b"/>
              <a:pathLst>
                <a:path w="494694" h="407935">
                  <a:moveTo>
                    <a:pt x="0" y="0"/>
                  </a:moveTo>
                  <a:lnTo>
                    <a:pt x="494695" y="0"/>
                  </a:lnTo>
                  <a:lnTo>
                    <a:pt x="494695" y="407935"/>
                  </a:lnTo>
                  <a:lnTo>
                    <a:pt x="0" y="407935"/>
                  </a:lnTo>
                  <a:close/>
                </a:path>
              </a:pathLst>
            </a:custGeom>
            <a:solidFill>
              <a:schemeClr val="accent1">
                <a:lumMod val="40000"/>
                <a:lumOff val="60000"/>
              </a:schemeClr>
            </a:solidFill>
            <a:ln w="5065" cap="flat">
              <a:noFill/>
              <a:prstDash val="solid"/>
              <a:miter/>
            </a:ln>
          </p:spPr>
          <p:txBody>
            <a:bodyPr rtlCol="0" anchor="ctr"/>
            <a:lstStyle/>
            <a:p>
              <a:pPr algn="l" rtl="0"/>
              <a:endParaRPr lang="en-US" dirty="0"/>
            </a:p>
          </p:txBody>
        </p:sp>
        <p:sp>
          <p:nvSpPr>
            <p:cNvPr id="411" name="Freeform: Shape 410">
              <a:extLst>
                <a:ext uri="{FF2B5EF4-FFF2-40B4-BE49-F238E27FC236}">
                  <a16:creationId xmlns:a16="http://schemas.microsoft.com/office/drawing/2014/main" id="{D944FDD9-B67C-459A-88A3-0652E941FBB8}"/>
                </a:ext>
              </a:extLst>
            </p:cNvPr>
            <p:cNvSpPr/>
            <p:nvPr/>
          </p:nvSpPr>
          <p:spPr>
            <a:xfrm rot="10800000">
              <a:off x="-1479714" y="2975952"/>
              <a:ext cx="494694" cy="407935"/>
            </a:xfrm>
            <a:custGeom>
              <a:avLst/>
              <a:gdLst>
                <a:gd name="connsiteX0" fmla="*/ 0 w 494694"/>
                <a:gd name="connsiteY0" fmla="*/ 0 h 407935"/>
                <a:gd name="connsiteX1" fmla="*/ 494694 w 494694"/>
                <a:gd name="connsiteY1" fmla="*/ 0 h 407935"/>
                <a:gd name="connsiteX2" fmla="*/ 494694 w 494694"/>
                <a:gd name="connsiteY2" fmla="*/ 407935 h 407935"/>
                <a:gd name="connsiteX3" fmla="*/ 0 w 494694"/>
                <a:gd name="connsiteY3" fmla="*/ 407935 h 407935"/>
              </a:gdLst>
              <a:ahLst/>
              <a:cxnLst>
                <a:cxn ang="0">
                  <a:pos x="connsiteX0" y="connsiteY0"/>
                </a:cxn>
                <a:cxn ang="0">
                  <a:pos x="connsiteX1" y="connsiteY1"/>
                </a:cxn>
                <a:cxn ang="0">
                  <a:pos x="connsiteX2" y="connsiteY2"/>
                </a:cxn>
                <a:cxn ang="0">
                  <a:pos x="connsiteX3" y="connsiteY3"/>
                </a:cxn>
              </a:cxnLst>
              <a:rect l="l" t="t" r="r" b="b"/>
              <a:pathLst>
                <a:path w="494694" h="407935">
                  <a:moveTo>
                    <a:pt x="0" y="0"/>
                  </a:moveTo>
                  <a:lnTo>
                    <a:pt x="494694" y="0"/>
                  </a:lnTo>
                  <a:lnTo>
                    <a:pt x="494694" y="407935"/>
                  </a:lnTo>
                  <a:lnTo>
                    <a:pt x="0" y="407935"/>
                  </a:lnTo>
                  <a:close/>
                </a:path>
              </a:pathLst>
            </a:custGeom>
            <a:solidFill>
              <a:schemeClr val="accent1">
                <a:lumMod val="50000"/>
              </a:schemeClr>
            </a:solidFill>
            <a:ln w="5065" cap="flat">
              <a:noFill/>
              <a:prstDash val="solid"/>
              <a:miter/>
            </a:ln>
          </p:spPr>
          <p:txBody>
            <a:bodyPr rtlCol="0" anchor="ctr"/>
            <a:lstStyle/>
            <a:p>
              <a:pPr algn="l" rtl="0"/>
              <a:endParaRPr lang="en-US" dirty="0"/>
            </a:p>
          </p:txBody>
        </p:sp>
        <p:sp>
          <p:nvSpPr>
            <p:cNvPr id="412" name="Freeform: Shape 411">
              <a:extLst>
                <a:ext uri="{FF2B5EF4-FFF2-40B4-BE49-F238E27FC236}">
                  <a16:creationId xmlns:a16="http://schemas.microsoft.com/office/drawing/2014/main" id="{5AA137F5-1896-4CB7-BFC3-EB2A30524F89}"/>
                </a:ext>
              </a:extLst>
            </p:cNvPr>
            <p:cNvSpPr/>
            <p:nvPr/>
          </p:nvSpPr>
          <p:spPr>
            <a:xfrm>
              <a:off x="-1726807" y="3242619"/>
              <a:ext cx="78392" cy="37827"/>
            </a:xfrm>
            <a:custGeom>
              <a:avLst/>
              <a:gdLst>
                <a:gd name="connsiteX0" fmla="*/ 0 w 78392"/>
                <a:gd name="connsiteY0" fmla="*/ 37827 h 37827"/>
                <a:gd name="connsiteX1" fmla="*/ 78392 w 78392"/>
                <a:gd name="connsiteY1" fmla="*/ 37827 h 37827"/>
                <a:gd name="connsiteX2" fmla="*/ 71496 w 78392"/>
                <a:gd name="connsiteY2" fmla="*/ 15770 h 37827"/>
                <a:gd name="connsiteX3" fmla="*/ 78392 w 78392"/>
                <a:gd name="connsiteY3" fmla="*/ 0 h 37827"/>
                <a:gd name="connsiteX4" fmla="*/ 0 w 78392"/>
                <a:gd name="connsiteY4" fmla="*/ 0 h 37827"/>
                <a:gd name="connsiteX5" fmla="*/ 0 w 78392"/>
                <a:gd name="connsiteY5" fmla="*/ 37827 h 3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92" h="37827">
                  <a:moveTo>
                    <a:pt x="0" y="37827"/>
                  </a:moveTo>
                  <a:lnTo>
                    <a:pt x="78392" y="37827"/>
                  </a:lnTo>
                  <a:lnTo>
                    <a:pt x="71496" y="15770"/>
                  </a:lnTo>
                  <a:lnTo>
                    <a:pt x="78392" y="0"/>
                  </a:lnTo>
                  <a:lnTo>
                    <a:pt x="0" y="0"/>
                  </a:lnTo>
                  <a:lnTo>
                    <a:pt x="0" y="37827"/>
                  </a:lnTo>
                  <a:close/>
                </a:path>
              </a:pathLst>
            </a:custGeom>
            <a:solidFill>
              <a:schemeClr val="bg2"/>
            </a:solidFill>
            <a:ln w="5065" cap="flat">
              <a:noFill/>
              <a:prstDash val="solid"/>
              <a:miter/>
            </a:ln>
          </p:spPr>
          <p:txBody>
            <a:bodyPr rtlCol="0" anchor="ctr"/>
            <a:lstStyle/>
            <a:p>
              <a:pPr algn="l" rtl="0"/>
              <a:endParaRPr lang="en-US" dirty="0"/>
            </a:p>
          </p:txBody>
        </p:sp>
        <p:sp>
          <p:nvSpPr>
            <p:cNvPr id="413" name="Freeform: Shape 412">
              <a:extLst>
                <a:ext uri="{FF2B5EF4-FFF2-40B4-BE49-F238E27FC236}">
                  <a16:creationId xmlns:a16="http://schemas.microsoft.com/office/drawing/2014/main" id="{1C82D9C0-BE29-4355-AB79-E5F2FC15789C}"/>
                </a:ext>
              </a:extLst>
            </p:cNvPr>
            <p:cNvSpPr/>
            <p:nvPr/>
          </p:nvSpPr>
          <p:spPr>
            <a:xfrm>
              <a:off x="-1479764" y="3064435"/>
              <a:ext cx="78392" cy="37776"/>
            </a:xfrm>
            <a:custGeom>
              <a:avLst/>
              <a:gdLst>
                <a:gd name="connsiteX0" fmla="*/ 0 w 78392"/>
                <a:gd name="connsiteY0" fmla="*/ 37776 h 37776"/>
                <a:gd name="connsiteX1" fmla="*/ 78392 w 78392"/>
                <a:gd name="connsiteY1" fmla="*/ 37776 h 37776"/>
                <a:gd name="connsiteX2" fmla="*/ 71496 w 78392"/>
                <a:gd name="connsiteY2" fmla="*/ 15719 h 37776"/>
                <a:gd name="connsiteX3" fmla="*/ 78392 w 78392"/>
                <a:gd name="connsiteY3" fmla="*/ 0 h 37776"/>
                <a:gd name="connsiteX4" fmla="*/ 0 w 78392"/>
                <a:gd name="connsiteY4" fmla="*/ 0 h 37776"/>
                <a:gd name="connsiteX5" fmla="*/ 0 w 78392"/>
                <a:gd name="connsiteY5" fmla="*/ 37776 h 3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92" h="37776">
                  <a:moveTo>
                    <a:pt x="0" y="37776"/>
                  </a:moveTo>
                  <a:lnTo>
                    <a:pt x="78392" y="37776"/>
                  </a:lnTo>
                  <a:lnTo>
                    <a:pt x="71496" y="15719"/>
                  </a:lnTo>
                  <a:lnTo>
                    <a:pt x="78392" y="0"/>
                  </a:lnTo>
                  <a:lnTo>
                    <a:pt x="0" y="0"/>
                  </a:lnTo>
                  <a:lnTo>
                    <a:pt x="0" y="37776"/>
                  </a:lnTo>
                  <a:close/>
                </a:path>
              </a:pathLst>
            </a:custGeom>
            <a:solidFill>
              <a:schemeClr val="bg1">
                <a:lumMod val="75000"/>
              </a:schemeClr>
            </a:solidFill>
            <a:ln w="5065" cap="flat">
              <a:noFill/>
              <a:prstDash val="solid"/>
              <a:miter/>
            </a:ln>
          </p:spPr>
          <p:txBody>
            <a:bodyPr rtlCol="0" anchor="ctr"/>
            <a:lstStyle/>
            <a:p>
              <a:pPr algn="l" rtl="0"/>
              <a:endParaRPr lang="en-US" dirty="0"/>
            </a:p>
          </p:txBody>
        </p:sp>
        <p:sp>
          <p:nvSpPr>
            <p:cNvPr id="414" name="Freeform: Shape 413">
              <a:extLst>
                <a:ext uri="{FF2B5EF4-FFF2-40B4-BE49-F238E27FC236}">
                  <a16:creationId xmlns:a16="http://schemas.microsoft.com/office/drawing/2014/main" id="{7BAE08DA-1C4C-41F5-B4FA-3461346D8903}"/>
                </a:ext>
              </a:extLst>
            </p:cNvPr>
            <p:cNvSpPr/>
            <p:nvPr/>
          </p:nvSpPr>
          <p:spPr>
            <a:xfrm>
              <a:off x="-1558157" y="3064435"/>
              <a:ext cx="78392" cy="37776"/>
            </a:xfrm>
            <a:custGeom>
              <a:avLst/>
              <a:gdLst>
                <a:gd name="connsiteX0" fmla="*/ 78392 w 78392"/>
                <a:gd name="connsiteY0" fmla="*/ 0 h 37776"/>
                <a:gd name="connsiteX1" fmla="*/ 0 w 78392"/>
                <a:gd name="connsiteY1" fmla="*/ 0 h 37776"/>
                <a:gd name="connsiteX2" fmla="*/ 6896 w 78392"/>
                <a:gd name="connsiteY2" fmla="*/ 22057 h 37776"/>
                <a:gd name="connsiteX3" fmla="*/ 0 w 78392"/>
                <a:gd name="connsiteY3" fmla="*/ 37776 h 37776"/>
                <a:gd name="connsiteX4" fmla="*/ 78392 w 78392"/>
                <a:gd name="connsiteY4" fmla="*/ 37776 h 37776"/>
                <a:gd name="connsiteX5" fmla="*/ 78392 w 78392"/>
                <a:gd name="connsiteY5" fmla="*/ 0 h 3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92" h="37776">
                  <a:moveTo>
                    <a:pt x="78392" y="0"/>
                  </a:moveTo>
                  <a:lnTo>
                    <a:pt x="0" y="0"/>
                  </a:lnTo>
                  <a:lnTo>
                    <a:pt x="6896" y="22057"/>
                  </a:lnTo>
                  <a:lnTo>
                    <a:pt x="0" y="37776"/>
                  </a:lnTo>
                  <a:lnTo>
                    <a:pt x="78392" y="37776"/>
                  </a:lnTo>
                  <a:lnTo>
                    <a:pt x="78392" y="0"/>
                  </a:lnTo>
                  <a:close/>
                </a:path>
              </a:pathLst>
            </a:custGeom>
            <a:solidFill>
              <a:schemeClr val="bg2"/>
            </a:solidFill>
            <a:ln w="5065" cap="flat">
              <a:noFill/>
              <a:prstDash val="solid"/>
              <a:miter/>
            </a:ln>
          </p:spPr>
          <p:txBody>
            <a:bodyPr rtlCol="0" anchor="ctr"/>
            <a:lstStyle/>
            <a:p>
              <a:pPr algn="l" rtl="0"/>
              <a:endParaRPr lang="en-US" dirty="0"/>
            </a:p>
          </p:txBody>
        </p:sp>
        <p:sp>
          <p:nvSpPr>
            <p:cNvPr id="415" name="Freeform: Shape 414">
              <a:extLst>
                <a:ext uri="{FF2B5EF4-FFF2-40B4-BE49-F238E27FC236}">
                  <a16:creationId xmlns:a16="http://schemas.microsoft.com/office/drawing/2014/main" id="{13BB5AAC-7E4B-48BF-AD63-B9CADCA1AD5B}"/>
                </a:ext>
              </a:extLst>
            </p:cNvPr>
            <p:cNvSpPr/>
            <p:nvPr/>
          </p:nvSpPr>
          <p:spPr>
            <a:xfrm>
              <a:off x="-1063412" y="3284857"/>
              <a:ext cx="78392" cy="37827"/>
            </a:xfrm>
            <a:custGeom>
              <a:avLst/>
              <a:gdLst>
                <a:gd name="connsiteX0" fmla="*/ 78393 w 78392"/>
                <a:gd name="connsiteY0" fmla="*/ 0 h 37827"/>
                <a:gd name="connsiteX1" fmla="*/ 0 w 78392"/>
                <a:gd name="connsiteY1" fmla="*/ 0 h 37827"/>
                <a:gd name="connsiteX2" fmla="*/ 6896 w 78392"/>
                <a:gd name="connsiteY2" fmla="*/ 22057 h 37827"/>
                <a:gd name="connsiteX3" fmla="*/ 0 w 78392"/>
                <a:gd name="connsiteY3" fmla="*/ 37827 h 37827"/>
                <a:gd name="connsiteX4" fmla="*/ 78393 w 78392"/>
                <a:gd name="connsiteY4" fmla="*/ 37827 h 37827"/>
                <a:gd name="connsiteX5" fmla="*/ 78393 w 78392"/>
                <a:gd name="connsiteY5" fmla="*/ 0 h 3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92" h="37827">
                  <a:moveTo>
                    <a:pt x="78393" y="0"/>
                  </a:moveTo>
                  <a:lnTo>
                    <a:pt x="0" y="0"/>
                  </a:lnTo>
                  <a:lnTo>
                    <a:pt x="6896" y="22057"/>
                  </a:lnTo>
                  <a:lnTo>
                    <a:pt x="0" y="37827"/>
                  </a:lnTo>
                  <a:lnTo>
                    <a:pt x="78393" y="37827"/>
                  </a:lnTo>
                  <a:lnTo>
                    <a:pt x="78393" y="0"/>
                  </a:lnTo>
                  <a:close/>
                </a:path>
              </a:pathLst>
            </a:custGeom>
            <a:solidFill>
              <a:schemeClr val="bg1">
                <a:lumMod val="75000"/>
              </a:schemeClr>
            </a:solidFill>
            <a:ln w="5065" cap="flat">
              <a:noFill/>
              <a:prstDash val="solid"/>
              <a:miter/>
            </a:ln>
          </p:spPr>
          <p:txBody>
            <a:bodyPr rtlCol="0" anchor="ctr"/>
            <a:lstStyle/>
            <a:p>
              <a:pPr algn="l" rtl="0"/>
              <a:endParaRPr lang="en-US" dirty="0"/>
            </a:p>
          </p:txBody>
        </p:sp>
        <p:sp>
          <p:nvSpPr>
            <p:cNvPr id="416" name="Freeform: Shape 415">
              <a:extLst>
                <a:ext uri="{FF2B5EF4-FFF2-40B4-BE49-F238E27FC236}">
                  <a16:creationId xmlns:a16="http://schemas.microsoft.com/office/drawing/2014/main" id="{CC5C7886-4431-4330-928B-8518F4A4FFB6}"/>
                </a:ext>
              </a:extLst>
            </p:cNvPr>
            <p:cNvSpPr/>
            <p:nvPr/>
          </p:nvSpPr>
          <p:spPr>
            <a:xfrm>
              <a:off x="-1159805" y="3003638"/>
              <a:ext cx="142384" cy="55371"/>
            </a:xfrm>
            <a:custGeom>
              <a:avLst/>
              <a:gdLst>
                <a:gd name="connsiteX0" fmla="*/ 0 w 142384"/>
                <a:gd name="connsiteY0" fmla="*/ 0 h 55371"/>
                <a:gd name="connsiteX1" fmla="*/ 142384 w 142384"/>
                <a:gd name="connsiteY1" fmla="*/ 0 h 55371"/>
                <a:gd name="connsiteX2" fmla="*/ 142384 w 142384"/>
                <a:gd name="connsiteY2" fmla="*/ 55372 h 55371"/>
                <a:gd name="connsiteX3" fmla="*/ 0 w 142384"/>
                <a:gd name="connsiteY3" fmla="*/ 55372 h 55371"/>
              </a:gdLst>
              <a:ahLst/>
              <a:cxnLst>
                <a:cxn ang="0">
                  <a:pos x="connsiteX0" y="connsiteY0"/>
                </a:cxn>
                <a:cxn ang="0">
                  <a:pos x="connsiteX1" y="connsiteY1"/>
                </a:cxn>
                <a:cxn ang="0">
                  <a:pos x="connsiteX2" y="connsiteY2"/>
                </a:cxn>
                <a:cxn ang="0">
                  <a:pos x="connsiteX3" y="connsiteY3"/>
                </a:cxn>
              </a:cxnLst>
              <a:rect l="l" t="t" r="r" b="b"/>
              <a:pathLst>
                <a:path w="142384" h="55371">
                  <a:moveTo>
                    <a:pt x="0" y="0"/>
                  </a:moveTo>
                  <a:lnTo>
                    <a:pt x="142384" y="0"/>
                  </a:lnTo>
                  <a:lnTo>
                    <a:pt x="142384" y="55372"/>
                  </a:lnTo>
                  <a:lnTo>
                    <a:pt x="0" y="55372"/>
                  </a:lnTo>
                  <a:close/>
                </a:path>
              </a:pathLst>
            </a:custGeom>
            <a:solidFill>
              <a:srgbClr val="FFFFFF"/>
            </a:solidFill>
            <a:ln w="5065" cap="flat">
              <a:noFill/>
              <a:prstDash val="solid"/>
              <a:miter/>
            </a:ln>
          </p:spPr>
          <p:txBody>
            <a:bodyPr rtlCol="0" anchor="ctr"/>
            <a:lstStyle/>
            <a:p>
              <a:pPr algn="l" rtl="0"/>
              <a:endParaRPr lang="en-US" dirty="0"/>
            </a:p>
          </p:txBody>
        </p:sp>
      </p:grpSp>
      <p:grpSp>
        <p:nvGrpSpPr>
          <p:cNvPr id="417" name="Group 416">
            <a:extLst>
              <a:ext uri="{FF2B5EF4-FFF2-40B4-BE49-F238E27FC236}">
                <a16:creationId xmlns:a16="http://schemas.microsoft.com/office/drawing/2014/main" id="{C691B89F-57A8-41E9-8B8B-6A81597A2383}"/>
              </a:ext>
            </a:extLst>
          </p:cNvPr>
          <p:cNvGrpSpPr/>
          <p:nvPr/>
        </p:nvGrpSpPr>
        <p:grpSpPr>
          <a:xfrm>
            <a:off x="554736" y="3165267"/>
            <a:ext cx="459479" cy="383107"/>
            <a:chOff x="6305550" y="1385328"/>
            <a:chExt cx="670868" cy="559360"/>
          </a:xfrm>
        </p:grpSpPr>
        <p:sp>
          <p:nvSpPr>
            <p:cNvPr id="418" name="Oval 52">
              <a:extLst>
                <a:ext uri="{FF2B5EF4-FFF2-40B4-BE49-F238E27FC236}">
                  <a16:creationId xmlns:a16="http://schemas.microsoft.com/office/drawing/2014/main" id="{F19B18B6-323D-46F0-AB9E-9C4A0C7E813C}"/>
                </a:ext>
              </a:extLst>
            </p:cNvPr>
            <p:cNvSpPr>
              <a:spLocks noChangeArrowheads="1"/>
            </p:cNvSpPr>
            <p:nvPr/>
          </p:nvSpPr>
          <p:spPr bwMode="auto">
            <a:xfrm>
              <a:off x="6599238" y="1627188"/>
              <a:ext cx="60325" cy="60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a:endParaRPr lang="en-US" dirty="0"/>
            </a:p>
          </p:txBody>
        </p:sp>
        <p:sp>
          <p:nvSpPr>
            <p:cNvPr id="419" name="Freeform 53">
              <a:extLst>
                <a:ext uri="{FF2B5EF4-FFF2-40B4-BE49-F238E27FC236}">
                  <a16:creationId xmlns:a16="http://schemas.microsoft.com/office/drawing/2014/main" id="{733247CC-087B-4BF1-8345-3F4ADD42E28A}"/>
                </a:ext>
              </a:extLst>
            </p:cNvPr>
            <p:cNvSpPr>
              <a:spLocks/>
            </p:cNvSpPr>
            <p:nvPr/>
          </p:nvSpPr>
          <p:spPr bwMode="auto">
            <a:xfrm>
              <a:off x="6616700" y="1627188"/>
              <a:ext cx="36513" cy="57150"/>
            </a:xfrm>
            <a:custGeom>
              <a:avLst/>
              <a:gdLst>
                <a:gd name="T0" fmla="*/ 0 w 148"/>
                <a:gd name="T1" fmla="*/ 12 h 235"/>
                <a:gd name="T2" fmla="*/ 105 w 148"/>
                <a:gd name="T3" fmla="*/ 235 h 235"/>
                <a:gd name="T4" fmla="*/ 148 w 148"/>
                <a:gd name="T5" fmla="*/ 202 h 235"/>
                <a:gd name="T6" fmla="*/ 53 w 148"/>
                <a:gd name="T7" fmla="*/ 0 h 235"/>
                <a:gd name="T8" fmla="*/ 0 w 148"/>
                <a:gd name="T9" fmla="*/ 12 h 235"/>
              </a:gdLst>
              <a:ahLst/>
              <a:cxnLst>
                <a:cxn ang="0">
                  <a:pos x="T0" y="T1"/>
                </a:cxn>
                <a:cxn ang="0">
                  <a:pos x="T2" y="T3"/>
                </a:cxn>
                <a:cxn ang="0">
                  <a:pos x="T4" y="T5"/>
                </a:cxn>
                <a:cxn ang="0">
                  <a:pos x="T6" y="T7"/>
                </a:cxn>
                <a:cxn ang="0">
                  <a:pos x="T8" y="T9"/>
                </a:cxn>
              </a:cxnLst>
              <a:rect l="0" t="0" r="r" b="b"/>
              <a:pathLst>
                <a:path w="148" h="235">
                  <a:moveTo>
                    <a:pt x="0" y="12"/>
                  </a:moveTo>
                  <a:cubicBezTo>
                    <a:pt x="105" y="235"/>
                    <a:pt x="105" y="235"/>
                    <a:pt x="105" y="235"/>
                  </a:cubicBezTo>
                  <a:cubicBezTo>
                    <a:pt x="122" y="227"/>
                    <a:pt x="137" y="216"/>
                    <a:pt x="148" y="202"/>
                  </a:cubicBezTo>
                  <a:cubicBezTo>
                    <a:pt x="53" y="0"/>
                    <a:pt x="53" y="0"/>
                    <a:pt x="53" y="0"/>
                  </a:cubicBezTo>
                  <a:cubicBezTo>
                    <a:pt x="35" y="0"/>
                    <a:pt x="17" y="4"/>
                    <a:pt x="0" y="12"/>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a:endParaRPr lang="en-US" dirty="0"/>
            </a:p>
          </p:txBody>
        </p:sp>
        <p:sp>
          <p:nvSpPr>
            <p:cNvPr id="420" name="Freeform 54">
              <a:extLst>
                <a:ext uri="{FF2B5EF4-FFF2-40B4-BE49-F238E27FC236}">
                  <a16:creationId xmlns:a16="http://schemas.microsoft.com/office/drawing/2014/main" id="{34FE54E9-A0D8-435D-983E-1832544FCD2B}"/>
                </a:ext>
              </a:extLst>
            </p:cNvPr>
            <p:cNvSpPr>
              <a:spLocks/>
            </p:cNvSpPr>
            <p:nvPr/>
          </p:nvSpPr>
          <p:spPr bwMode="auto">
            <a:xfrm>
              <a:off x="6372225" y="1552575"/>
              <a:ext cx="301625" cy="273050"/>
            </a:xfrm>
            <a:custGeom>
              <a:avLst/>
              <a:gdLst>
                <a:gd name="T0" fmla="*/ 0 w 1249"/>
                <a:gd name="T1" fmla="*/ 643 h 1133"/>
                <a:gd name="T2" fmla="*/ 236 w 1249"/>
                <a:gd name="T3" fmla="*/ 1133 h 1133"/>
                <a:gd name="T4" fmla="*/ 1249 w 1249"/>
                <a:gd name="T5" fmla="*/ 888 h 1133"/>
                <a:gd name="T6" fmla="*/ 1036 w 1249"/>
                <a:gd name="T7" fmla="*/ 445 h 1133"/>
                <a:gd name="T8" fmla="*/ 821 w 1249"/>
                <a:gd name="T9" fmla="*/ 0 h 1133"/>
                <a:gd name="T10" fmla="*/ 0 w 1249"/>
                <a:gd name="T11" fmla="*/ 643 h 1133"/>
              </a:gdLst>
              <a:ahLst/>
              <a:cxnLst>
                <a:cxn ang="0">
                  <a:pos x="T0" y="T1"/>
                </a:cxn>
                <a:cxn ang="0">
                  <a:pos x="T2" y="T3"/>
                </a:cxn>
                <a:cxn ang="0">
                  <a:pos x="T4" y="T5"/>
                </a:cxn>
                <a:cxn ang="0">
                  <a:pos x="T6" y="T7"/>
                </a:cxn>
                <a:cxn ang="0">
                  <a:pos x="T8" y="T9"/>
                </a:cxn>
                <a:cxn ang="0">
                  <a:pos x="T10" y="T11"/>
                </a:cxn>
              </a:cxnLst>
              <a:rect l="0" t="0" r="r" b="b"/>
              <a:pathLst>
                <a:path w="1249" h="1133">
                  <a:moveTo>
                    <a:pt x="0" y="643"/>
                  </a:moveTo>
                  <a:cubicBezTo>
                    <a:pt x="236" y="1133"/>
                    <a:pt x="236" y="1133"/>
                    <a:pt x="236" y="1133"/>
                  </a:cubicBezTo>
                  <a:cubicBezTo>
                    <a:pt x="837" y="864"/>
                    <a:pt x="1249" y="888"/>
                    <a:pt x="1249" y="888"/>
                  </a:cubicBezTo>
                  <a:cubicBezTo>
                    <a:pt x="1036" y="445"/>
                    <a:pt x="1036" y="445"/>
                    <a:pt x="1036" y="445"/>
                  </a:cubicBezTo>
                  <a:cubicBezTo>
                    <a:pt x="821" y="0"/>
                    <a:pt x="821" y="0"/>
                    <a:pt x="821" y="0"/>
                  </a:cubicBezTo>
                  <a:cubicBezTo>
                    <a:pt x="821" y="0"/>
                    <a:pt x="584" y="340"/>
                    <a:pt x="0" y="643"/>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21" name="Freeform 55">
              <a:extLst>
                <a:ext uri="{FF2B5EF4-FFF2-40B4-BE49-F238E27FC236}">
                  <a16:creationId xmlns:a16="http://schemas.microsoft.com/office/drawing/2014/main" id="{13590F54-6E72-4598-A4E7-8DBF37063265}"/>
                </a:ext>
              </a:extLst>
            </p:cNvPr>
            <p:cNvSpPr>
              <a:spLocks/>
            </p:cNvSpPr>
            <p:nvPr/>
          </p:nvSpPr>
          <p:spPr bwMode="auto">
            <a:xfrm>
              <a:off x="6384925" y="1828800"/>
              <a:ext cx="82550" cy="115888"/>
            </a:xfrm>
            <a:custGeom>
              <a:avLst/>
              <a:gdLst>
                <a:gd name="T0" fmla="*/ 335 w 346"/>
                <a:gd name="T1" fmla="*/ 371 h 480"/>
                <a:gd name="T2" fmla="*/ 259 w 346"/>
                <a:gd name="T3" fmla="*/ 215 h 480"/>
                <a:gd name="T4" fmla="*/ 261 w 346"/>
                <a:gd name="T5" fmla="*/ 215 h 480"/>
                <a:gd name="T6" fmla="*/ 272 w 346"/>
                <a:gd name="T7" fmla="*/ 183 h 480"/>
                <a:gd name="T8" fmla="*/ 219 w 346"/>
                <a:gd name="T9" fmla="*/ 72 h 480"/>
                <a:gd name="T10" fmla="*/ 187 w 346"/>
                <a:gd name="T11" fmla="*/ 61 h 480"/>
                <a:gd name="T12" fmla="*/ 185 w 346"/>
                <a:gd name="T13" fmla="*/ 62 h 480"/>
                <a:gd name="T14" fmla="*/ 156 w 346"/>
                <a:gd name="T15" fmla="*/ 0 h 480"/>
                <a:gd name="T16" fmla="*/ 0 w 346"/>
                <a:gd name="T17" fmla="*/ 75 h 480"/>
                <a:gd name="T18" fmla="*/ 179 w 346"/>
                <a:gd name="T19" fmla="*/ 446 h 480"/>
                <a:gd name="T20" fmla="*/ 242 w 346"/>
                <a:gd name="T21" fmla="*/ 468 h 480"/>
                <a:gd name="T22" fmla="*/ 312 w 346"/>
                <a:gd name="T23" fmla="*/ 434 h 480"/>
                <a:gd name="T24" fmla="*/ 335 w 346"/>
                <a:gd name="T25" fmla="*/ 371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6" h="480">
                  <a:moveTo>
                    <a:pt x="335" y="371"/>
                  </a:moveTo>
                  <a:cubicBezTo>
                    <a:pt x="259" y="215"/>
                    <a:pt x="259" y="215"/>
                    <a:pt x="259" y="215"/>
                  </a:cubicBezTo>
                  <a:cubicBezTo>
                    <a:pt x="260" y="215"/>
                    <a:pt x="261" y="215"/>
                    <a:pt x="261" y="215"/>
                  </a:cubicBezTo>
                  <a:cubicBezTo>
                    <a:pt x="273" y="209"/>
                    <a:pt x="278" y="195"/>
                    <a:pt x="272" y="183"/>
                  </a:cubicBezTo>
                  <a:cubicBezTo>
                    <a:pt x="219" y="72"/>
                    <a:pt x="219" y="72"/>
                    <a:pt x="219" y="72"/>
                  </a:cubicBezTo>
                  <a:cubicBezTo>
                    <a:pt x="213" y="60"/>
                    <a:pt x="199" y="55"/>
                    <a:pt x="187" y="61"/>
                  </a:cubicBezTo>
                  <a:cubicBezTo>
                    <a:pt x="186" y="61"/>
                    <a:pt x="186" y="61"/>
                    <a:pt x="185" y="62"/>
                  </a:cubicBezTo>
                  <a:cubicBezTo>
                    <a:pt x="156" y="0"/>
                    <a:pt x="156" y="0"/>
                    <a:pt x="156" y="0"/>
                  </a:cubicBezTo>
                  <a:cubicBezTo>
                    <a:pt x="0" y="75"/>
                    <a:pt x="0" y="75"/>
                    <a:pt x="0" y="75"/>
                  </a:cubicBezTo>
                  <a:cubicBezTo>
                    <a:pt x="179" y="446"/>
                    <a:pt x="179" y="446"/>
                    <a:pt x="179" y="446"/>
                  </a:cubicBezTo>
                  <a:cubicBezTo>
                    <a:pt x="190" y="470"/>
                    <a:pt x="219" y="480"/>
                    <a:pt x="242" y="468"/>
                  </a:cubicBezTo>
                  <a:cubicBezTo>
                    <a:pt x="312" y="434"/>
                    <a:pt x="312" y="434"/>
                    <a:pt x="312" y="434"/>
                  </a:cubicBezTo>
                  <a:cubicBezTo>
                    <a:pt x="336" y="423"/>
                    <a:pt x="346" y="395"/>
                    <a:pt x="335" y="37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22" name="Freeform 56">
              <a:extLst>
                <a:ext uri="{FF2B5EF4-FFF2-40B4-BE49-F238E27FC236}">
                  <a16:creationId xmlns:a16="http://schemas.microsoft.com/office/drawing/2014/main" id="{0E3BE26D-FFE7-4EE8-B08E-2957324D290D}"/>
                </a:ext>
              </a:extLst>
            </p:cNvPr>
            <p:cNvSpPr>
              <a:spLocks/>
            </p:cNvSpPr>
            <p:nvPr/>
          </p:nvSpPr>
          <p:spPr bwMode="auto">
            <a:xfrm>
              <a:off x="6565900" y="1536700"/>
              <a:ext cx="127000" cy="242888"/>
            </a:xfrm>
            <a:custGeom>
              <a:avLst/>
              <a:gdLst>
                <a:gd name="T0" fmla="*/ 499 w 523"/>
                <a:gd name="T1" fmla="*/ 996 h 1004"/>
                <a:gd name="T2" fmla="*/ 499 w 523"/>
                <a:gd name="T3" fmla="*/ 996 h 1004"/>
                <a:gd name="T4" fmla="*/ 455 w 523"/>
                <a:gd name="T5" fmla="*/ 980 h 1004"/>
                <a:gd name="T6" fmla="*/ 8 w 523"/>
                <a:gd name="T7" fmla="*/ 52 h 1004"/>
                <a:gd name="T8" fmla="*/ 24 w 523"/>
                <a:gd name="T9" fmla="*/ 8 h 1004"/>
                <a:gd name="T10" fmla="*/ 68 w 523"/>
                <a:gd name="T11" fmla="*/ 23 h 1004"/>
                <a:gd name="T12" fmla="*/ 515 w 523"/>
                <a:gd name="T13" fmla="*/ 951 h 1004"/>
                <a:gd name="T14" fmla="*/ 499 w 523"/>
                <a:gd name="T15" fmla="*/ 996 h 10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3" h="1004">
                  <a:moveTo>
                    <a:pt x="499" y="996"/>
                  </a:moveTo>
                  <a:cubicBezTo>
                    <a:pt x="499" y="996"/>
                    <a:pt x="499" y="996"/>
                    <a:pt x="499" y="996"/>
                  </a:cubicBezTo>
                  <a:cubicBezTo>
                    <a:pt x="483" y="1004"/>
                    <a:pt x="463" y="997"/>
                    <a:pt x="455" y="980"/>
                  </a:cubicBezTo>
                  <a:cubicBezTo>
                    <a:pt x="8" y="52"/>
                    <a:pt x="8" y="52"/>
                    <a:pt x="8" y="52"/>
                  </a:cubicBezTo>
                  <a:cubicBezTo>
                    <a:pt x="0" y="36"/>
                    <a:pt x="7" y="16"/>
                    <a:pt x="24" y="8"/>
                  </a:cubicBezTo>
                  <a:cubicBezTo>
                    <a:pt x="40" y="0"/>
                    <a:pt x="60" y="7"/>
                    <a:pt x="68" y="23"/>
                  </a:cubicBezTo>
                  <a:cubicBezTo>
                    <a:pt x="515" y="951"/>
                    <a:pt x="515" y="951"/>
                    <a:pt x="515" y="951"/>
                  </a:cubicBezTo>
                  <a:cubicBezTo>
                    <a:pt x="523" y="968"/>
                    <a:pt x="516" y="988"/>
                    <a:pt x="499" y="996"/>
                  </a:cubicBezTo>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23" name="Rectangle 57">
              <a:extLst>
                <a:ext uri="{FF2B5EF4-FFF2-40B4-BE49-F238E27FC236}">
                  <a16:creationId xmlns:a16="http://schemas.microsoft.com/office/drawing/2014/main" id="{1CBE3A01-618E-42FF-98EC-10A765315692}"/>
                </a:ext>
              </a:extLst>
            </p:cNvPr>
            <p:cNvSpPr>
              <a:spLocks noChangeArrowheads="1"/>
            </p:cNvSpPr>
            <p:nvPr/>
          </p:nvSpPr>
          <p:spPr bwMode="auto">
            <a:xfrm>
              <a:off x="6654800" y="1643063"/>
              <a:ext cx="1588" cy="1588"/>
            </a:xfrm>
            <a:prstGeom prst="rect">
              <a:avLst/>
            </a:prstGeom>
            <a:solidFill>
              <a:srgbClr val="F4EE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l" rtl="0"/>
              <a:endParaRPr lang="en-US" dirty="0"/>
            </a:p>
          </p:txBody>
        </p:sp>
        <p:sp>
          <p:nvSpPr>
            <p:cNvPr id="424" name="Freeform 58">
              <a:extLst>
                <a:ext uri="{FF2B5EF4-FFF2-40B4-BE49-F238E27FC236}">
                  <a16:creationId xmlns:a16="http://schemas.microsoft.com/office/drawing/2014/main" id="{3EA6620A-C5E6-4E01-B82C-AA184531A551}"/>
                </a:ext>
              </a:extLst>
            </p:cNvPr>
            <p:cNvSpPr>
              <a:spLocks/>
            </p:cNvSpPr>
            <p:nvPr/>
          </p:nvSpPr>
          <p:spPr bwMode="auto">
            <a:xfrm>
              <a:off x="6305550" y="1771650"/>
              <a:ext cx="41275" cy="60325"/>
            </a:xfrm>
            <a:custGeom>
              <a:avLst/>
              <a:gdLst>
                <a:gd name="T0" fmla="*/ 58 w 169"/>
                <a:gd name="T1" fmla="*/ 0 h 253"/>
                <a:gd name="T2" fmla="*/ 31 w 169"/>
                <a:gd name="T3" fmla="*/ 155 h 253"/>
                <a:gd name="T4" fmla="*/ 169 w 169"/>
                <a:gd name="T5" fmla="*/ 231 h 253"/>
                <a:gd name="T6" fmla="*/ 58 w 169"/>
                <a:gd name="T7" fmla="*/ 0 h 253"/>
              </a:gdLst>
              <a:ahLst/>
              <a:cxnLst>
                <a:cxn ang="0">
                  <a:pos x="T0" y="T1"/>
                </a:cxn>
                <a:cxn ang="0">
                  <a:pos x="T2" y="T3"/>
                </a:cxn>
                <a:cxn ang="0">
                  <a:pos x="T4" y="T5"/>
                </a:cxn>
                <a:cxn ang="0">
                  <a:pos x="T6" y="T7"/>
                </a:cxn>
              </a:cxnLst>
              <a:rect l="0" t="0" r="r" b="b"/>
              <a:pathLst>
                <a:path w="169" h="253">
                  <a:moveTo>
                    <a:pt x="58" y="0"/>
                  </a:moveTo>
                  <a:cubicBezTo>
                    <a:pt x="13" y="22"/>
                    <a:pt x="0" y="91"/>
                    <a:pt x="31" y="155"/>
                  </a:cubicBezTo>
                  <a:cubicBezTo>
                    <a:pt x="62" y="219"/>
                    <a:pt x="123" y="253"/>
                    <a:pt x="169" y="231"/>
                  </a:cubicBezTo>
                  <a:cubicBezTo>
                    <a:pt x="58" y="0"/>
                    <a:pt x="58" y="0"/>
                    <a:pt x="58"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25" name="Freeform 59">
              <a:extLst>
                <a:ext uri="{FF2B5EF4-FFF2-40B4-BE49-F238E27FC236}">
                  <a16:creationId xmlns:a16="http://schemas.microsoft.com/office/drawing/2014/main" id="{E59E3C1A-54C6-4264-8FF3-4C86662973C2}"/>
                </a:ext>
              </a:extLst>
            </p:cNvPr>
            <p:cNvSpPr>
              <a:spLocks/>
            </p:cNvSpPr>
            <p:nvPr/>
          </p:nvSpPr>
          <p:spPr bwMode="auto">
            <a:xfrm>
              <a:off x="6307137" y="1703388"/>
              <a:ext cx="123825" cy="153988"/>
            </a:xfrm>
            <a:custGeom>
              <a:avLst/>
              <a:gdLst>
                <a:gd name="T0" fmla="*/ 506 w 508"/>
                <a:gd name="T1" fmla="*/ 517 h 638"/>
                <a:gd name="T2" fmla="*/ 501 w 508"/>
                <a:gd name="T3" fmla="*/ 530 h 638"/>
                <a:gd name="T4" fmla="*/ 329 w 508"/>
                <a:gd name="T5" fmla="*/ 612 h 638"/>
                <a:gd name="T6" fmla="*/ 181 w 508"/>
                <a:gd name="T7" fmla="*/ 554 h 638"/>
                <a:gd name="T8" fmla="*/ 28 w 508"/>
                <a:gd name="T9" fmla="*/ 237 h 638"/>
                <a:gd name="T10" fmla="*/ 75 w 508"/>
                <a:gd name="T11" fmla="*/ 85 h 638"/>
                <a:gd name="T12" fmla="*/ 247 w 508"/>
                <a:gd name="T13" fmla="*/ 2 h 638"/>
                <a:gd name="T14" fmla="*/ 260 w 508"/>
                <a:gd name="T15" fmla="*/ 7 h 638"/>
                <a:gd name="T16" fmla="*/ 506 w 508"/>
                <a:gd name="T17" fmla="*/ 517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38">
                  <a:moveTo>
                    <a:pt x="506" y="517"/>
                  </a:moveTo>
                  <a:cubicBezTo>
                    <a:pt x="508" y="522"/>
                    <a:pt x="506" y="527"/>
                    <a:pt x="501" y="530"/>
                  </a:cubicBezTo>
                  <a:cubicBezTo>
                    <a:pt x="329" y="612"/>
                    <a:pt x="329" y="612"/>
                    <a:pt x="329" y="612"/>
                  </a:cubicBezTo>
                  <a:cubicBezTo>
                    <a:pt x="275" y="638"/>
                    <a:pt x="209" y="612"/>
                    <a:pt x="181" y="554"/>
                  </a:cubicBezTo>
                  <a:cubicBezTo>
                    <a:pt x="28" y="237"/>
                    <a:pt x="28" y="237"/>
                    <a:pt x="28" y="237"/>
                  </a:cubicBezTo>
                  <a:cubicBezTo>
                    <a:pt x="0" y="179"/>
                    <a:pt x="21" y="111"/>
                    <a:pt x="75" y="85"/>
                  </a:cubicBezTo>
                  <a:cubicBezTo>
                    <a:pt x="247" y="2"/>
                    <a:pt x="247" y="2"/>
                    <a:pt x="247" y="2"/>
                  </a:cubicBezTo>
                  <a:cubicBezTo>
                    <a:pt x="252" y="0"/>
                    <a:pt x="257" y="2"/>
                    <a:pt x="260" y="7"/>
                  </a:cubicBezTo>
                  <a:cubicBezTo>
                    <a:pt x="506" y="517"/>
                    <a:pt x="506" y="517"/>
                    <a:pt x="506" y="517"/>
                  </a:cubicBezTo>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26" name="Freeform 60">
              <a:extLst>
                <a:ext uri="{FF2B5EF4-FFF2-40B4-BE49-F238E27FC236}">
                  <a16:creationId xmlns:a16="http://schemas.microsoft.com/office/drawing/2014/main" id="{496255F1-4A07-4E83-A84A-0AB5F9E9EAEB}"/>
                </a:ext>
              </a:extLst>
            </p:cNvPr>
            <p:cNvSpPr>
              <a:spLocks noEditPoints="1"/>
            </p:cNvSpPr>
            <p:nvPr/>
          </p:nvSpPr>
          <p:spPr bwMode="auto">
            <a:xfrm>
              <a:off x="6372225" y="1538288"/>
              <a:ext cx="238125" cy="171450"/>
            </a:xfrm>
            <a:custGeom>
              <a:avLst/>
              <a:gdLst>
                <a:gd name="T0" fmla="*/ 821 w 987"/>
                <a:gd name="T1" fmla="*/ 56 h 709"/>
                <a:gd name="T2" fmla="*/ 0 w 987"/>
                <a:gd name="T3" fmla="*/ 701 h 709"/>
                <a:gd name="T4" fmla="*/ 3 w 987"/>
                <a:gd name="T5" fmla="*/ 709 h 709"/>
                <a:gd name="T6" fmla="*/ 0 w 987"/>
                <a:gd name="T7" fmla="*/ 701 h 709"/>
                <a:gd name="T8" fmla="*/ 821 w 987"/>
                <a:gd name="T9" fmla="*/ 58 h 709"/>
                <a:gd name="T10" fmla="*/ 987 w 987"/>
                <a:gd name="T11" fmla="*/ 401 h 709"/>
                <a:gd name="T12" fmla="*/ 987 w 987"/>
                <a:gd name="T13" fmla="*/ 401 h 709"/>
                <a:gd name="T14" fmla="*/ 821 w 987"/>
                <a:gd name="T15" fmla="*/ 56 h 709"/>
                <a:gd name="T16" fmla="*/ 812 w 987"/>
                <a:gd name="T17" fmla="*/ 34 h 709"/>
                <a:gd name="T18" fmla="*/ 813 w 987"/>
                <a:gd name="T19" fmla="*/ 40 h 709"/>
                <a:gd name="T20" fmla="*/ 812 w 987"/>
                <a:gd name="T21" fmla="*/ 34 h 709"/>
                <a:gd name="T22" fmla="*/ 863 w 987"/>
                <a:gd name="T23" fmla="*/ 1 h 709"/>
                <a:gd name="T24" fmla="*/ 875 w 987"/>
                <a:gd name="T25" fmla="*/ 14 h 709"/>
                <a:gd name="T26" fmla="*/ 875 w 987"/>
                <a:gd name="T27" fmla="*/ 14 h 709"/>
                <a:gd name="T28" fmla="*/ 863 w 987"/>
                <a:gd name="T29" fmla="*/ 1 h 709"/>
                <a:gd name="T30" fmla="*/ 831 w 987"/>
                <a:gd name="T31" fmla="*/ 0 h 709"/>
                <a:gd name="T32" fmla="*/ 830 w 987"/>
                <a:gd name="T33" fmla="*/ 0 h 709"/>
                <a:gd name="T34" fmla="*/ 820 w 987"/>
                <a:gd name="T35" fmla="*/ 8 h 709"/>
                <a:gd name="T36" fmla="*/ 831 w 987"/>
                <a:gd name="T37" fmla="*/ 0 h 709"/>
                <a:gd name="T38" fmla="*/ 831 w 987"/>
                <a:gd name="T3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7" h="709">
                  <a:moveTo>
                    <a:pt x="821" y="56"/>
                  </a:moveTo>
                  <a:cubicBezTo>
                    <a:pt x="820" y="57"/>
                    <a:pt x="583" y="397"/>
                    <a:pt x="0" y="701"/>
                  </a:cubicBezTo>
                  <a:cubicBezTo>
                    <a:pt x="3" y="709"/>
                    <a:pt x="3" y="709"/>
                    <a:pt x="3" y="709"/>
                  </a:cubicBezTo>
                  <a:cubicBezTo>
                    <a:pt x="0" y="701"/>
                    <a:pt x="0" y="701"/>
                    <a:pt x="0" y="701"/>
                  </a:cubicBezTo>
                  <a:cubicBezTo>
                    <a:pt x="584" y="398"/>
                    <a:pt x="821" y="58"/>
                    <a:pt x="821" y="58"/>
                  </a:cubicBezTo>
                  <a:cubicBezTo>
                    <a:pt x="987" y="401"/>
                    <a:pt x="987" y="401"/>
                    <a:pt x="987" y="401"/>
                  </a:cubicBezTo>
                  <a:cubicBezTo>
                    <a:pt x="987" y="401"/>
                    <a:pt x="987" y="401"/>
                    <a:pt x="987" y="401"/>
                  </a:cubicBezTo>
                  <a:cubicBezTo>
                    <a:pt x="821" y="56"/>
                    <a:pt x="821" y="56"/>
                    <a:pt x="821" y="56"/>
                  </a:cubicBezTo>
                  <a:moveTo>
                    <a:pt x="812" y="34"/>
                  </a:moveTo>
                  <a:cubicBezTo>
                    <a:pt x="812" y="36"/>
                    <a:pt x="812" y="38"/>
                    <a:pt x="813" y="40"/>
                  </a:cubicBezTo>
                  <a:cubicBezTo>
                    <a:pt x="812" y="38"/>
                    <a:pt x="812" y="36"/>
                    <a:pt x="812" y="34"/>
                  </a:cubicBezTo>
                  <a:moveTo>
                    <a:pt x="863" y="1"/>
                  </a:moveTo>
                  <a:cubicBezTo>
                    <a:pt x="868" y="4"/>
                    <a:pt x="872" y="9"/>
                    <a:pt x="875" y="14"/>
                  </a:cubicBezTo>
                  <a:cubicBezTo>
                    <a:pt x="875" y="14"/>
                    <a:pt x="875" y="14"/>
                    <a:pt x="875" y="14"/>
                  </a:cubicBezTo>
                  <a:cubicBezTo>
                    <a:pt x="872" y="8"/>
                    <a:pt x="868" y="4"/>
                    <a:pt x="863" y="1"/>
                  </a:cubicBezTo>
                  <a:moveTo>
                    <a:pt x="831" y="0"/>
                  </a:moveTo>
                  <a:cubicBezTo>
                    <a:pt x="830" y="0"/>
                    <a:pt x="830" y="0"/>
                    <a:pt x="830" y="0"/>
                  </a:cubicBezTo>
                  <a:cubicBezTo>
                    <a:pt x="826" y="1"/>
                    <a:pt x="823" y="4"/>
                    <a:pt x="820" y="8"/>
                  </a:cubicBezTo>
                  <a:cubicBezTo>
                    <a:pt x="823" y="4"/>
                    <a:pt x="826" y="2"/>
                    <a:pt x="831" y="0"/>
                  </a:cubicBezTo>
                  <a:cubicBezTo>
                    <a:pt x="831" y="0"/>
                    <a:pt x="831" y="0"/>
                    <a:pt x="831"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27" name="Freeform 61">
              <a:extLst>
                <a:ext uri="{FF2B5EF4-FFF2-40B4-BE49-F238E27FC236}">
                  <a16:creationId xmlns:a16="http://schemas.microsoft.com/office/drawing/2014/main" id="{B5B8B8DD-1FF5-48BC-8CC1-E8CF6641729E}"/>
                </a:ext>
              </a:extLst>
            </p:cNvPr>
            <p:cNvSpPr>
              <a:spLocks/>
            </p:cNvSpPr>
            <p:nvPr/>
          </p:nvSpPr>
          <p:spPr bwMode="auto">
            <a:xfrm>
              <a:off x="6610350" y="1635125"/>
              <a:ext cx="11113" cy="23813"/>
            </a:xfrm>
            <a:custGeom>
              <a:avLst/>
              <a:gdLst>
                <a:gd name="T0" fmla="*/ 0 w 7"/>
                <a:gd name="T1" fmla="*/ 0 h 15"/>
                <a:gd name="T2" fmla="*/ 0 w 7"/>
                <a:gd name="T3" fmla="*/ 0 h 15"/>
                <a:gd name="T4" fmla="*/ 7 w 7"/>
                <a:gd name="T5" fmla="*/ 15 h 15"/>
                <a:gd name="T6" fmla="*/ 7 w 7"/>
                <a:gd name="T7" fmla="*/ 15 h 15"/>
                <a:gd name="T8" fmla="*/ 0 w 7"/>
                <a:gd name="T9" fmla="*/ 0 h 15"/>
              </a:gdLst>
              <a:ahLst/>
              <a:cxnLst>
                <a:cxn ang="0">
                  <a:pos x="T0" y="T1"/>
                </a:cxn>
                <a:cxn ang="0">
                  <a:pos x="T2" y="T3"/>
                </a:cxn>
                <a:cxn ang="0">
                  <a:pos x="T4" y="T5"/>
                </a:cxn>
                <a:cxn ang="0">
                  <a:pos x="T6" y="T7"/>
                </a:cxn>
                <a:cxn ang="0">
                  <a:pos x="T8" y="T9"/>
                </a:cxn>
              </a:cxnLst>
              <a:rect l="0" t="0" r="r" b="b"/>
              <a:pathLst>
                <a:path w="7" h="15">
                  <a:moveTo>
                    <a:pt x="0" y="0"/>
                  </a:moveTo>
                  <a:lnTo>
                    <a:pt x="0" y="0"/>
                  </a:lnTo>
                  <a:lnTo>
                    <a:pt x="7" y="15"/>
                  </a:lnTo>
                  <a:lnTo>
                    <a:pt x="7" y="15"/>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28" name="Freeform 62">
              <a:extLst>
                <a:ext uri="{FF2B5EF4-FFF2-40B4-BE49-F238E27FC236}">
                  <a16:creationId xmlns:a16="http://schemas.microsoft.com/office/drawing/2014/main" id="{FE2A31FF-9913-40AE-8BA2-7573FB1E1A88}"/>
                </a:ext>
              </a:extLst>
            </p:cNvPr>
            <p:cNvSpPr>
              <a:spLocks/>
            </p:cNvSpPr>
            <p:nvPr/>
          </p:nvSpPr>
          <p:spPr bwMode="auto">
            <a:xfrm>
              <a:off x="6610350" y="1635125"/>
              <a:ext cx="11113" cy="23813"/>
            </a:xfrm>
            <a:custGeom>
              <a:avLst/>
              <a:gdLst>
                <a:gd name="T0" fmla="*/ 0 w 7"/>
                <a:gd name="T1" fmla="*/ 0 h 15"/>
                <a:gd name="T2" fmla="*/ 0 w 7"/>
                <a:gd name="T3" fmla="*/ 0 h 15"/>
                <a:gd name="T4" fmla="*/ 7 w 7"/>
                <a:gd name="T5" fmla="*/ 15 h 15"/>
                <a:gd name="T6" fmla="*/ 7 w 7"/>
                <a:gd name="T7" fmla="*/ 15 h 15"/>
                <a:gd name="T8" fmla="*/ 0 w 7"/>
                <a:gd name="T9" fmla="*/ 0 h 15"/>
              </a:gdLst>
              <a:ahLst/>
              <a:cxnLst>
                <a:cxn ang="0">
                  <a:pos x="T0" y="T1"/>
                </a:cxn>
                <a:cxn ang="0">
                  <a:pos x="T2" y="T3"/>
                </a:cxn>
                <a:cxn ang="0">
                  <a:pos x="T4" y="T5"/>
                </a:cxn>
                <a:cxn ang="0">
                  <a:pos x="T6" y="T7"/>
                </a:cxn>
                <a:cxn ang="0">
                  <a:pos x="T8" y="T9"/>
                </a:cxn>
              </a:cxnLst>
              <a:rect l="0" t="0" r="r" b="b"/>
              <a:pathLst>
                <a:path w="7" h="15">
                  <a:moveTo>
                    <a:pt x="0" y="0"/>
                  </a:moveTo>
                  <a:lnTo>
                    <a:pt x="0" y="0"/>
                  </a:lnTo>
                  <a:lnTo>
                    <a:pt x="7" y="15"/>
                  </a:lnTo>
                  <a:lnTo>
                    <a:pt x="7" y="1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a:endParaRPr lang="en-US" dirty="0"/>
            </a:p>
          </p:txBody>
        </p:sp>
        <p:sp>
          <p:nvSpPr>
            <p:cNvPr id="429" name="Freeform 63">
              <a:extLst>
                <a:ext uri="{FF2B5EF4-FFF2-40B4-BE49-F238E27FC236}">
                  <a16:creationId xmlns:a16="http://schemas.microsoft.com/office/drawing/2014/main" id="{3DF214DD-D045-4620-9F9B-8B5D53D1094D}"/>
                </a:ext>
              </a:extLst>
            </p:cNvPr>
            <p:cNvSpPr>
              <a:spLocks/>
            </p:cNvSpPr>
            <p:nvPr/>
          </p:nvSpPr>
          <p:spPr bwMode="auto">
            <a:xfrm>
              <a:off x="6372225" y="1552575"/>
              <a:ext cx="249238" cy="212725"/>
            </a:xfrm>
            <a:custGeom>
              <a:avLst/>
              <a:gdLst>
                <a:gd name="T0" fmla="*/ 821 w 1033"/>
                <a:gd name="T1" fmla="*/ 0 h 878"/>
                <a:gd name="T2" fmla="*/ 0 w 1033"/>
                <a:gd name="T3" fmla="*/ 643 h 878"/>
                <a:gd name="T4" fmla="*/ 3 w 1033"/>
                <a:gd name="T5" fmla="*/ 651 h 878"/>
                <a:gd name="T6" fmla="*/ 113 w 1033"/>
                <a:gd name="T7" fmla="*/ 878 h 878"/>
                <a:gd name="T8" fmla="*/ 1033 w 1033"/>
                <a:gd name="T9" fmla="*/ 440 h 878"/>
                <a:gd name="T10" fmla="*/ 987 w 1033"/>
                <a:gd name="T11" fmla="*/ 343 h 878"/>
                <a:gd name="T12" fmla="*/ 821 w 1033"/>
                <a:gd name="T13" fmla="*/ 0 h 878"/>
              </a:gdLst>
              <a:ahLst/>
              <a:cxnLst>
                <a:cxn ang="0">
                  <a:pos x="T0" y="T1"/>
                </a:cxn>
                <a:cxn ang="0">
                  <a:pos x="T2" y="T3"/>
                </a:cxn>
                <a:cxn ang="0">
                  <a:pos x="T4" y="T5"/>
                </a:cxn>
                <a:cxn ang="0">
                  <a:pos x="T6" y="T7"/>
                </a:cxn>
                <a:cxn ang="0">
                  <a:pos x="T8" y="T9"/>
                </a:cxn>
                <a:cxn ang="0">
                  <a:pos x="T10" y="T11"/>
                </a:cxn>
                <a:cxn ang="0">
                  <a:pos x="T12" y="T13"/>
                </a:cxn>
              </a:cxnLst>
              <a:rect l="0" t="0" r="r" b="b"/>
              <a:pathLst>
                <a:path w="1033" h="878">
                  <a:moveTo>
                    <a:pt x="821" y="0"/>
                  </a:moveTo>
                  <a:cubicBezTo>
                    <a:pt x="821" y="0"/>
                    <a:pt x="584" y="340"/>
                    <a:pt x="0" y="643"/>
                  </a:cubicBezTo>
                  <a:cubicBezTo>
                    <a:pt x="3" y="651"/>
                    <a:pt x="3" y="651"/>
                    <a:pt x="3" y="651"/>
                  </a:cubicBezTo>
                  <a:cubicBezTo>
                    <a:pt x="113" y="878"/>
                    <a:pt x="113" y="878"/>
                    <a:pt x="113" y="878"/>
                  </a:cubicBezTo>
                  <a:cubicBezTo>
                    <a:pt x="1033" y="440"/>
                    <a:pt x="1033" y="440"/>
                    <a:pt x="1033" y="440"/>
                  </a:cubicBezTo>
                  <a:cubicBezTo>
                    <a:pt x="987" y="343"/>
                    <a:pt x="987" y="343"/>
                    <a:pt x="987" y="343"/>
                  </a:cubicBezTo>
                  <a:cubicBezTo>
                    <a:pt x="821" y="0"/>
                    <a:pt x="821" y="0"/>
                    <a:pt x="821"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30" name="Freeform 64">
              <a:extLst>
                <a:ext uri="{FF2B5EF4-FFF2-40B4-BE49-F238E27FC236}">
                  <a16:creationId xmlns:a16="http://schemas.microsoft.com/office/drawing/2014/main" id="{98460B8C-077A-4EA7-BC6C-8146B248C3A3}"/>
                </a:ext>
              </a:extLst>
            </p:cNvPr>
            <p:cNvSpPr>
              <a:spLocks noEditPoints="1"/>
            </p:cNvSpPr>
            <p:nvPr/>
          </p:nvSpPr>
          <p:spPr bwMode="auto">
            <a:xfrm>
              <a:off x="6310313" y="1703388"/>
              <a:ext cx="60325" cy="68263"/>
            </a:xfrm>
            <a:custGeom>
              <a:avLst/>
              <a:gdLst>
                <a:gd name="T0" fmla="*/ 5 w 247"/>
                <a:gd name="T1" fmla="*/ 159 h 277"/>
                <a:gd name="T2" fmla="*/ 15 w 247"/>
                <a:gd name="T3" fmla="*/ 236 h 277"/>
                <a:gd name="T4" fmla="*/ 35 w 247"/>
                <a:gd name="T5" fmla="*/ 277 h 277"/>
                <a:gd name="T6" fmla="*/ 35 w 247"/>
                <a:gd name="T7" fmla="*/ 277 h 277"/>
                <a:gd name="T8" fmla="*/ 15 w 247"/>
                <a:gd name="T9" fmla="*/ 236 h 277"/>
                <a:gd name="T10" fmla="*/ 5 w 247"/>
                <a:gd name="T11" fmla="*/ 159 h 277"/>
                <a:gd name="T12" fmla="*/ 244 w 247"/>
                <a:gd name="T13" fmla="*/ 2 h 277"/>
                <a:gd name="T14" fmla="*/ 247 w 247"/>
                <a:gd name="T15" fmla="*/ 6 h 277"/>
                <a:gd name="T16" fmla="*/ 247 w 247"/>
                <a:gd name="T17" fmla="*/ 5 h 277"/>
                <a:gd name="T18" fmla="*/ 244 w 247"/>
                <a:gd name="T19" fmla="*/ 2 h 277"/>
                <a:gd name="T20" fmla="*/ 238 w 247"/>
                <a:gd name="T21" fmla="*/ 0 h 277"/>
                <a:gd name="T22" fmla="*/ 234 w 247"/>
                <a:gd name="T23" fmla="*/ 1 h 277"/>
                <a:gd name="T24" fmla="*/ 156 w 247"/>
                <a:gd name="T25" fmla="*/ 39 h 277"/>
                <a:gd name="T26" fmla="*/ 234 w 247"/>
                <a:gd name="T27" fmla="*/ 1 h 277"/>
                <a:gd name="T28" fmla="*/ 238 w 247"/>
                <a:gd name="T29" fmla="*/ 0 h 277"/>
                <a:gd name="T30" fmla="*/ 239 w 247"/>
                <a:gd name="T31" fmla="*/ 0 h 277"/>
                <a:gd name="T32" fmla="*/ 238 w 247"/>
                <a:gd name="T33"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7" h="277">
                  <a:moveTo>
                    <a:pt x="5" y="159"/>
                  </a:moveTo>
                  <a:cubicBezTo>
                    <a:pt x="0" y="184"/>
                    <a:pt x="3" y="211"/>
                    <a:pt x="15" y="236"/>
                  </a:cubicBezTo>
                  <a:cubicBezTo>
                    <a:pt x="35" y="277"/>
                    <a:pt x="35" y="277"/>
                    <a:pt x="35" y="277"/>
                  </a:cubicBezTo>
                  <a:cubicBezTo>
                    <a:pt x="35" y="277"/>
                    <a:pt x="35" y="277"/>
                    <a:pt x="35" y="277"/>
                  </a:cubicBezTo>
                  <a:cubicBezTo>
                    <a:pt x="15" y="236"/>
                    <a:pt x="15" y="236"/>
                    <a:pt x="15" y="236"/>
                  </a:cubicBezTo>
                  <a:cubicBezTo>
                    <a:pt x="3" y="211"/>
                    <a:pt x="0" y="184"/>
                    <a:pt x="5" y="159"/>
                  </a:cubicBezTo>
                  <a:moveTo>
                    <a:pt x="244" y="2"/>
                  </a:moveTo>
                  <a:cubicBezTo>
                    <a:pt x="245" y="3"/>
                    <a:pt x="246" y="4"/>
                    <a:pt x="247" y="6"/>
                  </a:cubicBezTo>
                  <a:cubicBezTo>
                    <a:pt x="247" y="5"/>
                    <a:pt x="247" y="5"/>
                    <a:pt x="247" y="5"/>
                  </a:cubicBezTo>
                  <a:cubicBezTo>
                    <a:pt x="246" y="4"/>
                    <a:pt x="245" y="3"/>
                    <a:pt x="244" y="2"/>
                  </a:cubicBezTo>
                  <a:moveTo>
                    <a:pt x="238" y="0"/>
                  </a:moveTo>
                  <a:cubicBezTo>
                    <a:pt x="236" y="0"/>
                    <a:pt x="235" y="0"/>
                    <a:pt x="234" y="1"/>
                  </a:cubicBezTo>
                  <a:cubicBezTo>
                    <a:pt x="156" y="39"/>
                    <a:pt x="156" y="39"/>
                    <a:pt x="156" y="39"/>
                  </a:cubicBezTo>
                  <a:cubicBezTo>
                    <a:pt x="234" y="1"/>
                    <a:pt x="234" y="1"/>
                    <a:pt x="234" y="1"/>
                  </a:cubicBezTo>
                  <a:cubicBezTo>
                    <a:pt x="235" y="0"/>
                    <a:pt x="237" y="0"/>
                    <a:pt x="238" y="0"/>
                  </a:cubicBezTo>
                  <a:cubicBezTo>
                    <a:pt x="238" y="0"/>
                    <a:pt x="239" y="0"/>
                    <a:pt x="239" y="0"/>
                  </a:cubicBezTo>
                  <a:cubicBezTo>
                    <a:pt x="239" y="0"/>
                    <a:pt x="238" y="0"/>
                    <a:pt x="238"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31" name="Freeform 65">
              <a:extLst>
                <a:ext uri="{FF2B5EF4-FFF2-40B4-BE49-F238E27FC236}">
                  <a16:creationId xmlns:a16="http://schemas.microsoft.com/office/drawing/2014/main" id="{83DF0649-77AB-4D5D-97C5-B6C4AE255DCB}"/>
                </a:ext>
              </a:extLst>
            </p:cNvPr>
            <p:cNvSpPr>
              <a:spLocks/>
            </p:cNvSpPr>
            <p:nvPr/>
          </p:nvSpPr>
          <p:spPr bwMode="auto">
            <a:xfrm>
              <a:off x="6567488" y="1538288"/>
              <a:ext cx="68263" cy="120650"/>
            </a:xfrm>
            <a:custGeom>
              <a:avLst/>
              <a:gdLst>
                <a:gd name="T0" fmla="*/ 34 w 283"/>
                <a:gd name="T1" fmla="*/ 0 h 501"/>
                <a:gd name="T2" fmla="*/ 20 w 283"/>
                <a:gd name="T3" fmla="*/ 3 h 501"/>
                <a:gd name="T4" fmla="*/ 20 w 283"/>
                <a:gd name="T5" fmla="*/ 3 h 501"/>
                <a:gd name="T6" fmla="*/ 9 w 283"/>
                <a:gd name="T7" fmla="*/ 11 h 501"/>
                <a:gd name="T8" fmla="*/ 1 w 283"/>
                <a:gd name="T9" fmla="*/ 37 h 501"/>
                <a:gd name="T10" fmla="*/ 2 w 283"/>
                <a:gd name="T11" fmla="*/ 43 h 501"/>
                <a:gd name="T12" fmla="*/ 3 w 283"/>
                <a:gd name="T13" fmla="*/ 46 h 501"/>
                <a:gd name="T14" fmla="*/ 10 w 283"/>
                <a:gd name="T15" fmla="*/ 59 h 501"/>
                <a:gd name="T16" fmla="*/ 10 w 283"/>
                <a:gd name="T17" fmla="*/ 59 h 501"/>
                <a:gd name="T18" fmla="*/ 176 w 283"/>
                <a:gd name="T19" fmla="*/ 404 h 501"/>
                <a:gd name="T20" fmla="*/ 222 w 283"/>
                <a:gd name="T21" fmla="*/ 501 h 501"/>
                <a:gd name="T22" fmla="*/ 283 w 283"/>
                <a:gd name="T23" fmla="*/ 472 h 501"/>
                <a:gd name="T24" fmla="*/ 64 w 283"/>
                <a:gd name="T25" fmla="*/ 17 h 501"/>
                <a:gd name="T26" fmla="*/ 52 w 283"/>
                <a:gd name="T27" fmla="*/ 4 h 501"/>
                <a:gd name="T28" fmla="*/ 34 w 283"/>
                <a:gd name="T29"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3" h="501">
                  <a:moveTo>
                    <a:pt x="34" y="0"/>
                  </a:moveTo>
                  <a:cubicBezTo>
                    <a:pt x="30" y="0"/>
                    <a:pt x="24" y="1"/>
                    <a:pt x="20" y="3"/>
                  </a:cubicBezTo>
                  <a:cubicBezTo>
                    <a:pt x="20" y="3"/>
                    <a:pt x="20" y="3"/>
                    <a:pt x="20" y="3"/>
                  </a:cubicBezTo>
                  <a:cubicBezTo>
                    <a:pt x="15" y="5"/>
                    <a:pt x="12" y="7"/>
                    <a:pt x="9" y="11"/>
                  </a:cubicBezTo>
                  <a:cubicBezTo>
                    <a:pt x="3" y="18"/>
                    <a:pt x="0" y="28"/>
                    <a:pt x="1" y="37"/>
                  </a:cubicBezTo>
                  <a:cubicBezTo>
                    <a:pt x="1" y="39"/>
                    <a:pt x="1" y="41"/>
                    <a:pt x="2" y="43"/>
                  </a:cubicBezTo>
                  <a:cubicBezTo>
                    <a:pt x="3" y="44"/>
                    <a:pt x="3" y="45"/>
                    <a:pt x="3" y="46"/>
                  </a:cubicBezTo>
                  <a:cubicBezTo>
                    <a:pt x="10" y="59"/>
                    <a:pt x="10" y="59"/>
                    <a:pt x="10" y="59"/>
                  </a:cubicBezTo>
                  <a:cubicBezTo>
                    <a:pt x="10" y="59"/>
                    <a:pt x="10" y="59"/>
                    <a:pt x="10" y="59"/>
                  </a:cubicBezTo>
                  <a:cubicBezTo>
                    <a:pt x="176" y="404"/>
                    <a:pt x="176" y="404"/>
                    <a:pt x="176" y="404"/>
                  </a:cubicBezTo>
                  <a:cubicBezTo>
                    <a:pt x="222" y="501"/>
                    <a:pt x="222" y="501"/>
                    <a:pt x="222" y="501"/>
                  </a:cubicBezTo>
                  <a:cubicBezTo>
                    <a:pt x="283" y="472"/>
                    <a:pt x="283" y="472"/>
                    <a:pt x="283" y="472"/>
                  </a:cubicBezTo>
                  <a:cubicBezTo>
                    <a:pt x="64" y="17"/>
                    <a:pt x="64" y="17"/>
                    <a:pt x="64" y="17"/>
                  </a:cubicBezTo>
                  <a:cubicBezTo>
                    <a:pt x="61" y="12"/>
                    <a:pt x="57" y="7"/>
                    <a:pt x="52" y="4"/>
                  </a:cubicBezTo>
                  <a:cubicBezTo>
                    <a:pt x="47" y="1"/>
                    <a:pt x="41" y="0"/>
                    <a:pt x="34" y="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32" name="Freeform 66">
              <a:extLst>
                <a:ext uri="{FF2B5EF4-FFF2-40B4-BE49-F238E27FC236}">
                  <a16:creationId xmlns:a16="http://schemas.microsoft.com/office/drawing/2014/main" id="{5CA460B5-AE74-4B50-90C1-D076E85E6A52}"/>
                </a:ext>
              </a:extLst>
            </p:cNvPr>
            <p:cNvSpPr>
              <a:spLocks/>
            </p:cNvSpPr>
            <p:nvPr/>
          </p:nvSpPr>
          <p:spPr bwMode="auto">
            <a:xfrm>
              <a:off x="6305550" y="1771650"/>
              <a:ext cx="25400" cy="34925"/>
            </a:xfrm>
            <a:custGeom>
              <a:avLst/>
              <a:gdLst>
                <a:gd name="T0" fmla="*/ 56 w 107"/>
                <a:gd name="T1" fmla="*/ 0 h 146"/>
                <a:gd name="T2" fmla="*/ 56 w 107"/>
                <a:gd name="T3" fmla="*/ 0 h 146"/>
                <a:gd name="T4" fmla="*/ 56 w 107"/>
                <a:gd name="T5" fmla="*/ 0 h 146"/>
                <a:gd name="T6" fmla="*/ 25 w 107"/>
                <a:gd name="T7" fmla="*/ 146 h 146"/>
                <a:gd name="T8" fmla="*/ 107 w 107"/>
                <a:gd name="T9" fmla="*/ 107 h 146"/>
                <a:gd name="T10" fmla="*/ 56 w 107"/>
                <a:gd name="T11" fmla="*/ 0 h 146"/>
              </a:gdLst>
              <a:ahLst/>
              <a:cxnLst>
                <a:cxn ang="0">
                  <a:pos x="T0" y="T1"/>
                </a:cxn>
                <a:cxn ang="0">
                  <a:pos x="T2" y="T3"/>
                </a:cxn>
                <a:cxn ang="0">
                  <a:pos x="T4" y="T5"/>
                </a:cxn>
                <a:cxn ang="0">
                  <a:pos x="T6" y="T7"/>
                </a:cxn>
                <a:cxn ang="0">
                  <a:pos x="T8" y="T9"/>
                </a:cxn>
                <a:cxn ang="0">
                  <a:pos x="T10" y="T11"/>
                </a:cxn>
              </a:cxnLst>
              <a:rect l="0" t="0" r="r" b="b"/>
              <a:pathLst>
                <a:path w="107" h="146">
                  <a:moveTo>
                    <a:pt x="56" y="0"/>
                  </a:moveTo>
                  <a:cubicBezTo>
                    <a:pt x="56" y="0"/>
                    <a:pt x="56" y="0"/>
                    <a:pt x="56" y="0"/>
                  </a:cubicBezTo>
                  <a:cubicBezTo>
                    <a:pt x="56" y="0"/>
                    <a:pt x="56" y="0"/>
                    <a:pt x="56" y="0"/>
                  </a:cubicBezTo>
                  <a:cubicBezTo>
                    <a:pt x="13" y="21"/>
                    <a:pt x="0" y="85"/>
                    <a:pt x="25" y="146"/>
                  </a:cubicBezTo>
                  <a:cubicBezTo>
                    <a:pt x="107" y="107"/>
                    <a:pt x="107" y="107"/>
                    <a:pt x="107" y="107"/>
                  </a:cubicBezTo>
                  <a:cubicBezTo>
                    <a:pt x="56" y="0"/>
                    <a:pt x="56" y="0"/>
                    <a:pt x="56"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33" name="Freeform 67">
              <a:extLst>
                <a:ext uri="{FF2B5EF4-FFF2-40B4-BE49-F238E27FC236}">
                  <a16:creationId xmlns:a16="http://schemas.microsoft.com/office/drawing/2014/main" id="{8C2B8434-CF28-423B-A3B3-128D1C81879E}"/>
                </a:ext>
              </a:extLst>
            </p:cNvPr>
            <p:cNvSpPr>
              <a:spLocks/>
            </p:cNvSpPr>
            <p:nvPr/>
          </p:nvSpPr>
          <p:spPr bwMode="auto">
            <a:xfrm>
              <a:off x="6310313" y="1703388"/>
              <a:ext cx="88900" cy="93663"/>
            </a:xfrm>
            <a:custGeom>
              <a:avLst/>
              <a:gdLst>
                <a:gd name="T0" fmla="*/ 238 w 365"/>
                <a:gd name="T1" fmla="*/ 0 h 384"/>
                <a:gd name="T2" fmla="*/ 234 w 365"/>
                <a:gd name="T3" fmla="*/ 1 h 384"/>
                <a:gd name="T4" fmla="*/ 156 w 365"/>
                <a:gd name="T5" fmla="*/ 39 h 384"/>
                <a:gd name="T6" fmla="*/ 62 w 365"/>
                <a:gd name="T7" fmla="*/ 85 h 384"/>
                <a:gd name="T8" fmla="*/ 5 w 365"/>
                <a:gd name="T9" fmla="*/ 159 h 384"/>
                <a:gd name="T10" fmla="*/ 15 w 365"/>
                <a:gd name="T11" fmla="*/ 236 h 384"/>
                <a:gd name="T12" fmla="*/ 35 w 365"/>
                <a:gd name="T13" fmla="*/ 277 h 384"/>
                <a:gd name="T14" fmla="*/ 86 w 365"/>
                <a:gd name="T15" fmla="*/ 384 h 384"/>
                <a:gd name="T16" fmla="*/ 365 w 365"/>
                <a:gd name="T17" fmla="*/ 251 h 384"/>
                <a:gd name="T18" fmla="*/ 255 w 365"/>
                <a:gd name="T19" fmla="*/ 24 h 384"/>
                <a:gd name="T20" fmla="*/ 252 w 365"/>
                <a:gd name="T21" fmla="*/ 16 h 384"/>
                <a:gd name="T22" fmla="*/ 252 w 365"/>
                <a:gd name="T23" fmla="*/ 16 h 384"/>
                <a:gd name="T24" fmla="*/ 247 w 365"/>
                <a:gd name="T25" fmla="*/ 6 h 384"/>
                <a:gd name="T26" fmla="*/ 244 w 365"/>
                <a:gd name="T27" fmla="*/ 2 h 384"/>
                <a:gd name="T28" fmla="*/ 239 w 365"/>
                <a:gd name="T29" fmla="*/ 0 h 384"/>
                <a:gd name="T30" fmla="*/ 238 w 365"/>
                <a:gd name="T3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5" h="384">
                  <a:moveTo>
                    <a:pt x="238" y="0"/>
                  </a:moveTo>
                  <a:cubicBezTo>
                    <a:pt x="237" y="0"/>
                    <a:pt x="235" y="0"/>
                    <a:pt x="234" y="1"/>
                  </a:cubicBezTo>
                  <a:cubicBezTo>
                    <a:pt x="156" y="39"/>
                    <a:pt x="156" y="39"/>
                    <a:pt x="156" y="39"/>
                  </a:cubicBezTo>
                  <a:cubicBezTo>
                    <a:pt x="62" y="85"/>
                    <a:pt x="62" y="85"/>
                    <a:pt x="62" y="85"/>
                  </a:cubicBezTo>
                  <a:cubicBezTo>
                    <a:pt x="31" y="99"/>
                    <a:pt x="12" y="127"/>
                    <a:pt x="5" y="159"/>
                  </a:cubicBezTo>
                  <a:cubicBezTo>
                    <a:pt x="0" y="184"/>
                    <a:pt x="3" y="211"/>
                    <a:pt x="15" y="236"/>
                  </a:cubicBezTo>
                  <a:cubicBezTo>
                    <a:pt x="35" y="277"/>
                    <a:pt x="35" y="277"/>
                    <a:pt x="35" y="277"/>
                  </a:cubicBezTo>
                  <a:cubicBezTo>
                    <a:pt x="86" y="384"/>
                    <a:pt x="86" y="384"/>
                    <a:pt x="86" y="384"/>
                  </a:cubicBezTo>
                  <a:cubicBezTo>
                    <a:pt x="365" y="251"/>
                    <a:pt x="365" y="251"/>
                    <a:pt x="365" y="251"/>
                  </a:cubicBezTo>
                  <a:cubicBezTo>
                    <a:pt x="255" y="24"/>
                    <a:pt x="255" y="24"/>
                    <a:pt x="255" y="24"/>
                  </a:cubicBezTo>
                  <a:cubicBezTo>
                    <a:pt x="252" y="16"/>
                    <a:pt x="252" y="16"/>
                    <a:pt x="252" y="16"/>
                  </a:cubicBezTo>
                  <a:cubicBezTo>
                    <a:pt x="252" y="16"/>
                    <a:pt x="252" y="16"/>
                    <a:pt x="252" y="16"/>
                  </a:cubicBezTo>
                  <a:cubicBezTo>
                    <a:pt x="247" y="6"/>
                    <a:pt x="247" y="6"/>
                    <a:pt x="247" y="6"/>
                  </a:cubicBezTo>
                  <a:cubicBezTo>
                    <a:pt x="246" y="4"/>
                    <a:pt x="245" y="3"/>
                    <a:pt x="244" y="2"/>
                  </a:cubicBezTo>
                  <a:cubicBezTo>
                    <a:pt x="243" y="1"/>
                    <a:pt x="241" y="0"/>
                    <a:pt x="239" y="0"/>
                  </a:cubicBezTo>
                  <a:cubicBezTo>
                    <a:pt x="239" y="0"/>
                    <a:pt x="238" y="0"/>
                    <a:pt x="238" y="0"/>
                  </a:cubicBezTo>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34" name="Freeform 68">
              <a:extLst>
                <a:ext uri="{FF2B5EF4-FFF2-40B4-BE49-F238E27FC236}">
                  <a16:creationId xmlns:a16="http://schemas.microsoft.com/office/drawing/2014/main" id="{7873C9B6-E316-4E4B-A4C7-50CDB78C0987}"/>
                </a:ext>
              </a:extLst>
            </p:cNvPr>
            <p:cNvSpPr>
              <a:spLocks/>
            </p:cNvSpPr>
            <p:nvPr/>
          </p:nvSpPr>
          <p:spPr bwMode="auto">
            <a:xfrm>
              <a:off x="6663680" y="1466291"/>
              <a:ext cx="312738" cy="169863"/>
            </a:xfrm>
            <a:custGeom>
              <a:avLst/>
              <a:gdLst>
                <a:gd name="T0" fmla="*/ 197 w 197"/>
                <a:gd name="T1" fmla="*/ 0 h 107"/>
                <a:gd name="T2" fmla="*/ 63 w 197"/>
                <a:gd name="T3" fmla="*/ 30 h 107"/>
                <a:gd name="T4" fmla="*/ 86 w 197"/>
                <a:gd name="T5" fmla="*/ 63 h 107"/>
                <a:gd name="T6" fmla="*/ 0 w 197"/>
                <a:gd name="T7" fmla="*/ 107 h 107"/>
                <a:gd name="T8" fmla="*/ 129 w 197"/>
                <a:gd name="T9" fmla="*/ 80 h 107"/>
                <a:gd name="T10" fmla="*/ 106 w 197"/>
                <a:gd name="T11" fmla="*/ 47 h 107"/>
                <a:gd name="T12" fmla="*/ 197 w 197"/>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97" h="107">
                  <a:moveTo>
                    <a:pt x="197" y="0"/>
                  </a:moveTo>
                  <a:lnTo>
                    <a:pt x="63" y="30"/>
                  </a:lnTo>
                  <a:lnTo>
                    <a:pt x="86" y="63"/>
                  </a:lnTo>
                  <a:lnTo>
                    <a:pt x="0" y="107"/>
                  </a:lnTo>
                  <a:lnTo>
                    <a:pt x="129" y="80"/>
                  </a:lnTo>
                  <a:lnTo>
                    <a:pt x="106" y="47"/>
                  </a:lnTo>
                  <a:lnTo>
                    <a:pt x="197"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35" name="Freeform 69">
              <a:extLst>
                <a:ext uri="{FF2B5EF4-FFF2-40B4-BE49-F238E27FC236}">
                  <a16:creationId xmlns:a16="http://schemas.microsoft.com/office/drawing/2014/main" id="{0FA47CCE-6865-4162-9153-2534205E27F6}"/>
                </a:ext>
              </a:extLst>
            </p:cNvPr>
            <p:cNvSpPr>
              <a:spLocks/>
            </p:cNvSpPr>
            <p:nvPr/>
          </p:nvSpPr>
          <p:spPr bwMode="auto">
            <a:xfrm>
              <a:off x="6717655" y="1648853"/>
              <a:ext cx="192088" cy="66675"/>
            </a:xfrm>
            <a:custGeom>
              <a:avLst/>
              <a:gdLst>
                <a:gd name="T0" fmla="*/ 121 w 121"/>
                <a:gd name="T1" fmla="*/ 23 h 42"/>
                <a:gd name="T2" fmla="*/ 50 w 121"/>
                <a:gd name="T3" fmla="*/ 0 h 42"/>
                <a:gd name="T4" fmla="*/ 52 w 121"/>
                <a:gd name="T5" fmla="*/ 22 h 42"/>
                <a:gd name="T6" fmla="*/ 0 w 121"/>
                <a:gd name="T7" fmla="*/ 19 h 42"/>
                <a:gd name="T8" fmla="*/ 67 w 121"/>
                <a:gd name="T9" fmla="*/ 42 h 42"/>
                <a:gd name="T10" fmla="*/ 66 w 121"/>
                <a:gd name="T11" fmla="*/ 20 h 42"/>
                <a:gd name="T12" fmla="*/ 121 w 121"/>
                <a:gd name="T13" fmla="*/ 23 h 42"/>
              </a:gdLst>
              <a:ahLst/>
              <a:cxnLst>
                <a:cxn ang="0">
                  <a:pos x="T0" y="T1"/>
                </a:cxn>
                <a:cxn ang="0">
                  <a:pos x="T2" y="T3"/>
                </a:cxn>
                <a:cxn ang="0">
                  <a:pos x="T4" y="T5"/>
                </a:cxn>
                <a:cxn ang="0">
                  <a:pos x="T6" y="T7"/>
                </a:cxn>
                <a:cxn ang="0">
                  <a:pos x="T8" y="T9"/>
                </a:cxn>
                <a:cxn ang="0">
                  <a:pos x="T10" y="T11"/>
                </a:cxn>
                <a:cxn ang="0">
                  <a:pos x="T12" y="T13"/>
                </a:cxn>
              </a:cxnLst>
              <a:rect l="0" t="0" r="r" b="b"/>
              <a:pathLst>
                <a:path w="121" h="42">
                  <a:moveTo>
                    <a:pt x="121" y="23"/>
                  </a:moveTo>
                  <a:lnTo>
                    <a:pt x="50" y="0"/>
                  </a:lnTo>
                  <a:lnTo>
                    <a:pt x="52" y="22"/>
                  </a:lnTo>
                  <a:lnTo>
                    <a:pt x="0" y="19"/>
                  </a:lnTo>
                  <a:lnTo>
                    <a:pt x="67" y="42"/>
                  </a:lnTo>
                  <a:lnTo>
                    <a:pt x="66" y="20"/>
                  </a:lnTo>
                  <a:lnTo>
                    <a:pt x="121" y="2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l" rtl="0"/>
              <a:endParaRPr lang="en-US" dirty="0"/>
            </a:p>
          </p:txBody>
        </p:sp>
        <p:sp>
          <p:nvSpPr>
            <p:cNvPr id="436" name="Freeform 70">
              <a:extLst>
                <a:ext uri="{FF2B5EF4-FFF2-40B4-BE49-F238E27FC236}">
                  <a16:creationId xmlns:a16="http://schemas.microsoft.com/office/drawing/2014/main" id="{F89881E5-B190-4988-BD89-A13DFE74DD28}"/>
                </a:ext>
              </a:extLst>
            </p:cNvPr>
            <p:cNvSpPr>
              <a:spLocks/>
            </p:cNvSpPr>
            <p:nvPr/>
          </p:nvSpPr>
          <p:spPr bwMode="auto">
            <a:xfrm>
              <a:off x="6628755" y="1385328"/>
              <a:ext cx="57150" cy="187325"/>
            </a:xfrm>
            <a:custGeom>
              <a:avLst/>
              <a:gdLst>
                <a:gd name="T0" fmla="*/ 31 w 36"/>
                <a:gd name="T1" fmla="*/ 0 h 118"/>
                <a:gd name="T2" fmla="*/ 36 w 36"/>
                <a:gd name="T3" fmla="*/ 74 h 118"/>
                <a:gd name="T4" fmla="*/ 15 w 36"/>
                <a:gd name="T5" fmla="*/ 67 h 118"/>
                <a:gd name="T6" fmla="*/ 5 w 36"/>
                <a:gd name="T7" fmla="*/ 118 h 118"/>
                <a:gd name="T8" fmla="*/ 0 w 36"/>
                <a:gd name="T9" fmla="*/ 47 h 118"/>
                <a:gd name="T10" fmla="*/ 20 w 36"/>
                <a:gd name="T11" fmla="*/ 54 h 118"/>
                <a:gd name="T12" fmla="*/ 31 w 36"/>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36" h="118">
                  <a:moveTo>
                    <a:pt x="31" y="0"/>
                  </a:moveTo>
                  <a:lnTo>
                    <a:pt x="36" y="74"/>
                  </a:lnTo>
                  <a:lnTo>
                    <a:pt x="15" y="67"/>
                  </a:lnTo>
                  <a:lnTo>
                    <a:pt x="5" y="118"/>
                  </a:lnTo>
                  <a:lnTo>
                    <a:pt x="0" y="47"/>
                  </a:lnTo>
                  <a:lnTo>
                    <a:pt x="20" y="54"/>
                  </a:lnTo>
                  <a:lnTo>
                    <a:pt x="31"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l" rtl="0"/>
              <a:endParaRPr lang="en-US" dirty="0"/>
            </a:p>
          </p:txBody>
        </p:sp>
      </p:grpSp>
      <p:grpSp>
        <p:nvGrpSpPr>
          <p:cNvPr id="437" name="Group 436">
            <a:extLst>
              <a:ext uri="{FF2B5EF4-FFF2-40B4-BE49-F238E27FC236}">
                <a16:creationId xmlns:a16="http://schemas.microsoft.com/office/drawing/2014/main" id="{26FFEF4C-284F-4951-ABAC-E89193557F0D}"/>
              </a:ext>
            </a:extLst>
          </p:cNvPr>
          <p:cNvGrpSpPr/>
          <p:nvPr/>
        </p:nvGrpSpPr>
        <p:grpSpPr>
          <a:xfrm>
            <a:off x="554736" y="5229683"/>
            <a:ext cx="388885" cy="337074"/>
            <a:chOff x="13290362" y="2055214"/>
            <a:chExt cx="1222997" cy="1060057"/>
          </a:xfrm>
        </p:grpSpPr>
        <p:grpSp>
          <p:nvGrpSpPr>
            <p:cNvPr id="438" name="Group 437">
              <a:extLst>
                <a:ext uri="{FF2B5EF4-FFF2-40B4-BE49-F238E27FC236}">
                  <a16:creationId xmlns:a16="http://schemas.microsoft.com/office/drawing/2014/main" id="{F230F53F-4A14-47F2-878D-907C564AF106}"/>
                </a:ext>
              </a:extLst>
            </p:cNvPr>
            <p:cNvGrpSpPr/>
            <p:nvPr/>
          </p:nvGrpSpPr>
          <p:grpSpPr>
            <a:xfrm>
              <a:off x="13290362" y="2182583"/>
              <a:ext cx="677510" cy="932688"/>
              <a:chOff x="1785938" y="978479"/>
              <a:chExt cx="716046" cy="985737"/>
            </a:xfrm>
          </p:grpSpPr>
          <p:sp>
            <p:nvSpPr>
              <p:cNvPr id="450" name="Rectangle: Rounded Corners 449">
                <a:extLst>
                  <a:ext uri="{FF2B5EF4-FFF2-40B4-BE49-F238E27FC236}">
                    <a16:creationId xmlns:a16="http://schemas.microsoft.com/office/drawing/2014/main" id="{AB1CF1A0-72DE-4B70-B5AD-5A9476D0C93C}"/>
                  </a:ext>
                </a:extLst>
              </p:cNvPr>
              <p:cNvSpPr>
                <a:spLocks/>
              </p:cNvSpPr>
              <p:nvPr/>
            </p:nvSpPr>
            <p:spPr>
              <a:xfrm>
                <a:off x="1785938" y="978479"/>
                <a:ext cx="716046" cy="985737"/>
              </a:xfrm>
              <a:prstGeom prst="roundRect">
                <a:avLst>
                  <a:gd name="adj" fmla="val 6782"/>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grpSp>
            <p:nvGrpSpPr>
              <p:cNvPr id="451" name="Group 450">
                <a:extLst>
                  <a:ext uri="{FF2B5EF4-FFF2-40B4-BE49-F238E27FC236}">
                    <a16:creationId xmlns:a16="http://schemas.microsoft.com/office/drawing/2014/main" id="{CAECFE9B-197E-4783-A700-12411B16038F}"/>
                  </a:ext>
                </a:extLst>
              </p:cNvPr>
              <p:cNvGrpSpPr/>
              <p:nvPr/>
            </p:nvGrpSpPr>
            <p:grpSpPr>
              <a:xfrm>
                <a:off x="1842923" y="1186891"/>
                <a:ext cx="602077" cy="620316"/>
                <a:chOff x="1842923" y="1186891"/>
                <a:chExt cx="602077" cy="620316"/>
              </a:xfrm>
            </p:grpSpPr>
            <p:sp>
              <p:nvSpPr>
                <p:cNvPr id="452" name="Freeform: Shape 451">
                  <a:extLst>
                    <a:ext uri="{FF2B5EF4-FFF2-40B4-BE49-F238E27FC236}">
                      <a16:creationId xmlns:a16="http://schemas.microsoft.com/office/drawing/2014/main" id="{A158BE64-8F73-4174-AEDA-8A102E038189}"/>
                    </a:ext>
                  </a:extLst>
                </p:cNvPr>
                <p:cNvSpPr/>
                <p:nvPr/>
              </p:nvSpPr>
              <p:spPr>
                <a:xfrm>
                  <a:off x="1842923" y="1186891"/>
                  <a:ext cx="602077" cy="46313"/>
                </a:xfrm>
                <a:custGeom>
                  <a:avLst/>
                  <a:gdLst>
                    <a:gd name="connsiteX0" fmla="*/ 0 w 602077"/>
                    <a:gd name="connsiteY0" fmla="*/ 0 h 46313"/>
                    <a:gd name="connsiteX1" fmla="*/ 602077 w 602077"/>
                    <a:gd name="connsiteY1" fmla="*/ 0 h 46313"/>
                    <a:gd name="connsiteX2" fmla="*/ 602077 w 602077"/>
                    <a:gd name="connsiteY2" fmla="*/ 46314 h 46313"/>
                    <a:gd name="connsiteX3" fmla="*/ 0 w 602077"/>
                    <a:gd name="connsiteY3" fmla="*/ 46314 h 46313"/>
                  </a:gdLst>
                  <a:ahLst/>
                  <a:cxnLst>
                    <a:cxn ang="0">
                      <a:pos x="connsiteX0" y="connsiteY0"/>
                    </a:cxn>
                    <a:cxn ang="0">
                      <a:pos x="connsiteX1" y="connsiteY1"/>
                    </a:cxn>
                    <a:cxn ang="0">
                      <a:pos x="connsiteX2" y="connsiteY2"/>
                    </a:cxn>
                    <a:cxn ang="0">
                      <a:pos x="connsiteX3" y="connsiteY3"/>
                    </a:cxn>
                  </a:cxnLst>
                  <a:rect l="l" t="t" r="r" b="b"/>
                  <a:pathLst>
                    <a:path w="602077" h="46313">
                      <a:moveTo>
                        <a:pt x="0" y="0"/>
                      </a:moveTo>
                      <a:lnTo>
                        <a:pt x="602077" y="0"/>
                      </a:lnTo>
                      <a:lnTo>
                        <a:pt x="602077" y="46314"/>
                      </a:lnTo>
                      <a:lnTo>
                        <a:pt x="0" y="46314"/>
                      </a:lnTo>
                      <a:close/>
                    </a:path>
                  </a:pathLst>
                </a:custGeom>
                <a:solidFill>
                  <a:srgbClr val="FFFFFF"/>
                </a:solidFill>
                <a:ln w="4688" cap="flat">
                  <a:noFill/>
                  <a:prstDash val="solid"/>
                  <a:miter/>
                </a:ln>
              </p:spPr>
              <p:txBody>
                <a:bodyPr rtlCol="0" anchor="ctr"/>
                <a:lstStyle/>
                <a:p>
                  <a:pPr algn="l" rtl="0"/>
                  <a:endParaRPr lang="en-US" dirty="0"/>
                </a:p>
              </p:txBody>
            </p:sp>
            <p:sp>
              <p:nvSpPr>
                <p:cNvPr id="453" name="Freeform: Shape 452">
                  <a:extLst>
                    <a:ext uri="{FF2B5EF4-FFF2-40B4-BE49-F238E27FC236}">
                      <a16:creationId xmlns:a16="http://schemas.microsoft.com/office/drawing/2014/main" id="{44000A1D-E720-483E-A517-63BE6CABA1B8}"/>
                    </a:ext>
                  </a:extLst>
                </p:cNvPr>
                <p:cNvSpPr/>
                <p:nvPr/>
              </p:nvSpPr>
              <p:spPr>
                <a:xfrm>
                  <a:off x="1842923" y="1301692"/>
                  <a:ext cx="602077" cy="46313"/>
                </a:xfrm>
                <a:custGeom>
                  <a:avLst/>
                  <a:gdLst>
                    <a:gd name="connsiteX0" fmla="*/ 0 w 602077"/>
                    <a:gd name="connsiteY0" fmla="*/ 0 h 46313"/>
                    <a:gd name="connsiteX1" fmla="*/ 602077 w 602077"/>
                    <a:gd name="connsiteY1" fmla="*/ 0 h 46313"/>
                    <a:gd name="connsiteX2" fmla="*/ 602077 w 602077"/>
                    <a:gd name="connsiteY2" fmla="*/ 46314 h 46313"/>
                    <a:gd name="connsiteX3" fmla="*/ 0 w 602077"/>
                    <a:gd name="connsiteY3" fmla="*/ 46314 h 46313"/>
                  </a:gdLst>
                  <a:ahLst/>
                  <a:cxnLst>
                    <a:cxn ang="0">
                      <a:pos x="connsiteX0" y="connsiteY0"/>
                    </a:cxn>
                    <a:cxn ang="0">
                      <a:pos x="connsiteX1" y="connsiteY1"/>
                    </a:cxn>
                    <a:cxn ang="0">
                      <a:pos x="connsiteX2" y="connsiteY2"/>
                    </a:cxn>
                    <a:cxn ang="0">
                      <a:pos x="connsiteX3" y="connsiteY3"/>
                    </a:cxn>
                  </a:cxnLst>
                  <a:rect l="l" t="t" r="r" b="b"/>
                  <a:pathLst>
                    <a:path w="602077" h="46313">
                      <a:moveTo>
                        <a:pt x="0" y="0"/>
                      </a:moveTo>
                      <a:lnTo>
                        <a:pt x="602077" y="0"/>
                      </a:lnTo>
                      <a:lnTo>
                        <a:pt x="602077" y="46314"/>
                      </a:lnTo>
                      <a:lnTo>
                        <a:pt x="0" y="46314"/>
                      </a:lnTo>
                      <a:close/>
                    </a:path>
                  </a:pathLst>
                </a:custGeom>
                <a:solidFill>
                  <a:srgbClr val="FFFFFF"/>
                </a:solidFill>
                <a:ln w="4688" cap="flat">
                  <a:noFill/>
                  <a:prstDash val="solid"/>
                  <a:miter/>
                </a:ln>
              </p:spPr>
              <p:txBody>
                <a:bodyPr rtlCol="0" anchor="ctr"/>
                <a:lstStyle/>
                <a:p>
                  <a:pPr algn="l" rtl="0"/>
                  <a:endParaRPr lang="en-US" dirty="0"/>
                </a:p>
              </p:txBody>
            </p:sp>
            <p:sp>
              <p:nvSpPr>
                <p:cNvPr id="454" name="Freeform: Shape 453">
                  <a:extLst>
                    <a:ext uri="{FF2B5EF4-FFF2-40B4-BE49-F238E27FC236}">
                      <a16:creationId xmlns:a16="http://schemas.microsoft.com/office/drawing/2014/main" id="{5B6A0665-9D0E-47D5-94CB-21B1680AC9FB}"/>
                    </a:ext>
                  </a:extLst>
                </p:cNvPr>
                <p:cNvSpPr/>
                <p:nvPr/>
              </p:nvSpPr>
              <p:spPr>
                <a:xfrm>
                  <a:off x="1842923" y="1416493"/>
                  <a:ext cx="602077" cy="46313"/>
                </a:xfrm>
                <a:custGeom>
                  <a:avLst/>
                  <a:gdLst>
                    <a:gd name="connsiteX0" fmla="*/ 0 w 602077"/>
                    <a:gd name="connsiteY0" fmla="*/ 0 h 46313"/>
                    <a:gd name="connsiteX1" fmla="*/ 602077 w 602077"/>
                    <a:gd name="connsiteY1" fmla="*/ 0 h 46313"/>
                    <a:gd name="connsiteX2" fmla="*/ 602077 w 602077"/>
                    <a:gd name="connsiteY2" fmla="*/ 46314 h 46313"/>
                    <a:gd name="connsiteX3" fmla="*/ 0 w 602077"/>
                    <a:gd name="connsiteY3" fmla="*/ 46314 h 46313"/>
                  </a:gdLst>
                  <a:ahLst/>
                  <a:cxnLst>
                    <a:cxn ang="0">
                      <a:pos x="connsiteX0" y="connsiteY0"/>
                    </a:cxn>
                    <a:cxn ang="0">
                      <a:pos x="connsiteX1" y="connsiteY1"/>
                    </a:cxn>
                    <a:cxn ang="0">
                      <a:pos x="connsiteX2" y="connsiteY2"/>
                    </a:cxn>
                    <a:cxn ang="0">
                      <a:pos x="connsiteX3" y="connsiteY3"/>
                    </a:cxn>
                  </a:cxnLst>
                  <a:rect l="l" t="t" r="r" b="b"/>
                  <a:pathLst>
                    <a:path w="602077" h="46313">
                      <a:moveTo>
                        <a:pt x="0" y="0"/>
                      </a:moveTo>
                      <a:lnTo>
                        <a:pt x="602077" y="0"/>
                      </a:lnTo>
                      <a:lnTo>
                        <a:pt x="602077" y="46314"/>
                      </a:lnTo>
                      <a:lnTo>
                        <a:pt x="0" y="46314"/>
                      </a:lnTo>
                      <a:close/>
                    </a:path>
                  </a:pathLst>
                </a:custGeom>
                <a:solidFill>
                  <a:srgbClr val="FFFFFF"/>
                </a:solidFill>
                <a:ln w="4688" cap="flat">
                  <a:noFill/>
                  <a:prstDash val="solid"/>
                  <a:miter/>
                </a:ln>
              </p:spPr>
              <p:txBody>
                <a:bodyPr rtlCol="0" anchor="ctr"/>
                <a:lstStyle/>
                <a:p>
                  <a:pPr algn="l" rtl="0"/>
                  <a:endParaRPr lang="en-US" dirty="0"/>
                </a:p>
              </p:txBody>
            </p:sp>
            <p:sp>
              <p:nvSpPr>
                <p:cNvPr id="455" name="Freeform: Shape 454">
                  <a:extLst>
                    <a:ext uri="{FF2B5EF4-FFF2-40B4-BE49-F238E27FC236}">
                      <a16:creationId xmlns:a16="http://schemas.microsoft.com/office/drawing/2014/main" id="{50D4E751-2CD5-4534-BAC4-9DE000F12B46}"/>
                    </a:ext>
                  </a:extLst>
                </p:cNvPr>
                <p:cNvSpPr/>
                <p:nvPr/>
              </p:nvSpPr>
              <p:spPr>
                <a:xfrm>
                  <a:off x="1842923" y="1531294"/>
                  <a:ext cx="602077" cy="46313"/>
                </a:xfrm>
                <a:custGeom>
                  <a:avLst/>
                  <a:gdLst>
                    <a:gd name="connsiteX0" fmla="*/ 0 w 602077"/>
                    <a:gd name="connsiteY0" fmla="*/ 0 h 46313"/>
                    <a:gd name="connsiteX1" fmla="*/ 602077 w 602077"/>
                    <a:gd name="connsiteY1" fmla="*/ 0 h 46313"/>
                    <a:gd name="connsiteX2" fmla="*/ 602077 w 602077"/>
                    <a:gd name="connsiteY2" fmla="*/ 46314 h 46313"/>
                    <a:gd name="connsiteX3" fmla="*/ 0 w 602077"/>
                    <a:gd name="connsiteY3" fmla="*/ 46314 h 46313"/>
                  </a:gdLst>
                  <a:ahLst/>
                  <a:cxnLst>
                    <a:cxn ang="0">
                      <a:pos x="connsiteX0" y="connsiteY0"/>
                    </a:cxn>
                    <a:cxn ang="0">
                      <a:pos x="connsiteX1" y="connsiteY1"/>
                    </a:cxn>
                    <a:cxn ang="0">
                      <a:pos x="connsiteX2" y="connsiteY2"/>
                    </a:cxn>
                    <a:cxn ang="0">
                      <a:pos x="connsiteX3" y="connsiteY3"/>
                    </a:cxn>
                  </a:cxnLst>
                  <a:rect l="l" t="t" r="r" b="b"/>
                  <a:pathLst>
                    <a:path w="602077" h="46313">
                      <a:moveTo>
                        <a:pt x="0" y="0"/>
                      </a:moveTo>
                      <a:lnTo>
                        <a:pt x="602077" y="0"/>
                      </a:lnTo>
                      <a:lnTo>
                        <a:pt x="602077" y="46314"/>
                      </a:lnTo>
                      <a:lnTo>
                        <a:pt x="0" y="46314"/>
                      </a:lnTo>
                      <a:close/>
                    </a:path>
                  </a:pathLst>
                </a:custGeom>
                <a:solidFill>
                  <a:srgbClr val="FFFFFF"/>
                </a:solidFill>
                <a:ln w="4688" cap="flat">
                  <a:noFill/>
                  <a:prstDash val="solid"/>
                  <a:miter/>
                </a:ln>
              </p:spPr>
              <p:txBody>
                <a:bodyPr rtlCol="0" anchor="ctr"/>
                <a:lstStyle/>
                <a:p>
                  <a:pPr algn="l" rtl="0"/>
                  <a:endParaRPr lang="en-US" dirty="0"/>
                </a:p>
              </p:txBody>
            </p:sp>
            <p:sp>
              <p:nvSpPr>
                <p:cNvPr id="456" name="Freeform: Shape 455">
                  <a:extLst>
                    <a:ext uri="{FF2B5EF4-FFF2-40B4-BE49-F238E27FC236}">
                      <a16:creationId xmlns:a16="http://schemas.microsoft.com/office/drawing/2014/main" id="{C2160AB0-7667-4F92-BF00-A00DD21F4E1A}"/>
                    </a:ext>
                  </a:extLst>
                </p:cNvPr>
                <p:cNvSpPr/>
                <p:nvPr/>
              </p:nvSpPr>
              <p:spPr>
                <a:xfrm>
                  <a:off x="1842923" y="1646095"/>
                  <a:ext cx="602077" cy="46313"/>
                </a:xfrm>
                <a:custGeom>
                  <a:avLst/>
                  <a:gdLst>
                    <a:gd name="connsiteX0" fmla="*/ 0 w 602077"/>
                    <a:gd name="connsiteY0" fmla="*/ 0 h 46313"/>
                    <a:gd name="connsiteX1" fmla="*/ 602077 w 602077"/>
                    <a:gd name="connsiteY1" fmla="*/ 0 h 46313"/>
                    <a:gd name="connsiteX2" fmla="*/ 602077 w 602077"/>
                    <a:gd name="connsiteY2" fmla="*/ 46314 h 46313"/>
                    <a:gd name="connsiteX3" fmla="*/ 0 w 602077"/>
                    <a:gd name="connsiteY3" fmla="*/ 46314 h 46313"/>
                  </a:gdLst>
                  <a:ahLst/>
                  <a:cxnLst>
                    <a:cxn ang="0">
                      <a:pos x="connsiteX0" y="connsiteY0"/>
                    </a:cxn>
                    <a:cxn ang="0">
                      <a:pos x="connsiteX1" y="connsiteY1"/>
                    </a:cxn>
                    <a:cxn ang="0">
                      <a:pos x="connsiteX2" y="connsiteY2"/>
                    </a:cxn>
                    <a:cxn ang="0">
                      <a:pos x="connsiteX3" y="connsiteY3"/>
                    </a:cxn>
                  </a:cxnLst>
                  <a:rect l="l" t="t" r="r" b="b"/>
                  <a:pathLst>
                    <a:path w="602077" h="46313">
                      <a:moveTo>
                        <a:pt x="0" y="0"/>
                      </a:moveTo>
                      <a:lnTo>
                        <a:pt x="602077" y="0"/>
                      </a:lnTo>
                      <a:lnTo>
                        <a:pt x="602077" y="46314"/>
                      </a:lnTo>
                      <a:lnTo>
                        <a:pt x="0" y="46314"/>
                      </a:lnTo>
                      <a:close/>
                    </a:path>
                  </a:pathLst>
                </a:custGeom>
                <a:solidFill>
                  <a:srgbClr val="FFFFFF"/>
                </a:solidFill>
                <a:ln w="4688" cap="flat">
                  <a:noFill/>
                  <a:prstDash val="solid"/>
                  <a:miter/>
                </a:ln>
              </p:spPr>
              <p:txBody>
                <a:bodyPr rtlCol="0" anchor="ctr"/>
                <a:lstStyle/>
                <a:p>
                  <a:pPr algn="l" rtl="0"/>
                  <a:endParaRPr lang="en-US" dirty="0"/>
                </a:p>
              </p:txBody>
            </p:sp>
            <p:sp>
              <p:nvSpPr>
                <p:cNvPr id="457" name="Freeform: Shape 456">
                  <a:extLst>
                    <a:ext uri="{FF2B5EF4-FFF2-40B4-BE49-F238E27FC236}">
                      <a16:creationId xmlns:a16="http://schemas.microsoft.com/office/drawing/2014/main" id="{2A731269-CDFA-4826-B32C-4279AC14595D}"/>
                    </a:ext>
                  </a:extLst>
                </p:cNvPr>
                <p:cNvSpPr/>
                <p:nvPr/>
              </p:nvSpPr>
              <p:spPr>
                <a:xfrm>
                  <a:off x="1842923" y="1760894"/>
                  <a:ext cx="602077" cy="46313"/>
                </a:xfrm>
                <a:custGeom>
                  <a:avLst/>
                  <a:gdLst>
                    <a:gd name="connsiteX0" fmla="*/ 0 w 602077"/>
                    <a:gd name="connsiteY0" fmla="*/ 0 h 46313"/>
                    <a:gd name="connsiteX1" fmla="*/ 602077 w 602077"/>
                    <a:gd name="connsiteY1" fmla="*/ 0 h 46313"/>
                    <a:gd name="connsiteX2" fmla="*/ 602077 w 602077"/>
                    <a:gd name="connsiteY2" fmla="*/ 46314 h 46313"/>
                    <a:gd name="connsiteX3" fmla="*/ 0 w 602077"/>
                    <a:gd name="connsiteY3" fmla="*/ 46314 h 46313"/>
                  </a:gdLst>
                  <a:ahLst/>
                  <a:cxnLst>
                    <a:cxn ang="0">
                      <a:pos x="connsiteX0" y="connsiteY0"/>
                    </a:cxn>
                    <a:cxn ang="0">
                      <a:pos x="connsiteX1" y="connsiteY1"/>
                    </a:cxn>
                    <a:cxn ang="0">
                      <a:pos x="connsiteX2" y="connsiteY2"/>
                    </a:cxn>
                    <a:cxn ang="0">
                      <a:pos x="connsiteX3" y="connsiteY3"/>
                    </a:cxn>
                  </a:cxnLst>
                  <a:rect l="l" t="t" r="r" b="b"/>
                  <a:pathLst>
                    <a:path w="602077" h="46313">
                      <a:moveTo>
                        <a:pt x="0" y="0"/>
                      </a:moveTo>
                      <a:lnTo>
                        <a:pt x="602077" y="0"/>
                      </a:lnTo>
                      <a:lnTo>
                        <a:pt x="602077" y="46314"/>
                      </a:lnTo>
                      <a:lnTo>
                        <a:pt x="0" y="46314"/>
                      </a:lnTo>
                      <a:close/>
                    </a:path>
                  </a:pathLst>
                </a:custGeom>
                <a:solidFill>
                  <a:srgbClr val="FFFFFF"/>
                </a:solidFill>
                <a:ln w="4688" cap="flat">
                  <a:noFill/>
                  <a:prstDash val="solid"/>
                  <a:miter/>
                </a:ln>
              </p:spPr>
              <p:txBody>
                <a:bodyPr rtlCol="0" anchor="ctr"/>
                <a:lstStyle/>
                <a:p>
                  <a:pPr algn="l" rtl="0"/>
                  <a:endParaRPr lang="en-US" dirty="0"/>
                </a:p>
              </p:txBody>
            </p:sp>
          </p:grpSp>
        </p:grpSp>
        <p:sp>
          <p:nvSpPr>
            <p:cNvPr id="439" name="Freeform: Shape 438">
              <a:extLst>
                <a:ext uri="{FF2B5EF4-FFF2-40B4-BE49-F238E27FC236}">
                  <a16:creationId xmlns:a16="http://schemas.microsoft.com/office/drawing/2014/main" id="{CBDFFCF0-7A49-4A1A-B32A-9F1CC868AD5B}"/>
                </a:ext>
              </a:extLst>
            </p:cNvPr>
            <p:cNvSpPr/>
            <p:nvPr/>
          </p:nvSpPr>
          <p:spPr>
            <a:xfrm>
              <a:off x="13628246" y="2055214"/>
              <a:ext cx="551085" cy="551035"/>
            </a:xfrm>
            <a:custGeom>
              <a:avLst/>
              <a:gdLst>
                <a:gd name="connsiteX0" fmla="*/ 455008 w 582430"/>
                <a:gd name="connsiteY0" fmla="*/ 50593 h 582377"/>
                <a:gd name="connsiteX1" fmla="*/ 236878 w 582430"/>
                <a:gd name="connsiteY1" fmla="*/ 5201 h 582377"/>
                <a:gd name="connsiteX2" fmla="*/ 50347 w 582430"/>
                <a:gd name="connsiteY2" fmla="*/ 127877 h 582377"/>
                <a:gd name="connsiteX3" fmla="*/ 5174 w 582430"/>
                <a:gd name="connsiteY3" fmla="*/ 345569 h 582377"/>
                <a:gd name="connsiteX4" fmla="*/ 345542 w 582430"/>
                <a:gd name="connsiteY4" fmla="*/ 577200 h 582377"/>
                <a:gd name="connsiteX5" fmla="*/ 532146 w 582430"/>
                <a:gd name="connsiteY5" fmla="*/ 454452 h 582377"/>
                <a:gd name="connsiteX6" fmla="*/ 577246 w 582430"/>
                <a:gd name="connsiteY6" fmla="*/ 236832 h 582377"/>
                <a:gd name="connsiteX7" fmla="*/ 454935 w 582430"/>
                <a:gd name="connsiteY7" fmla="*/ 50593 h 582377"/>
                <a:gd name="connsiteX8" fmla="*/ 487191 w 582430"/>
                <a:gd name="connsiteY8" fmla="*/ 423874 h 582377"/>
                <a:gd name="connsiteX9" fmla="*/ 335398 w 582430"/>
                <a:gd name="connsiteY9" fmla="*/ 523781 h 582377"/>
                <a:gd name="connsiteX10" fmla="*/ 58594 w 582430"/>
                <a:gd name="connsiteY10" fmla="*/ 335425 h 582377"/>
                <a:gd name="connsiteX11" fmla="*/ 95374 w 582430"/>
                <a:gd name="connsiteY11" fmla="*/ 158381 h 582377"/>
                <a:gd name="connsiteX12" fmla="*/ 247022 w 582430"/>
                <a:gd name="connsiteY12" fmla="*/ 58548 h 582377"/>
                <a:gd name="connsiteX13" fmla="*/ 424431 w 582430"/>
                <a:gd name="connsiteY13" fmla="*/ 95548 h 582377"/>
                <a:gd name="connsiteX14" fmla="*/ 523972 w 582430"/>
                <a:gd name="connsiteY14" fmla="*/ 246976 h 582377"/>
                <a:gd name="connsiteX15" fmla="*/ 487191 w 582430"/>
                <a:gd name="connsiteY15" fmla="*/ 423874 h 58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2430" h="582377">
                  <a:moveTo>
                    <a:pt x="455008" y="50593"/>
                  </a:moveTo>
                  <a:cubicBezTo>
                    <a:pt x="390642" y="6807"/>
                    <a:pt x="313140" y="-9321"/>
                    <a:pt x="236878" y="5201"/>
                  </a:cubicBezTo>
                  <a:cubicBezTo>
                    <a:pt x="160397" y="19724"/>
                    <a:pt x="94061" y="63291"/>
                    <a:pt x="50347" y="127877"/>
                  </a:cubicBezTo>
                  <a:cubicBezTo>
                    <a:pt x="6779" y="192170"/>
                    <a:pt x="-9276" y="269526"/>
                    <a:pt x="5174" y="345569"/>
                  </a:cubicBezTo>
                  <a:cubicBezTo>
                    <a:pt x="35168" y="503274"/>
                    <a:pt x="187910" y="607267"/>
                    <a:pt x="345542" y="577200"/>
                  </a:cubicBezTo>
                  <a:cubicBezTo>
                    <a:pt x="422095" y="562678"/>
                    <a:pt x="488359" y="519037"/>
                    <a:pt x="532146" y="454452"/>
                  </a:cubicBezTo>
                  <a:cubicBezTo>
                    <a:pt x="575713" y="390158"/>
                    <a:pt x="591695" y="312875"/>
                    <a:pt x="577246" y="236832"/>
                  </a:cubicBezTo>
                  <a:cubicBezTo>
                    <a:pt x="562723" y="160571"/>
                    <a:pt x="519374" y="94380"/>
                    <a:pt x="454935" y="50593"/>
                  </a:cubicBezTo>
                  <a:close/>
                  <a:moveTo>
                    <a:pt x="487191" y="423874"/>
                  </a:moveTo>
                  <a:cubicBezTo>
                    <a:pt x="451505" y="476491"/>
                    <a:pt x="397648" y="511958"/>
                    <a:pt x="335398" y="523781"/>
                  </a:cubicBezTo>
                  <a:cubicBezTo>
                    <a:pt x="207103" y="548228"/>
                    <a:pt x="82968" y="463720"/>
                    <a:pt x="58594" y="335425"/>
                  </a:cubicBezTo>
                  <a:cubicBezTo>
                    <a:pt x="46844" y="273540"/>
                    <a:pt x="59907" y="210706"/>
                    <a:pt x="95374" y="158381"/>
                  </a:cubicBezTo>
                  <a:cubicBezTo>
                    <a:pt x="130987" y="105764"/>
                    <a:pt x="184845" y="70370"/>
                    <a:pt x="247022" y="58548"/>
                  </a:cubicBezTo>
                  <a:cubicBezTo>
                    <a:pt x="309126" y="46725"/>
                    <a:pt x="372106" y="59788"/>
                    <a:pt x="424431" y="95548"/>
                  </a:cubicBezTo>
                  <a:cubicBezTo>
                    <a:pt x="476756" y="131161"/>
                    <a:pt x="512077" y="185018"/>
                    <a:pt x="523972" y="246976"/>
                  </a:cubicBezTo>
                  <a:cubicBezTo>
                    <a:pt x="535721" y="308788"/>
                    <a:pt x="522731" y="371622"/>
                    <a:pt x="487191" y="423874"/>
                  </a:cubicBezTo>
                  <a:close/>
                </a:path>
              </a:pathLst>
            </a:custGeom>
            <a:solidFill>
              <a:schemeClr val="accent2">
                <a:lumMod val="75000"/>
              </a:schemeClr>
            </a:solidFill>
            <a:ln w="7293" cap="flat">
              <a:noFill/>
              <a:prstDash val="solid"/>
              <a:miter/>
            </a:ln>
          </p:spPr>
          <p:txBody>
            <a:bodyPr rtlCol="0" anchor="ctr"/>
            <a:lstStyle/>
            <a:p>
              <a:pPr algn="l" rtl="0"/>
              <a:endParaRPr lang="en-US" dirty="0"/>
            </a:p>
          </p:txBody>
        </p:sp>
        <p:sp>
          <p:nvSpPr>
            <p:cNvPr id="440" name="Freeform: Shape 439">
              <a:extLst>
                <a:ext uri="{FF2B5EF4-FFF2-40B4-BE49-F238E27FC236}">
                  <a16:creationId xmlns:a16="http://schemas.microsoft.com/office/drawing/2014/main" id="{BF218FC3-2842-44C8-A707-A47523623985}"/>
                </a:ext>
              </a:extLst>
            </p:cNvPr>
            <p:cNvSpPr/>
            <p:nvPr/>
          </p:nvSpPr>
          <p:spPr>
            <a:xfrm>
              <a:off x="13680493" y="2107461"/>
              <a:ext cx="446727" cy="446626"/>
            </a:xfrm>
            <a:custGeom>
              <a:avLst/>
              <a:gdLst>
                <a:gd name="connsiteX0" fmla="*/ 40812 w 472136"/>
                <a:gd name="connsiteY0" fmla="*/ 103673 h 472029"/>
                <a:gd name="connsiteX1" fmla="*/ 4177 w 472136"/>
                <a:gd name="connsiteY1" fmla="*/ 280133 h 472029"/>
                <a:gd name="connsiteX2" fmla="*/ 280033 w 472136"/>
                <a:gd name="connsiteY2" fmla="*/ 467832 h 472029"/>
                <a:gd name="connsiteX3" fmla="*/ 431315 w 472136"/>
                <a:gd name="connsiteY3" fmla="*/ 368290 h 472029"/>
                <a:gd name="connsiteX4" fmla="*/ 431315 w 472136"/>
                <a:gd name="connsiteY4" fmla="*/ 368290 h 472029"/>
                <a:gd name="connsiteX5" fmla="*/ 467950 w 472136"/>
                <a:gd name="connsiteY5" fmla="*/ 191976 h 472029"/>
                <a:gd name="connsiteX6" fmla="*/ 368773 w 472136"/>
                <a:gd name="connsiteY6" fmla="*/ 41058 h 472029"/>
                <a:gd name="connsiteX7" fmla="*/ 191948 w 472136"/>
                <a:gd name="connsiteY7" fmla="*/ 4204 h 472029"/>
                <a:gd name="connsiteX8" fmla="*/ 40812 w 472136"/>
                <a:gd name="connsiteY8" fmla="*/ 103673 h 472029"/>
                <a:gd name="connsiteX9" fmla="*/ 40812 w 472136"/>
                <a:gd name="connsiteY9" fmla="*/ 103673 h 47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136" h="472029">
                  <a:moveTo>
                    <a:pt x="40812" y="103673"/>
                  </a:moveTo>
                  <a:cubicBezTo>
                    <a:pt x="5491" y="155779"/>
                    <a:pt x="-7499" y="218467"/>
                    <a:pt x="4177" y="280133"/>
                  </a:cubicBezTo>
                  <a:cubicBezTo>
                    <a:pt x="28406" y="407917"/>
                    <a:pt x="152176" y="492206"/>
                    <a:pt x="280033" y="467832"/>
                  </a:cubicBezTo>
                  <a:cubicBezTo>
                    <a:pt x="341991" y="456082"/>
                    <a:pt x="395702" y="420761"/>
                    <a:pt x="431315" y="368290"/>
                  </a:cubicBezTo>
                  <a:lnTo>
                    <a:pt x="431315" y="368290"/>
                  </a:lnTo>
                  <a:cubicBezTo>
                    <a:pt x="466709" y="316184"/>
                    <a:pt x="479626" y="253642"/>
                    <a:pt x="467950" y="191976"/>
                  </a:cubicBezTo>
                  <a:cubicBezTo>
                    <a:pt x="456201" y="130164"/>
                    <a:pt x="420952" y="76525"/>
                    <a:pt x="368773" y="41058"/>
                  </a:cubicBezTo>
                  <a:cubicBezTo>
                    <a:pt x="316594" y="5518"/>
                    <a:pt x="253761" y="-7545"/>
                    <a:pt x="191948" y="4204"/>
                  </a:cubicBezTo>
                  <a:cubicBezTo>
                    <a:pt x="129990" y="15954"/>
                    <a:pt x="76352" y="51275"/>
                    <a:pt x="40812" y="103673"/>
                  </a:cubicBezTo>
                  <a:lnTo>
                    <a:pt x="40812" y="103673"/>
                  </a:lnTo>
                  <a:close/>
                </a:path>
              </a:pathLst>
            </a:custGeom>
            <a:solidFill>
              <a:srgbClr val="AEC4DB">
                <a:alpha val="20000"/>
              </a:srgbClr>
            </a:solidFill>
            <a:ln w="7293" cap="flat">
              <a:noFill/>
              <a:prstDash val="solid"/>
              <a:miter/>
            </a:ln>
          </p:spPr>
          <p:txBody>
            <a:bodyPr rtlCol="0" anchor="ctr"/>
            <a:lstStyle/>
            <a:p>
              <a:pPr algn="l" rtl="0"/>
              <a:endParaRPr lang="en-US" dirty="0"/>
            </a:p>
          </p:txBody>
        </p:sp>
        <p:sp>
          <p:nvSpPr>
            <p:cNvPr id="441" name="Freeform: Shape 440">
              <a:extLst>
                <a:ext uri="{FF2B5EF4-FFF2-40B4-BE49-F238E27FC236}">
                  <a16:creationId xmlns:a16="http://schemas.microsoft.com/office/drawing/2014/main" id="{4CE5BEF6-8CC2-4560-9B2B-4E7430AAC4FB}"/>
                </a:ext>
              </a:extLst>
            </p:cNvPr>
            <p:cNvSpPr/>
            <p:nvPr/>
          </p:nvSpPr>
          <p:spPr>
            <a:xfrm>
              <a:off x="13687902" y="2114853"/>
              <a:ext cx="295807" cy="430153"/>
            </a:xfrm>
            <a:custGeom>
              <a:avLst/>
              <a:gdLst>
                <a:gd name="connsiteX0" fmla="*/ 157482 w 312632"/>
                <a:gd name="connsiteY0" fmla="*/ 431412 h 454619"/>
                <a:gd name="connsiteX1" fmla="*/ 61736 w 312632"/>
                <a:gd name="connsiteY1" fmla="*/ 285530 h 454619"/>
                <a:gd name="connsiteX2" fmla="*/ 97130 w 312632"/>
                <a:gd name="connsiteY2" fmla="*/ 114981 h 454619"/>
                <a:gd name="connsiteX3" fmla="*/ 242866 w 312632"/>
                <a:gd name="connsiteY3" fmla="*/ 18869 h 454619"/>
                <a:gd name="connsiteX4" fmla="*/ 243158 w 312632"/>
                <a:gd name="connsiteY4" fmla="*/ 18869 h 454619"/>
                <a:gd name="connsiteX5" fmla="*/ 312633 w 312632"/>
                <a:gd name="connsiteY5" fmla="*/ 16315 h 454619"/>
                <a:gd name="connsiteX6" fmla="*/ 185506 w 312632"/>
                <a:gd name="connsiteY6" fmla="*/ 4055 h 454619"/>
                <a:gd name="connsiteX7" fmla="*/ 185214 w 312632"/>
                <a:gd name="connsiteY7" fmla="*/ 4055 h 454619"/>
                <a:gd name="connsiteX8" fmla="*/ 39404 w 312632"/>
                <a:gd name="connsiteY8" fmla="*/ 100239 h 454619"/>
                <a:gd name="connsiteX9" fmla="*/ 4083 w 312632"/>
                <a:gd name="connsiteY9" fmla="*/ 270788 h 454619"/>
                <a:gd name="connsiteX10" fmla="*/ 99830 w 312632"/>
                <a:gd name="connsiteY10" fmla="*/ 416598 h 454619"/>
                <a:gd name="connsiteX11" fmla="*/ 201269 w 312632"/>
                <a:gd name="connsiteY11" fmla="*/ 454619 h 454619"/>
                <a:gd name="connsiteX12" fmla="*/ 157482 w 312632"/>
                <a:gd name="connsiteY12" fmla="*/ 431266 h 454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632" h="454619">
                  <a:moveTo>
                    <a:pt x="157482" y="431412"/>
                  </a:moveTo>
                  <a:cubicBezTo>
                    <a:pt x="107055" y="397113"/>
                    <a:pt x="72974" y="345299"/>
                    <a:pt x="61736" y="285530"/>
                  </a:cubicBezTo>
                  <a:cubicBezTo>
                    <a:pt x="50424" y="225907"/>
                    <a:pt x="62976" y="165336"/>
                    <a:pt x="97130" y="114981"/>
                  </a:cubicBezTo>
                  <a:cubicBezTo>
                    <a:pt x="131429" y="64480"/>
                    <a:pt x="183170" y="30327"/>
                    <a:pt x="242866" y="18869"/>
                  </a:cubicBezTo>
                  <a:lnTo>
                    <a:pt x="243158" y="18869"/>
                  </a:lnTo>
                  <a:cubicBezTo>
                    <a:pt x="266365" y="14345"/>
                    <a:pt x="289791" y="13615"/>
                    <a:pt x="312633" y="16315"/>
                  </a:cubicBezTo>
                  <a:cubicBezTo>
                    <a:pt x="272568" y="260"/>
                    <a:pt x="228854" y="-4192"/>
                    <a:pt x="185506" y="4055"/>
                  </a:cubicBezTo>
                  <a:lnTo>
                    <a:pt x="185214" y="4055"/>
                  </a:lnTo>
                  <a:cubicBezTo>
                    <a:pt x="125445" y="15585"/>
                    <a:pt x="73704" y="49739"/>
                    <a:pt x="39404" y="100239"/>
                  </a:cubicBezTo>
                  <a:cubicBezTo>
                    <a:pt x="5324" y="150594"/>
                    <a:pt x="-7301" y="211166"/>
                    <a:pt x="4083" y="270788"/>
                  </a:cubicBezTo>
                  <a:cubicBezTo>
                    <a:pt x="15395" y="330557"/>
                    <a:pt x="49402" y="382298"/>
                    <a:pt x="99830" y="416598"/>
                  </a:cubicBezTo>
                  <a:cubicBezTo>
                    <a:pt x="130627" y="437615"/>
                    <a:pt x="165291" y="450459"/>
                    <a:pt x="201269" y="454619"/>
                  </a:cubicBezTo>
                  <a:cubicBezTo>
                    <a:pt x="186017" y="448489"/>
                    <a:pt x="171348" y="440753"/>
                    <a:pt x="157482" y="431266"/>
                  </a:cubicBezTo>
                  <a:close/>
                </a:path>
              </a:pathLst>
            </a:custGeom>
            <a:solidFill>
              <a:srgbClr val="AEC4DB">
                <a:alpha val="20000"/>
              </a:srgbClr>
            </a:solidFill>
            <a:ln w="7293" cap="flat">
              <a:noFill/>
              <a:prstDash val="solid"/>
              <a:miter/>
            </a:ln>
          </p:spPr>
          <p:txBody>
            <a:bodyPr rtlCol="0" anchor="ctr"/>
            <a:lstStyle/>
            <a:p>
              <a:pPr algn="l" rtl="0"/>
              <a:endParaRPr lang="en-US" dirty="0"/>
            </a:p>
          </p:txBody>
        </p:sp>
        <p:sp>
          <p:nvSpPr>
            <p:cNvPr id="442" name="Freeform: Shape 441">
              <a:extLst>
                <a:ext uri="{FF2B5EF4-FFF2-40B4-BE49-F238E27FC236}">
                  <a16:creationId xmlns:a16="http://schemas.microsoft.com/office/drawing/2014/main" id="{7EE12922-3A2F-430F-BC2B-6E754E816DDA}"/>
                </a:ext>
              </a:extLst>
            </p:cNvPr>
            <p:cNvSpPr/>
            <p:nvPr/>
          </p:nvSpPr>
          <p:spPr>
            <a:xfrm>
              <a:off x="13643848" y="2075395"/>
              <a:ext cx="308442" cy="515281"/>
            </a:xfrm>
            <a:custGeom>
              <a:avLst/>
              <a:gdLst>
                <a:gd name="connsiteX0" fmla="*/ 321462 w 325986"/>
                <a:gd name="connsiteY0" fmla="*/ 515733 h 544589"/>
                <a:gd name="connsiteX1" fmla="*/ 28895 w 325986"/>
                <a:gd name="connsiteY1" fmla="*/ 316650 h 544589"/>
                <a:gd name="connsiteX2" fmla="*/ 67719 w 325986"/>
                <a:gd name="connsiteY2" fmla="*/ 129535 h 544589"/>
                <a:gd name="connsiteX3" fmla="*/ 227978 w 325986"/>
                <a:gd name="connsiteY3" fmla="*/ 24010 h 544589"/>
                <a:gd name="connsiteX4" fmla="*/ 227978 w 325986"/>
                <a:gd name="connsiteY4" fmla="*/ 24010 h 544589"/>
                <a:gd name="connsiteX5" fmla="*/ 223453 w 325986"/>
                <a:gd name="connsiteY5" fmla="*/ 0 h 544589"/>
                <a:gd name="connsiteX6" fmla="*/ 222942 w 325986"/>
                <a:gd name="connsiteY6" fmla="*/ 73 h 544589"/>
                <a:gd name="connsiteX7" fmla="*/ 47504 w 325986"/>
                <a:gd name="connsiteY7" fmla="*/ 115670 h 544589"/>
                <a:gd name="connsiteX8" fmla="*/ 4885 w 325986"/>
                <a:gd name="connsiteY8" fmla="*/ 321175 h 544589"/>
                <a:gd name="connsiteX9" fmla="*/ 325987 w 325986"/>
                <a:gd name="connsiteY9" fmla="*/ 539743 h 544589"/>
                <a:gd name="connsiteX10" fmla="*/ 321462 w 325986"/>
                <a:gd name="connsiteY10" fmla="*/ 515733 h 544589"/>
                <a:gd name="connsiteX11" fmla="*/ 321462 w 325986"/>
                <a:gd name="connsiteY11" fmla="*/ 515733 h 54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986" h="544589">
                  <a:moveTo>
                    <a:pt x="321462" y="515733"/>
                  </a:moveTo>
                  <a:cubicBezTo>
                    <a:pt x="185870" y="541567"/>
                    <a:pt x="54656" y="452243"/>
                    <a:pt x="28895" y="316650"/>
                  </a:cubicBezTo>
                  <a:cubicBezTo>
                    <a:pt x="16488" y="251189"/>
                    <a:pt x="30281" y="184707"/>
                    <a:pt x="67719" y="129535"/>
                  </a:cubicBezTo>
                  <a:cubicBezTo>
                    <a:pt x="105375" y="73999"/>
                    <a:pt x="162298" y="36562"/>
                    <a:pt x="227978" y="24010"/>
                  </a:cubicBezTo>
                  <a:lnTo>
                    <a:pt x="227978" y="24010"/>
                  </a:lnTo>
                  <a:lnTo>
                    <a:pt x="223453" y="0"/>
                  </a:lnTo>
                  <a:cubicBezTo>
                    <a:pt x="223453" y="0"/>
                    <a:pt x="223088" y="0"/>
                    <a:pt x="222942" y="73"/>
                  </a:cubicBezTo>
                  <a:cubicBezTo>
                    <a:pt x="150986" y="13866"/>
                    <a:pt x="88663" y="54952"/>
                    <a:pt x="47504" y="115670"/>
                  </a:cubicBezTo>
                  <a:cubicBezTo>
                    <a:pt x="6417" y="176387"/>
                    <a:pt x="-8762" y="249365"/>
                    <a:pt x="4885" y="321175"/>
                  </a:cubicBezTo>
                  <a:cubicBezTo>
                    <a:pt x="33127" y="469903"/>
                    <a:pt x="177185" y="567985"/>
                    <a:pt x="325987" y="539743"/>
                  </a:cubicBezTo>
                  <a:lnTo>
                    <a:pt x="321462" y="515733"/>
                  </a:lnTo>
                  <a:lnTo>
                    <a:pt x="321462" y="515733"/>
                  </a:lnTo>
                  <a:close/>
                </a:path>
              </a:pathLst>
            </a:custGeom>
            <a:solidFill>
              <a:schemeClr val="bg1"/>
            </a:solidFill>
            <a:ln w="7293" cap="flat">
              <a:noFill/>
              <a:prstDash val="solid"/>
              <a:miter/>
            </a:ln>
          </p:spPr>
          <p:txBody>
            <a:bodyPr rtlCol="0" anchor="ctr"/>
            <a:lstStyle/>
            <a:p>
              <a:pPr algn="l" rtl="0"/>
              <a:endParaRPr lang="en-US" dirty="0"/>
            </a:p>
          </p:txBody>
        </p:sp>
        <p:sp>
          <p:nvSpPr>
            <p:cNvPr id="443" name="Freeform: Shape 442">
              <a:extLst>
                <a:ext uri="{FF2B5EF4-FFF2-40B4-BE49-F238E27FC236}">
                  <a16:creationId xmlns:a16="http://schemas.microsoft.com/office/drawing/2014/main" id="{F261D6A8-0E97-49AE-94C1-8F7429AEC34F}"/>
                </a:ext>
              </a:extLst>
            </p:cNvPr>
            <p:cNvSpPr/>
            <p:nvPr/>
          </p:nvSpPr>
          <p:spPr>
            <a:xfrm>
              <a:off x="14084453" y="2441389"/>
              <a:ext cx="118012" cy="105892"/>
            </a:xfrm>
            <a:custGeom>
              <a:avLst/>
              <a:gdLst>
                <a:gd name="connsiteX0" fmla="*/ 111802 w 124724"/>
                <a:gd name="connsiteY0" fmla="*/ 44633 h 111915"/>
                <a:gd name="connsiteX1" fmla="*/ 57433 w 124724"/>
                <a:gd name="connsiteY1" fmla="*/ 6539 h 111915"/>
                <a:gd name="connsiteX2" fmla="*/ 29921 w 124724"/>
                <a:gd name="connsiteY2" fmla="*/ 628 h 111915"/>
                <a:gd name="connsiteX3" fmla="*/ 16347 w 124724"/>
                <a:gd name="connsiteY3" fmla="*/ 22886 h 111915"/>
                <a:gd name="connsiteX4" fmla="*/ 0 w 124724"/>
                <a:gd name="connsiteY4" fmla="*/ 44560 h 111915"/>
                <a:gd name="connsiteX5" fmla="*/ 15471 w 124724"/>
                <a:gd name="connsiteY5" fmla="*/ 67986 h 111915"/>
                <a:gd name="connsiteX6" fmla="*/ 70132 w 124724"/>
                <a:gd name="connsiteY6" fmla="*/ 106299 h 111915"/>
                <a:gd name="connsiteX7" fmla="*/ 115597 w 124724"/>
                <a:gd name="connsiteY7" fmla="*/ 92288 h 111915"/>
                <a:gd name="connsiteX8" fmla="*/ 115670 w 124724"/>
                <a:gd name="connsiteY8" fmla="*/ 92288 h 111915"/>
                <a:gd name="connsiteX9" fmla="*/ 111802 w 124724"/>
                <a:gd name="connsiteY9" fmla="*/ 44560 h 11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724" h="111915">
                  <a:moveTo>
                    <a:pt x="111802" y="44633"/>
                  </a:moveTo>
                  <a:cubicBezTo>
                    <a:pt x="93776" y="31935"/>
                    <a:pt x="75605" y="19237"/>
                    <a:pt x="57433" y="6539"/>
                  </a:cubicBezTo>
                  <a:cubicBezTo>
                    <a:pt x="49041" y="773"/>
                    <a:pt x="39043" y="-1124"/>
                    <a:pt x="29921" y="628"/>
                  </a:cubicBezTo>
                  <a:cubicBezTo>
                    <a:pt x="25761" y="8217"/>
                    <a:pt x="21237" y="15661"/>
                    <a:pt x="16347" y="22886"/>
                  </a:cubicBezTo>
                  <a:cubicBezTo>
                    <a:pt x="11239" y="30402"/>
                    <a:pt x="5765" y="37627"/>
                    <a:pt x="0" y="44560"/>
                  </a:cubicBezTo>
                  <a:cubicBezTo>
                    <a:pt x="1679" y="53609"/>
                    <a:pt x="7079" y="62294"/>
                    <a:pt x="15471" y="67986"/>
                  </a:cubicBezTo>
                  <a:cubicBezTo>
                    <a:pt x="33643" y="80757"/>
                    <a:pt x="51814" y="93455"/>
                    <a:pt x="70132" y="106299"/>
                  </a:cubicBezTo>
                  <a:cubicBezTo>
                    <a:pt x="87646" y="118268"/>
                    <a:pt x="103993" y="109948"/>
                    <a:pt x="115597" y="92288"/>
                  </a:cubicBezTo>
                  <a:lnTo>
                    <a:pt x="115670" y="92288"/>
                  </a:lnTo>
                  <a:cubicBezTo>
                    <a:pt x="127492" y="74700"/>
                    <a:pt x="129243" y="56310"/>
                    <a:pt x="111802" y="44560"/>
                  </a:cubicBezTo>
                  <a:close/>
                </a:path>
              </a:pathLst>
            </a:custGeom>
            <a:solidFill>
              <a:schemeClr val="accent2">
                <a:lumMod val="50000"/>
              </a:schemeClr>
            </a:solidFill>
            <a:ln w="7293" cap="flat">
              <a:noFill/>
              <a:prstDash val="solid"/>
              <a:miter/>
            </a:ln>
          </p:spPr>
          <p:txBody>
            <a:bodyPr rtlCol="0" anchor="ctr"/>
            <a:lstStyle/>
            <a:p>
              <a:pPr algn="l" rtl="0"/>
              <a:endParaRPr lang="en-US" dirty="0"/>
            </a:p>
          </p:txBody>
        </p:sp>
        <p:sp>
          <p:nvSpPr>
            <p:cNvPr id="444" name="Freeform: Shape 443">
              <a:extLst>
                <a:ext uri="{FF2B5EF4-FFF2-40B4-BE49-F238E27FC236}">
                  <a16:creationId xmlns:a16="http://schemas.microsoft.com/office/drawing/2014/main" id="{E0CD0739-6D6E-4B16-8427-91F2B5E97A24}"/>
                </a:ext>
              </a:extLst>
            </p:cNvPr>
            <p:cNvSpPr/>
            <p:nvPr/>
          </p:nvSpPr>
          <p:spPr>
            <a:xfrm rot="18255598">
              <a:off x="14256610" y="2433770"/>
              <a:ext cx="112482" cy="351120"/>
            </a:xfrm>
            <a:custGeom>
              <a:avLst/>
              <a:gdLst>
                <a:gd name="connsiteX0" fmla="*/ 0 w 118880"/>
                <a:gd name="connsiteY0" fmla="*/ 0 h 371091"/>
                <a:gd name="connsiteX1" fmla="*/ 118881 w 118880"/>
                <a:gd name="connsiteY1" fmla="*/ 0 h 371091"/>
                <a:gd name="connsiteX2" fmla="*/ 118881 w 118880"/>
                <a:gd name="connsiteY2" fmla="*/ 371092 h 371091"/>
                <a:gd name="connsiteX3" fmla="*/ 0 w 118880"/>
                <a:gd name="connsiteY3" fmla="*/ 371092 h 371091"/>
              </a:gdLst>
              <a:ahLst/>
              <a:cxnLst>
                <a:cxn ang="0">
                  <a:pos x="connsiteX0" y="connsiteY0"/>
                </a:cxn>
                <a:cxn ang="0">
                  <a:pos x="connsiteX1" y="connsiteY1"/>
                </a:cxn>
                <a:cxn ang="0">
                  <a:pos x="connsiteX2" y="connsiteY2"/>
                </a:cxn>
                <a:cxn ang="0">
                  <a:pos x="connsiteX3" y="connsiteY3"/>
                </a:cxn>
              </a:cxnLst>
              <a:rect l="l" t="t" r="r" b="b"/>
              <a:pathLst>
                <a:path w="118880" h="371091">
                  <a:moveTo>
                    <a:pt x="0" y="0"/>
                  </a:moveTo>
                  <a:lnTo>
                    <a:pt x="118881" y="0"/>
                  </a:lnTo>
                  <a:lnTo>
                    <a:pt x="118881" y="371092"/>
                  </a:lnTo>
                  <a:lnTo>
                    <a:pt x="0" y="371092"/>
                  </a:lnTo>
                  <a:close/>
                </a:path>
              </a:pathLst>
            </a:custGeom>
            <a:solidFill>
              <a:schemeClr val="accent3"/>
            </a:solidFill>
            <a:ln w="7293" cap="flat">
              <a:noFill/>
              <a:prstDash val="solid"/>
              <a:miter/>
            </a:ln>
          </p:spPr>
          <p:txBody>
            <a:bodyPr rtlCol="0" anchor="ctr"/>
            <a:lstStyle/>
            <a:p>
              <a:pPr algn="l" rtl="0"/>
              <a:endParaRPr lang="en-US" dirty="0"/>
            </a:p>
          </p:txBody>
        </p:sp>
        <p:sp>
          <p:nvSpPr>
            <p:cNvPr id="445" name="Freeform: Shape 444">
              <a:extLst>
                <a:ext uri="{FF2B5EF4-FFF2-40B4-BE49-F238E27FC236}">
                  <a16:creationId xmlns:a16="http://schemas.microsoft.com/office/drawing/2014/main" id="{C23C75C6-5AD1-4F46-950C-9C6A4584C4E4}"/>
                </a:ext>
              </a:extLst>
            </p:cNvPr>
            <p:cNvSpPr/>
            <p:nvPr/>
          </p:nvSpPr>
          <p:spPr>
            <a:xfrm rot="18254401">
              <a:off x="14303076" y="2413723"/>
              <a:ext cx="46470" cy="351120"/>
            </a:xfrm>
            <a:custGeom>
              <a:avLst/>
              <a:gdLst>
                <a:gd name="connsiteX0" fmla="*/ 0 w 49113"/>
                <a:gd name="connsiteY0" fmla="*/ 0 h 371091"/>
                <a:gd name="connsiteX1" fmla="*/ 49114 w 49113"/>
                <a:gd name="connsiteY1" fmla="*/ 0 h 371091"/>
                <a:gd name="connsiteX2" fmla="*/ 49114 w 49113"/>
                <a:gd name="connsiteY2" fmla="*/ 371092 h 371091"/>
                <a:gd name="connsiteX3" fmla="*/ 0 w 49113"/>
                <a:gd name="connsiteY3" fmla="*/ 371092 h 371091"/>
              </a:gdLst>
              <a:ahLst/>
              <a:cxnLst>
                <a:cxn ang="0">
                  <a:pos x="connsiteX0" y="connsiteY0"/>
                </a:cxn>
                <a:cxn ang="0">
                  <a:pos x="connsiteX1" y="connsiteY1"/>
                </a:cxn>
                <a:cxn ang="0">
                  <a:pos x="connsiteX2" y="connsiteY2"/>
                </a:cxn>
                <a:cxn ang="0">
                  <a:pos x="connsiteX3" y="connsiteY3"/>
                </a:cxn>
              </a:cxnLst>
              <a:rect l="l" t="t" r="r" b="b"/>
              <a:pathLst>
                <a:path w="49113" h="371091">
                  <a:moveTo>
                    <a:pt x="0" y="0"/>
                  </a:moveTo>
                  <a:lnTo>
                    <a:pt x="49114" y="0"/>
                  </a:lnTo>
                  <a:lnTo>
                    <a:pt x="49114" y="371092"/>
                  </a:lnTo>
                  <a:lnTo>
                    <a:pt x="0" y="371092"/>
                  </a:lnTo>
                  <a:close/>
                </a:path>
              </a:pathLst>
            </a:custGeom>
            <a:solidFill>
              <a:schemeClr val="bg1"/>
            </a:solidFill>
            <a:ln w="7293" cap="flat">
              <a:noFill/>
              <a:prstDash val="solid"/>
              <a:miter/>
            </a:ln>
          </p:spPr>
          <p:txBody>
            <a:bodyPr rtlCol="0" anchor="ctr"/>
            <a:lstStyle/>
            <a:p>
              <a:pPr algn="l" rtl="0"/>
              <a:endParaRPr lang="en-US" dirty="0"/>
            </a:p>
          </p:txBody>
        </p:sp>
        <p:sp>
          <p:nvSpPr>
            <p:cNvPr id="446" name="Freeform: Shape 445">
              <a:extLst>
                <a:ext uri="{FF2B5EF4-FFF2-40B4-BE49-F238E27FC236}">
                  <a16:creationId xmlns:a16="http://schemas.microsoft.com/office/drawing/2014/main" id="{E97D3B93-BFC4-435E-A35F-BF446F612DCD}"/>
                </a:ext>
              </a:extLst>
            </p:cNvPr>
            <p:cNvSpPr/>
            <p:nvPr/>
          </p:nvSpPr>
          <p:spPr>
            <a:xfrm rot="18255000">
              <a:off x="14122586" y="2504535"/>
              <a:ext cx="112482" cy="26998"/>
            </a:xfrm>
            <a:custGeom>
              <a:avLst/>
              <a:gdLst>
                <a:gd name="connsiteX0" fmla="*/ 0 w 118880"/>
                <a:gd name="connsiteY0" fmla="*/ 0 h 28534"/>
                <a:gd name="connsiteX1" fmla="*/ 118881 w 118880"/>
                <a:gd name="connsiteY1" fmla="*/ 0 h 28534"/>
                <a:gd name="connsiteX2" fmla="*/ 118881 w 118880"/>
                <a:gd name="connsiteY2" fmla="*/ 28534 h 28534"/>
                <a:gd name="connsiteX3" fmla="*/ 0 w 118880"/>
                <a:gd name="connsiteY3" fmla="*/ 28534 h 28534"/>
              </a:gdLst>
              <a:ahLst/>
              <a:cxnLst>
                <a:cxn ang="0">
                  <a:pos x="connsiteX0" y="connsiteY0"/>
                </a:cxn>
                <a:cxn ang="0">
                  <a:pos x="connsiteX1" y="connsiteY1"/>
                </a:cxn>
                <a:cxn ang="0">
                  <a:pos x="connsiteX2" y="connsiteY2"/>
                </a:cxn>
                <a:cxn ang="0">
                  <a:pos x="connsiteX3" y="connsiteY3"/>
                </a:cxn>
              </a:cxnLst>
              <a:rect l="l" t="t" r="r" b="b"/>
              <a:pathLst>
                <a:path w="118880" h="28534">
                  <a:moveTo>
                    <a:pt x="0" y="0"/>
                  </a:moveTo>
                  <a:lnTo>
                    <a:pt x="118881" y="0"/>
                  </a:lnTo>
                  <a:lnTo>
                    <a:pt x="118881" y="28534"/>
                  </a:lnTo>
                  <a:lnTo>
                    <a:pt x="0" y="28534"/>
                  </a:lnTo>
                  <a:close/>
                </a:path>
              </a:pathLst>
            </a:custGeom>
            <a:solidFill>
              <a:srgbClr val="E5E8EC"/>
            </a:solidFill>
            <a:ln w="7293" cap="flat">
              <a:noFill/>
              <a:prstDash val="solid"/>
              <a:miter/>
            </a:ln>
          </p:spPr>
          <p:txBody>
            <a:bodyPr rtlCol="0" anchor="ctr"/>
            <a:lstStyle/>
            <a:p>
              <a:pPr algn="l" rtl="0"/>
              <a:endParaRPr lang="en-US" dirty="0"/>
            </a:p>
          </p:txBody>
        </p:sp>
        <p:sp>
          <p:nvSpPr>
            <p:cNvPr id="447" name="Freeform: Shape 446">
              <a:extLst>
                <a:ext uri="{FF2B5EF4-FFF2-40B4-BE49-F238E27FC236}">
                  <a16:creationId xmlns:a16="http://schemas.microsoft.com/office/drawing/2014/main" id="{D592E6DC-A3CD-4724-A1AA-C612BC6A8DD0}"/>
                </a:ext>
              </a:extLst>
            </p:cNvPr>
            <p:cNvSpPr/>
            <p:nvPr/>
          </p:nvSpPr>
          <p:spPr>
            <a:xfrm rot="18256199">
              <a:off x="14167442" y="2492658"/>
              <a:ext cx="49715" cy="18574"/>
            </a:xfrm>
            <a:custGeom>
              <a:avLst/>
              <a:gdLst>
                <a:gd name="connsiteX0" fmla="*/ 0 w 52543"/>
                <a:gd name="connsiteY0" fmla="*/ 0 h 19630"/>
                <a:gd name="connsiteX1" fmla="*/ 52544 w 52543"/>
                <a:gd name="connsiteY1" fmla="*/ 0 h 19630"/>
                <a:gd name="connsiteX2" fmla="*/ 52544 w 52543"/>
                <a:gd name="connsiteY2" fmla="*/ 19631 h 19630"/>
                <a:gd name="connsiteX3" fmla="*/ 0 w 52543"/>
                <a:gd name="connsiteY3" fmla="*/ 19631 h 19630"/>
              </a:gdLst>
              <a:ahLst/>
              <a:cxnLst>
                <a:cxn ang="0">
                  <a:pos x="connsiteX0" y="connsiteY0"/>
                </a:cxn>
                <a:cxn ang="0">
                  <a:pos x="connsiteX1" y="connsiteY1"/>
                </a:cxn>
                <a:cxn ang="0">
                  <a:pos x="connsiteX2" y="connsiteY2"/>
                </a:cxn>
                <a:cxn ang="0">
                  <a:pos x="connsiteX3" y="connsiteY3"/>
                </a:cxn>
              </a:cxnLst>
              <a:rect l="l" t="t" r="r" b="b"/>
              <a:pathLst>
                <a:path w="52543" h="19630">
                  <a:moveTo>
                    <a:pt x="0" y="0"/>
                  </a:moveTo>
                  <a:lnTo>
                    <a:pt x="52544" y="0"/>
                  </a:lnTo>
                  <a:lnTo>
                    <a:pt x="52544" y="19631"/>
                  </a:lnTo>
                  <a:lnTo>
                    <a:pt x="0" y="19631"/>
                  </a:lnTo>
                  <a:close/>
                </a:path>
              </a:pathLst>
            </a:custGeom>
            <a:solidFill>
              <a:srgbClr val="CDD5D7"/>
            </a:solidFill>
            <a:ln w="7293" cap="flat">
              <a:noFill/>
              <a:prstDash val="solid"/>
              <a:miter/>
            </a:ln>
          </p:spPr>
          <p:txBody>
            <a:bodyPr rtlCol="0" anchor="ctr"/>
            <a:lstStyle/>
            <a:p>
              <a:pPr algn="l" rtl="0"/>
              <a:endParaRPr lang="en-US" dirty="0"/>
            </a:p>
          </p:txBody>
        </p:sp>
        <p:sp>
          <p:nvSpPr>
            <p:cNvPr id="448" name="Freeform: Shape 447">
              <a:extLst>
                <a:ext uri="{FF2B5EF4-FFF2-40B4-BE49-F238E27FC236}">
                  <a16:creationId xmlns:a16="http://schemas.microsoft.com/office/drawing/2014/main" id="{81B80F33-9220-4695-B9A6-3CE5BE45CDEB}"/>
                </a:ext>
              </a:extLst>
            </p:cNvPr>
            <p:cNvSpPr/>
            <p:nvPr/>
          </p:nvSpPr>
          <p:spPr>
            <a:xfrm>
              <a:off x="14426321" y="2661563"/>
              <a:ext cx="87038" cy="108202"/>
            </a:xfrm>
            <a:custGeom>
              <a:avLst/>
              <a:gdLst>
                <a:gd name="connsiteX0" fmla="*/ 90492 w 91989"/>
                <a:gd name="connsiteY0" fmla="*/ 16055 h 114356"/>
                <a:gd name="connsiteX1" fmla="*/ 23572 w 91989"/>
                <a:gd name="connsiteY1" fmla="*/ 114356 h 114356"/>
                <a:gd name="connsiteX2" fmla="*/ 0 w 91989"/>
                <a:gd name="connsiteY2" fmla="*/ 98301 h 114356"/>
                <a:gd name="connsiteX3" fmla="*/ 66921 w 91989"/>
                <a:gd name="connsiteY3" fmla="*/ 0 h 114356"/>
                <a:gd name="connsiteX4" fmla="*/ 90492 w 91989"/>
                <a:gd name="connsiteY4" fmla="*/ 16055 h 114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89" h="114356">
                  <a:moveTo>
                    <a:pt x="90492" y="16055"/>
                  </a:moveTo>
                  <a:cubicBezTo>
                    <a:pt x="99177" y="61666"/>
                    <a:pt x="69183" y="105672"/>
                    <a:pt x="23572" y="114356"/>
                  </a:cubicBezTo>
                  <a:cubicBezTo>
                    <a:pt x="15690" y="109029"/>
                    <a:pt x="7882" y="103628"/>
                    <a:pt x="0" y="98301"/>
                  </a:cubicBezTo>
                  <a:cubicBezTo>
                    <a:pt x="22331" y="65534"/>
                    <a:pt x="44662" y="32767"/>
                    <a:pt x="66921" y="0"/>
                  </a:cubicBezTo>
                  <a:cubicBezTo>
                    <a:pt x="74802" y="5327"/>
                    <a:pt x="82611" y="10728"/>
                    <a:pt x="90492" y="16055"/>
                  </a:cubicBezTo>
                  <a:close/>
                </a:path>
              </a:pathLst>
            </a:custGeom>
            <a:solidFill>
              <a:schemeClr val="accent1"/>
            </a:solidFill>
            <a:ln w="7293" cap="flat">
              <a:noFill/>
              <a:prstDash val="solid"/>
              <a:miter/>
            </a:ln>
          </p:spPr>
          <p:txBody>
            <a:bodyPr rtlCol="0" anchor="ctr"/>
            <a:lstStyle/>
            <a:p>
              <a:pPr algn="l" rtl="0"/>
              <a:endParaRPr lang="en-US" dirty="0"/>
            </a:p>
          </p:txBody>
        </p:sp>
        <p:sp>
          <p:nvSpPr>
            <p:cNvPr id="449" name="Freeform: Shape 448">
              <a:extLst>
                <a:ext uri="{FF2B5EF4-FFF2-40B4-BE49-F238E27FC236}">
                  <a16:creationId xmlns:a16="http://schemas.microsoft.com/office/drawing/2014/main" id="{163EFA52-CE2F-470A-8AB6-7F81AE8AA445}"/>
                </a:ext>
              </a:extLst>
            </p:cNvPr>
            <p:cNvSpPr/>
            <p:nvPr/>
          </p:nvSpPr>
          <p:spPr>
            <a:xfrm rot="18254401">
              <a:off x="14457225" y="2687564"/>
              <a:ext cx="49715" cy="23200"/>
            </a:xfrm>
            <a:custGeom>
              <a:avLst/>
              <a:gdLst>
                <a:gd name="connsiteX0" fmla="*/ 0 w 52543"/>
                <a:gd name="connsiteY0" fmla="*/ 0 h 24520"/>
                <a:gd name="connsiteX1" fmla="*/ 52544 w 52543"/>
                <a:gd name="connsiteY1" fmla="*/ 0 h 24520"/>
                <a:gd name="connsiteX2" fmla="*/ 52544 w 52543"/>
                <a:gd name="connsiteY2" fmla="*/ 24521 h 24520"/>
                <a:gd name="connsiteX3" fmla="*/ 0 w 52543"/>
                <a:gd name="connsiteY3" fmla="*/ 24521 h 24520"/>
              </a:gdLst>
              <a:ahLst/>
              <a:cxnLst>
                <a:cxn ang="0">
                  <a:pos x="connsiteX0" y="connsiteY0"/>
                </a:cxn>
                <a:cxn ang="0">
                  <a:pos x="connsiteX1" y="connsiteY1"/>
                </a:cxn>
                <a:cxn ang="0">
                  <a:pos x="connsiteX2" y="connsiteY2"/>
                </a:cxn>
                <a:cxn ang="0">
                  <a:pos x="connsiteX3" y="connsiteY3"/>
                </a:cxn>
              </a:cxnLst>
              <a:rect l="l" t="t" r="r" b="b"/>
              <a:pathLst>
                <a:path w="52543" h="24520">
                  <a:moveTo>
                    <a:pt x="0" y="0"/>
                  </a:moveTo>
                  <a:lnTo>
                    <a:pt x="52544" y="0"/>
                  </a:lnTo>
                  <a:lnTo>
                    <a:pt x="52544" y="24521"/>
                  </a:lnTo>
                  <a:lnTo>
                    <a:pt x="0" y="24521"/>
                  </a:lnTo>
                  <a:close/>
                </a:path>
              </a:pathLst>
            </a:custGeom>
            <a:solidFill>
              <a:schemeClr val="bg1"/>
            </a:solidFill>
            <a:ln w="7293" cap="flat">
              <a:noFill/>
              <a:prstDash val="solid"/>
              <a:miter/>
            </a:ln>
          </p:spPr>
          <p:txBody>
            <a:bodyPr rtlCol="0" anchor="ctr"/>
            <a:lstStyle/>
            <a:p>
              <a:pPr algn="l" rtl="0"/>
              <a:endParaRPr lang="en-US" dirty="0"/>
            </a:p>
          </p:txBody>
        </p:sp>
      </p:grpSp>
      <p:grpSp>
        <p:nvGrpSpPr>
          <p:cNvPr id="458" name="Group 457">
            <a:extLst>
              <a:ext uri="{FF2B5EF4-FFF2-40B4-BE49-F238E27FC236}">
                <a16:creationId xmlns:a16="http://schemas.microsoft.com/office/drawing/2014/main" id="{B40325BF-9B36-4562-B544-63B4F78CEDB4}"/>
              </a:ext>
            </a:extLst>
          </p:cNvPr>
          <p:cNvGrpSpPr/>
          <p:nvPr/>
        </p:nvGrpSpPr>
        <p:grpSpPr>
          <a:xfrm>
            <a:off x="554736" y="5716556"/>
            <a:ext cx="320295" cy="385712"/>
            <a:chOff x="9100350" y="3870126"/>
            <a:chExt cx="470876" cy="567047"/>
          </a:xfrm>
        </p:grpSpPr>
        <p:sp>
          <p:nvSpPr>
            <p:cNvPr id="459" name="Freeform: Shape 458">
              <a:extLst>
                <a:ext uri="{FF2B5EF4-FFF2-40B4-BE49-F238E27FC236}">
                  <a16:creationId xmlns:a16="http://schemas.microsoft.com/office/drawing/2014/main" id="{037E6F74-B5DB-4C4D-88D3-346C4E450C24}"/>
                </a:ext>
              </a:extLst>
            </p:cNvPr>
            <p:cNvSpPr/>
            <p:nvPr/>
          </p:nvSpPr>
          <p:spPr>
            <a:xfrm>
              <a:off x="9100350" y="3931127"/>
              <a:ext cx="344720" cy="344732"/>
            </a:xfrm>
            <a:custGeom>
              <a:avLst/>
              <a:gdLst>
                <a:gd name="connsiteX0" fmla="*/ 317187 w 344720"/>
                <a:gd name="connsiteY0" fmla="*/ 78954 h 344732"/>
                <a:gd name="connsiteX1" fmla="*/ 265807 w 344720"/>
                <a:gd name="connsiteY1" fmla="*/ 317200 h 344732"/>
                <a:gd name="connsiteX2" fmla="*/ 27561 w 344720"/>
                <a:gd name="connsiteY2" fmla="*/ 265819 h 344732"/>
                <a:gd name="connsiteX3" fmla="*/ 78942 w 344720"/>
                <a:gd name="connsiteY3" fmla="*/ 27533 h 344732"/>
                <a:gd name="connsiteX4" fmla="*/ 317187 w 344720"/>
                <a:gd name="connsiteY4" fmla="*/ 78914 h 344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720" h="344732">
                  <a:moveTo>
                    <a:pt x="317187" y="78954"/>
                  </a:moveTo>
                  <a:cubicBezTo>
                    <a:pt x="368771" y="158952"/>
                    <a:pt x="345764" y="265575"/>
                    <a:pt x="265807" y="317200"/>
                  </a:cubicBezTo>
                  <a:cubicBezTo>
                    <a:pt x="185809" y="368784"/>
                    <a:pt x="79145" y="345776"/>
                    <a:pt x="27561" y="265819"/>
                  </a:cubicBezTo>
                  <a:cubicBezTo>
                    <a:pt x="-24064" y="185821"/>
                    <a:pt x="-1056" y="79158"/>
                    <a:pt x="78942" y="27533"/>
                  </a:cubicBezTo>
                  <a:cubicBezTo>
                    <a:pt x="158899" y="-24051"/>
                    <a:pt x="265563" y="-1044"/>
                    <a:pt x="317187" y="78914"/>
                  </a:cubicBezTo>
                  <a:close/>
                </a:path>
              </a:pathLst>
            </a:custGeom>
            <a:solidFill>
              <a:schemeClr val="accent3"/>
            </a:solidFill>
            <a:ln w="4030" cap="flat">
              <a:noFill/>
              <a:prstDash val="solid"/>
              <a:miter/>
            </a:ln>
          </p:spPr>
          <p:txBody>
            <a:bodyPr rtlCol="0" anchor="ctr"/>
            <a:lstStyle/>
            <a:p>
              <a:pPr algn="l" rtl="0"/>
              <a:endParaRPr lang="en-US" dirty="0"/>
            </a:p>
          </p:txBody>
        </p:sp>
        <p:sp>
          <p:nvSpPr>
            <p:cNvPr id="460" name="Freeform: Shape 459">
              <a:extLst>
                <a:ext uri="{FF2B5EF4-FFF2-40B4-BE49-F238E27FC236}">
                  <a16:creationId xmlns:a16="http://schemas.microsoft.com/office/drawing/2014/main" id="{6FCDD0D3-7A5A-42FB-8FAB-2E2C1040E1A8}"/>
                </a:ext>
              </a:extLst>
            </p:cNvPr>
            <p:cNvSpPr/>
            <p:nvPr/>
          </p:nvSpPr>
          <p:spPr>
            <a:xfrm>
              <a:off x="9165999" y="4138411"/>
              <a:ext cx="218490" cy="137346"/>
            </a:xfrm>
            <a:custGeom>
              <a:avLst/>
              <a:gdLst>
                <a:gd name="connsiteX0" fmla="*/ 200117 w 218490"/>
                <a:gd name="connsiteY0" fmla="*/ 109875 h 137346"/>
                <a:gd name="connsiteX1" fmla="*/ 218490 w 218490"/>
                <a:gd name="connsiteY1" fmla="*/ 96176 h 137346"/>
                <a:gd name="connsiteX2" fmla="*/ 197068 w 218490"/>
                <a:gd name="connsiteY2" fmla="*/ 33942 h 137346"/>
                <a:gd name="connsiteX3" fmla="*/ 147516 w 218490"/>
                <a:gd name="connsiteY3" fmla="*/ 0 h 137346"/>
                <a:gd name="connsiteX4" fmla="*/ 69429 w 218490"/>
                <a:gd name="connsiteY4" fmla="*/ 1341 h 137346"/>
                <a:gd name="connsiteX5" fmla="*/ 19186 w 218490"/>
                <a:gd name="connsiteY5" fmla="*/ 36625 h 137346"/>
                <a:gd name="connsiteX6" fmla="*/ 0 w 218490"/>
                <a:gd name="connsiteY6" fmla="*/ 100363 h 137346"/>
                <a:gd name="connsiteX7" fmla="*/ 200076 w 218490"/>
                <a:gd name="connsiteY7" fmla="*/ 109834 h 13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90" h="137346">
                  <a:moveTo>
                    <a:pt x="200117" y="109875"/>
                  </a:moveTo>
                  <a:cubicBezTo>
                    <a:pt x="206620" y="105688"/>
                    <a:pt x="212718" y="101054"/>
                    <a:pt x="218490" y="96176"/>
                  </a:cubicBezTo>
                  <a:cubicBezTo>
                    <a:pt x="209791" y="64551"/>
                    <a:pt x="207230" y="41706"/>
                    <a:pt x="197068" y="33942"/>
                  </a:cubicBezTo>
                  <a:cubicBezTo>
                    <a:pt x="185523" y="25121"/>
                    <a:pt x="147516" y="0"/>
                    <a:pt x="147516" y="0"/>
                  </a:cubicBezTo>
                  <a:cubicBezTo>
                    <a:pt x="105444" y="30568"/>
                    <a:pt x="69429" y="1341"/>
                    <a:pt x="69429" y="1341"/>
                  </a:cubicBezTo>
                  <a:cubicBezTo>
                    <a:pt x="69429" y="1341"/>
                    <a:pt x="33454" y="23048"/>
                    <a:pt x="19186" y="36625"/>
                  </a:cubicBezTo>
                  <a:cubicBezTo>
                    <a:pt x="9187" y="46137"/>
                    <a:pt x="2886" y="80567"/>
                    <a:pt x="0" y="100363"/>
                  </a:cubicBezTo>
                  <a:cubicBezTo>
                    <a:pt x="56218" y="144671"/>
                    <a:pt x="136582" y="150809"/>
                    <a:pt x="200076" y="109834"/>
                  </a:cubicBezTo>
                  <a:close/>
                </a:path>
              </a:pathLst>
            </a:custGeom>
            <a:solidFill>
              <a:srgbClr val="FA7071"/>
            </a:solidFill>
            <a:ln w="4030" cap="flat">
              <a:noFill/>
              <a:prstDash val="solid"/>
              <a:miter/>
            </a:ln>
          </p:spPr>
          <p:txBody>
            <a:bodyPr rtlCol="0" anchor="ctr"/>
            <a:lstStyle/>
            <a:p>
              <a:pPr algn="l" rtl="0"/>
              <a:endParaRPr lang="en-US" dirty="0"/>
            </a:p>
          </p:txBody>
        </p:sp>
        <p:sp>
          <p:nvSpPr>
            <p:cNvPr id="461" name="Freeform: Shape 460">
              <a:extLst>
                <a:ext uri="{FF2B5EF4-FFF2-40B4-BE49-F238E27FC236}">
                  <a16:creationId xmlns:a16="http://schemas.microsoft.com/office/drawing/2014/main" id="{D238D6EF-C51D-4F28-8353-E21F652C6E43}"/>
                </a:ext>
              </a:extLst>
            </p:cNvPr>
            <p:cNvSpPr/>
            <p:nvPr/>
          </p:nvSpPr>
          <p:spPr>
            <a:xfrm>
              <a:off x="9395261" y="4205279"/>
              <a:ext cx="92883" cy="114387"/>
            </a:xfrm>
            <a:custGeom>
              <a:avLst/>
              <a:gdLst>
                <a:gd name="connsiteX0" fmla="*/ 50812 w 92883"/>
                <a:gd name="connsiteY0" fmla="*/ 0 h 114387"/>
                <a:gd name="connsiteX1" fmla="*/ 92884 w 92883"/>
                <a:gd name="connsiteY1" fmla="*/ 105038 h 114387"/>
                <a:gd name="connsiteX2" fmla="*/ 82396 w 92883"/>
                <a:gd name="connsiteY2" fmla="*/ 111786 h 114387"/>
                <a:gd name="connsiteX3" fmla="*/ 88819 w 92883"/>
                <a:gd name="connsiteY3" fmla="*/ 107639 h 114387"/>
                <a:gd name="connsiteX4" fmla="*/ 78331 w 92883"/>
                <a:gd name="connsiteY4" fmla="*/ 114387 h 114387"/>
                <a:gd name="connsiteX5" fmla="*/ 0 w 92883"/>
                <a:gd name="connsiteY5" fmla="*/ 32763 h 114387"/>
                <a:gd name="connsiteX6" fmla="*/ 50771 w 92883"/>
                <a:gd name="connsiteY6" fmla="*/ 0 h 11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83" h="114387">
                  <a:moveTo>
                    <a:pt x="50812" y="0"/>
                  </a:moveTo>
                  <a:cubicBezTo>
                    <a:pt x="50812" y="0"/>
                    <a:pt x="50568" y="36747"/>
                    <a:pt x="92884" y="105038"/>
                  </a:cubicBezTo>
                  <a:lnTo>
                    <a:pt x="82396" y="111786"/>
                  </a:lnTo>
                  <a:lnTo>
                    <a:pt x="88819" y="107639"/>
                  </a:lnTo>
                  <a:lnTo>
                    <a:pt x="78331" y="114387"/>
                  </a:lnTo>
                  <a:cubicBezTo>
                    <a:pt x="33576" y="47682"/>
                    <a:pt x="0" y="32763"/>
                    <a:pt x="0" y="32763"/>
                  </a:cubicBezTo>
                  <a:lnTo>
                    <a:pt x="50771" y="0"/>
                  </a:lnTo>
                  <a:close/>
                </a:path>
              </a:pathLst>
            </a:custGeom>
            <a:solidFill>
              <a:schemeClr val="accent3">
                <a:lumMod val="20000"/>
                <a:lumOff val="80000"/>
              </a:schemeClr>
            </a:solidFill>
            <a:ln w="4030" cap="flat">
              <a:noFill/>
              <a:prstDash val="solid"/>
              <a:miter/>
            </a:ln>
          </p:spPr>
          <p:txBody>
            <a:bodyPr rtlCol="0" anchor="ctr"/>
            <a:lstStyle/>
            <a:p>
              <a:pPr algn="l" rtl="0"/>
              <a:endParaRPr lang="en-US" dirty="0"/>
            </a:p>
          </p:txBody>
        </p:sp>
        <p:sp>
          <p:nvSpPr>
            <p:cNvPr id="462" name="Freeform: Shape 461">
              <a:extLst>
                <a:ext uri="{FF2B5EF4-FFF2-40B4-BE49-F238E27FC236}">
                  <a16:creationId xmlns:a16="http://schemas.microsoft.com/office/drawing/2014/main" id="{0C9773E6-6605-4E59-9540-A6F99D008647}"/>
                </a:ext>
              </a:extLst>
            </p:cNvPr>
            <p:cNvSpPr/>
            <p:nvPr/>
          </p:nvSpPr>
          <p:spPr>
            <a:xfrm>
              <a:off x="9456750" y="4283485"/>
              <a:ext cx="114476" cy="153688"/>
            </a:xfrm>
            <a:custGeom>
              <a:avLst/>
              <a:gdLst>
                <a:gd name="connsiteX0" fmla="*/ 178309 w 181883"/>
                <a:gd name="connsiteY0" fmla="*/ 200987 h 244184"/>
                <a:gd name="connsiteX1" fmla="*/ 180951 w 181883"/>
                <a:gd name="connsiteY1" fmla="*/ 220092 h 244184"/>
                <a:gd name="connsiteX2" fmla="*/ 168391 w 181883"/>
                <a:gd name="connsiteY2" fmla="*/ 236799 h 244184"/>
                <a:gd name="connsiteX3" fmla="*/ 164935 w 181883"/>
                <a:gd name="connsiteY3" fmla="*/ 239034 h 244184"/>
                <a:gd name="connsiteX4" fmla="*/ 126156 w 181883"/>
                <a:gd name="connsiteY4" fmla="*/ 232978 h 244184"/>
                <a:gd name="connsiteX5" fmla="*/ 3029 w 181883"/>
                <a:gd name="connsiteY5" fmla="*/ 42129 h 244184"/>
                <a:gd name="connsiteX6" fmla="*/ 793 w 181883"/>
                <a:gd name="connsiteY6" fmla="*/ 25951 h 244184"/>
                <a:gd name="connsiteX7" fmla="*/ 11403 w 181883"/>
                <a:gd name="connsiteY7" fmla="*/ 11805 h 244184"/>
                <a:gd name="connsiteX8" fmla="*/ 23313 w 181883"/>
                <a:gd name="connsiteY8" fmla="*/ 4122 h 244184"/>
                <a:gd name="connsiteX9" fmla="*/ 54369 w 181883"/>
                <a:gd name="connsiteY9" fmla="*/ 8959 h 244184"/>
                <a:gd name="connsiteX10" fmla="*/ 178228 w 181883"/>
                <a:gd name="connsiteY10" fmla="*/ 200987 h 24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883" h="244184">
                  <a:moveTo>
                    <a:pt x="178309" y="200987"/>
                  </a:moveTo>
                  <a:cubicBezTo>
                    <a:pt x="181845" y="206474"/>
                    <a:pt x="182821" y="213344"/>
                    <a:pt x="180951" y="220092"/>
                  </a:cubicBezTo>
                  <a:cubicBezTo>
                    <a:pt x="179081" y="226799"/>
                    <a:pt x="174569" y="232815"/>
                    <a:pt x="168391" y="236799"/>
                  </a:cubicBezTo>
                  <a:lnTo>
                    <a:pt x="164935" y="239034"/>
                  </a:lnTo>
                  <a:cubicBezTo>
                    <a:pt x="151318" y="247815"/>
                    <a:pt x="134001" y="245091"/>
                    <a:pt x="126156" y="232978"/>
                  </a:cubicBezTo>
                  <a:lnTo>
                    <a:pt x="3029" y="42129"/>
                  </a:lnTo>
                  <a:cubicBezTo>
                    <a:pt x="21" y="37454"/>
                    <a:pt x="-792" y="31642"/>
                    <a:pt x="793" y="25951"/>
                  </a:cubicBezTo>
                  <a:cubicBezTo>
                    <a:pt x="2338" y="20260"/>
                    <a:pt x="6200" y="15179"/>
                    <a:pt x="11403" y="11805"/>
                  </a:cubicBezTo>
                  <a:lnTo>
                    <a:pt x="23313" y="4122"/>
                  </a:lnTo>
                  <a:cubicBezTo>
                    <a:pt x="34207" y="-2910"/>
                    <a:pt x="48109" y="-715"/>
                    <a:pt x="54369" y="8959"/>
                  </a:cubicBezTo>
                  <a:lnTo>
                    <a:pt x="178228" y="200987"/>
                  </a:lnTo>
                  <a:close/>
                </a:path>
              </a:pathLst>
            </a:custGeom>
            <a:solidFill>
              <a:schemeClr val="accent3"/>
            </a:solidFill>
            <a:ln w="4030" cap="flat">
              <a:noFill/>
              <a:prstDash val="solid"/>
              <a:miter/>
            </a:ln>
          </p:spPr>
          <p:txBody>
            <a:bodyPr rtlCol="0" anchor="ctr"/>
            <a:lstStyle/>
            <a:p>
              <a:pPr algn="l" rtl="0"/>
              <a:endParaRPr lang="en-US" dirty="0"/>
            </a:p>
          </p:txBody>
        </p:sp>
        <p:sp>
          <p:nvSpPr>
            <p:cNvPr id="463" name="Freeform: Shape 462">
              <a:extLst>
                <a:ext uri="{FF2B5EF4-FFF2-40B4-BE49-F238E27FC236}">
                  <a16:creationId xmlns:a16="http://schemas.microsoft.com/office/drawing/2014/main" id="{23861673-DFBD-4B8C-B36D-475FDECDC15F}"/>
                </a:ext>
              </a:extLst>
            </p:cNvPr>
            <p:cNvSpPr/>
            <p:nvPr/>
          </p:nvSpPr>
          <p:spPr>
            <a:xfrm>
              <a:off x="9143712" y="3893201"/>
              <a:ext cx="344690" cy="344692"/>
            </a:xfrm>
            <a:custGeom>
              <a:avLst/>
              <a:gdLst>
                <a:gd name="connsiteX0" fmla="*/ 317157 w 344690"/>
                <a:gd name="connsiteY0" fmla="*/ 78914 h 344692"/>
                <a:gd name="connsiteX1" fmla="*/ 265777 w 344690"/>
                <a:gd name="connsiteY1" fmla="*/ 317159 h 344692"/>
                <a:gd name="connsiteX2" fmla="*/ 27531 w 344690"/>
                <a:gd name="connsiteY2" fmla="*/ 265779 h 344692"/>
                <a:gd name="connsiteX3" fmla="*/ 78952 w 344690"/>
                <a:gd name="connsiteY3" fmla="*/ 27533 h 344692"/>
                <a:gd name="connsiteX4" fmla="*/ 317157 w 344690"/>
                <a:gd name="connsiteY4" fmla="*/ 78914 h 34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690" h="344692">
                  <a:moveTo>
                    <a:pt x="317157" y="78914"/>
                  </a:moveTo>
                  <a:cubicBezTo>
                    <a:pt x="368741" y="158912"/>
                    <a:pt x="345734" y="265535"/>
                    <a:pt x="265777" y="317159"/>
                  </a:cubicBezTo>
                  <a:cubicBezTo>
                    <a:pt x="185779" y="368743"/>
                    <a:pt x="79115" y="345736"/>
                    <a:pt x="27531" y="265779"/>
                  </a:cubicBezTo>
                  <a:cubicBezTo>
                    <a:pt x="-24053" y="185781"/>
                    <a:pt x="-1045" y="79117"/>
                    <a:pt x="78952" y="27533"/>
                  </a:cubicBezTo>
                  <a:cubicBezTo>
                    <a:pt x="158910" y="-24051"/>
                    <a:pt x="265573" y="-1044"/>
                    <a:pt x="317157" y="78914"/>
                  </a:cubicBezTo>
                  <a:close/>
                </a:path>
              </a:pathLst>
            </a:custGeom>
            <a:solidFill>
              <a:srgbClr val="FFFFFF">
                <a:alpha val="40000"/>
              </a:srgbClr>
            </a:solidFill>
            <a:ln w="4030" cap="flat">
              <a:noFill/>
              <a:prstDash val="solid"/>
              <a:miter/>
            </a:ln>
          </p:spPr>
          <p:txBody>
            <a:bodyPr rtlCol="0" anchor="ctr"/>
            <a:lstStyle/>
            <a:p>
              <a:pPr algn="l" rtl="0"/>
              <a:endParaRPr lang="en-US" dirty="0"/>
            </a:p>
          </p:txBody>
        </p:sp>
        <p:sp>
          <p:nvSpPr>
            <p:cNvPr id="464" name="Freeform: Shape 463">
              <a:extLst>
                <a:ext uri="{FF2B5EF4-FFF2-40B4-BE49-F238E27FC236}">
                  <a16:creationId xmlns:a16="http://schemas.microsoft.com/office/drawing/2014/main" id="{F62AF4B1-3A01-4A15-A608-94D67C60D78B}"/>
                </a:ext>
              </a:extLst>
            </p:cNvPr>
            <p:cNvSpPr/>
            <p:nvPr/>
          </p:nvSpPr>
          <p:spPr>
            <a:xfrm>
              <a:off x="9120635" y="3870126"/>
              <a:ext cx="390831" cy="390831"/>
            </a:xfrm>
            <a:custGeom>
              <a:avLst/>
              <a:gdLst>
                <a:gd name="connsiteX0" fmla="*/ 359624 w 390831"/>
                <a:gd name="connsiteY0" fmla="*/ 89509 h 390831"/>
                <a:gd name="connsiteX1" fmla="*/ 89509 w 390831"/>
                <a:gd name="connsiteY1" fmla="*/ 31218 h 390831"/>
                <a:gd name="connsiteX2" fmla="*/ 31218 w 390831"/>
                <a:gd name="connsiteY2" fmla="*/ 301333 h 390831"/>
                <a:gd name="connsiteX3" fmla="*/ 301333 w 390831"/>
                <a:gd name="connsiteY3" fmla="*/ 359583 h 390831"/>
                <a:gd name="connsiteX4" fmla="*/ 359583 w 390831"/>
                <a:gd name="connsiteY4" fmla="*/ 89469 h 390831"/>
                <a:gd name="connsiteX5" fmla="*/ 288854 w 390831"/>
                <a:gd name="connsiteY5" fmla="*/ 340234 h 390831"/>
                <a:gd name="connsiteX6" fmla="*/ 50608 w 390831"/>
                <a:gd name="connsiteY6" fmla="*/ 288854 h 390831"/>
                <a:gd name="connsiteX7" fmla="*/ 102029 w 390831"/>
                <a:gd name="connsiteY7" fmla="*/ 50608 h 390831"/>
                <a:gd name="connsiteX8" fmla="*/ 340234 w 390831"/>
                <a:gd name="connsiteY8" fmla="*/ 101989 h 390831"/>
                <a:gd name="connsiteX9" fmla="*/ 288854 w 390831"/>
                <a:gd name="connsiteY9" fmla="*/ 340234 h 39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831" h="390831">
                  <a:moveTo>
                    <a:pt x="359624" y="89509"/>
                  </a:moveTo>
                  <a:cubicBezTo>
                    <a:pt x="301130" y="-1179"/>
                    <a:pt x="180198" y="-27276"/>
                    <a:pt x="89509" y="31218"/>
                  </a:cubicBezTo>
                  <a:cubicBezTo>
                    <a:pt x="-1179" y="89713"/>
                    <a:pt x="-27276" y="210685"/>
                    <a:pt x="31218" y="301333"/>
                  </a:cubicBezTo>
                  <a:cubicBezTo>
                    <a:pt x="89713" y="392022"/>
                    <a:pt x="210644" y="418119"/>
                    <a:pt x="301333" y="359583"/>
                  </a:cubicBezTo>
                  <a:cubicBezTo>
                    <a:pt x="392022" y="301089"/>
                    <a:pt x="418118" y="180157"/>
                    <a:pt x="359583" y="89469"/>
                  </a:cubicBezTo>
                  <a:close/>
                  <a:moveTo>
                    <a:pt x="288854" y="340234"/>
                  </a:moveTo>
                  <a:cubicBezTo>
                    <a:pt x="208856" y="391818"/>
                    <a:pt x="102192" y="368811"/>
                    <a:pt x="50608" y="288854"/>
                  </a:cubicBezTo>
                  <a:cubicBezTo>
                    <a:pt x="-976" y="208856"/>
                    <a:pt x="22032" y="102192"/>
                    <a:pt x="102029" y="50608"/>
                  </a:cubicBezTo>
                  <a:cubicBezTo>
                    <a:pt x="181987" y="-976"/>
                    <a:pt x="288650" y="22032"/>
                    <a:pt x="340234" y="101989"/>
                  </a:cubicBezTo>
                  <a:cubicBezTo>
                    <a:pt x="391818" y="181987"/>
                    <a:pt x="368811" y="288610"/>
                    <a:pt x="288854" y="340234"/>
                  </a:cubicBezTo>
                  <a:close/>
                </a:path>
              </a:pathLst>
            </a:custGeom>
            <a:solidFill>
              <a:schemeClr val="accent2"/>
            </a:solidFill>
            <a:ln w="4030" cap="flat">
              <a:noFill/>
              <a:prstDash val="solid"/>
              <a:miter/>
            </a:ln>
          </p:spPr>
          <p:txBody>
            <a:bodyPr rtlCol="0" anchor="ctr"/>
            <a:lstStyle/>
            <a:p>
              <a:pPr algn="l" rtl="0"/>
              <a:endParaRPr lang="en-US" dirty="0"/>
            </a:p>
          </p:txBody>
        </p:sp>
        <p:sp>
          <p:nvSpPr>
            <p:cNvPr id="465" name="Freeform: Shape 464">
              <a:extLst>
                <a:ext uri="{FF2B5EF4-FFF2-40B4-BE49-F238E27FC236}">
                  <a16:creationId xmlns:a16="http://schemas.microsoft.com/office/drawing/2014/main" id="{6EF0F9C3-A08A-402D-BEE6-D8B26A2CC433}"/>
                </a:ext>
              </a:extLst>
            </p:cNvPr>
            <p:cNvSpPr/>
            <p:nvPr/>
          </p:nvSpPr>
          <p:spPr>
            <a:xfrm>
              <a:off x="9504587" y="4341861"/>
              <a:ext cx="24898" cy="25405"/>
            </a:xfrm>
            <a:custGeom>
              <a:avLst/>
              <a:gdLst>
                <a:gd name="connsiteX0" fmla="*/ 24898 w 24898"/>
                <a:gd name="connsiteY0" fmla="*/ 21503 h 25405"/>
                <a:gd name="connsiteX1" fmla="*/ 1240 w 24898"/>
                <a:gd name="connsiteY1" fmla="*/ 25405 h 25405"/>
                <a:gd name="connsiteX2" fmla="*/ 6565 w 24898"/>
                <a:gd name="connsiteY2" fmla="*/ 406 h 25405"/>
                <a:gd name="connsiteX3" fmla="*/ 24898 w 24898"/>
                <a:gd name="connsiteY3" fmla="*/ 21503 h 25405"/>
              </a:gdLst>
              <a:ahLst/>
              <a:cxnLst>
                <a:cxn ang="0">
                  <a:pos x="connsiteX0" y="connsiteY0"/>
                </a:cxn>
                <a:cxn ang="0">
                  <a:pos x="connsiteX1" y="connsiteY1"/>
                </a:cxn>
                <a:cxn ang="0">
                  <a:pos x="connsiteX2" y="connsiteY2"/>
                </a:cxn>
                <a:cxn ang="0">
                  <a:pos x="connsiteX3" y="connsiteY3"/>
                </a:cxn>
              </a:cxnLst>
              <a:rect l="l" t="t" r="r" b="b"/>
              <a:pathLst>
                <a:path w="24898" h="25405">
                  <a:moveTo>
                    <a:pt x="24898" y="21503"/>
                  </a:moveTo>
                  <a:lnTo>
                    <a:pt x="1240" y="25405"/>
                  </a:lnTo>
                  <a:cubicBezTo>
                    <a:pt x="1240" y="25405"/>
                    <a:pt x="-3841" y="2967"/>
                    <a:pt x="6565" y="406"/>
                  </a:cubicBezTo>
                  <a:cubicBezTo>
                    <a:pt x="22053" y="-3456"/>
                    <a:pt x="24898" y="21503"/>
                    <a:pt x="24898" y="21503"/>
                  </a:cubicBezTo>
                  <a:close/>
                </a:path>
              </a:pathLst>
            </a:custGeom>
            <a:solidFill>
              <a:srgbClr val="FFFFFF">
                <a:alpha val="30000"/>
              </a:srgbClr>
            </a:solidFill>
            <a:ln w="4030" cap="flat">
              <a:noFill/>
              <a:prstDash val="solid"/>
              <a:miter/>
            </a:ln>
          </p:spPr>
          <p:txBody>
            <a:bodyPr rtlCol="0" anchor="ctr"/>
            <a:lstStyle/>
            <a:p>
              <a:pPr algn="l" rtl="0"/>
              <a:endParaRPr lang="en-US" dirty="0"/>
            </a:p>
          </p:txBody>
        </p:sp>
        <p:sp>
          <p:nvSpPr>
            <p:cNvPr id="466" name="Freeform: Shape 465">
              <a:extLst>
                <a:ext uri="{FF2B5EF4-FFF2-40B4-BE49-F238E27FC236}">
                  <a16:creationId xmlns:a16="http://schemas.microsoft.com/office/drawing/2014/main" id="{B7D1CAD9-C9DD-4C7F-9685-83C661BF7FD1}"/>
                </a:ext>
              </a:extLst>
            </p:cNvPr>
            <p:cNvSpPr/>
            <p:nvPr/>
          </p:nvSpPr>
          <p:spPr>
            <a:xfrm>
              <a:off x="9174613" y="3918345"/>
              <a:ext cx="189835" cy="135352"/>
            </a:xfrm>
            <a:custGeom>
              <a:avLst/>
              <a:gdLst>
                <a:gd name="connsiteX0" fmla="*/ 189836 w 189835"/>
                <a:gd name="connsiteY0" fmla="*/ 15437 h 135352"/>
                <a:gd name="connsiteX1" fmla="*/ 4 w 189835"/>
                <a:gd name="connsiteY1" fmla="*/ 135353 h 135352"/>
                <a:gd name="connsiteX2" fmla="*/ 189836 w 189835"/>
                <a:gd name="connsiteY2" fmla="*/ 15437 h 135352"/>
              </a:gdLst>
              <a:ahLst/>
              <a:cxnLst>
                <a:cxn ang="0">
                  <a:pos x="connsiteX0" y="connsiteY0"/>
                </a:cxn>
                <a:cxn ang="0">
                  <a:pos x="connsiteX1" y="connsiteY1"/>
                </a:cxn>
                <a:cxn ang="0">
                  <a:pos x="connsiteX2" y="connsiteY2"/>
                </a:cxn>
              </a:cxnLst>
              <a:rect l="l" t="t" r="r" b="b"/>
              <a:pathLst>
                <a:path w="189835" h="135352">
                  <a:moveTo>
                    <a:pt x="189836" y="15437"/>
                  </a:moveTo>
                  <a:cubicBezTo>
                    <a:pt x="189836" y="15437"/>
                    <a:pt x="73660" y="-33505"/>
                    <a:pt x="4" y="135353"/>
                  </a:cubicBezTo>
                  <a:cubicBezTo>
                    <a:pt x="4" y="135353"/>
                    <a:pt x="-3289" y="-54398"/>
                    <a:pt x="189836" y="15437"/>
                  </a:cubicBezTo>
                  <a:close/>
                </a:path>
              </a:pathLst>
            </a:custGeom>
            <a:solidFill>
              <a:schemeClr val="accent2">
                <a:lumMod val="20000"/>
                <a:lumOff val="80000"/>
              </a:schemeClr>
            </a:solidFill>
            <a:ln w="4030" cap="flat">
              <a:noFill/>
              <a:prstDash val="solid"/>
              <a:miter/>
            </a:ln>
          </p:spPr>
          <p:txBody>
            <a:bodyPr rtlCol="0" anchor="ctr"/>
            <a:lstStyle/>
            <a:p>
              <a:pPr algn="l" rtl="0"/>
              <a:endParaRPr lang="en-US" dirty="0"/>
            </a:p>
          </p:txBody>
        </p:sp>
        <p:sp>
          <p:nvSpPr>
            <p:cNvPr id="467" name="Freeform: Shape 466">
              <a:extLst>
                <a:ext uri="{FF2B5EF4-FFF2-40B4-BE49-F238E27FC236}">
                  <a16:creationId xmlns:a16="http://schemas.microsoft.com/office/drawing/2014/main" id="{F09DB99E-BBC8-4688-B0D3-C79EA27FA88C}"/>
                </a:ext>
              </a:extLst>
            </p:cNvPr>
            <p:cNvSpPr/>
            <p:nvPr/>
          </p:nvSpPr>
          <p:spPr>
            <a:xfrm>
              <a:off x="9192466" y="4017903"/>
              <a:ext cx="171560" cy="173381"/>
            </a:xfrm>
            <a:custGeom>
              <a:avLst/>
              <a:gdLst>
                <a:gd name="connsiteX0" fmla="*/ 33247 w 171560"/>
                <a:gd name="connsiteY0" fmla="*/ 18275 h 173381"/>
                <a:gd name="connsiteX1" fmla="*/ 21256 w 171560"/>
                <a:gd name="connsiteY1" fmla="*/ 44169 h 173381"/>
                <a:gd name="connsiteX2" fmla="*/ 24467 w 171560"/>
                <a:gd name="connsiteY2" fmla="*/ 58925 h 173381"/>
                <a:gd name="connsiteX3" fmla="*/ 32678 w 171560"/>
                <a:gd name="connsiteY3" fmla="*/ 71851 h 173381"/>
                <a:gd name="connsiteX4" fmla="*/ 13614 w 171560"/>
                <a:gd name="connsiteY4" fmla="*/ 77379 h 173381"/>
                <a:gd name="connsiteX5" fmla="*/ 20402 w 171560"/>
                <a:gd name="connsiteY5" fmla="*/ 140630 h 173381"/>
                <a:gd name="connsiteX6" fmla="*/ 34873 w 171560"/>
                <a:gd name="connsiteY6" fmla="*/ 141483 h 173381"/>
                <a:gd name="connsiteX7" fmla="*/ 22069 w 171560"/>
                <a:gd name="connsiteY7" fmla="*/ 161523 h 173381"/>
                <a:gd name="connsiteX8" fmla="*/ 64791 w 171560"/>
                <a:gd name="connsiteY8" fmla="*/ 172621 h 173381"/>
                <a:gd name="connsiteX9" fmla="*/ 112148 w 171560"/>
                <a:gd name="connsiteY9" fmla="*/ 166361 h 173381"/>
                <a:gd name="connsiteX10" fmla="*/ 127635 w 171560"/>
                <a:gd name="connsiteY10" fmla="*/ 133882 h 173381"/>
                <a:gd name="connsiteX11" fmla="*/ 144098 w 171560"/>
                <a:gd name="connsiteY11" fmla="*/ 155385 h 173381"/>
                <a:gd name="connsiteX12" fmla="*/ 168691 w 171560"/>
                <a:gd name="connsiteY12" fmla="*/ 145833 h 173381"/>
                <a:gd name="connsiteX13" fmla="*/ 166699 w 171560"/>
                <a:gd name="connsiteY13" fmla="*/ 121850 h 173381"/>
                <a:gd name="connsiteX14" fmla="*/ 146049 w 171560"/>
                <a:gd name="connsiteY14" fmla="*/ 103273 h 173381"/>
                <a:gd name="connsiteX15" fmla="*/ 160236 w 171560"/>
                <a:gd name="connsiteY15" fmla="*/ 59616 h 173381"/>
                <a:gd name="connsiteX16" fmla="*/ 33938 w 171560"/>
                <a:gd name="connsiteY16" fmla="*/ 17544 h 173381"/>
                <a:gd name="connsiteX17" fmla="*/ 33207 w 171560"/>
                <a:gd name="connsiteY17" fmla="*/ 18235 h 173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560" h="173381">
                  <a:moveTo>
                    <a:pt x="33247" y="18275"/>
                  </a:moveTo>
                  <a:cubicBezTo>
                    <a:pt x="25727" y="25551"/>
                    <a:pt x="21256" y="33437"/>
                    <a:pt x="21256" y="44169"/>
                  </a:cubicBezTo>
                  <a:cubicBezTo>
                    <a:pt x="21256" y="50022"/>
                    <a:pt x="21988" y="54006"/>
                    <a:pt x="24467" y="58925"/>
                  </a:cubicBezTo>
                  <a:cubicBezTo>
                    <a:pt x="26622" y="63233"/>
                    <a:pt x="31581" y="67542"/>
                    <a:pt x="32678" y="71851"/>
                  </a:cubicBezTo>
                  <a:cubicBezTo>
                    <a:pt x="25565" y="72298"/>
                    <a:pt x="19549" y="72379"/>
                    <a:pt x="13614" y="77379"/>
                  </a:cubicBezTo>
                  <a:cubicBezTo>
                    <a:pt x="-5126" y="93273"/>
                    <a:pt x="-6020" y="130752"/>
                    <a:pt x="20402" y="140630"/>
                  </a:cubicBezTo>
                  <a:cubicBezTo>
                    <a:pt x="24792" y="142256"/>
                    <a:pt x="30849" y="143109"/>
                    <a:pt x="34873" y="141483"/>
                  </a:cubicBezTo>
                  <a:cubicBezTo>
                    <a:pt x="25971" y="136240"/>
                    <a:pt x="14589" y="152865"/>
                    <a:pt x="22069" y="161523"/>
                  </a:cubicBezTo>
                  <a:cubicBezTo>
                    <a:pt x="30808" y="171686"/>
                    <a:pt x="52393" y="172052"/>
                    <a:pt x="64791" y="172621"/>
                  </a:cubicBezTo>
                  <a:cubicBezTo>
                    <a:pt x="79059" y="173271"/>
                    <a:pt x="100522" y="175669"/>
                    <a:pt x="112148" y="166361"/>
                  </a:cubicBezTo>
                  <a:cubicBezTo>
                    <a:pt x="121009" y="159247"/>
                    <a:pt x="125684" y="144247"/>
                    <a:pt x="127635" y="133882"/>
                  </a:cubicBezTo>
                  <a:cubicBezTo>
                    <a:pt x="131212" y="142052"/>
                    <a:pt x="134911" y="152337"/>
                    <a:pt x="144098" y="155385"/>
                  </a:cubicBezTo>
                  <a:cubicBezTo>
                    <a:pt x="153000" y="158312"/>
                    <a:pt x="163691" y="153190"/>
                    <a:pt x="168691" y="145833"/>
                  </a:cubicBezTo>
                  <a:cubicBezTo>
                    <a:pt x="173650" y="138475"/>
                    <a:pt x="171658" y="128354"/>
                    <a:pt x="166699" y="121850"/>
                  </a:cubicBezTo>
                  <a:cubicBezTo>
                    <a:pt x="164301" y="118679"/>
                    <a:pt x="150033" y="101769"/>
                    <a:pt x="146049" y="103273"/>
                  </a:cubicBezTo>
                  <a:cubicBezTo>
                    <a:pt x="163854" y="96484"/>
                    <a:pt x="163894" y="77379"/>
                    <a:pt x="160236" y="59616"/>
                  </a:cubicBezTo>
                  <a:cubicBezTo>
                    <a:pt x="149301" y="6528"/>
                    <a:pt x="73897" y="-19895"/>
                    <a:pt x="33938" y="17544"/>
                  </a:cubicBezTo>
                  <a:cubicBezTo>
                    <a:pt x="33695" y="17787"/>
                    <a:pt x="33451" y="17991"/>
                    <a:pt x="33207" y="18235"/>
                  </a:cubicBezTo>
                  <a:close/>
                </a:path>
              </a:pathLst>
            </a:custGeom>
            <a:solidFill>
              <a:schemeClr val="accent3">
                <a:lumMod val="75000"/>
              </a:schemeClr>
            </a:solidFill>
            <a:ln w="4030" cap="flat">
              <a:noFill/>
              <a:prstDash val="solid"/>
              <a:miter/>
            </a:ln>
          </p:spPr>
          <p:txBody>
            <a:bodyPr rtlCol="0" anchor="ctr"/>
            <a:lstStyle/>
            <a:p>
              <a:pPr algn="l" rtl="0"/>
              <a:endParaRPr lang="en-US" dirty="0"/>
            </a:p>
          </p:txBody>
        </p:sp>
        <p:sp>
          <p:nvSpPr>
            <p:cNvPr id="468" name="Freeform: Shape 467">
              <a:extLst>
                <a:ext uri="{FF2B5EF4-FFF2-40B4-BE49-F238E27FC236}">
                  <a16:creationId xmlns:a16="http://schemas.microsoft.com/office/drawing/2014/main" id="{9182FD9F-5CF7-405C-89B5-CE63261F878F}"/>
                </a:ext>
              </a:extLst>
            </p:cNvPr>
            <p:cNvSpPr/>
            <p:nvPr/>
          </p:nvSpPr>
          <p:spPr>
            <a:xfrm>
              <a:off x="9178505" y="4061907"/>
              <a:ext cx="177849" cy="165110"/>
            </a:xfrm>
            <a:custGeom>
              <a:avLst/>
              <a:gdLst>
                <a:gd name="connsiteX0" fmla="*/ 117287 w 177849"/>
                <a:gd name="connsiteY0" fmla="*/ 3986 h 165110"/>
                <a:gd name="connsiteX1" fmla="*/ 119889 w 177849"/>
                <a:gd name="connsiteY1" fmla="*/ 51302 h 165110"/>
                <a:gd name="connsiteX2" fmla="*/ 148222 w 177849"/>
                <a:gd name="connsiteY2" fmla="*/ 89146 h 165110"/>
                <a:gd name="connsiteX3" fmla="*/ 177204 w 177849"/>
                <a:gd name="connsiteY3" fmla="*/ 118210 h 165110"/>
                <a:gd name="connsiteX4" fmla="*/ 154278 w 177849"/>
                <a:gd name="connsiteY4" fmla="*/ 146706 h 165110"/>
                <a:gd name="connsiteX5" fmla="*/ 108223 w 177849"/>
                <a:gd name="connsiteY5" fmla="*/ 158697 h 165110"/>
                <a:gd name="connsiteX6" fmla="*/ 86841 w 177849"/>
                <a:gd name="connsiteY6" fmla="*/ 164795 h 165110"/>
                <a:gd name="connsiteX7" fmla="*/ 61395 w 177849"/>
                <a:gd name="connsiteY7" fmla="*/ 163738 h 165110"/>
                <a:gd name="connsiteX8" fmla="*/ 17859 w 177849"/>
                <a:gd name="connsiteY8" fmla="*/ 150283 h 165110"/>
                <a:gd name="connsiteX9" fmla="*/ 5664 w 177849"/>
                <a:gd name="connsiteY9" fmla="*/ 118210 h 165110"/>
                <a:gd name="connsiteX10" fmla="*/ 36720 w 177849"/>
                <a:gd name="connsiteY10" fmla="*/ 96300 h 165110"/>
                <a:gd name="connsiteX11" fmla="*/ 76232 w 177849"/>
                <a:gd name="connsiteY11" fmla="*/ 32603 h 165110"/>
                <a:gd name="connsiteX12" fmla="*/ 117328 w 177849"/>
                <a:gd name="connsiteY12" fmla="*/ 3986 h 165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849" h="165110">
                  <a:moveTo>
                    <a:pt x="117287" y="3986"/>
                  </a:moveTo>
                  <a:cubicBezTo>
                    <a:pt x="122409" y="9108"/>
                    <a:pt x="118263" y="42928"/>
                    <a:pt x="119889" y="51302"/>
                  </a:cubicBezTo>
                  <a:cubicBezTo>
                    <a:pt x="123507" y="70122"/>
                    <a:pt x="134523" y="76951"/>
                    <a:pt x="148222" y="89146"/>
                  </a:cubicBezTo>
                  <a:cubicBezTo>
                    <a:pt x="157164" y="97113"/>
                    <a:pt x="173505" y="106544"/>
                    <a:pt x="177204" y="118210"/>
                  </a:cubicBezTo>
                  <a:cubicBezTo>
                    <a:pt x="181269" y="130974"/>
                    <a:pt x="165213" y="140283"/>
                    <a:pt x="154278" y="146706"/>
                  </a:cubicBezTo>
                  <a:cubicBezTo>
                    <a:pt x="139482" y="155405"/>
                    <a:pt x="124970" y="155161"/>
                    <a:pt x="108223" y="158697"/>
                  </a:cubicBezTo>
                  <a:cubicBezTo>
                    <a:pt x="100824" y="160242"/>
                    <a:pt x="94930" y="163982"/>
                    <a:pt x="86841" y="164795"/>
                  </a:cubicBezTo>
                  <a:cubicBezTo>
                    <a:pt x="78427" y="165648"/>
                    <a:pt x="69484" y="164591"/>
                    <a:pt x="61395" y="163738"/>
                  </a:cubicBezTo>
                  <a:cubicBezTo>
                    <a:pt x="46842" y="162152"/>
                    <a:pt x="30420" y="157803"/>
                    <a:pt x="17859" y="150283"/>
                  </a:cubicBezTo>
                  <a:cubicBezTo>
                    <a:pt x="2982" y="141380"/>
                    <a:pt x="-6734" y="134673"/>
                    <a:pt x="5664" y="118210"/>
                  </a:cubicBezTo>
                  <a:cubicBezTo>
                    <a:pt x="13347" y="108007"/>
                    <a:pt x="27127" y="103577"/>
                    <a:pt x="36720" y="96300"/>
                  </a:cubicBezTo>
                  <a:cubicBezTo>
                    <a:pt x="58712" y="79594"/>
                    <a:pt x="77858" y="62114"/>
                    <a:pt x="76232" y="32603"/>
                  </a:cubicBezTo>
                  <a:cubicBezTo>
                    <a:pt x="74971" y="10205"/>
                    <a:pt x="104849" y="-8453"/>
                    <a:pt x="117328" y="3986"/>
                  </a:cubicBezTo>
                  <a:close/>
                </a:path>
              </a:pathLst>
            </a:custGeom>
            <a:solidFill>
              <a:schemeClr val="bg1">
                <a:lumMod val="65000"/>
              </a:schemeClr>
            </a:solidFill>
            <a:ln w="4030" cap="flat">
              <a:noFill/>
              <a:prstDash val="solid"/>
              <a:miter/>
            </a:ln>
          </p:spPr>
          <p:txBody>
            <a:bodyPr rtlCol="0" anchor="ctr"/>
            <a:lstStyle/>
            <a:p>
              <a:pPr algn="l" rtl="0"/>
              <a:endParaRPr lang="en-US" dirty="0"/>
            </a:p>
          </p:txBody>
        </p:sp>
        <p:sp>
          <p:nvSpPr>
            <p:cNvPr id="469" name="Freeform: Shape 468">
              <a:extLst>
                <a:ext uri="{FF2B5EF4-FFF2-40B4-BE49-F238E27FC236}">
                  <a16:creationId xmlns:a16="http://schemas.microsoft.com/office/drawing/2014/main" id="{6AC8882A-9CF4-4A54-B1CF-062AAA1EB88F}"/>
                </a:ext>
              </a:extLst>
            </p:cNvPr>
            <p:cNvSpPr/>
            <p:nvPr/>
          </p:nvSpPr>
          <p:spPr>
            <a:xfrm>
              <a:off x="9164170" y="4138452"/>
              <a:ext cx="224221" cy="142107"/>
            </a:xfrm>
            <a:custGeom>
              <a:avLst/>
              <a:gdLst>
                <a:gd name="connsiteX0" fmla="*/ 71299 w 224221"/>
                <a:gd name="connsiteY0" fmla="*/ 1341 h 142107"/>
                <a:gd name="connsiteX1" fmla="*/ 149386 w 224221"/>
                <a:gd name="connsiteY1" fmla="*/ 0 h 142107"/>
                <a:gd name="connsiteX2" fmla="*/ 198938 w 224221"/>
                <a:gd name="connsiteY2" fmla="*/ 33942 h 142107"/>
                <a:gd name="connsiteX3" fmla="*/ 224222 w 224221"/>
                <a:gd name="connsiteY3" fmla="*/ 109509 h 142107"/>
                <a:gd name="connsiteX4" fmla="*/ 0 w 224221"/>
                <a:gd name="connsiteY4" fmla="*/ 114753 h 142107"/>
                <a:gd name="connsiteX5" fmla="*/ 21056 w 224221"/>
                <a:gd name="connsiteY5" fmla="*/ 36666 h 142107"/>
                <a:gd name="connsiteX6" fmla="*/ 71299 w 224221"/>
                <a:gd name="connsiteY6" fmla="*/ 1382 h 142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221" h="142107">
                  <a:moveTo>
                    <a:pt x="71299" y="1341"/>
                  </a:moveTo>
                  <a:cubicBezTo>
                    <a:pt x="71299" y="1341"/>
                    <a:pt x="107274" y="30528"/>
                    <a:pt x="149386" y="0"/>
                  </a:cubicBezTo>
                  <a:cubicBezTo>
                    <a:pt x="149386" y="0"/>
                    <a:pt x="187393" y="25121"/>
                    <a:pt x="198938" y="33942"/>
                  </a:cubicBezTo>
                  <a:cubicBezTo>
                    <a:pt x="210482" y="42763"/>
                    <a:pt x="212189" y="71014"/>
                    <a:pt x="224222" y="109509"/>
                  </a:cubicBezTo>
                  <a:cubicBezTo>
                    <a:pt x="224222" y="109509"/>
                    <a:pt x="135769" y="179223"/>
                    <a:pt x="0" y="114753"/>
                  </a:cubicBezTo>
                  <a:cubicBezTo>
                    <a:pt x="0" y="114753"/>
                    <a:pt x="6788" y="50243"/>
                    <a:pt x="21056" y="36666"/>
                  </a:cubicBezTo>
                  <a:cubicBezTo>
                    <a:pt x="35324" y="23089"/>
                    <a:pt x="71299" y="1382"/>
                    <a:pt x="71299" y="1382"/>
                  </a:cubicBezTo>
                  <a:close/>
                </a:path>
              </a:pathLst>
            </a:custGeom>
            <a:solidFill>
              <a:schemeClr val="accent2">
                <a:lumMod val="60000"/>
                <a:lumOff val="40000"/>
              </a:schemeClr>
            </a:solidFill>
            <a:ln w="4030" cap="flat">
              <a:noFill/>
              <a:prstDash val="solid"/>
              <a:miter/>
            </a:ln>
          </p:spPr>
          <p:txBody>
            <a:bodyPr rtlCol="0" anchor="ctr"/>
            <a:lstStyle/>
            <a:p>
              <a:pPr algn="l" rtl="0"/>
              <a:endParaRPr lang="en-US" dirty="0"/>
            </a:p>
          </p:txBody>
        </p:sp>
        <p:sp>
          <p:nvSpPr>
            <p:cNvPr id="470" name="Freeform: Shape 469">
              <a:extLst>
                <a:ext uri="{FF2B5EF4-FFF2-40B4-BE49-F238E27FC236}">
                  <a16:creationId xmlns:a16="http://schemas.microsoft.com/office/drawing/2014/main" id="{8323D465-A260-4C49-A419-E997B35DD4CE}"/>
                </a:ext>
              </a:extLst>
            </p:cNvPr>
            <p:cNvSpPr/>
            <p:nvPr/>
          </p:nvSpPr>
          <p:spPr>
            <a:xfrm>
              <a:off x="9254458" y="4068114"/>
              <a:ext cx="45196" cy="48672"/>
            </a:xfrm>
            <a:custGeom>
              <a:avLst/>
              <a:gdLst>
                <a:gd name="connsiteX0" fmla="*/ 45156 w 45196"/>
                <a:gd name="connsiteY0" fmla="*/ 25989 h 48672"/>
                <a:gd name="connsiteX1" fmla="*/ 44343 w 45196"/>
                <a:gd name="connsiteY1" fmla="*/ 6437 h 48672"/>
                <a:gd name="connsiteX2" fmla="*/ 35 w 45196"/>
                <a:gd name="connsiteY2" fmla="*/ 22168 h 48672"/>
                <a:gd name="connsiteX3" fmla="*/ 35 w 45196"/>
                <a:gd name="connsiteY3" fmla="*/ 26233 h 48672"/>
                <a:gd name="connsiteX4" fmla="*/ 21091 w 45196"/>
                <a:gd name="connsiteY4" fmla="*/ 48631 h 48672"/>
                <a:gd name="connsiteX5" fmla="*/ 45196 w 45196"/>
                <a:gd name="connsiteY5" fmla="*/ 25989 h 4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196" h="48672">
                  <a:moveTo>
                    <a:pt x="45156" y="25989"/>
                  </a:moveTo>
                  <a:lnTo>
                    <a:pt x="44343" y="6437"/>
                  </a:lnTo>
                  <a:cubicBezTo>
                    <a:pt x="31904" y="-6002"/>
                    <a:pt x="-1225" y="-230"/>
                    <a:pt x="35" y="22168"/>
                  </a:cubicBezTo>
                  <a:cubicBezTo>
                    <a:pt x="35" y="22331"/>
                    <a:pt x="35" y="26070"/>
                    <a:pt x="35" y="26233"/>
                  </a:cubicBezTo>
                  <a:cubicBezTo>
                    <a:pt x="4181" y="33184"/>
                    <a:pt x="14384" y="49606"/>
                    <a:pt x="21091" y="48631"/>
                  </a:cubicBezTo>
                  <a:cubicBezTo>
                    <a:pt x="35359" y="46598"/>
                    <a:pt x="40562" y="38956"/>
                    <a:pt x="45196" y="25989"/>
                  </a:cubicBezTo>
                  <a:close/>
                </a:path>
              </a:pathLst>
            </a:custGeom>
            <a:solidFill>
              <a:schemeClr val="bg1">
                <a:lumMod val="65000"/>
              </a:schemeClr>
            </a:solidFill>
            <a:ln w="4030" cap="flat">
              <a:noFill/>
              <a:prstDash val="solid"/>
              <a:miter/>
            </a:ln>
          </p:spPr>
          <p:txBody>
            <a:bodyPr rtlCol="0" anchor="ctr"/>
            <a:lstStyle/>
            <a:p>
              <a:pPr algn="l" rtl="0"/>
              <a:endParaRPr lang="en-US" dirty="0"/>
            </a:p>
          </p:txBody>
        </p:sp>
        <p:sp>
          <p:nvSpPr>
            <p:cNvPr id="471" name="Freeform: Shape 470">
              <a:extLst>
                <a:ext uri="{FF2B5EF4-FFF2-40B4-BE49-F238E27FC236}">
                  <a16:creationId xmlns:a16="http://schemas.microsoft.com/office/drawing/2014/main" id="{6EB22A7E-DA27-4FA7-9806-4E05D3CD939E}"/>
                </a:ext>
              </a:extLst>
            </p:cNvPr>
            <p:cNvSpPr/>
            <p:nvPr/>
          </p:nvSpPr>
          <p:spPr>
            <a:xfrm>
              <a:off x="9238314" y="4002381"/>
              <a:ext cx="73443" cy="106216"/>
            </a:xfrm>
            <a:custGeom>
              <a:avLst/>
              <a:gdLst>
                <a:gd name="connsiteX0" fmla="*/ 0 w 73443"/>
                <a:gd name="connsiteY0" fmla="*/ 35138 h 106216"/>
                <a:gd name="connsiteX1" fmla="*/ 35690 w 73443"/>
                <a:gd name="connsiteY1" fmla="*/ 106152 h 106216"/>
                <a:gd name="connsiteX2" fmla="*/ 72844 w 73443"/>
                <a:gd name="connsiteY2" fmla="*/ 41479 h 106216"/>
                <a:gd name="connsiteX3" fmla="*/ 35284 w 73443"/>
                <a:gd name="connsiteY3" fmla="*/ 58 h 106216"/>
                <a:gd name="connsiteX4" fmla="*/ 0 w 73443"/>
                <a:gd name="connsiteY4" fmla="*/ 35138 h 106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3" h="106216">
                  <a:moveTo>
                    <a:pt x="0" y="35138"/>
                  </a:moveTo>
                  <a:cubicBezTo>
                    <a:pt x="0" y="35138"/>
                    <a:pt x="9228" y="104323"/>
                    <a:pt x="35690" y="106152"/>
                  </a:cubicBezTo>
                  <a:cubicBezTo>
                    <a:pt x="62153" y="108022"/>
                    <a:pt x="70771" y="68674"/>
                    <a:pt x="72844" y="41479"/>
                  </a:cubicBezTo>
                  <a:cubicBezTo>
                    <a:pt x="75161" y="11033"/>
                    <a:pt x="72356" y="1806"/>
                    <a:pt x="35284" y="58"/>
                  </a:cubicBezTo>
                  <a:cubicBezTo>
                    <a:pt x="-447" y="-1650"/>
                    <a:pt x="0" y="35138"/>
                    <a:pt x="0" y="35138"/>
                  </a:cubicBezTo>
                  <a:close/>
                </a:path>
              </a:pathLst>
            </a:custGeom>
            <a:solidFill>
              <a:schemeClr val="bg1">
                <a:lumMod val="65000"/>
              </a:schemeClr>
            </a:solidFill>
            <a:ln w="4030" cap="flat">
              <a:noFill/>
              <a:prstDash val="solid"/>
              <a:miter/>
            </a:ln>
          </p:spPr>
          <p:txBody>
            <a:bodyPr rtlCol="0" anchor="ctr"/>
            <a:lstStyle/>
            <a:p>
              <a:pPr algn="l" rtl="0"/>
              <a:endParaRPr lang="en-US" dirty="0"/>
            </a:p>
          </p:txBody>
        </p:sp>
        <p:sp>
          <p:nvSpPr>
            <p:cNvPr id="472" name="Freeform: Shape 471">
              <a:extLst>
                <a:ext uri="{FF2B5EF4-FFF2-40B4-BE49-F238E27FC236}">
                  <a16:creationId xmlns:a16="http://schemas.microsoft.com/office/drawing/2014/main" id="{979DDEDE-B54A-4702-9BCF-6BD06BB94C52}"/>
                </a:ext>
              </a:extLst>
            </p:cNvPr>
            <p:cNvSpPr/>
            <p:nvPr/>
          </p:nvSpPr>
          <p:spPr>
            <a:xfrm>
              <a:off x="9228258" y="3993673"/>
              <a:ext cx="97009" cy="77228"/>
            </a:xfrm>
            <a:custGeom>
              <a:avLst/>
              <a:gdLst>
                <a:gd name="connsiteX0" fmla="*/ 90379 w 97009"/>
                <a:gd name="connsiteY0" fmla="*/ 34213 h 77228"/>
                <a:gd name="connsiteX1" fmla="*/ 88997 w 97009"/>
                <a:gd name="connsiteY1" fmla="*/ 41123 h 77228"/>
                <a:gd name="connsiteX2" fmla="*/ 95095 w 97009"/>
                <a:gd name="connsiteY2" fmla="*/ 61448 h 77228"/>
                <a:gd name="connsiteX3" fmla="*/ 91152 w 97009"/>
                <a:gd name="connsiteY3" fmla="*/ 65838 h 77228"/>
                <a:gd name="connsiteX4" fmla="*/ 94404 w 97009"/>
                <a:gd name="connsiteY4" fmla="*/ 70634 h 77228"/>
                <a:gd name="connsiteX5" fmla="*/ 83469 w 97009"/>
                <a:gd name="connsiteY5" fmla="*/ 76813 h 77228"/>
                <a:gd name="connsiteX6" fmla="*/ 80339 w 97009"/>
                <a:gd name="connsiteY6" fmla="*/ 68642 h 77228"/>
                <a:gd name="connsiteX7" fmla="*/ 71193 w 97009"/>
                <a:gd name="connsiteY7" fmla="*/ 52423 h 77228"/>
                <a:gd name="connsiteX8" fmla="*/ 59730 w 97009"/>
                <a:gd name="connsiteY8" fmla="*/ 37586 h 77228"/>
                <a:gd name="connsiteX9" fmla="*/ 23308 w 97009"/>
                <a:gd name="connsiteY9" fmla="*/ 49700 h 77228"/>
                <a:gd name="connsiteX10" fmla="*/ 15138 w 97009"/>
                <a:gd name="connsiteY10" fmla="*/ 66285 h 77228"/>
                <a:gd name="connsiteX11" fmla="*/ 260 w 97009"/>
                <a:gd name="connsiteY11" fmla="*/ 62708 h 77228"/>
                <a:gd name="connsiteX12" fmla="*/ 7170 w 97009"/>
                <a:gd name="connsiteY12" fmla="*/ 46814 h 77228"/>
                <a:gd name="connsiteX13" fmla="*/ 14406 w 97009"/>
                <a:gd name="connsiteY13" fmla="*/ 14985 h 77228"/>
                <a:gd name="connsiteX14" fmla="*/ 52738 w 97009"/>
                <a:gd name="connsiteY14" fmla="*/ 148 h 77228"/>
                <a:gd name="connsiteX15" fmla="*/ 74120 w 97009"/>
                <a:gd name="connsiteY15" fmla="*/ 8888 h 77228"/>
                <a:gd name="connsiteX16" fmla="*/ 82656 w 97009"/>
                <a:gd name="connsiteY16" fmla="*/ 23684 h 77228"/>
                <a:gd name="connsiteX17" fmla="*/ 90298 w 97009"/>
                <a:gd name="connsiteY17" fmla="*/ 34213 h 7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09" h="77228">
                  <a:moveTo>
                    <a:pt x="90379" y="34213"/>
                  </a:moveTo>
                  <a:cubicBezTo>
                    <a:pt x="90054" y="36367"/>
                    <a:pt x="89526" y="38684"/>
                    <a:pt x="88997" y="41123"/>
                  </a:cubicBezTo>
                  <a:cubicBezTo>
                    <a:pt x="98428" y="40920"/>
                    <a:pt x="98184" y="56082"/>
                    <a:pt x="95095" y="61448"/>
                  </a:cubicBezTo>
                  <a:cubicBezTo>
                    <a:pt x="94566" y="62342"/>
                    <a:pt x="91152" y="65187"/>
                    <a:pt x="91152" y="65838"/>
                  </a:cubicBezTo>
                  <a:cubicBezTo>
                    <a:pt x="91152" y="67789"/>
                    <a:pt x="94892" y="67545"/>
                    <a:pt x="94404" y="70634"/>
                  </a:cubicBezTo>
                  <a:cubicBezTo>
                    <a:pt x="93672" y="75065"/>
                    <a:pt x="87819" y="78439"/>
                    <a:pt x="83469" y="76813"/>
                  </a:cubicBezTo>
                  <a:cubicBezTo>
                    <a:pt x="80136" y="75553"/>
                    <a:pt x="80827" y="71691"/>
                    <a:pt x="80339" y="68642"/>
                  </a:cubicBezTo>
                  <a:cubicBezTo>
                    <a:pt x="79160" y="61000"/>
                    <a:pt x="76355" y="57423"/>
                    <a:pt x="71193" y="52423"/>
                  </a:cubicBezTo>
                  <a:cubicBezTo>
                    <a:pt x="67291" y="48602"/>
                    <a:pt x="60218" y="43237"/>
                    <a:pt x="59730" y="37586"/>
                  </a:cubicBezTo>
                  <a:cubicBezTo>
                    <a:pt x="52454" y="50513"/>
                    <a:pt x="36682" y="52667"/>
                    <a:pt x="23308" y="49700"/>
                  </a:cubicBezTo>
                  <a:cubicBezTo>
                    <a:pt x="21438" y="57505"/>
                    <a:pt x="22861" y="61732"/>
                    <a:pt x="15138" y="66285"/>
                  </a:cubicBezTo>
                  <a:cubicBezTo>
                    <a:pt x="7699" y="70675"/>
                    <a:pt x="6398" y="66854"/>
                    <a:pt x="260" y="62708"/>
                  </a:cubicBezTo>
                  <a:cubicBezTo>
                    <a:pt x="-1163" y="56448"/>
                    <a:pt x="3553" y="49578"/>
                    <a:pt x="7170" y="46814"/>
                  </a:cubicBezTo>
                  <a:cubicBezTo>
                    <a:pt x="-1894" y="38034"/>
                    <a:pt x="5748" y="24253"/>
                    <a:pt x="14406" y="14985"/>
                  </a:cubicBezTo>
                  <a:cubicBezTo>
                    <a:pt x="25015" y="3644"/>
                    <a:pt x="37779" y="-909"/>
                    <a:pt x="52738" y="148"/>
                  </a:cubicBezTo>
                  <a:cubicBezTo>
                    <a:pt x="59649" y="636"/>
                    <a:pt x="69161" y="3969"/>
                    <a:pt x="74120" y="8888"/>
                  </a:cubicBezTo>
                  <a:cubicBezTo>
                    <a:pt x="78022" y="12709"/>
                    <a:pt x="82168" y="15067"/>
                    <a:pt x="82656" y="23684"/>
                  </a:cubicBezTo>
                  <a:cubicBezTo>
                    <a:pt x="90257" y="24619"/>
                    <a:pt x="91111" y="28765"/>
                    <a:pt x="90298" y="34213"/>
                  </a:cubicBezTo>
                  <a:close/>
                </a:path>
              </a:pathLst>
            </a:custGeom>
            <a:solidFill>
              <a:schemeClr val="accent3">
                <a:lumMod val="75000"/>
              </a:schemeClr>
            </a:solidFill>
            <a:ln w="4030" cap="flat">
              <a:noFill/>
              <a:prstDash val="solid"/>
              <a:miter/>
            </a:ln>
          </p:spPr>
          <p:txBody>
            <a:bodyPr rtlCol="0" anchor="ctr"/>
            <a:lstStyle/>
            <a:p>
              <a:pPr algn="l" rtl="0"/>
              <a:endParaRPr lang="en-US" dirty="0"/>
            </a:p>
          </p:txBody>
        </p:sp>
        <p:sp>
          <p:nvSpPr>
            <p:cNvPr id="473" name="Freeform: Shape 472">
              <a:extLst>
                <a:ext uri="{FF2B5EF4-FFF2-40B4-BE49-F238E27FC236}">
                  <a16:creationId xmlns:a16="http://schemas.microsoft.com/office/drawing/2014/main" id="{C96DCC3E-7DF8-4C7A-91E4-8710D9352B77}"/>
                </a:ext>
              </a:extLst>
            </p:cNvPr>
            <p:cNvSpPr/>
            <p:nvPr/>
          </p:nvSpPr>
          <p:spPr>
            <a:xfrm>
              <a:off x="9260834" y="4080933"/>
              <a:ext cx="31950" cy="14423"/>
            </a:xfrm>
            <a:custGeom>
              <a:avLst/>
              <a:gdLst>
                <a:gd name="connsiteX0" fmla="*/ 0 w 31950"/>
                <a:gd name="connsiteY0" fmla="*/ 447 h 14423"/>
                <a:gd name="connsiteX1" fmla="*/ 31950 w 31950"/>
                <a:gd name="connsiteY1" fmla="*/ 0 h 14423"/>
                <a:gd name="connsiteX2" fmla="*/ 0 w 31950"/>
                <a:gd name="connsiteY2" fmla="*/ 447 h 14423"/>
              </a:gdLst>
              <a:ahLst/>
              <a:cxnLst>
                <a:cxn ang="0">
                  <a:pos x="connsiteX0" y="connsiteY0"/>
                </a:cxn>
                <a:cxn ang="0">
                  <a:pos x="connsiteX1" y="connsiteY1"/>
                </a:cxn>
                <a:cxn ang="0">
                  <a:pos x="connsiteX2" y="connsiteY2"/>
                </a:cxn>
              </a:cxnLst>
              <a:rect l="l" t="t" r="r" b="b"/>
              <a:pathLst>
                <a:path w="31950" h="14423">
                  <a:moveTo>
                    <a:pt x="0" y="447"/>
                  </a:moveTo>
                  <a:cubicBezTo>
                    <a:pt x="0" y="447"/>
                    <a:pt x="15650" y="9675"/>
                    <a:pt x="31950" y="0"/>
                  </a:cubicBezTo>
                  <a:cubicBezTo>
                    <a:pt x="31950" y="0"/>
                    <a:pt x="16748" y="32154"/>
                    <a:pt x="0" y="447"/>
                  </a:cubicBezTo>
                  <a:close/>
                </a:path>
              </a:pathLst>
            </a:custGeom>
            <a:solidFill>
              <a:srgbClr val="FFFFFF"/>
            </a:solidFill>
            <a:ln w="4030" cap="flat">
              <a:noFill/>
              <a:prstDash val="solid"/>
              <a:miter/>
            </a:ln>
          </p:spPr>
          <p:txBody>
            <a:bodyPr rtlCol="0" anchor="ctr"/>
            <a:lstStyle/>
            <a:p>
              <a:pPr algn="l" rtl="0"/>
              <a:endParaRPr lang="en-US" dirty="0"/>
            </a:p>
          </p:txBody>
        </p:sp>
        <p:sp>
          <p:nvSpPr>
            <p:cNvPr id="474" name="Freeform: Shape 473">
              <a:extLst>
                <a:ext uri="{FF2B5EF4-FFF2-40B4-BE49-F238E27FC236}">
                  <a16:creationId xmlns:a16="http://schemas.microsoft.com/office/drawing/2014/main" id="{419C325B-3526-48D7-90F8-1CB0D9506538}"/>
                </a:ext>
              </a:extLst>
            </p:cNvPr>
            <p:cNvSpPr/>
            <p:nvPr/>
          </p:nvSpPr>
          <p:spPr>
            <a:xfrm>
              <a:off x="9235469" y="4133005"/>
              <a:ext cx="78087" cy="21077"/>
            </a:xfrm>
            <a:custGeom>
              <a:avLst/>
              <a:gdLst>
                <a:gd name="connsiteX0" fmla="*/ 5447 w 78087"/>
                <a:gd name="connsiteY0" fmla="*/ 691 h 21077"/>
                <a:gd name="connsiteX1" fmla="*/ 0 w 78087"/>
                <a:gd name="connsiteY1" fmla="*/ 6788 h 21077"/>
                <a:gd name="connsiteX2" fmla="*/ 36666 w 78087"/>
                <a:gd name="connsiteY2" fmla="*/ 21056 h 21077"/>
                <a:gd name="connsiteX3" fmla="*/ 78087 w 78087"/>
                <a:gd name="connsiteY3" fmla="*/ 5447 h 21077"/>
                <a:gd name="connsiteX4" fmla="*/ 70608 w 78087"/>
                <a:gd name="connsiteY4" fmla="*/ 0 h 21077"/>
                <a:gd name="connsiteX5" fmla="*/ 5447 w 78087"/>
                <a:gd name="connsiteY5" fmla="*/ 691 h 2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087" h="21077">
                  <a:moveTo>
                    <a:pt x="5447" y="691"/>
                  </a:moveTo>
                  <a:lnTo>
                    <a:pt x="0" y="6788"/>
                  </a:lnTo>
                  <a:cubicBezTo>
                    <a:pt x="0" y="6788"/>
                    <a:pt x="9512" y="20365"/>
                    <a:pt x="36666" y="21056"/>
                  </a:cubicBezTo>
                  <a:cubicBezTo>
                    <a:pt x="63819" y="21747"/>
                    <a:pt x="78087" y="5447"/>
                    <a:pt x="78087" y="5447"/>
                  </a:cubicBezTo>
                  <a:lnTo>
                    <a:pt x="70608" y="0"/>
                  </a:lnTo>
                  <a:cubicBezTo>
                    <a:pt x="70608" y="0"/>
                    <a:pt x="31910" y="25812"/>
                    <a:pt x="5447" y="691"/>
                  </a:cubicBezTo>
                  <a:close/>
                </a:path>
              </a:pathLst>
            </a:custGeom>
            <a:solidFill>
              <a:srgbClr val="FFFFFF"/>
            </a:solidFill>
            <a:ln w="4030" cap="flat">
              <a:noFill/>
              <a:prstDash val="solid"/>
              <a:miter/>
            </a:ln>
          </p:spPr>
          <p:txBody>
            <a:bodyPr rtlCol="0" anchor="ctr"/>
            <a:lstStyle/>
            <a:p>
              <a:pPr algn="l" rtl="0"/>
              <a:endParaRPr lang="en-US" dirty="0"/>
            </a:p>
          </p:txBody>
        </p:sp>
      </p:grpSp>
      <p:grpSp>
        <p:nvGrpSpPr>
          <p:cNvPr id="475" name="Group 474">
            <a:extLst>
              <a:ext uri="{FF2B5EF4-FFF2-40B4-BE49-F238E27FC236}">
                <a16:creationId xmlns:a16="http://schemas.microsoft.com/office/drawing/2014/main" id="{A7173520-51FA-4993-9662-A4590224E18B}"/>
              </a:ext>
            </a:extLst>
          </p:cNvPr>
          <p:cNvGrpSpPr/>
          <p:nvPr/>
        </p:nvGrpSpPr>
        <p:grpSpPr>
          <a:xfrm>
            <a:off x="554736" y="3819026"/>
            <a:ext cx="260811" cy="328846"/>
            <a:chOff x="12418714" y="1687764"/>
            <a:chExt cx="1001333" cy="1262542"/>
          </a:xfrm>
        </p:grpSpPr>
        <p:sp>
          <p:nvSpPr>
            <p:cNvPr id="476" name="Freeform: Shape 475">
              <a:extLst>
                <a:ext uri="{FF2B5EF4-FFF2-40B4-BE49-F238E27FC236}">
                  <a16:creationId xmlns:a16="http://schemas.microsoft.com/office/drawing/2014/main" id="{60CC4B04-7072-40FB-A577-553B772429E0}"/>
                </a:ext>
              </a:extLst>
            </p:cNvPr>
            <p:cNvSpPr/>
            <p:nvPr/>
          </p:nvSpPr>
          <p:spPr>
            <a:xfrm>
              <a:off x="12418714" y="2318980"/>
              <a:ext cx="949596" cy="631326"/>
            </a:xfrm>
            <a:custGeom>
              <a:avLst/>
              <a:gdLst>
                <a:gd name="connsiteX0" fmla="*/ 322604 w 949596"/>
                <a:gd name="connsiteY0" fmla="*/ 224890 h 631326"/>
                <a:gd name="connsiteX1" fmla="*/ 97714 w 949596"/>
                <a:gd name="connsiteY1" fmla="*/ 0 h 631326"/>
                <a:gd name="connsiteX2" fmla="*/ 97714 w 949596"/>
                <a:gd name="connsiteY2" fmla="*/ 43124 h 631326"/>
                <a:gd name="connsiteX3" fmla="*/ 91404 w 949596"/>
                <a:gd name="connsiteY3" fmla="*/ 43124 h 631326"/>
                <a:gd name="connsiteX4" fmla="*/ 91404 w 949596"/>
                <a:gd name="connsiteY4" fmla="*/ 61064 h 631326"/>
                <a:gd name="connsiteX5" fmla="*/ 97714 w 949596"/>
                <a:gd name="connsiteY5" fmla="*/ 61064 h 631326"/>
                <a:gd name="connsiteX6" fmla="*/ 97714 w 949596"/>
                <a:gd name="connsiteY6" fmla="*/ 183467 h 631326"/>
                <a:gd name="connsiteX7" fmla="*/ 0 w 949596"/>
                <a:gd name="connsiteY7" fmla="*/ 183467 h 631326"/>
                <a:gd name="connsiteX8" fmla="*/ 0 w 949596"/>
                <a:gd name="connsiteY8" fmla="*/ 263844 h 631326"/>
                <a:gd name="connsiteX9" fmla="*/ 39009 w 949596"/>
                <a:gd name="connsiteY9" fmla="*/ 263844 h 631326"/>
                <a:gd name="connsiteX10" fmla="*/ 39009 w 949596"/>
                <a:gd name="connsiteY10" fmla="*/ 630229 h 631326"/>
                <a:gd name="connsiteX11" fmla="*/ 97769 w 949596"/>
                <a:gd name="connsiteY11" fmla="*/ 630229 h 631326"/>
                <a:gd name="connsiteX12" fmla="*/ 97769 w 949596"/>
                <a:gd name="connsiteY12" fmla="*/ 631327 h 631326"/>
                <a:gd name="connsiteX13" fmla="*/ 903620 w 949596"/>
                <a:gd name="connsiteY13" fmla="*/ 631327 h 631326"/>
                <a:gd name="connsiteX14" fmla="*/ 903620 w 949596"/>
                <a:gd name="connsiteY14" fmla="*/ 630229 h 631326"/>
                <a:gd name="connsiteX15" fmla="*/ 949596 w 949596"/>
                <a:gd name="connsiteY15" fmla="*/ 630229 h 631326"/>
                <a:gd name="connsiteX16" fmla="*/ 475457 w 949596"/>
                <a:gd name="connsiteY16" fmla="*/ 221927 h 631326"/>
                <a:gd name="connsiteX17" fmla="*/ 322604 w 949596"/>
                <a:gd name="connsiteY17" fmla="*/ 224945 h 63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596" h="631326">
                  <a:moveTo>
                    <a:pt x="322604" y="224890"/>
                  </a:moveTo>
                  <a:lnTo>
                    <a:pt x="97714" y="0"/>
                  </a:lnTo>
                  <a:lnTo>
                    <a:pt x="97714" y="43124"/>
                  </a:lnTo>
                  <a:lnTo>
                    <a:pt x="91404" y="43124"/>
                  </a:lnTo>
                  <a:lnTo>
                    <a:pt x="91404" y="61064"/>
                  </a:lnTo>
                  <a:lnTo>
                    <a:pt x="97714" y="61064"/>
                  </a:lnTo>
                  <a:lnTo>
                    <a:pt x="97714" y="183467"/>
                  </a:lnTo>
                  <a:lnTo>
                    <a:pt x="0" y="183467"/>
                  </a:lnTo>
                  <a:lnTo>
                    <a:pt x="0" y="263844"/>
                  </a:lnTo>
                  <a:lnTo>
                    <a:pt x="39009" y="263844"/>
                  </a:lnTo>
                  <a:lnTo>
                    <a:pt x="39009" y="630229"/>
                  </a:lnTo>
                  <a:lnTo>
                    <a:pt x="97769" y="630229"/>
                  </a:lnTo>
                  <a:lnTo>
                    <a:pt x="97769" y="631327"/>
                  </a:lnTo>
                  <a:lnTo>
                    <a:pt x="903620" y="631327"/>
                  </a:lnTo>
                  <a:lnTo>
                    <a:pt x="903620" y="630229"/>
                  </a:lnTo>
                  <a:lnTo>
                    <a:pt x="949596" y="630229"/>
                  </a:lnTo>
                  <a:cubicBezTo>
                    <a:pt x="872786" y="557479"/>
                    <a:pt x="666221" y="383394"/>
                    <a:pt x="475457" y="221927"/>
                  </a:cubicBezTo>
                  <a:cubicBezTo>
                    <a:pt x="434966" y="224286"/>
                    <a:pt x="330065" y="232406"/>
                    <a:pt x="322604" y="224945"/>
                  </a:cubicBezTo>
                  <a:close/>
                </a:path>
              </a:pathLst>
            </a:custGeom>
            <a:solidFill>
              <a:srgbClr val="000000">
                <a:alpha val="10000"/>
              </a:srgbClr>
            </a:solidFill>
            <a:ln w="5465" cap="flat">
              <a:noFill/>
              <a:prstDash val="solid"/>
              <a:miter/>
            </a:ln>
          </p:spPr>
          <p:txBody>
            <a:bodyPr rtlCol="0" anchor="ctr"/>
            <a:lstStyle/>
            <a:p>
              <a:pPr algn="l" rtl="0"/>
              <a:endParaRPr lang="en-US" dirty="0"/>
            </a:p>
          </p:txBody>
        </p:sp>
        <p:sp>
          <p:nvSpPr>
            <p:cNvPr id="477" name="Freeform: Shape 476">
              <a:extLst>
                <a:ext uri="{FF2B5EF4-FFF2-40B4-BE49-F238E27FC236}">
                  <a16:creationId xmlns:a16="http://schemas.microsoft.com/office/drawing/2014/main" id="{3129CA93-093E-42BA-8EC6-58324DDC4983}"/>
                </a:ext>
              </a:extLst>
            </p:cNvPr>
            <p:cNvSpPr/>
            <p:nvPr/>
          </p:nvSpPr>
          <p:spPr>
            <a:xfrm>
              <a:off x="12457722" y="2542608"/>
              <a:ext cx="923371" cy="406546"/>
            </a:xfrm>
            <a:custGeom>
              <a:avLst/>
              <a:gdLst>
                <a:gd name="connsiteX0" fmla="*/ 0 w 923371"/>
                <a:gd name="connsiteY0" fmla="*/ 0 h 406546"/>
                <a:gd name="connsiteX1" fmla="*/ 923371 w 923371"/>
                <a:gd name="connsiteY1" fmla="*/ 0 h 406546"/>
                <a:gd name="connsiteX2" fmla="*/ 923371 w 923371"/>
                <a:gd name="connsiteY2" fmla="*/ 406546 h 406546"/>
                <a:gd name="connsiteX3" fmla="*/ 0 w 923371"/>
                <a:gd name="connsiteY3" fmla="*/ 406546 h 406546"/>
              </a:gdLst>
              <a:ahLst/>
              <a:cxnLst>
                <a:cxn ang="0">
                  <a:pos x="connsiteX0" y="connsiteY0"/>
                </a:cxn>
                <a:cxn ang="0">
                  <a:pos x="connsiteX1" y="connsiteY1"/>
                </a:cxn>
                <a:cxn ang="0">
                  <a:pos x="connsiteX2" y="connsiteY2"/>
                </a:cxn>
                <a:cxn ang="0">
                  <a:pos x="connsiteX3" y="connsiteY3"/>
                </a:cxn>
              </a:cxnLst>
              <a:rect l="l" t="t" r="r" b="b"/>
              <a:pathLst>
                <a:path w="923371" h="406546">
                  <a:moveTo>
                    <a:pt x="0" y="0"/>
                  </a:moveTo>
                  <a:lnTo>
                    <a:pt x="923371" y="0"/>
                  </a:lnTo>
                  <a:lnTo>
                    <a:pt x="923371" y="406546"/>
                  </a:lnTo>
                  <a:lnTo>
                    <a:pt x="0" y="406546"/>
                  </a:lnTo>
                  <a:close/>
                </a:path>
              </a:pathLst>
            </a:custGeom>
            <a:solidFill>
              <a:schemeClr val="accent2">
                <a:lumMod val="60000"/>
                <a:lumOff val="40000"/>
              </a:schemeClr>
            </a:solidFill>
            <a:ln w="5465" cap="flat">
              <a:noFill/>
              <a:prstDash val="solid"/>
              <a:miter/>
            </a:ln>
          </p:spPr>
          <p:txBody>
            <a:bodyPr rtlCol="0" anchor="ctr"/>
            <a:lstStyle/>
            <a:p>
              <a:pPr algn="l" rtl="0"/>
              <a:endParaRPr lang="en-US" dirty="0"/>
            </a:p>
          </p:txBody>
        </p:sp>
        <p:sp>
          <p:nvSpPr>
            <p:cNvPr id="478" name="Freeform: Shape 477">
              <a:extLst>
                <a:ext uri="{FF2B5EF4-FFF2-40B4-BE49-F238E27FC236}">
                  <a16:creationId xmlns:a16="http://schemas.microsoft.com/office/drawing/2014/main" id="{611DA2E7-FF0D-4125-B0E3-3D5349882BE9}"/>
                </a:ext>
              </a:extLst>
            </p:cNvPr>
            <p:cNvSpPr/>
            <p:nvPr/>
          </p:nvSpPr>
          <p:spPr>
            <a:xfrm>
              <a:off x="12516427" y="1814062"/>
              <a:ext cx="805851" cy="1136135"/>
            </a:xfrm>
            <a:custGeom>
              <a:avLst/>
              <a:gdLst>
                <a:gd name="connsiteX0" fmla="*/ 0 w 805851"/>
                <a:gd name="connsiteY0" fmla="*/ 0 h 1136135"/>
                <a:gd name="connsiteX1" fmla="*/ 805851 w 805851"/>
                <a:gd name="connsiteY1" fmla="*/ 0 h 1136135"/>
                <a:gd name="connsiteX2" fmla="*/ 805851 w 805851"/>
                <a:gd name="connsiteY2" fmla="*/ 1136136 h 1136135"/>
                <a:gd name="connsiteX3" fmla="*/ 0 w 805851"/>
                <a:gd name="connsiteY3" fmla="*/ 1136136 h 1136135"/>
              </a:gdLst>
              <a:ahLst/>
              <a:cxnLst>
                <a:cxn ang="0">
                  <a:pos x="connsiteX0" y="connsiteY0"/>
                </a:cxn>
                <a:cxn ang="0">
                  <a:pos x="connsiteX1" y="connsiteY1"/>
                </a:cxn>
                <a:cxn ang="0">
                  <a:pos x="connsiteX2" y="connsiteY2"/>
                </a:cxn>
                <a:cxn ang="0">
                  <a:pos x="connsiteX3" y="connsiteY3"/>
                </a:cxn>
              </a:cxnLst>
              <a:rect l="l" t="t" r="r" b="b"/>
              <a:pathLst>
                <a:path w="805851" h="1136135">
                  <a:moveTo>
                    <a:pt x="0" y="0"/>
                  </a:moveTo>
                  <a:lnTo>
                    <a:pt x="805851" y="0"/>
                  </a:lnTo>
                  <a:lnTo>
                    <a:pt x="805851" y="1136136"/>
                  </a:lnTo>
                  <a:lnTo>
                    <a:pt x="0" y="1136136"/>
                  </a:lnTo>
                  <a:close/>
                </a:path>
              </a:pathLst>
            </a:custGeom>
            <a:solidFill>
              <a:schemeClr val="accent2">
                <a:lumMod val="60000"/>
                <a:lumOff val="40000"/>
              </a:schemeClr>
            </a:solidFill>
            <a:ln w="5465" cap="flat">
              <a:noFill/>
              <a:prstDash val="solid"/>
              <a:miter/>
            </a:ln>
          </p:spPr>
          <p:txBody>
            <a:bodyPr rtlCol="0" anchor="ctr"/>
            <a:lstStyle/>
            <a:p>
              <a:pPr algn="l" rtl="0"/>
              <a:endParaRPr lang="en-US" dirty="0"/>
            </a:p>
          </p:txBody>
        </p:sp>
        <p:sp>
          <p:nvSpPr>
            <p:cNvPr id="479" name="Freeform: Shape 478">
              <a:extLst>
                <a:ext uri="{FF2B5EF4-FFF2-40B4-BE49-F238E27FC236}">
                  <a16:creationId xmlns:a16="http://schemas.microsoft.com/office/drawing/2014/main" id="{ECFDA2FE-0E85-48CD-8599-7CCB6754B064}"/>
                </a:ext>
              </a:extLst>
            </p:cNvPr>
            <p:cNvSpPr/>
            <p:nvPr/>
          </p:nvSpPr>
          <p:spPr>
            <a:xfrm>
              <a:off x="12593951" y="2893851"/>
              <a:ext cx="650858" cy="55358"/>
            </a:xfrm>
            <a:custGeom>
              <a:avLst/>
              <a:gdLst>
                <a:gd name="connsiteX0" fmla="*/ 0 w 650858"/>
                <a:gd name="connsiteY0" fmla="*/ 0 h 55358"/>
                <a:gd name="connsiteX1" fmla="*/ 650859 w 650858"/>
                <a:gd name="connsiteY1" fmla="*/ 0 h 55358"/>
                <a:gd name="connsiteX2" fmla="*/ 650859 w 650858"/>
                <a:gd name="connsiteY2" fmla="*/ 55358 h 55358"/>
                <a:gd name="connsiteX3" fmla="*/ 0 w 650858"/>
                <a:gd name="connsiteY3" fmla="*/ 55358 h 55358"/>
              </a:gdLst>
              <a:ahLst/>
              <a:cxnLst>
                <a:cxn ang="0">
                  <a:pos x="connsiteX0" y="connsiteY0"/>
                </a:cxn>
                <a:cxn ang="0">
                  <a:pos x="connsiteX1" y="connsiteY1"/>
                </a:cxn>
                <a:cxn ang="0">
                  <a:pos x="connsiteX2" y="connsiteY2"/>
                </a:cxn>
                <a:cxn ang="0">
                  <a:pos x="connsiteX3" y="connsiteY3"/>
                </a:cxn>
              </a:cxnLst>
              <a:rect l="l" t="t" r="r" b="b"/>
              <a:pathLst>
                <a:path w="650858" h="55358">
                  <a:moveTo>
                    <a:pt x="0" y="0"/>
                  </a:moveTo>
                  <a:lnTo>
                    <a:pt x="650859" y="0"/>
                  </a:lnTo>
                  <a:lnTo>
                    <a:pt x="650859" y="55358"/>
                  </a:lnTo>
                  <a:lnTo>
                    <a:pt x="0" y="55358"/>
                  </a:lnTo>
                  <a:close/>
                </a:path>
              </a:pathLst>
            </a:custGeom>
            <a:solidFill>
              <a:schemeClr val="accent3">
                <a:lumMod val="50000"/>
              </a:schemeClr>
            </a:solidFill>
            <a:ln w="5465" cap="flat">
              <a:noFill/>
              <a:prstDash val="solid"/>
              <a:miter/>
            </a:ln>
          </p:spPr>
          <p:txBody>
            <a:bodyPr rtlCol="0" anchor="ctr"/>
            <a:lstStyle/>
            <a:p>
              <a:pPr algn="l" rtl="0"/>
              <a:endParaRPr lang="en-US" dirty="0"/>
            </a:p>
          </p:txBody>
        </p:sp>
        <p:sp>
          <p:nvSpPr>
            <p:cNvPr id="480" name="Freeform: Shape 479">
              <a:extLst>
                <a:ext uri="{FF2B5EF4-FFF2-40B4-BE49-F238E27FC236}">
                  <a16:creationId xmlns:a16="http://schemas.microsoft.com/office/drawing/2014/main" id="{DF5F2B72-D4B3-4B90-8B90-FEC5462CF09E}"/>
                </a:ext>
              </a:extLst>
            </p:cNvPr>
            <p:cNvSpPr/>
            <p:nvPr/>
          </p:nvSpPr>
          <p:spPr>
            <a:xfrm>
              <a:off x="12639873" y="2839206"/>
              <a:ext cx="559015" cy="54645"/>
            </a:xfrm>
            <a:custGeom>
              <a:avLst/>
              <a:gdLst>
                <a:gd name="connsiteX0" fmla="*/ 0 w 559015"/>
                <a:gd name="connsiteY0" fmla="*/ 0 h 54645"/>
                <a:gd name="connsiteX1" fmla="*/ 559015 w 559015"/>
                <a:gd name="connsiteY1" fmla="*/ 0 h 54645"/>
                <a:gd name="connsiteX2" fmla="*/ 559015 w 559015"/>
                <a:gd name="connsiteY2" fmla="*/ 54645 h 54645"/>
                <a:gd name="connsiteX3" fmla="*/ 0 w 559015"/>
                <a:gd name="connsiteY3" fmla="*/ 54645 h 54645"/>
              </a:gdLst>
              <a:ahLst/>
              <a:cxnLst>
                <a:cxn ang="0">
                  <a:pos x="connsiteX0" y="connsiteY0"/>
                </a:cxn>
                <a:cxn ang="0">
                  <a:pos x="connsiteX1" y="connsiteY1"/>
                </a:cxn>
                <a:cxn ang="0">
                  <a:pos x="connsiteX2" y="connsiteY2"/>
                </a:cxn>
                <a:cxn ang="0">
                  <a:pos x="connsiteX3" y="connsiteY3"/>
                </a:cxn>
              </a:cxnLst>
              <a:rect l="l" t="t" r="r" b="b"/>
              <a:pathLst>
                <a:path w="559015" h="54645">
                  <a:moveTo>
                    <a:pt x="0" y="0"/>
                  </a:moveTo>
                  <a:lnTo>
                    <a:pt x="559015" y="0"/>
                  </a:lnTo>
                  <a:lnTo>
                    <a:pt x="559015" y="54645"/>
                  </a:lnTo>
                  <a:lnTo>
                    <a:pt x="0" y="54645"/>
                  </a:lnTo>
                  <a:close/>
                </a:path>
              </a:pathLst>
            </a:custGeom>
            <a:solidFill>
              <a:srgbClr val="FFFFFF"/>
            </a:solidFill>
            <a:ln w="5465" cap="flat">
              <a:noFill/>
              <a:prstDash val="solid"/>
              <a:miter/>
            </a:ln>
          </p:spPr>
          <p:txBody>
            <a:bodyPr rtlCol="0" anchor="ctr"/>
            <a:lstStyle/>
            <a:p>
              <a:pPr algn="l" rtl="0"/>
              <a:endParaRPr lang="en-US" dirty="0"/>
            </a:p>
          </p:txBody>
        </p:sp>
        <p:sp>
          <p:nvSpPr>
            <p:cNvPr id="481" name="Freeform: Shape 480">
              <a:extLst>
                <a:ext uri="{FF2B5EF4-FFF2-40B4-BE49-F238E27FC236}">
                  <a16:creationId xmlns:a16="http://schemas.microsoft.com/office/drawing/2014/main" id="{108B7C9D-0E5C-4C38-8C26-1CF937B3DE90}"/>
                </a:ext>
              </a:extLst>
            </p:cNvPr>
            <p:cNvSpPr/>
            <p:nvPr/>
          </p:nvSpPr>
          <p:spPr>
            <a:xfrm>
              <a:off x="12723980" y="2567242"/>
              <a:ext cx="390800" cy="271963"/>
            </a:xfrm>
            <a:custGeom>
              <a:avLst/>
              <a:gdLst>
                <a:gd name="connsiteX0" fmla="*/ 0 w 390800"/>
                <a:gd name="connsiteY0" fmla="*/ 0 h 271963"/>
                <a:gd name="connsiteX1" fmla="*/ 390801 w 390800"/>
                <a:gd name="connsiteY1" fmla="*/ 0 h 271963"/>
                <a:gd name="connsiteX2" fmla="*/ 390801 w 390800"/>
                <a:gd name="connsiteY2" fmla="*/ 271964 h 271963"/>
                <a:gd name="connsiteX3" fmla="*/ 0 w 390800"/>
                <a:gd name="connsiteY3" fmla="*/ 271964 h 271963"/>
              </a:gdLst>
              <a:ahLst/>
              <a:cxnLst>
                <a:cxn ang="0">
                  <a:pos x="connsiteX0" y="connsiteY0"/>
                </a:cxn>
                <a:cxn ang="0">
                  <a:pos x="connsiteX1" y="connsiteY1"/>
                </a:cxn>
                <a:cxn ang="0">
                  <a:pos x="connsiteX2" y="connsiteY2"/>
                </a:cxn>
                <a:cxn ang="0">
                  <a:pos x="connsiteX3" y="connsiteY3"/>
                </a:cxn>
              </a:cxnLst>
              <a:rect l="l" t="t" r="r" b="b"/>
              <a:pathLst>
                <a:path w="390800" h="271963">
                  <a:moveTo>
                    <a:pt x="0" y="0"/>
                  </a:moveTo>
                  <a:lnTo>
                    <a:pt x="390801" y="0"/>
                  </a:lnTo>
                  <a:lnTo>
                    <a:pt x="390801" y="271964"/>
                  </a:lnTo>
                  <a:lnTo>
                    <a:pt x="0" y="271964"/>
                  </a:lnTo>
                  <a:close/>
                </a:path>
              </a:pathLst>
            </a:custGeom>
            <a:solidFill>
              <a:schemeClr val="accent3">
                <a:lumMod val="75000"/>
              </a:schemeClr>
            </a:solidFill>
            <a:ln w="5465" cap="flat">
              <a:noFill/>
              <a:prstDash val="solid"/>
              <a:miter/>
            </a:ln>
          </p:spPr>
          <p:txBody>
            <a:bodyPr rtlCol="0" anchor="ctr"/>
            <a:lstStyle/>
            <a:p>
              <a:pPr algn="l" rtl="0"/>
              <a:endParaRPr lang="en-US" dirty="0"/>
            </a:p>
          </p:txBody>
        </p:sp>
        <p:sp>
          <p:nvSpPr>
            <p:cNvPr id="482" name="Freeform: Shape 481">
              <a:extLst>
                <a:ext uri="{FF2B5EF4-FFF2-40B4-BE49-F238E27FC236}">
                  <a16:creationId xmlns:a16="http://schemas.microsoft.com/office/drawing/2014/main" id="{22A8DF24-0D8F-46D1-B231-7FD98647132D}"/>
                </a:ext>
              </a:extLst>
            </p:cNvPr>
            <p:cNvSpPr/>
            <p:nvPr/>
          </p:nvSpPr>
          <p:spPr>
            <a:xfrm>
              <a:off x="12715750" y="2558958"/>
              <a:ext cx="407259" cy="288477"/>
            </a:xfrm>
            <a:custGeom>
              <a:avLst/>
              <a:gdLst>
                <a:gd name="connsiteX0" fmla="*/ 0 w 407259"/>
                <a:gd name="connsiteY0" fmla="*/ 288478 h 288477"/>
                <a:gd name="connsiteX1" fmla="*/ 407260 w 407259"/>
                <a:gd name="connsiteY1" fmla="*/ 288478 h 288477"/>
                <a:gd name="connsiteX2" fmla="*/ 407260 w 407259"/>
                <a:gd name="connsiteY2" fmla="*/ 0 h 288477"/>
                <a:gd name="connsiteX3" fmla="*/ 0 w 407259"/>
                <a:gd name="connsiteY3" fmla="*/ 0 h 288477"/>
                <a:gd name="connsiteX4" fmla="*/ 0 w 407259"/>
                <a:gd name="connsiteY4" fmla="*/ 288478 h 288477"/>
                <a:gd name="connsiteX5" fmla="*/ 16459 w 407259"/>
                <a:gd name="connsiteY5" fmla="*/ 16514 h 288477"/>
                <a:gd name="connsiteX6" fmla="*/ 390801 w 407259"/>
                <a:gd name="connsiteY6" fmla="*/ 16514 h 288477"/>
                <a:gd name="connsiteX7" fmla="*/ 390801 w 407259"/>
                <a:gd name="connsiteY7" fmla="*/ 271964 h 288477"/>
                <a:gd name="connsiteX8" fmla="*/ 16459 w 407259"/>
                <a:gd name="connsiteY8" fmla="*/ 271964 h 288477"/>
                <a:gd name="connsiteX9" fmla="*/ 16459 w 407259"/>
                <a:gd name="connsiteY9" fmla="*/ 16514 h 28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259" h="288477">
                  <a:moveTo>
                    <a:pt x="0" y="288478"/>
                  </a:moveTo>
                  <a:lnTo>
                    <a:pt x="407260" y="288478"/>
                  </a:lnTo>
                  <a:lnTo>
                    <a:pt x="407260" y="0"/>
                  </a:lnTo>
                  <a:lnTo>
                    <a:pt x="0" y="0"/>
                  </a:lnTo>
                  <a:lnTo>
                    <a:pt x="0" y="288478"/>
                  </a:lnTo>
                  <a:close/>
                  <a:moveTo>
                    <a:pt x="16459" y="16514"/>
                  </a:moveTo>
                  <a:lnTo>
                    <a:pt x="390801" y="16514"/>
                  </a:lnTo>
                  <a:lnTo>
                    <a:pt x="390801" y="271964"/>
                  </a:lnTo>
                  <a:lnTo>
                    <a:pt x="16459" y="271964"/>
                  </a:lnTo>
                  <a:lnTo>
                    <a:pt x="16459" y="16514"/>
                  </a:lnTo>
                  <a:close/>
                </a:path>
              </a:pathLst>
            </a:custGeom>
            <a:solidFill>
              <a:srgbClr val="FFFFFF"/>
            </a:solidFill>
            <a:ln w="5465" cap="flat">
              <a:noFill/>
              <a:prstDash val="solid"/>
              <a:miter/>
            </a:ln>
          </p:spPr>
          <p:txBody>
            <a:bodyPr rtlCol="0" anchor="ctr"/>
            <a:lstStyle/>
            <a:p>
              <a:pPr algn="l" rtl="0"/>
              <a:endParaRPr lang="en-US" dirty="0"/>
            </a:p>
          </p:txBody>
        </p:sp>
        <p:sp>
          <p:nvSpPr>
            <p:cNvPr id="483" name="Freeform: Shape 482">
              <a:extLst>
                <a:ext uri="{FF2B5EF4-FFF2-40B4-BE49-F238E27FC236}">
                  <a16:creationId xmlns:a16="http://schemas.microsoft.com/office/drawing/2014/main" id="{959FF405-E253-4241-AF2A-99F427C3E61F}"/>
                </a:ext>
              </a:extLst>
            </p:cNvPr>
            <p:cNvSpPr/>
            <p:nvPr/>
          </p:nvSpPr>
          <p:spPr>
            <a:xfrm>
              <a:off x="12833984" y="2567242"/>
              <a:ext cx="170848" cy="271963"/>
            </a:xfrm>
            <a:custGeom>
              <a:avLst/>
              <a:gdLst>
                <a:gd name="connsiteX0" fmla="*/ 0 w 170848"/>
                <a:gd name="connsiteY0" fmla="*/ 0 h 271963"/>
                <a:gd name="connsiteX1" fmla="*/ 170848 w 170848"/>
                <a:gd name="connsiteY1" fmla="*/ 0 h 271963"/>
                <a:gd name="connsiteX2" fmla="*/ 170848 w 170848"/>
                <a:gd name="connsiteY2" fmla="*/ 271964 h 271963"/>
                <a:gd name="connsiteX3" fmla="*/ 0 w 170848"/>
                <a:gd name="connsiteY3" fmla="*/ 271964 h 271963"/>
              </a:gdLst>
              <a:ahLst/>
              <a:cxnLst>
                <a:cxn ang="0">
                  <a:pos x="connsiteX0" y="connsiteY0"/>
                </a:cxn>
                <a:cxn ang="0">
                  <a:pos x="connsiteX1" y="connsiteY1"/>
                </a:cxn>
                <a:cxn ang="0">
                  <a:pos x="connsiteX2" y="connsiteY2"/>
                </a:cxn>
                <a:cxn ang="0">
                  <a:pos x="connsiteX3" y="connsiteY3"/>
                </a:cxn>
              </a:cxnLst>
              <a:rect l="l" t="t" r="r" b="b"/>
              <a:pathLst>
                <a:path w="170848" h="271963">
                  <a:moveTo>
                    <a:pt x="0" y="0"/>
                  </a:moveTo>
                  <a:lnTo>
                    <a:pt x="170848" y="0"/>
                  </a:lnTo>
                  <a:lnTo>
                    <a:pt x="170848" y="271964"/>
                  </a:lnTo>
                  <a:lnTo>
                    <a:pt x="0" y="271964"/>
                  </a:lnTo>
                  <a:close/>
                </a:path>
              </a:pathLst>
            </a:custGeom>
            <a:solidFill>
              <a:schemeClr val="accent3">
                <a:lumMod val="75000"/>
              </a:schemeClr>
            </a:solidFill>
            <a:ln w="5465" cap="flat">
              <a:noFill/>
              <a:prstDash val="solid"/>
              <a:miter/>
            </a:ln>
          </p:spPr>
          <p:txBody>
            <a:bodyPr rtlCol="0" anchor="ctr"/>
            <a:lstStyle/>
            <a:p>
              <a:pPr algn="l" rtl="0"/>
              <a:endParaRPr lang="en-US" dirty="0"/>
            </a:p>
          </p:txBody>
        </p:sp>
        <p:sp>
          <p:nvSpPr>
            <p:cNvPr id="484" name="Freeform: Shape 483">
              <a:extLst>
                <a:ext uri="{FF2B5EF4-FFF2-40B4-BE49-F238E27FC236}">
                  <a16:creationId xmlns:a16="http://schemas.microsoft.com/office/drawing/2014/main" id="{5FE5D42B-E442-4FD0-AAEC-33D232794853}"/>
                </a:ext>
              </a:extLst>
            </p:cNvPr>
            <p:cNvSpPr/>
            <p:nvPr/>
          </p:nvSpPr>
          <p:spPr>
            <a:xfrm>
              <a:off x="12833984" y="2567242"/>
              <a:ext cx="170793" cy="271963"/>
            </a:xfrm>
            <a:custGeom>
              <a:avLst/>
              <a:gdLst>
                <a:gd name="connsiteX0" fmla="*/ 170793 w 170793"/>
                <a:gd name="connsiteY0" fmla="*/ 271964 h 271963"/>
                <a:gd name="connsiteX1" fmla="*/ 170793 w 170793"/>
                <a:gd name="connsiteY1" fmla="*/ 0 h 271963"/>
                <a:gd name="connsiteX2" fmla="*/ 0 w 170793"/>
                <a:gd name="connsiteY2" fmla="*/ 271964 h 271963"/>
                <a:gd name="connsiteX3" fmla="*/ 170793 w 170793"/>
                <a:gd name="connsiteY3" fmla="*/ 271964 h 271963"/>
              </a:gdLst>
              <a:ahLst/>
              <a:cxnLst>
                <a:cxn ang="0">
                  <a:pos x="connsiteX0" y="connsiteY0"/>
                </a:cxn>
                <a:cxn ang="0">
                  <a:pos x="connsiteX1" y="connsiteY1"/>
                </a:cxn>
                <a:cxn ang="0">
                  <a:pos x="connsiteX2" y="connsiteY2"/>
                </a:cxn>
                <a:cxn ang="0">
                  <a:pos x="connsiteX3" y="connsiteY3"/>
                </a:cxn>
              </a:cxnLst>
              <a:rect l="l" t="t" r="r" b="b"/>
              <a:pathLst>
                <a:path w="170793" h="271963">
                  <a:moveTo>
                    <a:pt x="170793" y="271964"/>
                  </a:moveTo>
                  <a:lnTo>
                    <a:pt x="170793" y="0"/>
                  </a:lnTo>
                  <a:lnTo>
                    <a:pt x="0" y="271964"/>
                  </a:lnTo>
                  <a:lnTo>
                    <a:pt x="170793" y="271964"/>
                  </a:lnTo>
                  <a:close/>
                </a:path>
              </a:pathLst>
            </a:custGeom>
            <a:solidFill>
              <a:schemeClr val="accent3">
                <a:lumMod val="20000"/>
                <a:lumOff val="80000"/>
              </a:schemeClr>
            </a:solidFill>
            <a:ln w="5465" cap="flat">
              <a:noFill/>
              <a:prstDash val="solid"/>
              <a:miter/>
            </a:ln>
          </p:spPr>
          <p:txBody>
            <a:bodyPr rtlCol="0" anchor="ctr"/>
            <a:lstStyle/>
            <a:p>
              <a:pPr algn="l" rtl="0"/>
              <a:endParaRPr lang="en-US" dirty="0"/>
            </a:p>
          </p:txBody>
        </p:sp>
        <p:sp>
          <p:nvSpPr>
            <p:cNvPr id="485" name="Freeform: Shape 484">
              <a:extLst>
                <a:ext uri="{FF2B5EF4-FFF2-40B4-BE49-F238E27FC236}">
                  <a16:creationId xmlns:a16="http://schemas.microsoft.com/office/drawing/2014/main" id="{30BC9DCB-8497-4EDB-BE8A-801EE8B8E5DE}"/>
                </a:ext>
              </a:extLst>
            </p:cNvPr>
            <p:cNvSpPr/>
            <p:nvPr/>
          </p:nvSpPr>
          <p:spPr>
            <a:xfrm>
              <a:off x="12825754" y="2558958"/>
              <a:ext cx="187307" cy="288477"/>
            </a:xfrm>
            <a:custGeom>
              <a:avLst/>
              <a:gdLst>
                <a:gd name="connsiteX0" fmla="*/ 0 w 187307"/>
                <a:gd name="connsiteY0" fmla="*/ 288478 h 288477"/>
                <a:gd name="connsiteX1" fmla="*/ 187308 w 187307"/>
                <a:gd name="connsiteY1" fmla="*/ 288478 h 288477"/>
                <a:gd name="connsiteX2" fmla="*/ 187308 w 187307"/>
                <a:gd name="connsiteY2" fmla="*/ 0 h 288477"/>
                <a:gd name="connsiteX3" fmla="*/ 0 w 187307"/>
                <a:gd name="connsiteY3" fmla="*/ 0 h 288477"/>
                <a:gd name="connsiteX4" fmla="*/ 0 w 187307"/>
                <a:gd name="connsiteY4" fmla="*/ 288478 h 288477"/>
                <a:gd name="connsiteX5" fmla="*/ 16459 w 187307"/>
                <a:gd name="connsiteY5" fmla="*/ 16514 h 288477"/>
                <a:gd name="connsiteX6" fmla="*/ 170793 w 187307"/>
                <a:gd name="connsiteY6" fmla="*/ 16514 h 288477"/>
                <a:gd name="connsiteX7" fmla="*/ 170793 w 187307"/>
                <a:gd name="connsiteY7" fmla="*/ 271964 h 288477"/>
                <a:gd name="connsiteX8" fmla="*/ 16459 w 187307"/>
                <a:gd name="connsiteY8" fmla="*/ 271964 h 288477"/>
                <a:gd name="connsiteX9" fmla="*/ 16459 w 187307"/>
                <a:gd name="connsiteY9" fmla="*/ 16514 h 28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07" h="288477">
                  <a:moveTo>
                    <a:pt x="0" y="288478"/>
                  </a:moveTo>
                  <a:lnTo>
                    <a:pt x="187308" y="288478"/>
                  </a:lnTo>
                  <a:lnTo>
                    <a:pt x="187308" y="0"/>
                  </a:lnTo>
                  <a:lnTo>
                    <a:pt x="0" y="0"/>
                  </a:lnTo>
                  <a:lnTo>
                    <a:pt x="0" y="288478"/>
                  </a:lnTo>
                  <a:close/>
                  <a:moveTo>
                    <a:pt x="16459" y="16514"/>
                  </a:moveTo>
                  <a:lnTo>
                    <a:pt x="170793" y="16514"/>
                  </a:lnTo>
                  <a:lnTo>
                    <a:pt x="170793" y="271964"/>
                  </a:lnTo>
                  <a:lnTo>
                    <a:pt x="16459" y="271964"/>
                  </a:lnTo>
                  <a:lnTo>
                    <a:pt x="16459" y="16514"/>
                  </a:lnTo>
                  <a:close/>
                </a:path>
              </a:pathLst>
            </a:custGeom>
            <a:solidFill>
              <a:srgbClr val="FFFFFF"/>
            </a:solidFill>
            <a:ln w="5465" cap="flat">
              <a:noFill/>
              <a:prstDash val="solid"/>
              <a:miter/>
            </a:ln>
          </p:spPr>
          <p:txBody>
            <a:bodyPr rtlCol="0" anchor="ctr"/>
            <a:lstStyle/>
            <a:p>
              <a:pPr algn="l" rtl="0"/>
              <a:endParaRPr lang="en-US" dirty="0"/>
            </a:p>
          </p:txBody>
        </p:sp>
        <p:sp>
          <p:nvSpPr>
            <p:cNvPr id="486" name="Freeform: Shape 485">
              <a:extLst>
                <a:ext uri="{FF2B5EF4-FFF2-40B4-BE49-F238E27FC236}">
                  <a16:creationId xmlns:a16="http://schemas.microsoft.com/office/drawing/2014/main" id="{14CC944A-941B-4002-9C21-B51106DB819D}"/>
                </a:ext>
              </a:extLst>
            </p:cNvPr>
            <p:cNvSpPr/>
            <p:nvPr/>
          </p:nvSpPr>
          <p:spPr>
            <a:xfrm>
              <a:off x="12636745" y="1723316"/>
              <a:ext cx="565215" cy="90745"/>
            </a:xfrm>
            <a:custGeom>
              <a:avLst/>
              <a:gdLst>
                <a:gd name="connsiteX0" fmla="*/ 0 w 565215"/>
                <a:gd name="connsiteY0" fmla="*/ 0 h 90745"/>
                <a:gd name="connsiteX1" fmla="*/ 565215 w 565215"/>
                <a:gd name="connsiteY1" fmla="*/ 0 h 90745"/>
                <a:gd name="connsiteX2" fmla="*/ 565215 w 565215"/>
                <a:gd name="connsiteY2" fmla="*/ 90746 h 90745"/>
                <a:gd name="connsiteX3" fmla="*/ 0 w 565215"/>
                <a:gd name="connsiteY3" fmla="*/ 90746 h 90745"/>
              </a:gdLst>
              <a:ahLst/>
              <a:cxnLst>
                <a:cxn ang="0">
                  <a:pos x="connsiteX0" y="connsiteY0"/>
                </a:cxn>
                <a:cxn ang="0">
                  <a:pos x="connsiteX1" y="connsiteY1"/>
                </a:cxn>
                <a:cxn ang="0">
                  <a:pos x="connsiteX2" y="connsiteY2"/>
                </a:cxn>
                <a:cxn ang="0">
                  <a:pos x="connsiteX3" y="connsiteY3"/>
                </a:cxn>
              </a:cxnLst>
              <a:rect l="l" t="t" r="r" b="b"/>
              <a:pathLst>
                <a:path w="565215" h="90745">
                  <a:moveTo>
                    <a:pt x="0" y="0"/>
                  </a:moveTo>
                  <a:lnTo>
                    <a:pt x="565215" y="0"/>
                  </a:lnTo>
                  <a:lnTo>
                    <a:pt x="565215" y="90746"/>
                  </a:lnTo>
                  <a:lnTo>
                    <a:pt x="0" y="90746"/>
                  </a:lnTo>
                  <a:close/>
                </a:path>
              </a:pathLst>
            </a:custGeom>
            <a:solidFill>
              <a:schemeClr val="accent2">
                <a:lumMod val="75000"/>
              </a:schemeClr>
            </a:solidFill>
            <a:ln w="5465" cap="flat">
              <a:noFill/>
              <a:prstDash val="solid"/>
              <a:miter/>
            </a:ln>
          </p:spPr>
          <p:txBody>
            <a:bodyPr rtlCol="0" anchor="ctr"/>
            <a:lstStyle/>
            <a:p>
              <a:pPr algn="l" rtl="0"/>
              <a:endParaRPr lang="en-US" dirty="0"/>
            </a:p>
          </p:txBody>
        </p:sp>
        <p:sp>
          <p:nvSpPr>
            <p:cNvPr id="487" name="Freeform: Shape 486">
              <a:extLst>
                <a:ext uri="{FF2B5EF4-FFF2-40B4-BE49-F238E27FC236}">
                  <a16:creationId xmlns:a16="http://schemas.microsoft.com/office/drawing/2014/main" id="{44F0D510-FD53-485C-AFBE-D382BF4996B5}"/>
                </a:ext>
              </a:extLst>
            </p:cNvPr>
            <p:cNvSpPr/>
            <p:nvPr/>
          </p:nvSpPr>
          <p:spPr>
            <a:xfrm>
              <a:off x="12636745" y="1723316"/>
              <a:ext cx="565215" cy="16075"/>
            </a:xfrm>
            <a:custGeom>
              <a:avLst/>
              <a:gdLst>
                <a:gd name="connsiteX0" fmla="*/ 0 w 565215"/>
                <a:gd name="connsiteY0" fmla="*/ 0 h 16075"/>
                <a:gd name="connsiteX1" fmla="*/ 565215 w 565215"/>
                <a:gd name="connsiteY1" fmla="*/ 0 h 16075"/>
                <a:gd name="connsiteX2" fmla="*/ 565215 w 565215"/>
                <a:gd name="connsiteY2" fmla="*/ 16075 h 16075"/>
                <a:gd name="connsiteX3" fmla="*/ 0 w 565215"/>
                <a:gd name="connsiteY3" fmla="*/ 16075 h 16075"/>
              </a:gdLst>
              <a:ahLst/>
              <a:cxnLst>
                <a:cxn ang="0">
                  <a:pos x="connsiteX0" y="connsiteY0"/>
                </a:cxn>
                <a:cxn ang="0">
                  <a:pos x="connsiteX1" y="connsiteY1"/>
                </a:cxn>
                <a:cxn ang="0">
                  <a:pos x="connsiteX2" y="connsiteY2"/>
                </a:cxn>
                <a:cxn ang="0">
                  <a:pos x="connsiteX3" y="connsiteY3"/>
                </a:cxn>
              </a:cxnLst>
              <a:rect l="l" t="t" r="r" b="b"/>
              <a:pathLst>
                <a:path w="565215" h="16075">
                  <a:moveTo>
                    <a:pt x="0" y="0"/>
                  </a:moveTo>
                  <a:lnTo>
                    <a:pt x="565215" y="0"/>
                  </a:lnTo>
                  <a:lnTo>
                    <a:pt x="565215" y="16075"/>
                  </a:lnTo>
                  <a:lnTo>
                    <a:pt x="0" y="16075"/>
                  </a:lnTo>
                  <a:close/>
                </a:path>
              </a:pathLst>
            </a:custGeom>
            <a:solidFill>
              <a:srgbClr val="1D1D1B">
                <a:alpha val="20000"/>
              </a:srgbClr>
            </a:solidFill>
            <a:ln w="5465" cap="flat">
              <a:noFill/>
              <a:prstDash val="solid"/>
              <a:miter/>
            </a:ln>
          </p:spPr>
          <p:txBody>
            <a:bodyPr rtlCol="0" anchor="ctr"/>
            <a:lstStyle/>
            <a:p>
              <a:pPr algn="l" rtl="0"/>
              <a:endParaRPr lang="en-US" dirty="0"/>
            </a:p>
          </p:txBody>
        </p:sp>
        <p:sp>
          <p:nvSpPr>
            <p:cNvPr id="488" name="Freeform: Shape 487">
              <a:extLst>
                <a:ext uri="{FF2B5EF4-FFF2-40B4-BE49-F238E27FC236}">
                  <a16:creationId xmlns:a16="http://schemas.microsoft.com/office/drawing/2014/main" id="{773C5553-7103-44D6-A584-4401D0A33BA1}"/>
                </a:ext>
              </a:extLst>
            </p:cNvPr>
            <p:cNvSpPr/>
            <p:nvPr/>
          </p:nvSpPr>
          <p:spPr>
            <a:xfrm>
              <a:off x="12510118" y="2074888"/>
              <a:ext cx="818469" cy="17940"/>
            </a:xfrm>
            <a:custGeom>
              <a:avLst/>
              <a:gdLst>
                <a:gd name="connsiteX0" fmla="*/ 0 w 818469"/>
                <a:gd name="connsiteY0" fmla="*/ 0 h 17940"/>
                <a:gd name="connsiteX1" fmla="*/ 818470 w 818469"/>
                <a:gd name="connsiteY1" fmla="*/ 0 h 17940"/>
                <a:gd name="connsiteX2" fmla="*/ 818470 w 818469"/>
                <a:gd name="connsiteY2" fmla="*/ 17941 h 17940"/>
                <a:gd name="connsiteX3" fmla="*/ 0 w 818469"/>
                <a:gd name="connsiteY3" fmla="*/ 17941 h 17940"/>
              </a:gdLst>
              <a:ahLst/>
              <a:cxnLst>
                <a:cxn ang="0">
                  <a:pos x="connsiteX0" y="connsiteY0"/>
                </a:cxn>
                <a:cxn ang="0">
                  <a:pos x="connsiteX1" y="connsiteY1"/>
                </a:cxn>
                <a:cxn ang="0">
                  <a:pos x="connsiteX2" y="connsiteY2"/>
                </a:cxn>
                <a:cxn ang="0">
                  <a:pos x="connsiteX3" y="connsiteY3"/>
                </a:cxn>
              </a:cxnLst>
              <a:rect l="l" t="t" r="r" b="b"/>
              <a:pathLst>
                <a:path w="818469" h="17940">
                  <a:moveTo>
                    <a:pt x="0" y="0"/>
                  </a:moveTo>
                  <a:lnTo>
                    <a:pt x="818470" y="0"/>
                  </a:lnTo>
                  <a:lnTo>
                    <a:pt x="818470" y="17941"/>
                  </a:lnTo>
                  <a:lnTo>
                    <a:pt x="0" y="17941"/>
                  </a:lnTo>
                  <a:close/>
                </a:path>
              </a:pathLst>
            </a:custGeom>
            <a:solidFill>
              <a:srgbClr val="FFFFFF"/>
            </a:solidFill>
            <a:ln w="5465" cap="flat">
              <a:noFill/>
              <a:prstDash val="solid"/>
              <a:miter/>
            </a:ln>
          </p:spPr>
          <p:txBody>
            <a:bodyPr rtlCol="0" anchor="ctr"/>
            <a:lstStyle/>
            <a:p>
              <a:pPr algn="l" rtl="0"/>
              <a:endParaRPr lang="en-US" dirty="0"/>
            </a:p>
          </p:txBody>
        </p:sp>
        <p:sp>
          <p:nvSpPr>
            <p:cNvPr id="489" name="Freeform: Shape 488">
              <a:extLst>
                <a:ext uri="{FF2B5EF4-FFF2-40B4-BE49-F238E27FC236}">
                  <a16:creationId xmlns:a16="http://schemas.microsoft.com/office/drawing/2014/main" id="{6B4AE71A-274F-40FA-A594-4416E17503C1}"/>
                </a:ext>
              </a:extLst>
            </p:cNvPr>
            <p:cNvSpPr/>
            <p:nvPr/>
          </p:nvSpPr>
          <p:spPr>
            <a:xfrm>
              <a:off x="12525315" y="2272345"/>
              <a:ext cx="788074" cy="95025"/>
            </a:xfrm>
            <a:custGeom>
              <a:avLst/>
              <a:gdLst>
                <a:gd name="connsiteX0" fmla="*/ 0 w 788074"/>
                <a:gd name="connsiteY0" fmla="*/ 0 h 95025"/>
                <a:gd name="connsiteX1" fmla="*/ 788075 w 788074"/>
                <a:gd name="connsiteY1" fmla="*/ 0 h 95025"/>
                <a:gd name="connsiteX2" fmla="*/ 788075 w 788074"/>
                <a:gd name="connsiteY2" fmla="*/ 95025 h 95025"/>
                <a:gd name="connsiteX3" fmla="*/ 0 w 788074"/>
                <a:gd name="connsiteY3" fmla="*/ 95025 h 95025"/>
              </a:gdLst>
              <a:ahLst/>
              <a:cxnLst>
                <a:cxn ang="0">
                  <a:pos x="connsiteX0" y="connsiteY0"/>
                </a:cxn>
                <a:cxn ang="0">
                  <a:pos x="connsiteX1" y="connsiteY1"/>
                </a:cxn>
                <a:cxn ang="0">
                  <a:pos x="connsiteX2" y="connsiteY2"/>
                </a:cxn>
                <a:cxn ang="0">
                  <a:pos x="connsiteX3" y="connsiteY3"/>
                </a:cxn>
              </a:cxnLst>
              <a:rect l="l" t="t" r="r" b="b"/>
              <a:pathLst>
                <a:path w="788074" h="95025">
                  <a:moveTo>
                    <a:pt x="0" y="0"/>
                  </a:moveTo>
                  <a:lnTo>
                    <a:pt x="788075" y="0"/>
                  </a:lnTo>
                  <a:lnTo>
                    <a:pt x="788075" y="95025"/>
                  </a:lnTo>
                  <a:lnTo>
                    <a:pt x="0" y="95025"/>
                  </a:lnTo>
                  <a:close/>
                </a:path>
              </a:pathLst>
            </a:custGeom>
            <a:solidFill>
              <a:schemeClr val="accent3">
                <a:lumMod val="75000"/>
              </a:schemeClr>
            </a:solidFill>
            <a:ln w="5465" cap="flat">
              <a:noFill/>
              <a:prstDash val="solid"/>
              <a:miter/>
            </a:ln>
          </p:spPr>
          <p:txBody>
            <a:bodyPr rtlCol="0" anchor="ctr"/>
            <a:lstStyle/>
            <a:p>
              <a:pPr algn="l" rtl="0"/>
              <a:endParaRPr lang="en-US" dirty="0"/>
            </a:p>
          </p:txBody>
        </p:sp>
        <p:sp>
          <p:nvSpPr>
            <p:cNvPr id="490" name="Freeform: Shape 489">
              <a:extLst>
                <a:ext uri="{FF2B5EF4-FFF2-40B4-BE49-F238E27FC236}">
                  <a16:creationId xmlns:a16="http://schemas.microsoft.com/office/drawing/2014/main" id="{023E1685-6016-41C1-A6CA-4311137B6CFF}"/>
                </a:ext>
              </a:extLst>
            </p:cNvPr>
            <p:cNvSpPr/>
            <p:nvPr/>
          </p:nvSpPr>
          <p:spPr>
            <a:xfrm>
              <a:off x="12517031" y="2264116"/>
              <a:ext cx="804698" cy="111539"/>
            </a:xfrm>
            <a:custGeom>
              <a:avLst/>
              <a:gdLst>
                <a:gd name="connsiteX0" fmla="*/ 0 w 804698"/>
                <a:gd name="connsiteY0" fmla="*/ 111540 h 111539"/>
                <a:gd name="connsiteX1" fmla="*/ 804699 w 804698"/>
                <a:gd name="connsiteY1" fmla="*/ 111540 h 111539"/>
                <a:gd name="connsiteX2" fmla="*/ 804699 w 804698"/>
                <a:gd name="connsiteY2" fmla="*/ 0 h 111539"/>
                <a:gd name="connsiteX3" fmla="*/ 0 w 804698"/>
                <a:gd name="connsiteY3" fmla="*/ 0 h 111539"/>
                <a:gd name="connsiteX4" fmla="*/ 0 w 804698"/>
                <a:gd name="connsiteY4" fmla="*/ 111540 h 111539"/>
                <a:gd name="connsiteX5" fmla="*/ 16569 w 804698"/>
                <a:gd name="connsiteY5" fmla="*/ 16514 h 111539"/>
                <a:gd name="connsiteX6" fmla="*/ 788130 w 804698"/>
                <a:gd name="connsiteY6" fmla="*/ 16514 h 111539"/>
                <a:gd name="connsiteX7" fmla="*/ 788130 w 804698"/>
                <a:gd name="connsiteY7" fmla="*/ 95025 h 111539"/>
                <a:gd name="connsiteX8" fmla="*/ 16569 w 804698"/>
                <a:gd name="connsiteY8" fmla="*/ 95025 h 111539"/>
                <a:gd name="connsiteX9" fmla="*/ 16569 w 804698"/>
                <a:gd name="connsiteY9" fmla="*/ 16514 h 11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4698" h="111539">
                  <a:moveTo>
                    <a:pt x="0" y="111540"/>
                  </a:moveTo>
                  <a:lnTo>
                    <a:pt x="804699" y="111540"/>
                  </a:lnTo>
                  <a:lnTo>
                    <a:pt x="804699" y="0"/>
                  </a:lnTo>
                  <a:lnTo>
                    <a:pt x="0" y="0"/>
                  </a:lnTo>
                  <a:lnTo>
                    <a:pt x="0" y="111540"/>
                  </a:lnTo>
                  <a:close/>
                  <a:moveTo>
                    <a:pt x="16569" y="16514"/>
                  </a:moveTo>
                  <a:lnTo>
                    <a:pt x="788130" y="16514"/>
                  </a:lnTo>
                  <a:lnTo>
                    <a:pt x="788130" y="95025"/>
                  </a:lnTo>
                  <a:lnTo>
                    <a:pt x="16569" y="95025"/>
                  </a:lnTo>
                  <a:lnTo>
                    <a:pt x="16569" y="16514"/>
                  </a:lnTo>
                  <a:close/>
                </a:path>
              </a:pathLst>
            </a:custGeom>
            <a:solidFill>
              <a:srgbClr val="FFFFFF"/>
            </a:solidFill>
            <a:ln w="5465" cap="flat">
              <a:noFill/>
              <a:prstDash val="solid"/>
              <a:miter/>
            </a:ln>
          </p:spPr>
          <p:txBody>
            <a:bodyPr rtlCol="0" anchor="ctr"/>
            <a:lstStyle/>
            <a:p>
              <a:pPr algn="l" rtl="0"/>
              <a:endParaRPr lang="en-US" dirty="0"/>
            </a:p>
          </p:txBody>
        </p:sp>
        <p:sp>
          <p:nvSpPr>
            <p:cNvPr id="491" name="Freeform: Shape 490">
              <a:extLst>
                <a:ext uri="{FF2B5EF4-FFF2-40B4-BE49-F238E27FC236}">
                  <a16:creationId xmlns:a16="http://schemas.microsoft.com/office/drawing/2014/main" id="{D70A40C9-7AF6-41FD-9F3D-833C04BE9726}"/>
                </a:ext>
              </a:extLst>
            </p:cNvPr>
            <p:cNvSpPr/>
            <p:nvPr/>
          </p:nvSpPr>
          <p:spPr>
            <a:xfrm>
              <a:off x="12525315" y="2087562"/>
              <a:ext cx="788074" cy="95025"/>
            </a:xfrm>
            <a:custGeom>
              <a:avLst/>
              <a:gdLst>
                <a:gd name="connsiteX0" fmla="*/ 0 w 788074"/>
                <a:gd name="connsiteY0" fmla="*/ 0 h 95025"/>
                <a:gd name="connsiteX1" fmla="*/ 788075 w 788074"/>
                <a:gd name="connsiteY1" fmla="*/ 0 h 95025"/>
                <a:gd name="connsiteX2" fmla="*/ 788075 w 788074"/>
                <a:gd name="connsiteY2" fmla="*/ 95025 h 95025"/>
                <a:gd name="connsiteX3" fmla="*/ 0 w 788074"/>
                <a:gd name="connsiteY3" fmla="*/ 95025 h 95025"/>
              </a:gdLst>
              <a:ahLst/>
              <a:cxnLst>
                <a:cxn ang="0">
                  <a:pos x="connsiteX0" y="connsiteY0"/>
                </a:cxn>
                <a:cxn ang="0">
                  <a:pos x="connsiteX1" y="connsiteY1"/>
                </a:cxn>
                <a:cxn ang="0">
                  <a:pos x="connsiteX2" y="connsiteY2"/>
                </a:cxn>
                <a:cxn ang="0">
                  <a:pos x="connsiteX3" y="connsiteY3"/>
                </a:cxn>
              </a:cxnLst>
              <a:rect l="l" t="t" r="r" b="b"/>
              <a:pathLst>
                <a:path w="788074" h="95025">
                  <a:moveTo>
                    <a:pt x="0" y="0"/>
                  </a:moveTo>
                  <a:lnTo>
                    <a:pt x="788075" y="0"/>
                  </a:lnTo>
                  <a:lnTo>
                    <a:pt x="788075" y="95025"/>
                  </a:lnTo>
                  <a:lnTo>
                    <a:pt x="0" y="95025"/>
                  </a:lnTo>
                  <a:close/>
                </a:path>
              </a:pathLst>
            </a:custGeom>
            <a:solidFill>
              <a:schemeClr val="accent3">
                <a:lumMod val="75000"/>
              </a:schemeClr>
            </a:solidFill>
            <a:ln w="5465" cap="flat">
              <a:noFill/>
              <a:prstDash val="solid"/>
              <a:miter/>
            </a:ln>
          </p:spPr>
          <p:txBody>
            <a:bodyPr rtlCol="0" anchor="ctr"/>
            <a:lstStyle/>
            <a:p>
              <a:pPr algn="l" rtl="0"/>
              <a:endParaRPr lang="en-US" dirty="0"/>
            </a:p>
          </p:txBody>
        </p:sp>
        <p:sp>
          <p:nvSpPr>
            <p:cNvPr id="492" name="Freeform: Shape 491">
              <a:extLst>
                <a:ext uri="{FF2B5EF4-FFF2-40B4-BE49-F238E27FC236}">
                  <a16:creationId xmlns:a16="http://schemas.microsoft.com/office/drawing/2014/main" id="{05601507-71BB-4D12-A2DE-0F389C64763F}"/>
                </a:ext>
              </a:extLst>
            </p:cNvPr>
            <p:cNvSpPr/>
            <p:nvPr/>
          </p:nvSpPr>
          <p:spPr>
            <a:xfrm>
              <a:off x="12517031" y="2079277"/>
              <a:ext cx="804698" cy="111539"/>
            </a:xfrm>
            <a:custGeom>
              <a:avLst/>
              <a:gdLst>
                <a:gd name="connsiteX0" fmla="*/ 0 w 804698"/>
                <a:gd name="connsiteY0" fmla="*/ 111540 h 111539"/>
                <a:gd name="connsiteX1" fmla="*/ 804699 w 804698"/>
                <a:gd name="connsiteY1" fmla="*/ 111540 h 111539"/>
                <a:gd name="connsiteX2" fmla="*/ 804699 w 804698"/>
                <a:gd name="connsiteY2" fmla="*/ 0 h 111539"/>
                <a:gd name="connsiteX3" fmla="*/ 0 w 804698"/>
                <a:gd name="connsiteY3" fmla="*/ 0 h 111539"/>
                <a:gd name="connsiteX4" fmla="*/ 0 w 804698"/>
                <a:gd name="connsiteY4" fmla="*/ 111540 h 111539"/>
                <a:gd name="connsiteX5" fmla="*/ 16569 w 804698"/>
                <a:gd name="connsiteY5" fmla="*/ 16514 h 111539"/>
                <a:gd name="connsiteX6" fmla="*/ 788130 w 804698"/>
                <a:gd name="connsiteY6" fmla="*/ 16514 h 111539"/>
                <a:gd name="connsiteX7" fmla="*/ 788130 w 804698"/>
                <a:gd name="connsiteY7" fmla="*/ 95025 h 111539"/>
                <a:gd name="connsiteX8" fmla="*/ 16569 w 804698"/>
                <a:gd name="connsiteY8" fmla="*/ 95025 h 111539"/>
                <a:gd name="connsiteX9" fmla="*/ 16569 w 804698"/>
                <a:gd name="connsiteY9" fmla="*/ 16514 h 11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4698" h="111539">
                  <a:moveTo>
                    <a:pt x="0" y="111540"/>
                  </a:moveTo>
                  <a:lnTo>
                    <a:pt x="804699" y="111540"/>
                  </a:lnTo>
                  <a:lnTo>
                    <a:pt x="804699" y="0"/>
                  </a:lnTo>
                  <a:lnTo>
                    <a:pt x="0" y="0"/>
                  </a:lnTo>
                  <a:lnTo>
                    <a:pt x="0" y="111540"/>
                  </a:lnTo>
                  <a:close/>
                  <a:moveTo>
                    <a:pt x="16569" y="16514"/>
                  </a:moveTo>
                  <a:lnTo>
                    <a:pt x="788130" y="16514"/>
                  </a:lnTo>
                  <a:lnTo>
                    <a:pt x="788130" y="95025"/>
                  </a:lnTo>
                  <a:lnTo>
                    <a:pt x="16569" y="95025"/>
                  </a:lnTo>
                  <a:lnTo>
                    <a:pt x="16569" y="16514"/>
                  </a:lnTo>
                  <a:close/>
                </a:path>
              </a:pathLst>
            </a:custGeom>
            <a:solidFill>
              <a:srgbClr val="FFFFFF"/>
            </a:solidFill>
            <a:ln w="5465" cap="flat">
              <a:noFill/>
              <a:prstDash val="solid"/>
              <a:miter/>
            </a:ln>
          </p:spPr>
          <p:txBody>
            <a:bodyPr rtlCol="0" anchor="ctr"/>
            <a:lstStyle/>
            <a:p>
              <a:pPr algn="l" rtl="0"/>
              <a:endParaRPr lang="en-US" dirty="0"/>
            </a:p>
          </p:txBody>
        </p:sp>
        <p:sp>
          <p:nvSpPr>
            <p:cNvPr id="493" name="Freeform: Shape 492">
              <a:extLst>
                <a:ext uri="{FF2B5EF4-FFF2-40B4-BE49-F238E27FC236}">
                  <a16:creationId xmlns:a16="http://schemas.microsoft.com/office/drawing/2014/main" id="{0DAA85A3-1694-480A-B401-50885A9FF192}"/>
                </a:ext>
              </a:extLst>
            </p:cNvPr>
            <p:cNvSpPr/>
            <p:nvPr/>
          </p:nvSpPr>
          <p:spPr>
            <a:xfrm>
              <a:off x="12600590" y="2079277"/>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494" name="Freeform: Shape 493">
              <a:extLst>
                <a:ext uri="{FF2B5EF4-FFF2-40B4-BE49-F238E27FC236}">
                  <a16:creationId xmlns:a16="http://schemas.microsoft.com/office/drawing/2014/main" id="{E108AE4C-03A8-48A4-91A6-C289699E58E2}"/>
                </a:ext>
              </a:extLst>
            </p:cNvPr>
            <p:cNvSpPr/>
            <p:nvPr/>
          </p:nvSpPr>
          <p:spPr>
            <a:xfrm>
              <a:off x="12689306" y="2079277"/>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495" name="Freeform: Shape 494">
              <a:extLst>
                <a:ext uri="{FF2B5EF4-FFF2-40B4-BE49-F238E27FC236}">
                  <a16:creationId xmlns:a16="http://schemas.microsoft.com/office/drawing/2014/main" id="{AD626A78-7CF8-4543-8EDC-AAC91C1D22C1}"/>
                </a:ext>
              </a:extLst>
            </p:cNvPr>
            <p:cNvSpPr/>
            <p:nvPr/>
          </p:nvSpPr>
          <p:spPr>
            <a:xfrm>
              <a:off x="12778022" y="2079277"/>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496" name="Freeform: Shape 495">
              <a:extLst>
                <a:ext uri="{FF2B5EF4-FFF2-40B4-BE49-F238E27FC236}">
                  <a16:creationId xmlns:a16="http://schemas.microsoft.com/office/drawing/2014/main" id="{5E85417D-F0B6-4EFA-8F1F-12C58AA51E6F}"/>
                </a:ext>
              </a:extLst>
            </p:cNvPr>
            <p:cNvSpPr/>
            <p:nvPr/>
          </p:nvSpPr>
          <p:spPr>
            <a:xfrm>
              <a:off x="12866738" y="2079277"/>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497" name="Freeform: Shape 496">
              <a:extLst>
                <a:ext uri="{FF2B5EF4-FFF2-40B4-BE49-F238E27FC236}">
                  <a16:creationId xmlns:a16="http://schemas.microsoft.com/office/drawing/2014/main" id="{19F23CB7-DE25-4BA3-AA75-2A78CFACD266}"/>
                </a:ext>
              </a:extLst>
            </p:cNvPr>
            <p:cNvSpPr/>
            <p:nvPr/>
          </p:nvSpPr>
          <p:spPr>
            <a:xfrm>
              <a:off x="12955454" y="2079277"/>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498" name="Freeform: Shape 497">
              <a:extLst>
                <a:ext uri="{FF2B5EF4-FFF2-40B4-BE49-F238E27FC236}">
                  <a16:creationId xmlns:a16="http://schemas.microsoft.com/office/drawing/2014/main" id="{A01A96D3-CBCB-4AAE-A896-76E627639D7F}"/>
                </a:ext>
              </a:extLst>
            </p:cNvPr>
            <p:cNvSpPr/>
            <p:nvPr/>
          </p:nvSpPr>
          <p:spPr>
            <a:xfrm>
              <a:off x="13044170" y="2079277"/>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499" name="Freeform: Shape 498">
              <a:extLst>
                <a:ext uri="{FF2B5EF4-FFF2-40B4-BE49-F238E27FC236}">
                  <a16:creationId xmlns:a16="http://schemas.microsoft.com/office/drawing/2014/main" id="{5EA6816F-6D65-4D68-BB93-E72CF3D9063D}"/>
                </a:ext>
              </a:extLst>
            </p:cNvPr>
            <p:cNvSpPr/>
            <p:nvPr/>
          </p:nvSpPr>
          <p:spPr>
            <a:xfrm>
              <a:off x="13132886" y="2079277"/>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500" name="Freeform: Shape 499">
              <a:extLst>
                <a:ext uri="{FF2B5EF4-FFF2-40B4-BE49-F238E27FC236}">
                  <a16:creationId xmlns:a16="http://schemas.microsoft.com/office/drawing/2014/main" id="{6B665A2C-02E8-4AA2-B288-F46915A8FC83}"/>
                </a:ext>
              </a:extLst>
            </p:cNvPr>
            <p:cNvSpPr/>
            <p:nvPr/>
          </p:nvSpPr>
          <p:spPr>
            <a:xfrm>
              <a:off x="13221602" y="2079277"/>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501" name="Freeform: Shape 500">
              <a:extLst>
                <a:ext uri="{FF2B5EF4-FFF2-40B4-BE49-F238E27FC236}">
                  <a16:creationId xmlns:a16="http://schemas.microsoft.com/office/drawing/2014/main" id="{ABBB3DCA-0B1C-4310-907A-003FF86438E5}"/>
                </a:ext>
              </a:extLst>
            </p:cNvPr>
            <p:cNvSpPr/>
            <p:nvPr/>
          </p:nvSpPr>
          <p:spPr>
            <a:xfrm>
              <a:off x="12600590" y="2264116"/>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502" name="Freeform: Shape 501">
              <a:extLst>
                <a:ext uri="{FF2B5EF4-FFF2-40B4-BE49-F238E27FC236}">
                  <a16:creationId xmlns:a16="http://schemas.microsoft.com/office/drawing/2014/main" id="{58FF4D0B-CBF9-4259-A7DE-A231FD4B18FF}"/>
                </a:ext>
              </a:extLst>
            </p:cNvPr>
            <p:cNvSpPr/>
            <p:nvPr/>
          </p:nvSpPr>
          <p:spPr>
            <a:xfrm>
              <a:off x="12689306" y="2264116"/>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503" name="Freeform: Shape 502">
              <a:extLst>
                <a:ext uri="{FF2B5EF4-FFF2-40B4-BE49-F238E27FC236}">
                  <a16:creationId xmlns:a16="http://schemas.microsoft.com/office/drawing/2014/main" id="{F24E4D53-3C73-4884-9017-F48C88258E21}"/>
                </a:ext>
              </a:extLst>
            </p:cNvPr>
            <p:cNvSpPr/>
            <p:nvPr/>
          </p:nvSpPr>
          <p:spPr>
            <a:xfrm>
              <a:off x="12778022" y="2264116"/>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504" name="Freeform: Shape 503">
              <a:extLst>
                <a:ext uri="{FF2B5EF4-FFF2-40B4-BE49-F238E27FC236}">
                  <a16:creationId xmlns:a16="http://schemas.microsoft.com/office/drawing/2014/main" id="{46075293-A12D-4BCC-AAA1-61AC569432C2}"/>
                </a:ext>
              </a:extLst>
            </p:cNvPr>
            <p:cNvSpPr/>
            <p:nvPr/>
          </p:nvSpPr>
          <p:spPr>
            <a:xfrm>
              <a:off x="12866738" y="2264116"/>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505" name="Freeform: Shape 504">
              <a:extLst>
                <a:ext uri="{FF2B5EF4-FFF2-40B4-BE49-F238E27FC236}">
                  <a16:creationId xmlns:a16="http://schemas.microsoft.com/office/drawing/2014/main" id="{B25EBDD0-9B19-4857-96D1-BA7F39B38035}"/>
                </a:ext>
              </a:extLst>
            </p:cNvPr>
            <p:cNvSpPr/>
            <p:nvPr/>
          </p:nvSpPr>
          <p:spPr>
            <a:xfrm>
              <a:off x="12955454" y="2264116"/>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506" name="Freeform: Shape 505">
              <a:extLst>
                <a:ext uri="{FF2B5EF4-FFF2-40B4-BE49-F238E27FC236}">
                  <a16:creationId xmlns:a16="http://schemas.microsoft.com/office/drawing/2014/main" id="{9EFC99A2-01F7-43EC-B8D1-4119A82EE235}"/>
                </a:ext>
              </a:extLst>
            </p:cNvPr>
            <p:cNvSpPr/>
            <p:nvPr/>
          </p:nvSpPr>
          <p:spPr>
            <a:xfrm>
              <a:off x="13044170" y="2264116"/>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507" name="Freeform: Shape 506">
              <a:extLst>
                <a:ext uri="{FF2B5EF4-FFF2-40B4-BE49-F238E27FC236}">
                  <a16:creationId xmlns:a16="http://schemas.microsoft.com/office/drawing/2014/main" id="{12E35712-09B3-4AC0-AF30-F9DAB486DA8B}"/>
                </a:ext>
              </a:extLst>
            </p:cNvPr>
            <p:cNvSpPr/>
            <p:nvPr/>
          </p:nvSpPr>
          <p:spPr>
            <a:xfrm>
              <a:off x="13132886" y="2264116"/>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508" name="Freeform: Shape 507">
              <a:extLst>
                <a:ext uri="{FF2B5EF4-FFF2-40B4-BE49-F238E27FC236}">
                  <a16:creationId xmlns:a16="http://schemas.microsoft.com/office/drawing/2014/main" id="{39E8FED1-1BE3-4EFB-A11F-5CFEB6E914AC}"/>
                </a:ext>
              </a:extLst>
            </p:cNvPr>
            <p:cNvSpPr/>
            <p:nvPr/>
          </p:nvSpPr>
          <p:spPr>
            <a:xfrm>
              <a:off x="13221602" y="2264116"/>
              <a:ext cx="16569" cy="111539"/>
            </a:xfrm>
            <a:custGeom>
              <a:avLst/>
              <a:gdLst>
                <a:gd name="connsiteX0" fmla="*/ 0 w 16569"/>
                <a:gd name="connsiteY0" fmla="*/ 0 h 111539"/>
                <a:gd name="connsiteX1" fmla="*/ 16569 w 16569"/>
                <a:gd name="connsiteY1" fmla="*/ 0 h 111539"/>
                <a:gd name="connsiteX2" fmla="*/ 16569 w 16569"/>
                <a:gd name="connsiteY2" fmla="*/ 111540 h 111539"/>
                <a:gd name="connsiteX3" fmla="*/ 0 w 16569"/>
                <a:gd name="connsiteY3" fmla="*/ 111540 h 111539"/>
              </a:gdLst>
              <a:ahLst/>
              <a:cxnLst>
                <a:cxn ang="0">
                  <a:pos x="connsiteX0" y="connsiteY0"/>
                </a:cxn>
                <a:cxn ang="0">
                  <a:pos x="connsiteX1" y="connsiteY1"/>
                </a:cxn>
                <a:cxn ang="0">
                  <a:pos x="connsiteX2" y="connsiteY2"/>
                </a:cxn>
                <a:cxn ang="0">
                  <a:pos x="connsiteX3" y="connsiteY3"/>
                </a:cxn>
              </a:cxnLst>
              <a:rect l="l" t="t" r="r" b="b"/>
              <a:pathLst>
                <a:path w="16569" h="111539">
                  <a:moveTo>
                    <a:pt x="0" y="0"/>
                  </a:moveTo>
                  <a:lnTo>
                    <a:pt x="16569" y="0"/>
                  </a:lnTo>
                  <a:lnTo>
                    <a:pt x="16569" y="111540"/>
                  </a:lnTo>
                  <a:lnTo>
                    <a:pt x="0" y="111540"/>
                  </a:lnTo>
                  <a:close/>
                </a:path>
              </a:pathLst>
            </a:custGeom>
            <a:solidFill>
              <a:srgbClr val="FFFFFF"/>
            </a:solidFill>
            <a:ln w="5465" cap="flat">
              <a:noFill/>
              <a:prstDash val="solid"/>
              <a:miter/>
            </a:ln>
          </p:spPr>
          <p:txBody>
            <a:bodyPr rtlCol="0" anchor="ctr"/>
            <a:lstStyle/>
            <a:p>
              <a:pPr algn="l" rtl="0"/>
              <a:endParaRPr lang="en-US" dirty="0"/>
            </a:p>
          </p:txBody>
        </p:sp>
        <p:sp>
          <p:nvSpPr>
            <p:cNvPr id="509" name="Freeform: Shape 508">
              <a:extLst>
                <a:ext uri="{FF2B5EF4-FFF2-40B4-BE49-F238E27FC236}">
                  <a16:creationId xmlns:a16="http://schemas.microsoft.com/office/drawing/2014/main" id="{C3BF0C4D-255B-4B7A-8907-B76CCE13D6C9}"/>
                </a:ext>
              </a:extLst>
            </p:cNvPr>
            <p:cNvSpPr/>
            <p:nvPr/>
          </p:nvSpPr>
          <p:spPr>
            <a:xfrm>
              <a:off x="12510118" y="2362104"/>
              <a:ext cx="818469" cy="17940"/>
            </a:xfrm>
            <a:custGeom>
              <a:avLst/>
              <a:gdLst>
                <a:gd name="connsiteX0" fmla="*/ 0 w 818469"/>
                <a:gd name="connsiteY0" fmla="*/ 0 h 17940"/>
                <a:gd name="connsiteX1" fmla="*/ 818470 w 818469"/>
                <a:gd name="connsiteY1" fmla="*/ 0 h 17940"/>
                <a:gd name="connsiteX2" fmla="*/ 818470 w 818469"/>
                <a:gd name="connsiteY2" fmla="*/ 17941 h 17940"/>
                <a:gd name="connsiteX3" fmla="*/ 0 w 818469"/>
                <a:gd name="connsiteY3" fmla="*/ 17941 h 17940"/>
              </a:gdLst>
              <a:ahLst/>
              <a:cxnLst>
                <a:cxn ang="0">
                  <a:pos x="connsiteX0" y="connsiteY0"/>
                </a:cxn>
                <a:cxn ang="0">
                  <a:pos x="connsiteX1" y="connsiteY1"/>
                </a:cxn>
                <a:cxn ang="0">
                  <a:pos x="connsiteX2" y="connsiteY2"/>
                </a:cxn>
                <a:cxn ang="0">
                  <a:pos x="connsiteX3" y="connsiteY3"/>
                </a:cxn>
              </a:cxnLst>
              <a:rect l="l" t="t" r="r" b="b"/>
              <a:pathLst>
                <a:path w="818469" h="17940">
                  <a:moveTo>
                    <a:pt x="0" y="0"/>
                  </a:moveTo>
                  <a:lnTo>
                    <a:pt x="818470" y="0"/>
                  </a:lnTo>
                  <a:lnTo>
                    <a:pt x="818470" y="17941"/>
                  </a:lnTo>
                  <a:lnTo>
                    <a:pt x="0" y="17941"/>
                  </a:lnTo>
                  <a:close/>
                </a:path>
              </a:pathLst>
            </a:custGeom>
            <a:solidFill>
              <a:srgbClr val="FFFFFF"/>
            </a:solidFill>
            <a:ln w="5465" cap="flat">
              <a:noFill/>
              <a:prstDash val="solid"/>
              <a:miter/>
            </a:ln>
          </p:spPr>
          <p:txBody>
            <a:bodyPr rtlCol="0" anchor="ctr"/>
            <a:lstStyle/>
            <a:p>
              <a:pPr algn="l" rtl="0"/>
              <a:endParaRPr lang="en-US" dirty="0"/>
            </a:p>
          </p:txBody>
        </p:sp>
        <p:sp>
          <p:nvSpPr>
            <p:cNvPr id="510" name="Freeform: Shape 509">
              <a:extLst>
                <a:ext uri="{FF2B5EF4-FFF2-40B4-BE49-F238E27FC236}">
                  <a16:creationId xmlns:a16="http://schemas.microsoft.com/office/drawing/2014/main" id="{6C6F26BA-AD6A-4015-959D-46504F936CB5}"/>
                </a:ext>
              </a:extLst>
            </p:cNvPr>
            <p:cNvSpPr/>
            <p:nvPr/>
          </p:nvSpPr>
          <p:spPr>
            <a:xfrm>
              <a:off x="12510118" y="2177320"/>
              <a:ext cx="818469" cy="17940"/>
            </a:xfrm>
            <a:custGeom>
              <a:avLst/>
              <a:gdLst>
                <a:gd name="connsiteX0" fmla="*/ 0 w 818469"/>
                <a:gd name="connsiteY0" fmla="*/ 0 h 17940"/>
                <a:gd name="connsiteX1" fmla="*/ 818470 w 818469"/>
                <a:gd name="connsiteY1" fmla="*/ 0 h 17940"/>
                <a:gd name="connsiteX2" fmla="*/ 818470 w 818469"/>
                <a:gd name="connsiteY2" fmla="*/ 17941 h 17940"/>
                <a:gd name="connsiteX3" fmla="*/ 0 w 818469"/>
                <a:gd name="connsiteY3" fmla="*/ 17941 h 17940"/>
              </a:gdLst>
              <a:ahLst/>
              <a:cxnLst>
                <a:cxn ang="0">
                  <a:pos x="connsiteX0" y="connsiteY0"/>
                </a:cxn>
                <a:cxn ang="0">
                  <a:pos x="connsiteX1" y="connsiteY1"/>
                </a:cxn>
                <a:cxn ang="0">
                  <a:pos x="connsiteX2" y="connsiteY2"/>
                </a:cxn>
                <a:cxn ang="0">
                  <a:pos x="connsiteX3" y="connsiteY3"/>
                </a:cxn>
              </a:cxnLst>
              <a:rect l="l" t="t" r="r" b="b"/>
              <a:pathLst>
                <a:path w="818469" h="17940">
                  <a:moveTo>
                    <a:pt x="0" y="0"/>
                  </a:moveTo>
                  <a:lnTo>
                    <a:pt x="818470" y="0"/>
                  </a:lnTo>
                  <a:lnTo>
                    <a:pt x="818470" y="17941"/>
                  </a:lnTo>
                  <a:lnTo>
                    <a:pt x="0" y="17941"/>
                  </a:lnTo>
                  <a:close/>
                </a:path>
              </a:pathLst>
            </a:custGeom>
            <a:solidFill>
              <a:srgbClr val="FFFFFF"/>
            </a:solidFill>
            <a:ln w="5465" cap="flat">
              <a:noFill/>
              <a:prstDash val="solid"/>
              <a:miter/>
            </a:ln>
          </p:spPr>
          <p:txBody>
            <a:bodyPr rtlCol="0" anchor="ctr"/>
            <a:lstStyle/>
            <a:p>
              <a:pPr algn="l" rtl="0"/>
              <a:endParaRPr lang="en-US" dirty="0"/>
            </a:p>
          </p:txBody>
        </p:sp>
        <p:sp>
          <p:nvSpPr>
            <p:cNvPr id="511" name="Freeform: Shape 510">
              <a:extLst>
                <a:ext uri="{FF2B5EF4-FFF2-40B4-BE49-F238E27FC236}">
                  <a16:creationId xmlns:a16="http://schemas.microsoft.com/office/drawing/2014/main" id="{8202257A-9A6D-4F2D-A339-B1D29A569175}"/>
                </a:ext>
              </a:extLst>
            </p:cNvPr>
            <p:cNvSpPr/>
            <p:nvPr/>
          </p:nvSpPr>
          <p:spPr>
            <a:xfrm>
              <a:off x="12510118" y="2259672"/>
              <a:ext cx="818469" cy="17940"/>
            </a:xfrm>
            <a:custGeom>
              <a:avLst/>
              <a:gdLst>
                <a:gd name="connsiteX0" fmla="*/ 0 w 818469"/>
                <a:gd name="connsiteY0" fmla="*/ 0 h 17940"/>
                <a:gd name="connsiteX1" fmla="*/ 818470 w 818469"/>
                <a:gd name="connsiteY1" fmla="*/ 0 h 17940"/>
                <a:gd name="connsiteX2" fmla="*/ 818470 w 818469"/>
                <a:gd name="connsiteY2" fmla="*/ 17941 h 17940"/>
                <a:gd name="connsiteX3" fmla="*/ 0 w 818469"/>
                <a:gd name="connsiteY3" fmla="*/ 17941 h 17940"/>
              </a:gdLst>
              <a:ahLst/>
              <a:cxnLst>
                <a:cxn ang="0">
                  <a:pos x="connsiteX0" y="connsiteY0"/>
                </a:cxn>
                <a:cxn ang="0">
                  <a:pos x="connsiteX1" y="connsiteY1"/>
                </a:cxn>
                <a:cxn ang="0">
                  <a:pos x="connsiteX2" y="connsiteY2"/>
                </a:cxn>
                <a:cxn ang="0">
                  <a:pos x="connsiteX3" y="connsiteY3"/>
                </a:cxn>
              </a:cxnLst>
              <a:rect l="l" t="t" r="r" b="b"/>
              <a:pathLst>
                <a:path w="818469" h="17940">
                  <a:moveTo>
                    <a:pt x="0" y="0"/>
                  </a:moveTo>
                  <a:lnTo>
                    <a:pt x="818470" y="0"/>
                  </a:lnTo>
                  <a:lnTo>
                    <a:pt x="818470" y="17941"/>
                  </a:lnTo>
                  <a:lnTo>
                    <a:pt x="0" y="17941"/>
                  </a:lnTo>
                  <a:close/>
                </a:path>
              </a:pathLst>
            </a:custGeom>
            <a:solidFill>
              <a:srgbClr val="FFFFFF"/>
            </a:solidFill>
            <a:ln w="5465" cap="flat">
              <a:noFill/>
              <a:prstDash val="solid"/>
              <a:miter/>
            </a:ln>
          </p:spPr>
          <p:txBody>
            <a:bodyPr rtlCol="0" anchor="ctr"/>
            <a:lstStyle/>
            <a:p>
              <a:pPr algn="l" rtl="0"/>
              <a:endParaRPr lang="en-US" dirty="0"/>
            </a:p>
          </p:txBody>
        </p:sp>
        <p:sp>
          <p:nvSpPr>
            <p:cNvPr id="512" name="Freeform: Shape 511">
              <a:extLst>
                <a:ext uri="{FF2B5EF4-FFF2-40B4-BE49-F238E27FC236}">
                  <a16:creationId xmlns:a16="http://schemas.microsoft.com/office/drawing/2014/main" id="{E48FC88C-DF1D-4779-88F7-6C92BCDA9A55}"/>
                </a:ext>
              </a:extLst>
            </p:cNvPr>
            <p:cNvSpPr/>
            <p:nvPr/>
          </p:nvSpPr>
          <p:spPr>
            <a:xfrm>
              <a:off x="12516427" y="2582769"/>
              <a:ext cx="150658" cy="120427"/>
            </a:xfrm>
            <a:custGeom>
              <a:avLst/>
              <a:gdLst>
                <a:gd name="connsiteX0" fmla="*/ 0 w 150658"/>
                <a:gd name="connsiteY0" fmla="*/ 0 h 120427"/>
                <a:gd name="connsiteX1" fmla="*/ 150658 w 150658"/>
                <a:gd name="connsiteY1" fmla="*/ 0 h 120427"/>
                <a:gd name="connsiteX2" fmla="*/ 150658 w 150658"/>
                <a:gd name="connsiteY2" fmla="*/ 120428 h 120427"/>
                <a:gd name="connsiteX3" fmla="*/ 0 w 150658"/>
                <a:gd name="connsiteY3" fmla="*/ 120428 h 120427"/>
              </a:gdLst>
              <a:ahLst/>
              <a:cxnLst>
                <a:cxn ang="0">
                  <a:pos x="connsiteX0" y="connsiteY0"/>
                </a:cxn>
                <a:cxn ang="0">
                  <a:pos x="connsiteX1" y="connsiteY1"/>
                </a:cxn>
                <a:cxn ang="0">
                  <a:pos x="connsiteX2" y="connsiteY2"/>
                </a:cxn>
                <a:cxn ang="0">
                  <a:pos x="connsiteX3" y="connsiteY3"/>
                </a:cxn>
              </a:cxnLst>
              <a:rect l="l" t="t" r="r" b="b"/>
              <a:pathLst>
                <a:path w="150658" h="120427">
                  <a:moveTo>
                    <a:pt x="0" y="0"/>
                  </a:moveTo>
                  <a:lnTo>
                    <a:pt x="150658" y="0"/>
                  </a:lnTo>
                  <a:lnTo>
                    <a:pt x="150658" y="120428"/>
                  </a:lnTo>
                  <a:lnTo>
                    <a:pt x="0" y="120428"/>
                  </a:lnTo>
                  <a:close/>
                </a:path>
              </a:pathLst>
            </a:custGeom>
            <a:solidFill>
              <a:schemeClr val="accent3">
                <a:lumMod val="50000"/>
              </a:schemeClr>
            </a:solidFill>
            <a:ln w="5465" cap="flat">
              <a:noFill/>
              <a:prstDash val="solid"/>
              <a:miter/>
            </a:ln>
          </p:spPr>
          <p:txBody>
            <a:bodyPr rtlCol="0" anchor="ctr"/>
            <a:lstStyle/>
            <a:p>
              <a:pPr algn="l" rtl="0"/>
              <a:endParaRPr lang="en-US" dirty="0"/>
            </a:p>
          </p:txBody>
        </p:sp>
        <p:sp>
          <p:nvSpPr>
            <p:cNvPr id="513" name="Freeform: Shape 512">
              <a:extLst>
                <a:ext uri="{FF2B5EF4-FFF2-40B4-BE49-F238E27FC236}">
                  <a16:creationId xmlns:a16="http://schemas.microsoft.com/office/drawing/2014/main" id="{6F147756-B5EA-41DA-9903-C42F752E73F1}"/>
                </a:ext>
              </a:extLst>
            </p:cNvPr>
            <p:cNvSpPr/>
            <p:nvPr/>
          </p:nvSpPr>
          <p:spPr>
            <a:xfrm>
              <a:off x="12516427" y="2582769"/>
              <a:ext cx="150658" cy="120427"/>
            </a:xfrm>
            <a:custGeom>
              <a:avLst/>
              <a:gdLst>
                <a:gd name="connsiteX0" fmla="*/ 150658 w 150658"/>
                <a:gd name="connsiteY0" fmla="*/ 120428 h 120427"/>
                <a:gd name="connsiteX1" fmla="*/ 150658 w 150658"/>
                <a:gd name="connsiteY1" fmla="*/ 0 h 120427"/>
                <a:gd name="connsiteX2" fmla="*/ 0 w 150658"/>
                <a:gd name="connsiteY2" fmla="*/ 120428 h 120427"/>
                <a:gd name="connsiteX3" fmla="*/ 150658 w 150658"/>
                <a:gd name="connsiteY3" fmla="*/ 120428 h 120427"/>
              </a:gdLst>
              <a:ahLst/>
              <a:cxnLst>
                <a:cxn ang="0">
                  <a:pos x="connsiteX0" y="connsiteY0"/>
                </a:cxn>
                <a:cxn ang="0">
                  <a:pos x="connsiteX1" y="connsiteY1"/>
                </a:cxn>
                <a:cxn ang="0">
                  <a:pos x="connsiteX2" y="connsiteY2"/>
                </a:cxn>
                <a:cxn ang="0">
                  <a:pos x="connsiteX3" y="connsiteY3"/>
                </a:cxn>
              </a:cxnLst>
              <a:rect l="l" t="t" r="r" b="b"/>
              <a:pathLst>
                <a:path w="150658" h="120427">
                  <a:moveTo>
                    <a:pt x="150658" y="120428"/>
                  </a:moveTo>
                  <a:lnTo>
                    <a:pt x="150658" y="0"/>
                  </a:lnTo>
                  <a:lnTo>
                    <a:pt x="0" y="120428"/>
                  </a:lnTo>
                  <a:lnTo>
                    <a:pt x="150658" y="120428"/>
                  </a:lnTo>
                  <a:close/>
                </a:path>
              </a:pathLst>
            </a:custGeom>
            <a:solidFill>
              <a:schemeClr val="accent3">
                <a:lumMod val="20000"/>
                <a:lumOff val="80000"/>
              </a:schemeClr>
            </a:solidFill>
            <a:ln w="5465" cap="flat">
              <a:noFill/>
              <a:prstDash val="solid"/>
              <a:miter/>
            </a:ln>
          </p:spPr>
          <p:txBody>
            <a:bodyPr rtlCol="0" anchor="ctr"/>
            <a:lstStyle/>
            <a:p>
              <a:pPr algn="l" rtl="0"/>
              <a:endParaRPr lang="en-US" dirty="0"/>
            </a:p>
          </p:txBody>
        </p:sp>
        <p:sp>
          <p:nvSpPr>
            <p:cNvPr id="514" name="Freeform: Shape 513">
              <a:extLst>
                <a:ext uri="{FF2B5EF4-FFF2-40B4-BE49-F238E27FC236}">
                  <a16:creationId xmlns:a16="http://schemas.microsoft.com/office/drawing/2014/main" id="{D2F98859-4E63-4610-9705-EBF7E67F9985}"/>
                </a:ext>
              </a:extLst>
            </p:cNvPr>
            <p:cNvSpPr/>
            <p:nvPr/>
          </p:nvSpPr>
          <p:spPr>
            <a:xfrm>
              <a:off x="12508198" y="2574539"/>
              <a:ext cx="167117" cy="136941"/>
            </a:xfrm>
            <a:custGeom>
              <a:avLst/>
              <a:gdLst>
                <a:gd name="connsiteX0" fmla="*/ 0 w 167117"/>
                <a:gd name="connsiteY0" fmla="*/ 136942 h 136941"/>
                <a:gd name="connsiteX1" fmla="*/ 167118 w 167117"/>
                <a:gd name="connsiteY1" fmla="*/ 136942 h 136941"/>
                <a:gd name="connsiteX2" fmla="*/ 167118 w 167117"/>
                <a:gd name="connsiteY2" fmla="*/ 0 h 136941"/>
                <a:gd name="connsiteX3" fmla="*/ 0 w 167117"/>
                <a:gd name="connsiteY3" fmla="*/ 0 h 136941"/>
                <a:gd name="connsiteX4" fmla="*/ 0 w 167117"/>
                <a:gd name="connsiteY4" fmla="*/ 136942 h 136941"/>
                <a:gd name="connsiteX5" fmla="*/ 16459 w 167117"/>
                <a:gd name="connsiteY5" fmla="*/ 16514 h 136941"/>
                <a:gd name="connsiteX6" fmla="*/ 150603 w 167117"/>
                <a:gd name="connsiteY6" fmla="*/ 16514 h 136941"/>
                <a:gd name="connsiteX7" fmla="*/ 150603 w 167117"/>
                <a:gd name="connsiteY7" fmla="*/ 120428 h 136941"/>
                <a:gd name="connsiteX8" fmla="*/ 16459 w 167117"/>
                <a:gd name="connsiteY8" fmla="*/ 120428 h 136941"/>
                <a:gd name="connsiteX9" fmla="*/ 16459 w 167117"/>
                <a:gd name="connsiteY9" fmla="*/ 16514 h 13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117" h="136941">
                  <a:moveTo>
                    <a:pt x="0" y="136942"/>
                  </a:moveTo>
                  <a:lnTo>
                    <a:pt x="167118" y="136942"/>
                  </a:lnTo>
                  <a:lnTo>
                    <a:pt x="167118" y="0"/>
                  </a:lnTo>
                  <a:lnTo>
                    <a:pt x="0" y="0"/>
                  </a:lnTo>
                  <a:lnTo>
                    <a:pt x="0" y="136942"/>
                  </a:lnTo>
                  <a:close/>
                  <a:moveTo>
                    <a:pt x="16459" y="16514"/>
                  </a:moveTo>
                  <a:lnTo>
                    <a:pt x="150603" y="16514"/>
                  </a:lnTo>
                  <a:lnTo>
                    <a:pt x="150603" y="120428"/>
                  </a:lnTo>
                  <a:lnTo>
                    <a:pt x="16459" y="120428"/>
                  </a:lnTo>
                  <a:lnTo>
                    <a:pt x="16459" y="16514"/>
                  </a:lnTo>
                  <a:close/>
                </a:path>
              </a:pathLst>
            </a:custGeom>
            <a:solidFill>
              <a:srgbClr val="FFFFFF"/>
            </a:solidFill>
            <a:ln w="5465" cap="flat">
              <a:noFill/>
              <a:prstDash val="solid"/>
              <a:miter/>
            </a:ln>
          </p:spPr>
          <p:txBody>
            <a:bodyPr rtlCol="0" anchor="ctr"/>
            <a:lstStyle/>
            <a:p>
              <a:pPr algn="l" rtl="0"/>
              <a:endParaRPr lang="en-US" dirty="0"/>
            </a:p>
          </p:txBody>
        </p:sp>
        <p:sp>
          <p:nvSpPr>
            <p:cNvPr id="515" name="Freeform: Shape 514">
              <a:extLst>
                <a:ext uri="{FF2B5EF4-FFF2-40B4-BE49-F238E27FC236}">
                  <a16:creationId xmlns:a16="http://schemas.microsoft.com/office/drawing/2014/main" id="{0892F983-6998-4159-9706-42A49CAA3BC0}"/>
                </a:ext>
              </a:extLst>
            </p:cNvPr>
            <p:cNvSpPr/>
            <p:nvPr/>
          </p:nvSpPr>
          <p:spPr>
            <a:xfrm>
              <a:off x="13171675" y="2582769"/>
              <a:ext cx="150658" cy="120427"/>
            </a:xfrm>
            <a:custGeom>
              <a:avLst/>
              <a:gdLst>
                <a:gd name="connsiteX0" fmla="*/ 0 w 150658"/>
                <a:gd name="connsiteY0" fmla="*/ 0 h 120427"/>
                <a:gd name="connsiteX1" fmla="*/ 150658 w 150658"/>
                <a:gd name="connsiteY1" fmla="*/ 0 h 120427"/>
                <a:gd name="connsiteX2" fmla="*/ 150658 w 150658"/>
                <a:gd name="connsiteY2" fmla="*/ 120428 h 120427"/>
                <a:gd name="connsiteX3" fmla="*/ 0 w 150658"/>
                <a:gd name="connsiteY3" fmla="*/ 120428 h 120427"/>
              </a:gdLst>
              <a:ahLst/>
              <a:cxnLst>
                <a:cxn ang="0">
                  <a:pos x="connsiteX0" y="connsiteY0"/>
                </a:cxn>
                <a:cxn ang="0">
                  <a:pos x="connsiteX1" y="connsiteY1"/>
                </a:cxn>
                <a:cxn ang="0">
                  <a:pos x="connsiteX2" y="connsiteY2"/>
                </a:cxn>
                <a:cxn ang="0">
                  <a:pos x="connsiteX3" y="connsiteY3"/>
                </a:cxn>
              </a:cxnLst>
              <a:rect l="l" t="t" r="r" b="b"/>
              <a:pathLst>
                <a:path w="150658" h="120427">
                  <a:moveTo>
                    <a:pt x="0" y="0"/>
                  </a:moveTo>
                  <a:lnTo>
                    <a:pt x="150658" y="0"/>
                  </a:lnTo>
                  <a:lnTo>
                    <a:pt x="150658" y="120428"/>
                  </a:lnTo>
                  <a:lnTo>
                    <a:pt x="0" y="120428"/>
                  </a:lnTo>
                  <a:close/>
                </a:path>
              </a:pathLst>
            </a:custGeom>
            <a:solidFill>
              <a:schemeClr val="accent3">
                <a:lumMod val="50000"/>
              </a:schemeClr>
            </a:solidFill>
            <a:ln w="5465" cap="flat">
              <a:noFill/>
              <a:prstDash val="solid"/>
              <a:miter/>
            </a:ln>
          </p:spPr>
          <p:txBody>
            <a:bodyPr rtlCol="0" anchor="ctr"/>
            <a:lstStyle/>
            <a:p>
              <a:pPr algn="l" rtl="0"/>
              <a:endParaRPr lang="en-US" dirty="0"/>
            </a:p>
          </p:txBody>
        </p:sp>
        <p:sp>
          <p:nvSpPr>
            <p:cNvPr id="516" name="Freeform: Shape 515">
              <a:extLst>
                <a:ext uri="{FF2B5EF4-FFF2-40B4-BE49-F238E27FC236}">
                  <a16:creationId xmlns:a16="http://schemas.microsoft.com/office/drawing/2014/main" id="{3A251887-0D6F-430B-B4F5-22C08AB48D0B}"/>
                </a:ext>
              </a:extLst>
            </p:cNvPr>
            <p:cNvSpPr/>
            <p:nvPr/>
          </p:nvSpPr>
          <p:spPr>
            <a:xfrm>
              <a:off x="13171675" y="2582769"/>
              <a:ext cx="150658" cy="120427"/>
            </a:xfrm>
            <a:custGeom>
              <a:avLst/>
              <a:gdLst>
                <a:gd name="connsiteX0" fmla="*/ 150658 w 150658"/>
                <a:gd name="connsiteY0" fmla="*/ 120428 h 120427"/>
                <a:gd name="connsiteX1" fmla="*/ 150658 w 150658"/>
                <a:gd name="connsiteY1" fmla="*/ 0 h 120427"/>
                <a:gd name="connsiteX2" fmla="*/ 0 w 150658"/>
                <a:gd name="connsiteY2" fmla="*/ 120428 h 120427"/>
                <a:gd name="connsiteX3" fmla="*/ 150658 w 150658"/>
                <a:gd name="connsiteY3" fmla="*/ 120428 h 120427"/>
              </a:gdLst>
              <a:ahLst/>
              <a:cxnLst>
                <a:cxn ang="0">
                  <a:pos x="connsiteX0" y="connsiteY0"/>
                </a:cxn>
                <a:cxn ang="0">
                  <a:pos x="connsiteX1" y="connsiteY1"/>
                </a:cxn>
                <a:cxn ang="0">
                  <a:pos x="connsiteX2" y="connsiteY2"/>
                </a:cxn>
                <a:cxn ang="0">
                  <a:pos x="connsiteX3" y="connsiteY3"/>
                </a:cxn>
              </a:cxnLst>
              <a:rect l="l" t="t" r="r" b="b"/>
              <a:pathLst>
                <a:path w="150658" h="120427">
                  <a:moveTo>
                    <a:pt x="150658" y="120428"/>
                  </a:moveTo>
                  <a:lnTo>
                    <a:pt x="150658" y="0"/>
                  </a:lnTo>
                  <a:lnTo>
                    <a:pt x="0" y="120428"/>
                  </a:lnTo>
                  <a:lnTo>
                    <a:pt x="150658" y="120428"/>
                  </a:lnTo>
                  <a:close/>
                </a:path>
              </a:pathLst>
            </a:custGeom>
            <a:solidFill>
              <a:schemeClr val="accent3">
                <a:lumMod val="20000"/>
                <a:lumOff val="80000"/>
              </a:schemeClr>
            </a:solidFill>
            <a:ln w="5465" cap="flat">
              <a:noFill/>
              <a:prstDash val="solid"/>
              <a:miter/>
            </a:ln>
          </p:spPr>
          <p:txBody>
            <a:bodyPr rtlCol="0" anchor="ctr"/>
            <a:lstStyle/>
            <a:p>
              <a:pPr algn="l" rtl="0"/>
              <a:endParaRPr lang="en-US" dirty="0"/>
            </a:p>
          </p:txBody>
        </p:sp>
        <p:sp>
          <p:nvSpPr>
            <p:cNvPr id="517" name="Freeform: Shape 516">
              <a:extLst>
                <a:ext uri="{FF2B5EF4-FFF2-40B4-BE49-F238E27FC236}">
                  <a16:creationId xmlns:a16="http://schemas.microsoft.com/office/drawing/2014/main" id="{83B7C1D5-7007-41AE-ADCD-A818112EB72A}"/>
                </a:ext>
              </a:extLst>
            </p:cNvPr>
            <p:cNvSpPr/>
            <p:nvPr/>
          </p:nvSpPr>
          <p:spPr>
            <a:xfrm>
              <a:off x="13163445" y="2574539"/>
              <a:ext cx="167117" cy="136941"/>
            </a:xfrm>
            <a:custGeom>
              <a:avLst/>
              <a:gdLst>
                <a:gd name="connsiteX0" fmla="*/ 0 w 167117"/>
                <a:gd name="connsiteY0" fmla="*/ 136942 h 136941"/>
                <a:gd name="connsiteX1" fmla="*/ 167118 w 167117"/>
                <a:gd name="connsiteY1" fmla="*/ 136942 h 136941"/>
                <a:gd name="connsiteX2" fmla="*/ 167118 w 167117"/>
                <a:gd name="connsiteY2" fmla="*/ 0 h 136941"/>
                <a:gd name="connsiteX3" fmla="*/ 0 w 167117"/>
                <a:gd name="connsiteY3" fmla="*/ 0 h 136941"/>
                <a:gd name="connsiteX4" fmla="*/ 0 w 167117"/>
                <a:gd name="connsiteY4" fmla="*/ 136942 h 136941"/>
                <a:gd name="connsiteX5" fmla="*/ 16459 w 167117"/>
                <a:gd name="connsiteY5" fmla="*/ 16514 h 136941"/>
                <a:gd name="connsiteX6" fmla="*/ 150603 w 167117"/>
                <a:gd name="connsiteY6" fmla="*/ 16514 h 136941"/>
                <a:gd name="connsiteX7" fmla="*/ 150603 w 167117"/>
                <a:gd name="connsiteY7" fmla="*/ 120428 h 136941"/>
                <a:gd name="connsiteX8" fmla="*/ 16459 w 167117"/>
                <a:gd name="connsiteY8" fmla="*/ 120428 h 136941"/>
                <a:gd name="connsiteX9" fmla="*/ 16459 w 167117"/>
                <a:gd name="connsiteY9" fmla="*/ 16514 h 13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117" h="136941">
                  <a:moveTo>
                    <a:pt x="0" y="136942"/>
                  </a:moveTo>
                  <a:lnTo>
                    <a:pt x="167118" y="136942"/>
                  </a:lnTo>
                  <a:lnTo>
                    <a:pt x="167118" y="0"/>
                  </a:lnTo>
                  <a:lnTo>
                    <a:pt x="0" y="0"/>
                  </a:lnTo>
                  <a:lnTo>
                    <a:pt x="0" y="136942"/>
                  </a:lnTo>
                  <a:close/>
                  <a:moveTo>
                    <a:pt x="16459" y="16514"/>
                  </a:moveTo>
                  <a:lnTo>
                    <a:pt x="150603" y="16514"/>
                  </a:lnTo>
                  <a:lnTo>
                    <a:pt x="150603" y="120428"/>
                  </a:lnTo>
                  <a:lnTo>
                    <a:pt x="16459" y="120428"/>
                  </a:lnTo>
                  <a:lnTo>
                    <a:pt x="16459" y="16514"/>
                  </a:lnTo>
                  <a:close/>
                </a:path>
              </a:pathLst>
            </a:custGeom>
            <a:solidFill>
              <a:srgbClr val="FFFFFF"/>
            </a:solidFill>
            <a:ln w="5465" cap="flat">
              <a:noFill/>
              <a:prstDash val="solid"/>
              <a:miter/>
            </a:ln>
          </p:spPr>
          <p:txBody>
            <a:bodyPr rtlCol="0" anchor="ctr"/>
            <a:lstStyle/>
            <a:p>
              <a:pPr algn="l" rtl="0"/>
              <a:endParaRPr lang="en-US" dirty="0"/>
            </a:p>
          </p:txBody>
        </p:sp>
        <p:sp>
          <p:nvSpPr>
            <p:cNvPr id="518" name="Freeform: Shape 517">
              <a:extLst>
                <a:ext uri="{FF2B5EF4-FFF2-40B4-BE49-F238E27FC236}">
                  <a16:creationId xmlns:a16="http://schemas.microsoft.com/office/drawing/2014/main" id="{DD90684D-597E-40F6-9FB6-AC0301D65E8E}"/>
                </a:ext>
              </a:extLst>
            </p:cNvPr>
            <p:cNvSpPr/>
            <p:nvPr/>
          </p:nvSpPr>
          <p:spPr>
            <a:xfrm>
              <a:off x="12581168" y="1883301"/>
              <a:ext cx="150658" cy="120427"/>
            </a:xfrm>
            <a:custGeom>
              <a:avLst/>
              <a:gdLst>
                <a:gd name="connsiteX0" fmla="*/ 0 w 150658"/>
                <a:gd name="connsiteY0" fmla="*/ 0 h 120427"/>
                <a:gd name="connsiteX1" fmla="*/ 150658 w 150658"/>
                <a:gd name="connsiteY1" fmla="*/ 0 h 120427"/>
                <a:gd name="connsiteX2" fmla="*/ 150658 w 150658"/>
                <a:gd name="connsiteY2" fmla="*/ 120428 h 120427"/>
                <a:gd name="connsiteX3" fmla="*/ 0 w 150658"/>
                <a:gd name="connsiteY3" fmla="*/ 120428 h 120427"/>
              </a:gdLst>
              <a:ahLst/>
              <a:cxnLst>
                <a:cxn ang="0">
                  <a:pos x="connsiteX0" y="connsiteY0"/>
                </a:cxn>
                <a:cxn ang="0">
                  <a:pos x="connsiteX1" y="connsiteY1"/>
                </a:cxn>
                <a:cxn ang="0">
                  <a:pos x="connsiteX2" y="connsiteY2"/>
                </a:cxn>
                <a:cxn ang="0">
                  <a:pos x="connsiteX3" y="connsiteY3"/>
                </a:cxn>
              </a:cxnLst>
              <a:rect l="l" t="t" r="r" b="b"/>
              <a:pathLst>
                <a:path w="150658" h="120427">
                  <a:moveTo>
                    <a:pt x="0" y="0"/>
                  </a:moveTo>
                  <a:lnTo>
                    <a:pt x="150658" y="0"/>
                  </a:lnTo>
                  <a:lnTo>
                    <a:pt x="150658" y="120428"/>
                  </a:lnTo>
                  <a:lnTo>
                    <a:pt x="0" y="120428"/>
                  </a:lnTo>
                  <a:close/>
                </a:path>
              </a:pathLst>
            </a:custGeom>
            <a:solidFill>
              <a:schemeClr val="accent3">
                <a:lumMod val="75000"/>
              </a:schemeClr>
            </a:solidFill>
            <a:ln w="5465" cap="flat">
              <a:noFill/>
              <a:prstDash val="solid"/>
              <a:miter/>
            </a:ln>
          </p:spPr>
          <p:txBody>
            <a:bodyPr rtlCol="0" anchor="ctr"/>
            <a:lstStyle/>
            <a:p>
              <a:pPr algn="l" rtl="0"/>
              <a:endParaRPr lang="en-US" dirty="0"/>
            </a:p>
          </p:txBody>
        </p:sp>
        <p:sp>
          <p:nvSpPr>
            <p:cNvPr id="519" name="Freeform: Shape 518">
              <a:extLst>
                <a:ext uri="{FF2B5EF4-FFF2-40B4-BE49-F238E27FC236}">
                  <a16:creationId xmlns:a16="http://schemas.microsoft.com/office/drawing/2014/main" id="{A1C0211F-B844-4CC0-A91F-9761500172AC}"/>
                </a:ext>
              </a:extLst>
            </p:cNvPr>
            <p:cNvSpPr/>
            <p:nvPr/>
          </p:nvSpPr>
          <p:spPr>
            <a:xfrm>
              <a:off x="12581168" y="1883301"/>
              <a:ext cx="150603" cy="120427"/>
            </a:xfrm>
            <a:custGeom>
              <a:avLst/>
              <a:gdLst>
                <a:gd name="connsiteX0" fmla="*/ 150603 w 150603"/>
                <a:gd name="connsiteY0" fmla="*/ 120428 h 120427"/>
                <a:gd name="connsiteX1" fmla="*/ 150603 w 150603"/>
                <a:gd name="connsiteY1" fmla="*/ 0 h 120427"/>
                <a:gd name="connsiteX2" fmla="*/ 0 w 150603"/>
                <a:gd name="connsiteY2" fmla="*/ 120428 h 120427"/>
                <a:gd name="connsiteX3" fmla="*/ 150603 w 150603"/>
                <a:gd name="connsiteY3" fmla="*/ 120428 h 120427"/>
              </a:gdLst>
              <a:ahLst/>
              <a:cxnLst>
                <a:cxn ang="0">
                  <a:pos x="connsiteX0" y="connsiteY0"/>
                </a:cxn>
                <a:cxn ang="0">
                  <a:pos x="connsiteX1" y="connsiteY1"/>
                </a:cxn>
                <a:cxn ang="0">
                  <a:pos x="connsiteX2" y="connsiteY2"/>
                </a:cxn>
                <a:cxn ang="0">
                  <a:pos x="connsiteX3" y="connsiteY3"/>
                </a:cxn>
              </a:cxnLst>
              <a:rect l="l" t="t" r="r" b="b"/>
              <a:pathLst>
                <a:path w="150603" h="120427">
                  <a:moveTo>
                    <a:pt x="150603" y="120428"/>
                  </a:moveTo>
                  <a:lnTo>
                    <a:pt x="150603" y="0"/>
                  </a:lnTo>
                  <a:lnTo>
                    <a:pt x="0" y="120428"/>
                  </a:lnTo>
                  <a:lnTo>
                    <a:pt x="150603" y="120428"/>
                  </a:lnTo>
                  <a:close/>
                </a:path>
              </a:pathLst>
            </a:custGeom>
            <a:solidFill>
              <a:schemeClr val="accent3">
                <a:lumMod val="20000"/>
                <a:lumOff val="80000"/>
              </a:schemeClr>
            </a:solidFill>
            <a:ln w="5465" cap="flat">
              <a:noFill/>
              <a:prstDash val="solid"/>
              <a:miter/>
            </a:ln>
          </p:spPr>
          <p:txBody>
            <a:bodyPr rtlCol="0" anchor="ctr"/>
            <a:lstStyle/>
            <a:p>
              <a:pPr algn="l" rtl="0"/>
              <a:endParaRPr lang="en-US" dirty="0"/>
            </a:p>
          </p:txBody>
        </p:sp>
        <p:sp>
          <p:nvSpPr>
            <p:cNvPr id="520" name="Freeform: Shape 519">
              <a:extLst>
                <a:ext uri="{FF2B5EF4-FFF2-40B4-BE49-F238E27FC236}">
                  <a16:creationId xmlns:a16="http://schemas.microsoft.com/office/drawing/2014/main" id="{C8D6477C-4A46-44E3-9CAD-E70E476C9847}"/>
                </a:ext>
              </a:extLst>
            </p:cNvPr>
            <p:cNvSpPr/>
            <p:nvPr/>
          </p:nvSpPr>
          <p:spPr>
            <a:xfrm>
              <a:off x="12572883" y="1875071"/>
              <a:ext cx="167117" cy="136941"/>
            </a:xfrm>
            <a:custGeom>
              <a:avLst/>
              <a:gdLst>
                <a:gd name="connsiteX0" fmla="*/ 0 w 167117"/>
                <a:gd name="connsiteY0" fmla="*/ 136942 h 136941"/>
                <a:gd name="connsiteX1" fmla="*/ 167118 w 167117"/>
                <a:gd name="connsiteY1" fmla="*/ 136942 h 136941"/>
                <a:gd name="connsiteX2" fmla="*/ 167118 w 167117"/>
                <a:gd name="connsiteY2" fmla="*/ 0 h 136941"/>
                <a:gd name="connsiteX3" fmla="*/ 0 w 167117"/>
                <a:gd name="connsiteY3" fmla="*/ 0 h 136941"/>
                <a:gd name="connsiteX4" fmla="*/ 0 w 167117"/>
                <a:gd name="connsiteY4" fmla="*/ 136942 h 136941"/>
                <a:gd name="connsiteX5" fmla="*/ 16459 w 167117"/>
                <a:gd name="connsiteY5" fmla="*/ 16514 h 136941"/>
                <a:gd name="connsiteX6" fmla="*/ 150603 w 167117"/>
                <a:gd name="connsiteY6" fmla="*/ 16514 h 136941"/>
                <a:gd name="connsiteX7" fmla="*/ 150603 w 167117"/>
                <a:gd name="connsiteY7" fmla="*/ 120428 h 136941"/>
                <a:gd name="connsiteX8" fmla="*/ 16514 w 167117"/>
                <a:gd name="connsiteY8" fmla="*/ 120428 h 136941"/>
                <a:gd name="connsiteX9" fmla="*/ 16514 w 167117"/>
                <a:gd name="connsiteY9" fmla="*/ 16514 h 13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117" h="136941">
                  <a:moveTo>
                    <a:pt x="0" y="136942"/>
                  </a:moveTo>
                  <a:lnTo>
                    <a:pt x="167118" y="136942"/>
                  </a:lnTo>
                  <a:lnTo>
                    <a:pt x="167118" y="0"/>
                  </a:lnTo>
                  <a:lnTo>
                    <a:pt x="0" y="0"/>
                  </a:lnTo>
                  <a:lnTo>
                    <a:pt x="0" y="136942"/>
                  </a:lnTo>
                  <a:close/>
                  <a:moveTo>
                    <a:pt x="16459" y="16514"/>
                  </a:moveTo>
                  <a:lnTo>
                    <a:pt x="150603" y="16514"/>
                  </a:lnTo>
                  <a:lnTo>
                    <a:pt x="150603" y="120428"/>
                  </a:lnTo>
                  <a:lnTo>
                    <a:pt x="16514" y="120428"/>
                  </a:lnTo>
                  <a:lnTo>
                    <a:pt x="16514" y="16514"/>
                  </a:lnTo>
                  <a:close/>
                </a:path>
              </a:pathLst>
            </a:custGeom>
            <a:solidFill>
              <a:srgbClr val="FFFFFF"/>
            </a:solidFill>
            <a:ln w="5465" cap="flat">
              <a:noFill/>
              <a:prstDash val="solid"/>
              <a:miter/>
            </a:ln>
          </p:spPr>
          <p:txBody>
            <a:bodyPr rtlCol="0" anchor="ctr"/>
            <a:lstStyle/>
            <a:p>
              <a:pPr algn="l" rtl="0"/>
              <a:endParaRPr lang="en-US" dirty="0"/>
            </a:p>
          </p:txBody>
        </p:sp>
        <p:sp>
          <p:nvSpPr>
            <p:cNvPr id="521" name="Freeform: Shape 520">
              <a:extLst>
                <a:ext uri="{FF2B5EF4-FFF2-40B4-BE49-F238E27FC236}">
                  <a16:creationId xmlns:a16="http://schemas.microsoft.com/office/drawing/2014/main" id="{9CDB186F-44EC-46E9-AFC3-24D922869B9B}"/>
                </a:ext>
              </a:extLst>
            </p:cNvPr>
            <p:cNvSpPr/>
            <p:nvPr/>
          </p:nvSpPr>
          <p:spPr>
            <a:xfrm>
              <a:off x="13106990" y="1883301"/>
              <a:ext cx="150658" cy="120427"/>
            </a:xfrm>
            <a:custGeom>
              <a:avLst/>
              <a:gdLst>
                <a:gd name="connsiteX0" fmla="*/ 0 w 150658"/>
                <a:gd name="connsiteY0" fmla="*/ 0 h 120427"/>
                <a:gd name="connsiteX1" fmla="*/ 150658 w 150658"/>
                <a:gd name="connsiteY1" fmla="*/ 0 h 120427"/>
                <a:gd name="connsiteX2" fmla="*/ 150658 w 150658"/>
                <a:gd name="connsiteY2" fmla="*/ 120428 h 120427"/>
                <a:gd name="connsiteX3" fmla="*/ 0 w 150658"/>
                <a:gd name="connsiteY3" fmla="*/ 120428 h 120427"/>
              </a:gdLst>
              <a:ahLst/>
              <a:cxnLst>
                <a:cxn ang="0">
                  <a:pos x="connsiteX0" y="connsiteY0"/>
                </a:cxn>
                <a:cxn ang="0">
                  <a:pos x="connsiteX1" y="connsiteY1"/>
                </a:cxn>
                <a:cxn ang="0">
                  <a:pos x="connsiteX2" y="connsiteY2"/>
                </a:cxn>
                <a:cxn ang="0">
                  <a:pos x="connsiteX3" y="connsiteY3"/>
                </a:cxn>
              </a:cxnLst>
              <a:rect l="l" t="t" r="r" b="b"/>
              <a:pathLst>
                <a:path w="150658" h="120427">
                  <a:moveTo>
                    <a:pt x="0" y="0"/>
                  </a:moveTo>
                  <a:lnTo>
                    <a:pt x="150658" y="0"/>
                  </a:lnTo>
                  <a:lnTo>
                    <a:pt x="150658" y="120428"/>
                  </a:lnTo>
                  <a:lnTo>
                    <a:pt x="0" y="120428"/>
                  </a:lnTo>
                  <a:close/>
                </a:path>
              </a:pathLst>
            </a:custGeom>
            <a:solidFill>
              <a:schemeClr val="accent3">
                <a:lumMod val="75000"/>
              </a:schemeClr>
            </a:solidFill>
            <a:ln w="5465" cap="flat">
              <a:noFill/>
              <a:prstDash val="solid"/>
              <a:miter/>
            </a:ln>
          </p:spPr>
          <p:txBody>
            <a:bodyPr rtlCol="0" anchor="ctr"/>
            <a:lstStyle/>
            <a:p>
              <a:pPr algn="l" rtl="0"/>
              <a:endParaRPr lang="en-US" dirty="0"/>
            </a:p>
          </p:txBody>
        </p:sp>
        <p:sp>
          <p:nvSpPr>
            <p:cNvPr id="522" name="Freeform: Shape 521">
              <a:extLst>
                <a:ext uri="{FF2B5EF4-FFF2-40B4-BE49-F238E27FC236}">
                  <a16:creationId xmlns:a16="http://schemas.microsoft.com/office/drawing/2014/main" id="{89EBF9E4-4B02-45C4-BD55-80E9974EC4E2}"/>
                </a:ext>
              </a:extLst>
            </p:cNvPr>
            <p:cNvSpPr/>
            <p:nvPr/>
          </p:nvSpPr>
          <p:spPr>
            <a:xfrm>
              <a:off x="13106990" y="1883301"/>
              <a:ext cx="150658" cy="120427"/>
            </a:xfrm>
            <a:custGeom>
              <a:avLst/>
              <a:gdLst>
                <a:gd name="connsiteX0" fmla="*/ 150658 w 150658"/>
                <a:gd name="connsiteY0" fmla="*/ 120428 h 120427"/>
                <a:gd name="connsiteX1" fmla="*/ 150658 w 150658"/>
                <a:gd name="connsiteY1" fmla="*/ 0 h 120427"/>
                <a:gd name="connsiteX2" fmla="*/ 0 w 150658"/>
                <a:gd name="connsiteY2" fmla="*/ 120428 h 120427"/>
                <a:gd name="connsiteX3" fmla="*/ 150658 w 150658"/>
                <a:gd name="connsiteY3" fmla="*/ 120428 h 120427"/>
              </a:gdLst>
              <a:ahLst/>
              <a:cxnLst>
                <a:cxn ang="0">
                  <a:pos x="connsiteX0" y="connsiteY0"/>
                </a:cxn>
                <a:cxn ang="0">
                  <a:pos x="connsiteX1" y="connsiteY1"/>
                </a:cxn>
                <a:cxn ang="0">
                  <a:pos x="connsiteX2" y="connsiteY2"/>
                </a:cxn>
                <a:cxn ang="0">
                  <a:pos x="connsiteX3" y="connsiteY3"/>
                </a:cxn>
              </a:cxnLst>
              <a:rect l="l" t="t" r="r" b="b"/>
              <a:pathLst>
                <a:path w="150658" h="120427">
                  <a:moveTo>
                    <a:pt x="150658" y="120428"/>
                  </a:moveTo>
                  <a:lnTo>
                    <a:pt x="150658" y="0"/>
                  </a:lnTo>
                  <a:lnTo>
                    <a:pt x="0" y="120428"/>
                  </a:lnTo>
                  <a:lnTo>
                    <a:pt x="150658" y="120428"/>
                  </a:lnTo>
                  <a:close/>
                </a:path>
              </a:pathLst>
            </a:custGeom>
            <a:solidFill>
              <a:schemeClr val="accent3">
                <a:lumMod val="20000"/>
                <a:lumOff val="80000"/>
              </a:schemeClr>
            </a:solidFill>
            <a:ln w="5465" cap="flat">
              <a:noFill/>
              <a:prstDash val="solid"/>
              <a:miter/>
            </a:ln>
          </p:spPr>
          <p:txBody>
            <a:bodyPr rtlCol="0" anchor="ctr"/>
            <a:lstStyle/>
            <a:p>
              <a:pPr algn="l" rtl="0"/>
              <a:endParaRPr lang="en-US" dirty="0"/>
            </a:p>
          </p:txBody>
        </p:sp>
        <p:sp>
          <p:nvSpPr>
            <p:cNvPr id="523" name="Freeform: Shape 522">
              <a:extLst>
                <a:ext uri="{FF2B5EF4-FFF2-40B4-BE49-F238E27FC236}">
                  <a16:creationId xmlns:a16="http://schemas.microsoft.com/office/drawing/2014/main" id="{9FE196FE-0A5E-49BF-86EB-18DE845AAE49}"/>
                </a:ext>
              </a:extLst>
            </p:cNvPr>
            <p:cNvSpPr/>
            <p:nvPr/>
          </p:nvSpPr>
          <p:spPr>
            <a:xfrm>
              <a:off x="13098760" y="1875071"/>
              <a:ext cx="167117" cy="136941"/>
            </a:xfrm>
            <a:custGeom>
              <a:avLst/>
              <a:gdLst>
                <a:gd name="connsiteX0" fmla="*/ 0 w 167117"/>
                <a:gd name="connsiteY0" fmla="*/ 136942 h 136941"/>
                <a:gd name="connsiteX1" fmla="*/ 167118 w 167117"/>
                <a:gd name="connsiteY1" fmla="*/ 136942 h 136941"/>
                <a:gd name="connsiteX2" fmla="*/ 167118 w 167117"/>
                <a:gd name="connsiteY2" fmla="*/ 0 h 136941"/>
                <a:gd name="connsiteX3" fmla="*/ 0 w 167117"/>
                <a:gd name="connsiteY3" fmla="*/ 0 h 136941"/>
                <a:gd name="connsiteX4" fmla="*/ 0 w 167117"/>
                <a:gd name="connsiteY4" fmla="*/ 136942 h 136941"/>
                <a:gd name="connsiteX5" fmla="*/ 16459 w 167117"/>
                <a:gd name="connsiteY5" fmla="*/ 16514 h 136941"/>
                <a:gd name="connsiteX6" fmla="*/ 150603 w 167117"/>
                <a:gd name="connsiteY6" fmla="*/ 16514 h 136941"/>
                <a:gd name="connsiteX7" fmla="*/ 150603 w 167117"/>
                <a:gd name="connsiteY7" fmla="*/ 120428 h 136941"/>
                <a:gd name="connsiteX8" fmla="*/ 16459 w 167117"/>
                <a:gd name="connsiteY8" fmla="*/ 120428 h 136941"/>
                <a:gd name="connsiteX9" fmla="*/ 16459 w 167117"/>
                <a:gd name="connsiteY9" fmla="*/ 16514 h 13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117" h="136941">
                  <a:moveTo>
                    <a:pt x="0" y="136942"/>
                  </a:moveTo>
                  <a:lnTo>
                    <a:pt x="167118" y="136942"/>
                  </a:lnTo>
                  <a:lnTo>
                    <a:pt x="167118" y="0"/>
                  </a:lnTo>
                  <a:lnTo>
                    <a:pt x="0" y="0"/>
                  </a:lnTo>
                  <a:lnTo>
                    <a:pt x="0" y="136942"/>
                  </a:lnTo>
                  <a:close/>
                  <a:moveTo>
                    <a:pt x="16459" y="16514"/>
                  </a:moveTo>
                  <a:lnTo>
                    <a:pt x="150603" y="16514"/>
                  </a:lnTo>
                  <a:lnTo>
                    <a:pt x="150603" y="120428"/>
                  </a:lnTo>
                  <a:lnTo>
                    <a:pt x="16459" y="120428"/>
                  </a:lnTo>
                  <a:lnTo>
                    <a:pt x="16459" y="16514"/>
                  </a:lnTo>
                  <a:close/>
                </a:path>
              </a:pathLst>
            </a:custGeom>
            <a:solidFill>
              <a:srgbClr val="FFFFFF"/>
            </a:solidFill>
            <a:ln w="5465" cap="flat">
              <a:noFill/>
              <a:prstDash val="solid"/>
              <a:miter/>
            </a:ln>
          </p:spPr>
          <p:txBody>
            <a:bodyPr rtlCol="0" anchor="ctr"/>
            <a:lstStyle/>
            <a:p>
              <a:pPr algn="l" rtl="0"/>
              <a:endParaRPr lang="en-US" dirty="0"/>
            </a:p>
          </p:txBody>
        </p:sp>
        <p:sp>
          <p:nvSpPr>
            <p:cNvPr id="524" name="Freeform: Shape 523">
              <a:extLst>
                <a:ext uri="{FF2B5EF4-FFF2-40B4-BE49-F238E27FC236}">
                  <a16:creationId xmlns:a16="http://schemas.microsoft.com/office/drawing/2014/main" id="{32C8A7A5-908C-4B4C-844D-C746760FC0BD}"/>
                </a:ext>
              </a:extLst>
            </p:cNvPr>
            <p:cNvSpPr/>
            <p:nvPr/>
          </p:nvSpPr>
          <p:spPr>
            <a:xfrm>
              <a:off x="12622426" y="1687764"/>
              <a:ext cx="593909" cy="35552"/>
            </a:xfrm>
            <a:custGeom>
              <a:avLst/>
              <a:gdLst>
                <a:gd name="connsiteX0" fmla="*/ 0 w 593909"/>
                <a:gd name="connsiteY0" fmla="*/ 0 h 35552"/>
                <a:gd name="connsiteX1" fmla="*/ 593909 w 593909"/>
                <a:gd name="connsiteY1" fmla="*/ 0 h 35552"/>
                <a:gd name="connsiteX2" fmla="*/ 593909 w 593909"/>
                <a:gd name="connsiteY2" fmla="*/ 35552 h 35552"/>
                <a:gd name="connsiteX3" fmla="*/ 0 w 593909"/>
                <a:gd name="connsiteY3" fmla="*/ 35552 h 35552"/>
              </a:gdLst>
              <a:ahLst/>
              <a:cxnLst>
                <a:cxn ang="0">
                  <a:pos x="connsiteX0" y="connsiteY0"/>
                </a:cxn>
                <a:cxn ang="0">
                  <a:pos x="connsiteX1" y="connsiteY1"/>
                </a:cxn>
                <a:cxn ang="0">
                  <a:pos x="connsiteX2" y="connsiteY2"/>
                </a:cxn>
                <a:cxn ang="0">
                  <a:pos x="connsiteX3" y="connsiteY3"/>
                </a:cxn>
              </a:cxnLst>
              <a:rect l="l" t="t" r="r" b="b"/>
              <a:pathLst>
                <a:path w="593909" h="35552">
                  <a:moveTo>
                    <a:pt x="0" y="0"/>
                  </a:moveTo>
                  <a:lnTo>
                    <a:pt x="593909" y="0"/>
                  </a:lnTo>
                  <a:lnTo>
                    <a:pt x="593909" y="35552"/>
                  </a:lnTo>
                  <a:lnTo>
                    <a:pt x="0" y="35552"/>
                  </a:lnTo>
                  <a:close/>
                </a:path>
              </a:pathLst>
            </a:custGeom>
            <a:solidFill>
              <a:srgbClr val="FFFFFF"/>
            </a:solidFill>
            <a:ln w="5465" cap="flat">
              <a:noFill/>
              <a:prstDash val="solid"/>
              <a:miter/>
            </a:ln>
          </p:spPr>
          <p:txBody>
            <a:bodyPr rtlCol="0" anchor="ctr"/>
            <a:lstStyle/>
            <a:p>
              <a:pPr algn="l" rtl="0"/>
              <a:endParaRPr lang="en-US" dirty="0"/>
            </a:p>
          </p:txBody>
        </p:sp>
        <p:sp>
          <p:nvSpPr>
            <p:cNvPr id="525" name="Freeform: Shape 524">
              <a:extLst>
                <a:ext uri="{FF2B5EF4-FFF2-40B4-BE49-F238E27FC236}">
                  <a16:creationId xmlns:a16="http://schemas.microsoft.com/office/drawing/2014/main" id="{6013E5B6-3E06-41FE-896B-A785E3C75D3E}"/>
                </a:ext>
              </a:extLst>
            </p:cNvPr>
            <p:cNvSpPr/>
            <p:nvPr/>
          </p:nvSpPr>
          <p:spPr>
            <a:xfrm>
              <a:off x="12822736" y="1844402"/>
              <a:ext cx="193287" cy="193781"/>
            </a:xfrm>
            <a:custGeom>
              <a:avLst/>
              <a:gdLst>
                <a:gd name="connsiteX0" fmla="*/ 0 w 193287"/>
                <a:gd name="connsiteY0" fmla="*/ 0 h 193781"/>
                <a:gd name="connsiteX1" fmla="*/ 193288 w 193287"/>
                <a:gd name="connsiteY1" fmla="*/ 0 h 193781"/>
                <a:gd name="connsiteX2" fmla="*/ 193288 w 193287"/>
                <a:gd name="connsiteY2" fmla="*/ 193782 h 193781"/>
                <a:gd name="connsiteX3" fmla="*/ 0 w 193287"/>
                <a:gd name="connsiteY3" fmla="*/ 193782 h 193781"/>
              </a:gdLst>
              <a:ahLst/>
              <a:cxnLst>
                <a:cxn ang="0">
                  <a:pos x="connsiteX0" y="connsiteY0"/>
                </a:cxn>
                <a:cxn ang="0">
                  <a:pos x="connsiteX1" y="connsiteY1"/>
                </a:cxn>
                <a:cxn ang="0">
                  <a:pos x="connsiteX2" y="connsiteY2"/>
                </a:cxn>
                <a:cxn ang="0">
                  <a:pos x="connsiteX3" y="connsiteY3"/>
                </a:cxn>
              </a:cxnLst>
              <a:rect l="l" t="t" r="r" b="b"/>
              <a:pathLst>
                <a:path w="193287" h="193781">
                  <a:moveTo>
                    <a:pt x="0" y="0"/>
                  </a:moveTo>
                  <a:lnTo>
                    <a:pt x="193288" y="0"/>
                  </a:lnTo>
                  <a:lnTo>
                    <a:pt x="193288" y="193782"/>
                  </a:lnTo>
                  <a:lnTo>
                    <a:pt x="0" y="193782"/>
                  </a:lnTo>
                  <a:close/>
                </a:path>
              </a:pathLst>
            </a:custGeom>
            <a:solidFill>
              <a:srgbClr val="FFFFFF"/>
            </a:solidFill>
            <a:ln w="5465" cap="flat">
              <a:noFill/>
              <a:prstDash val="solid"/>
              <a:miter/>
            </a:ln>
          </p:spPr>
          <p:txBody>
            <a:bodyPr rtlCol="0" anchor="ctr"/>
            <a:lstStyle/>
            <a:p>
              <a:pPr algn="l" rtl="0"/>
              <a:endParaRPr lang="en-US" dirty="0"/>
            </a:p>
          </p:txBody>
        </p:sp>
        <p:sp>
          <p:nvSpPr>
            <p:cNvPr id="526" name="Freeform: Shape 525">
              <a:extLst>
                <a:ext uri="{FF2B5EF4-FFF2-40B4-BE49-F238E27FC236}">
                  <a16:creationId xmlns:a16="http://schemas.microsoft.com/office/drawing/2014/main" id="{BBD615A4-CCEF-4972-BF77-1114A3870020}"/>
                </a:ext>
              </a:extLst>
            </p:cNvPr>
            <p:cNvSpPr/>
            <p:nvPr/>
          </p:nvSpPr>
          <p:spPr>
            <a:xfrm>
              <a:off x="12864488" y="1885989"/>
              <a:ext cx="109784" cy="115050"/>
            </a:xfrm>
            <a:custGeom>
              <a:avLst/>
              <a:gdLst>
                <a:gd name="connsiteX0" fmla="*/ 74177 w 109784"/>
                <a:gd name="connsiteY0" fmla="*/ 40271 h 115050"/>
                <a:gd name="connsiteX1" fmla="*/ 35443 w 109784"/>
                <a:gd name="connsiteY1" fmla="*/ 40271 h 115050"/>
                <a:gd name="connsiteX2" fmla="*/ 35443 w 109784"/>
                <a:gd name="connsiteY2" fmla="*/ 0 h 115050"/>
                <a:gd name="connsiteX3" fmla="*/ 0 w 109784"/>
                <a:gd name="connsiteY3" fmla="*/ 0 h 115050"/>
                <a:gd name="connsiteX4" fmla="*/ 0 w 109784"/>
                <a:gd name="connsiteY4" fmla="*/ 115051 h 115050"/>
                <a:gd name="connsiteX5" fmla="*/ 35443 w 109784"/>
                <a:gd name="connsiteY5" fmla="*/ 115051 h 115050"/>
                <a:gd name="connsiteX6" fmla="*/ 35443 w 109784"/>
                <a:gd name="connsiteY6" fmla="*/ 68526 h 115050"/>
                <a:gd name="connsiteX7" fmla="*/ 74177 w 109784"/>
                <a:gd name="connsiteY7" fmla="*/ 68526 h 115050"/>
                <a:gd name="connsiteX8" fmla="*/ 74177 w 109784"/>
                <a:gd name="connsiteY8" fmla="*/ 115051 h 115050"/>
                <a:gd name="connsiteX9" fmla="*/ 109784 w 109784"/>
                <a:gd name="connsiteY9" fmla="*/ 115051 h 115050"/>
                <a:gd name="connsiteX10" fmla="*/ 109784 w 109784"/>
                <a:gd name="connsiteY10" fmla="*/ 0 h 115050"/>
                <a:gd name="connsiteX11" fmla="*/ 74177 w 109784"/>
                <a:gd name="connsiteY11" fmla="*/ 0 h 115050"/>
                <a:gd name="connsiteX12" fmla="*/ 74177 w 109784"/>
                <a:gd name="connsiteY12" fmla="*/ 40271 h 11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784" h="115050">
                  <a:moveTo>
                    <a:pt x="74177" y="40271"/>
                  </a:moveTo>
                  <a:lnTo>
                    <a:pt x="35443" y="40271"/>
                  </a:lnTo>
                  <a:lnTo>
                    <a:pt x="35443" y="0"/>
                  </a:lnTo>
                  <a:lnTo>
                    <a:pt x="0" y="0"/>
                  </a:lnTo>
                  <a:lnTo>
                    <a:pt x="0" y="115051"/>
                  </a:lnTo>
                  <a:lnTo>
                    <a:pt x="35443" y="115051"/>
                  </a:lnTo>
                  <a:lnTo>
                    <a:pt x="35443" y="68526"/>
                  </a:lnTo>
                  <a:lnTo>
                    <a:pt x="74177" y="68526"/>
                  </a:lnTo>
                  <a:lnTo>
                    <a:pt x="74177" y="115051"/>
                  </a:lnTo>
                  <a:lnTo>
                    <a:pt x="109784" y="115051"/>
                  </a:lnTo>
                  <a:lnTo>
                    <a:pt x="109784" y="0"/>
                  </a:lnTo>
                  <a:lnTo>
                    <a:pt x="74177" y="0"/>
                  </a:lnTo>
                  <a:lnTo>
                    <a:pt x="74177" y="40271"/>
                  </a:lnTo>
                  <a:close/>
                </a:path>
              </a:pathLst>
            </a:custGeom>
            <a:solidFill>
              <a:schemeClr val="accent3">
                <a:lumMod val="50000"/>
              </a:schemeClr>
            </a:solidFill>
            <a:ln w="5465" cap="flat">
              <a:noFill/>
              <a:prstDash val="solid"/>
              <a:miter/>
            </a:ln>
          </p:spPr>
          <p:txBody>
            <a:bodyPr rtlCol="0" anchor="ctr"/>
            <a:lstStyle/>
            <a:p>
              <a:pPr algn="l" rtl="0"/>
              <a:endParaRPr lang="en-US" dirty="0"/>
            </a:p>
          </p:txBody>
        </p:sp>
        <p:sp>
          <p:nvSpPr>
            <p:cNvPr id="527" name="Freeform: Shape 526">
              <a:extLst>
                <a:ext uri="{FF2B5EF4-FFF2-40B4-BE49-F238E27FC236}">
                  <a16:creationId xmlns:a16="http://schemas.microsoft.com/office/drawing/2014/main" id="{978F8BAE-C14B-4E90-9688-EBDE545A6550}"/>
                </a:ext>
              </a:extLst>
            </p:cNvPr>
            <p:cNvSpPr/>
            <p:nvPr/>
          </p:nvSpPr>
          <p:spPr>
            <a:xfrm>
              <a:off x="12418714" y="2502447"/>
              <a:ext cx="1001333" cy="80376"/>
            </a:xfrm>
            <a:custGeom>
              <a:avLst/>
              <a:gdLst>
                <a:gd name="connsiteX0" fmla="*/ 0 w 1001333"/>
                <a:gd name="connsiteY0" fmla="*/ 0 h 80376"/>
                <a:gd name="connsiteX1" fmla="*/ 1001334 w 1001333"/>
                <a:gd name="connsiteY1" fmla="*/ 0 h 80376"/>
                <a:gd name="connsiteX2" fmla="*/ 1001334 w 1001333"/>
                <a:gd name="connsiteY2" fmla="*/ 80377 h 80376"/>
                <a:gd name="connsiteX3" fmla="*/ 0 w 1001333"/>
                <a:gd name="connsiteY3" fmla="*/ 80377 h 80376"/>
              </a:gdLst>
              <a:ahLst/>
              <a:cxnLst>
                <a:cxn ang="0">
                  <a:pos x="connsiteX0" y="connsiteY0"/>
                </a:cxn>
                <a:cxn ang="0">
                  <a:pos x="connsiteX1" y="connsiteY1"/>
                </a:cxn>
                <a:cxn ang="0">
                  <a:pos x="connsiteX2" y="connsiteY2"/>
                </a:cxn>
                <a:cxn ang="0">
                  <a:pos x="connsiteX3" y="connsiteY3"/>
                </a:cxn>
              </a:cxnLst>
              <a:rect l="l" t="t" r="r" b="b"/>
              <a:pathLst>
                <a:path w="1001333" h="80376">
                  <a:moveTo>
                    <a:pt x="0" y="0"/>
                  </a:moveTo>
                  <a:lnTo>
                    <a:pt x="1001334" y="0"/>
                  </a:lnTo>
                  <a:lnTo>
                    <a:pt x="1001334" y="80377"/>
                  </a:lnTo>
                  <a:lnTo>
                    <a:pt x="0" y="80377"/>
                  </a:lnTo>
                  <a:close/>
                </a:path>
              </a:pathLst>
            </a:custGeom>
            <a:solidFill>
              <a:srgbClr val="FFFFFF"/>
            </a:solidFill>
            <a:ln w="5465" cap="flat">
              <a:noFill/>
              <a:prstDash val="solid"/>
              <a:miter/>
            </a:ln>
          </p:spPr>
          <p:txBody>
            <a:bodyPr rtlCol="0" anchor="ctr"/>
            <a:lstStyle/>
            <a:p>
              <a:pPr algn="l" rtl="0"/>
              <a:endParaRPr lang="en-US" dirty="0"/>
            </a:p>
          </p:txBody>
        </p:sp>
      </p:grpSp>
      <p:grpSp>
        <p:nvGrpSpPr>
          <p:cNvPr id="528" name="Group 527">
            <a:extLst>
              <a:ext uri="{FF2B5EF4-FFF2-40B4-BE49-F238E27FC236}">
                <a16:creationId xmlns:a16="http://schemas.microsoft.com/office/drawing/2014/main" id="{6C37D9DC-E038-428A-82DE-C272E8C37D37}"/>
              </a:ext>
            </a:extLst>
          </p:cNvPr>
          <p:cNvGrpSpPr/>
          <p:nvPr/>
        </p:nvGrpSpPr>
        <p:grpSpPr>
          <a:xfrm>
            <a:off x="554736" y="4822003"/>
            <a:ext cx="190540" cy="358060"/>
            <a:chOff x="12525355" y="4365122"/>
            <a:chExt cx="532161" cy="1000029"/>
          </a:xfrm>
        </p:grpSpPr>
        <p:sp>
          <p:nvSpPr>
            <p:cNvPr id="529" name="Freeform: Shape 528">
              <a:extLst>
                <a:ext uri="{FF2B5EF4-FFF2-40B4-BE49-F238E27FC236}">
                  <a16:creationId xmlns:a16="http://schemas.microsoft.com/office/drawing/2014/main" id="{37C37BAA-9DBB-49AA-B113-C0B791E889B4}"/>
                </a:ext>
              </a:extLst>
            </p:cNvPr>
            <p:cNvSpPr/>
            <p:nvPr/>
          </p:nvSpPr>
          <p:spPr>
            <a:xfrm>
              <a:off x="12624414" y="4924049"/>
              <a:ext cx="113728" cy="113823"/>
            </a:xfrm>
            <a:custGeom>
              <a:avLst/>
              <a:gdLst>
                <a:gd name="connsiteX0" fmla="*/ 56864 w 113728"/>
                <a:gd name="connsiteY0" fmla="*/ 113824 h 113823"/>
                <a:gd name="connsiteX1" fmla="*/ 0 w 113728"/>
                <a:gd name="connsiteY1" fmla="*/ 56864 h 113823"/>
                <a:gd name="connsiteX2" fmla="*/ 56864 w 113728"/>
                <a:gd name="connsiteY2" fmla="*/ 0 h 113823"/>
                <a:gd name="connsiteX3" fmla="*/ 113729 w 113728"/>
                <a:gd name="connsiteY3" fmla="*/ 56864 h 113823"/>
                <a:gd name="connsiteX4" fmla="*/ 56864 w 113728"/>
                <a:gd name="connsiteY4" fmla="*/ 113824 h 113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28" h="113823">
                  <a:moveTo>
                    <a:pt x="56864" y="113824"/>
                  </a:moveTo>
                  <a:cubicBezTo>
                    <a:pt x="25527" y="113824"/>
                    <a:pt x="0" y="88297"/>
                    <a:pt x="0" y="56864"/>
                  </a:cubicBezTo>
                  <a:cubicBezTo>
                    <a:pt x="0" y="25432"/>
                    <a:pt x="25527" y="0"/>
                    <a:pt x="56864" y="0"/>
                  </a:cubicBezTo>
                  <a:cubicBezTo>
                    <a:pt x="88202" y="0"/>
                    <a:pt x="113729" y="25527"/>
                    <a:pt x="113729" y="56864"/>
                  </a:cubicBezTo>
                  <a:cubicBezTo>
                    <a:pt x="113729" y="88202"/>
                    <a:pt x="88202" y="113824"/>
                    <a:pt x="56864" y="113824"/>
                  </a:cubicBezTo>
                  <a:close/>
                </a:path>
              </a:pathLst>
            </a:custGeom>
            <a:solidFill>
              <a:schemeClr val="accent3">
                <a:lumMod val="40000"/>
                <a:lumOff val="60000"/>
              </a:schemeClr>
            </a:solidFill>
            <a:ln w="9525" cap="flat">
              <a:noFill/>
              <a:prstDash val="solid"/>
              <a:miter/>
            </a:ln>
          </p:spPr>
          <p:txBody>
            <a:bodyPr rtlCol="0" anchor="ctr"/>
            <a:lstStyle/>
            <a:p>
              <a:pPr algn="l" rtl="0"/>
              <a:endParaRPr lang="en-US" dirty="0"/>
            </a:p>
          </p:txBody>
        </p:sp>
        <p:sp>
          <p:nvSpPr>
            <p:cNvPr id="530" name="Freeform: Shape 529">
              <a:extLst>
                <a:ext uri="{FF2B5EF4-FFF2-40B4-BE49-F238E27FC236}">
                  <a16:creationId xmlns:a16="http://schemas.microsoft.com/office/drawing/2014/main" id="{2C58DC78-61CE-45FC-99E0-9277AAED27B2}"/>
                </a:ext>
              </a:extLst>
            </p:cNvPr>
            <p:cNvSpPr/>
            <p:nvPr/>
          </p:nvSpPr>
          <p:spPr>
            <a:xfrm>
              <a:off x="12549357" y="5046921"/>
              <a:ext cx="97726" cy="97916"/>
            </a:xfrm>
            <a:custGeom>
              <a:avLst/>
              <a:gdLst>
                <a:gd name="connsiteX0" fmla="*/ 48863 w 97726"/>
                <a:gd name="connsiteY0" fmla="*/ 97917 h 97916"/>
                <a:gd name="connsiteX1" fmla="*/ 0 w 97726"/>
                <a:gd name="connsiteY1" fmla="*/ 48958 h 97916"/>
                <a:gd name="connsiteX2" fmla="*/ 48863 w 97726"/>
                <a:gd name="connsiteY2" fmla="*/ 0 h 97916"/>
                <a:gd name="connsiteX3" fmla="*/ 97727 w 97726"/>
                <a:gd name="connsiteY3" fmla="*/ 48958 h 97916"/>
                <a:gd name="connsiteX4" fmla="*/ 48863 w 97726"/>
                <a:gd name="connsiteY4" fmla="*/ 97917 h 97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26" h="97916">
                  <a:moveTo>
                    <a:pt x="48863" y="97917"/>
                  </a:moveTo>
                  <a:cubicBezTo>
                    <a:pt x="21908" y="97917"/>
                    <a:pt x="0" y="75914"/>
                    <a:pt x="0" y="48958"/>
                  </a:cubicBezTo>
                  <a:cubicBezTo>
                    <a:pt x="0" y="22003"/>
                    <a:pt x="21908" y="0"/>
                    <a:pt x="48863" y="0"/>
                  </a:cubicBezTo>
                  <a:cubicBezTo>
                    <a:pt x="75819" y="0"/>
                    <a:pt x="97727" y="22003"/>
                    <a:pt x="97727" y="48958"/>
                  </a:cubicBezTo>
                  <a:cubicBezTo>
                    <a:pt x="97727" y="75914"/>
                    <a:pt x="75819" y="97917"/>
                    <a:pt x="48863" y="97917"/>
                  </a:cubicBezTo>
                  <a:close/>
                </a:path>
              </a:pathLst>
            </a:custGeom>
            <a:solidFill>
              <a:schemeClr val="accent3">
                <a:lumMod val="40000"/>
                <a:lumOff val="60000"/>
              </a:schemeClr>
            </a:solidFill>
            <a:ln w="9525" cap="flat">
              <a:noFill/>
              <a:prstDash val="solid"/>
              <a:miter/>
            </a:ln>
          </p:spPr>
          <p:txBody>
            <a:bodyPr rtlCol="0" anchor="ctr"/>
            <a:lstStyle/>
            <a:p>
              <a:pPr algn="l" rtl="0"/>
              <a:endParaRPr lang="en-US" dirty="0"/>
            </a:p>
          </p:txBody>
        </p:sp>
        <p:sp>
          <p:nvSpPr>
            <p:cNvPr id="531" name="Freeform: Shape 530">
              <a:extLst>
                <a:ext uri="{FF2B5EF4-FFF2-40B4-BE49-F238E27FC236}">
                  <a16:creationId xmlns:a16="http://schemas.microsoft.com/office/drawing/2014/main" id="{480B4A84-A72F-467B-B605-BA35185A17B9}"/>
                </a:ext>
              </a:extLst>
            </p:cNvPr>
            <p:cNvSpPr/>
            <p:nvPr/>
          </p:nvSpPr>
          <p:spPr>
            <a:xfrm>
              <a:off x="12525355" y="5168269"/>
              <a:ext cx="85153" cy="85058"/>
            </a:xfrm>
            <a:custGeom>
              <a:avLst/>
              <a:gdLst>
                <a:gd name="connsiteX0" fmla="*/ 42577 w 85153"/>
                <a:gd name="connsiteY0" fmla="*/ 85058 h 85058"/>
                <a:gd name="connsiteX1" fmla="*/ 0 w 85153"/>
                <a:gd name="connsiteY1" fmla="*/ 42577 h 85058"/>
                <a:gd name="connsiteX2" fmla="*/ 42577 w 85153"/>
                <a:gd name="connsiteY2" fmla="*/ 0 h 85058"/>
                <a:gd name="connsiteX3" fmla="*/ 85153 w 85153"/>
                <a:gd name="connsiteY3" fmla="*/ 42577 h 85058"/>
                <a:gd name="connsiteX4" fmla="*/ 42577 w 85153"/>
                <a:gd name="connsiteY4" fmla="*/ 85058 h 85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153" h="85058">
                  <a:moveTo>
                    <a:pt x="42577" y="85058"/>
                  </a:moveTo>
                  <a:cubicBezTo>
                    <a:pt x="19145" y="85058"/>
                    <a:pt x="0" y="66008"/>
                    <a:pt x="0" y="42577"/>
                  </a:cubicBezTo>
                  <a:cubicBezTo>
                    <a:pt x="0" y="19145"/>
                    <a:pt x="19050" y="0"/>
                    <a:pt x="42577" y="0"/>
                  </a:cubicBezTo>
                  <a:cubicBezTo>
                    <a:pt x="66104" y="0"/>
                    <a:pt x="85153" y="19050"/>
                    <a:pt x="85153" y="42577"/>
                  </a:cubicBezTo>
                  <a:cubicBezTo>
                    <a:pt x="85153" y="66104"/>
                    <a:pt x="66008" y="85058"/>
                    <a:pt x="42577" y="85058"/>
                  </a:cubicBezTo>
                  <a:close/>
                </a:path>
              </a:pathLst>
            </a:custGeom>
            <a:solidFill>
              <a:schemeClr val="accent3">
                <a:lumMod val="40000"/>
                <a:lumOff val="60000"/>
              </a:schemeClr>
            </a:solidFill>
            <a:ln w="9525" cap="flat">
              <a:noFill/>
              <a:prstDash val="solid"/>
              <a:miter/>
            </a:ln>
          </p:spPr>
          <p:txBody>
            <a:bodyPr rtlCol="0" anchor="ctr"/>
            <a:lstStyle/>
            <a:p>
              <a:pPr algn="l" rtl="0"/>
              <a:endParaRPr lang="en-US" dirty="0"/>
            </a:p>
          </p:txBody>
        </p:sp>
        <p:sp>
          <p:nvSpPr>
            <p:cNvPr id="532" name="Freeform: Shape 531">
              <a:extLst>
                <a:ext uri="{FF2B5EF4-FFF2-40B4-BE49-F238E27FC236}">
                  <a16:creationId xmlns:a16="http://schemas.microsoft.com/office/drawing/2014/main" id="{DBDA5E71-9341-4494-83F8-D9ECBEE08714}"/>
                </a:ext>
              </a:extLst>
            </p:cNvPr>
            <p:cNvSpPr/>
            <p:nvPr/>
          </p:nvSpPr>
          <p:spPr>
            <a:xfrm>
              <a:off x="12564121" y="5286380"/>
              <a:ext cx="78771" cy="78771"/>
            </a:xfrm>
            <a:custGeom>
              <a:avLst/>
              <a:gdLst>
                <a:gd name="connsiteX0" fmla="*/ 39338 w 78771"/>
                <a:gd name="connsiteY0" fmla="*/ 78772 h 78771"/>
                <a:gd name="connsiteX1" fmla="*/ 0 w 78771"/>
                <a:gd name="connsiteY1" fmla="*/ 39338 h 78771"/>
                <a:gd name="connsiteX2" fmla="*/ 39338 w 78771"/>
                <a:gd name="connsiteY2" fmla="*/ 0 h 78771"/>
                <a:gd name="connsiteX3" fmla="*/ 78772 w 78771"/>
                <a:gd name="connsiteY3" fmla="*/ 39338 h 78771"/>
                <a:gd name="connsiteX4" fmla="*/ 39338 w 78771"/>
                <a:gd name="connsiteY4" fmla="*/ 78772 h 78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71" h="78771">
                  <a:moveTo>
                    <a:pt x="39338" y="78772"/>
                  </a:moveTo>
                  <a:cubicBezTo>
                    <a:pt x="17621" y="78772"/>
                    <a:pt x="0" y="61055"/>
                    <a:pt x="0" y="39338"/>
                  </a:cubicBezTo>
                  <a:cubicBezTo>
                    <a:pt x="0" y="17621"/>
                    <a:pt x="17621" y="0"/>
                    <a:pt x="39338" y="0"/>
                  </a:cubicBezTo>
                  <a:cubicBezTo>
                    <a:pt x="61055" y="0"/>
                    <a:pt x="78772" y="17621"/>
                    <a:pt x="78772" y="39338"/>
                  </a:cubicBezTo>
                  <a:cubicBezTo>
                    <a:pt x="78772" y="61055"/>
                    <a:pt x="61055" y="78772"/>
                    <a:pt x="39338" y="78772"/>
                  </a:cubicBezTo>
                  <a:close/>
                </a:path>
              </a:pathLst>
            </a:custGeom>
            <a:solidFill>
              <a:schemeClr val="accent3">
                <a:lumMod val="40000"/>
                <a:lumOff val="60000"/>
              </a:schemeClr>
            </a:solidFill>
            <a:ln w="9525" cap="flat">
              <a:noFill/>
              <a:prstDash val="solid"/>
              <a:miter/>
            </a:ln>
          </p:spPr>
          <p:txBody>
            <a:bodyPr rtlCol="0" anchor="ctr"/>
            <a:lstStyle/>
            <a:p>
              <a:pPr algn="l" rtl="0"/>
              <a:endParaRPr lang="en-US" dirty="0"/>
            </a:p>
          </p:txBody>
        </p:sp>
        <p:sp>
          <p:nvSpPr>
            <p:cNvPr id="533" name="Freeform: Shape 532">
              <a:extLst>
                <a:ext uri="{FF2B5EF4-FFF2-40B4-BE49-F238E27FC236}">
                  <a16:creationId xmlns:a16="http://schemas.microsoft.com/office/drawing/2014/main" id="{E8B8A9D6-435D-49FE-A74F-5C8FA1E330F2}"/>
                </a:ext>
              </a:extLst>
            </p:cNvPr>
            <p:cNvSpPr/>
            <p:nvPr/>
          </p:nvSpPr>
          <p:spPr>
            <a:xfrm>
              <a:off x="12844728" y="4692401"/>
              <a:ext cx="113728" cy="113728"/>
            </a:xfrm>
            <a:custGeom>
              <a:avLst/>
              <a:gdLst>
                <a:gd name="connsiteX0" fmla="*/ 56864 w 113728"/>
                <a:gd name="connsiteY0" fmla="*/ 113728 h 113728"/>
                <a:gd name="connsiteX1" fmla="*/ 0 w 113728"/>
                <a:gd name="connsiteY1" fmla="*/ 56864 h 113728"/>
                <a:gd name="connsiteX2" fmla="*/ 56864 w 113728"/>
                <a:gd name="connsiteY2" fmla="*/ 0 h 113728"/>
                <a:gd name="connsiteX3" fmla="*/ 113729 w 113728"/>
                <a:gd name="connsiteY3" fmla="*/ 56864 h 113728"/>
                <a:gd name="connsiteX4" fmla="*/ 56864 w 113728"/>
                <a:gd name="connsiteY4" fmla="*/ 113728 h 113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28" h="113728">
                  <a:moveTo>
                    <a:pt x="56864" y="113728"/>
                  </a:moveTo>
                  <a:cubicBezTo>
                    <a:pt x="25527" y="113728"/>
                    <a:pt x="0" y="88201"/>
                    <a:pt x="0" y="56864"/>
                  </a:cubicBezTo>
                  <a:cubicBezTo>
                    <a:pt x="0" y="25527"/>
                    <a:pt x="25527" y="0"/>
                    <a:pt x="56864" y="0"/>
                  </a:cubicBezTo>
                  <a:cubicBezTo>
                    <a:pt x="88202" y="0"/>
                    <a:pt x="113729" y="25527"/>
                    <a:pt x="113729" y="56864"/>
                  </a:cubicBezTo>
                  <a:cubicBezTo>
                    <a:pt x="113729" y="88201"/>
                    <a:pt x="88202" y="113728"/>
                    <a:pt x="56864" y="113728"/>
                  </a:cubicBezTo>
                  <a:close/>
                </a:path>
              </a:pathLst>
            </a:custGeom>
            <a:solidFill>
              <a:schemeClr val="accent3">
                <a:lumMod val="40000"/>
                <a:lumOff val="60000"/>
              </a:schemeClr>
            </a:solidFill>
            <a:ln w="9525" cap="flat">
              <a:noFill/>
              <a:prstDash val="solid"/>
              <a:miter/>
            </a:ln>
          </p:spPr>
          <p:txBody>
            <a:bodyPr rtlCol="0" anchor="ctr"/>
            <a:lstStyle/>
            <a:p>
              <a:pPr algn="l" rtl="0"/>
              <a:endParaRPr lang="en-US" dirty="0"/>
            </a:p>
          </p:txBody>
        </p:sp>
        <p:sp>
          <p:nvSpPr>
            <p:cNvPr id="534" name="Freeform: Shape 533">
              <a:extLst>
                <a:ext uri="{FF2B5EF4-FFF2-40B4-BE49-F238E27FC236}">
                  <a16:creationId xmlns:a16="http://schemas.microsoft.com/office/drawing/2014/main" id="{F1576E0C-358F-4270-B1DD-A70E3B0F9F2B}"/>
                </a:ext>
              </a:extLst>
            </p:cNvPr>
            <p:cNvSpPr/>
            <p:nvPr/>
          </p:nvSpPr>
          <p:spPr>
            <a:xfrm>
              <a:off x="12935692" y="4585435"/>
              <a:ext cx="97821" cy="97821"/>
            </a:xfrm>
            <a:custGeom>
              <a:avLst/>
              <a:gdLst>
                <a:gd name="connsiteX0" fmla="*/ 48958 w 97821"/>
                <a:gd name="connsiteY0" fmla="*/ 97822 h 97821"/>
                <a:gd name="connsiteX1" fmla="*/ 0 w 97821"/>
                <a:gd name="connsiteY1" fmla="*/ 48863 h 97821"/>
                <a:gd name="connsiteX2" fmla="*/ 48958 w 97821"/>
                <a:gd name="connsiteY2" fmla="*/ 0 h 97821"/>
                <a:gd name="connsiteX3" fmla="*/ 97822 w 97821"/>
                <a:gd name="connsiteY3" fmla="*/ 48863 h 97821"/>
                <a:gd name="connsiteX4" fmla="*/ 48958 w 97821"/>
                <a:gd name="connsiteY4" fmla="*/ 97822 h 97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821" h="97821">
                  <a:moveTo>
                    <a:pt x="48958" y="97822"/>
                  </a:moveTo>
                  <a:cubicBezTo>
                    <a:pt x="22003" y="97822"/>
                    <a:pt x="0" y="75819"/>
                    <a:pt x="0" y="48863"/>
                  </a:cubicBezTo>
                  <a:cubicBezTo>
                    <a:pt x="0" y="21908"/>
                    <a:pt x="22003" y="0"/>
                    <a:pt x="48958" y="0"/>
                  </a:cubicBezTo>
                  <a:cubicBezTo>
                    <a:pt x="75914" y="0"/>
                    <a:pt x="97822" y="21908"/>
                    <a:pt x="97822" y="48863"/>
                  </a:cubicBezTo>
                  <a:cubicBezTo>
                    <a:pt x="97822" y="75819"/>
                    <a:pt x="75914" y="97822"/>
                    <a:pt x="48958" y="97822"/>
                  </a:cubicBezTo>
                  <a:close/>
                </a:path>
              </a:pathLst>
            </a:custGeom>
            <a:solidFill>
              <a:schemeClr val="accent3">
                <a:lumMod val="40000"/>
                <a:lumOff val="60000"/>
              </a:schemeClr>
            </a:solidFill>
            <a:ln w="9525" cap="flat">
              <a:noFill/>
              <a:prstDash val="solid"/>
              <a:miter/>
            </a:ln>
          </p:spPr>
          <p:txBody>
            <a:bodyPr rtlCol="0" anchor="ctr"/>
            <a:lstStyle/>
            <a:p>
              <a:pPr algn="l" rtl="0"/>
              <a:endParaRPr lang="en-US" dirty="0"/>
            </a:p>
          </p:txBody>
        </p:sp>
        <p:sp>
          <p:nvSpPr>
            <p:cNvPr id="535" name="Freeform: Shape 534">
              <a:extLst>
                <a:ext uri="{FF2B5EF4-FFF2-40B4-BE49-F238E27FC236}">
                  <a16:creationId xmlns:a16="http://schemas.microsoft.com/office/drawing/2014/main" id="{171DDAA0-0871-4A15-8C41-CA28CE8E7941}"/>
                </a:ext>
              </a:extLst>
            </p:cNvPr>
            <p:cNvSpPr/>
            <p:nvPr/>
          </p:nvSpPr>
          <p:spPr>
            <a:xfrm>
              <a:off x="12972363" y="4476850"/>
              <a:ext cx="85153" cy="85153"/>
            </a:xfrm>
            <a:custGeom>
              <a:avLst/>
              <a:gdLst>
                <a:gd name="connsiteX0" fmla="*/ 42577 w 85153"/>
                <a:gd name="connsiteY0" fmla="*/ 85154 h 85153"/>
                <a:gd name="connsiteX1" fmla="*/ 0 w 85153"/>
                <a:gd name="connsiteY1" fmla="*/ 42577 h 85153"/>
                <a:gd name="connsiteX2" fmla="*/ 42577 w 85153"/>
                <a:gd name="connsiteY2" fmla="*/ 0 h 85153"/>
                <a:gd name="connsiteX3" fmla="*/ 85153 w 85153"/>
                <a:gd name="connsiteY3" fmla="*/ 42577 h 85153"/>
                <a:gd name="connsiteX4" fmla="*/ 42577 w 85153"/>
                <a:gd name="connsiteY4" fmla="*/ 85154 h 85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153" h="85153">
                  <a:moveTo>
                    <a:pt x="42577" y="85154"/>
                  </a:moveTo>
                  <a:cubicBezTo>
                    <a:pt x="19145" y="85154"/>
                    <a:pt x="0" y="66008"/>
                    <a:pt x="0" y="42577"/>
                  </a:cubicBezTo>
                  <a:cubicBezTo>
                    <a:pt x="0" y="19145"/>
                    <a:pt x="19145" y="0"/>
                    <a:pt x="42577" y="0"/>
                  </a:cubicBezTo>
                  <a:cubicBezTo>
                    <a:pt x="66008" y="0"/>
                    <a:pt x="85153" y="19050"/>
                    <a:pt x="85153" y="42577"/>
                  </a:cubicBezTo>
                  <a:cubicBezTo>
                    <a:pt x="85153" y="66104"/>
                    <a:pt x="66103" y="85154"/>
                    <a:pt x="42577" y="85154"/>
                  </a:cubicBezTo>
                  <a:close/>
                </a:path>
              </a:pathLst>
            </a:custGeom>
            <a:solidFill>
              <a:schemeClr val="accent3">
                <a:lumMod val="40000"/>
                <a:lumOff val="60000"/>
              </a:schemeClr>
            </a:solidFill>
            <a:ln w="9525" cap="flat">
              <a:noFill/>
              <a:prstDash val="solid"/>
              <a:miter/>
            </a:ln>
          </p:spPr>
          <p:txBody>
            <a:bodyPr rtlCol="0" anchor="ctr"/>
            <a:lstStyle/>
            <a:p>
              <a:pPr algn="l" rtl="0"/>
              <a:endParaRPr lang="en-US" dirty="0"/>
            </a:p>
          </p:txBody>
        </p:sp>
        <p:sp>
          <p:nvSpPr>
            <p:cNvPr id="536" name="Freeform: Shape 535">
              <a:extLst>
                <a:ext uri="{FF2B5EF4-FFF2-40B4-BE49-F238E27FC236}">
                  <a16:creationId xmlns:a16="http://schemas.microsoft.com/office/drawing/2014/main" id="{CA40AEC7-D4E3-487B-9188-73F10D8DD256}"/>
                </a:ext>
              </a:extLst>
            </p:cNvPr>
            <p:cNvSpPr/>
            <p:nvPr/>
          </p:nvSpPr>
          <p:spPr>
            <a:xfrm>
              <a:off x="12939978" y="4365122"/>
              <a:ext cx="78771" cy="78771"/>
            </a:xfrm>
            <a:custGeom>
              <a:avLst/>
              <a:gdLst>
                <a:gd name="connsiteX0" fmla="*/ 39338 w 78771"/>
                <a:gd name="connsiteY0" fmla="*/ 78772 h 78771"/>
                <a:gd name="connsiteX1" fmla="*/ 0 w 78771"/>
                <a:gd name="connsiteY1" fmla="*/ 39338 h 78771"/>
                <a:gd name="connsiteX2" fmla="*/ 39338 w 78771"/>
                <a:gd name="connsiteY2" fmla="*/ 0 h 78771"/>
                <a:gd name="connsiteX3" fmla="*/ 78772 w 78771"/>
                <a:gd name="connsiteY3" fmla="*/ 39338 h 78771"/>
                <a:gd name="connsiteX4" fmla="*/ 39338 w 78771"/>
                <a:gd name="connsiteY4" fmla="*/ 78772 h 78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71" h="78771">
                  <a:moveTo>
                    <a:pt x="39338" y="78772"/>
                  </a:moveTo>
                  <a:cubicBezTo>
                    <a:pt x="17621" y="78772"/>
                    <a:pt x="0" y="61055"/>
                    <a:pt x="0" y="39338"/>
                  </a:cubicBezTo>
                  <a:cubicBezTo>
                    <a:pt x="0" y="17621"/>
                    <a:pt x="17621" y="0"/>
                    <a:pt x="39338" y="0"/>
                  </a:cubicBezTo>
                  <a:cubicBezTo>
                    <a:pt x="61055" y="0"/>
                    <a:pt x="78772" y="17621"/>
                    <a:pt x="78772" y="39338"/>
                  </a:cubicBezTo>
                  <a:cubicBezTo>
                    <a:pt x="78772" y="61055"/>
                    <a:pt x="61055" y="78772"/>
                    <a:pt x="39338" y="78772"/>
                  </a:cubicBezTo>
                  <a:close/>
                </a:path>
              </a:pathLst>
            </a:custGeom>
            <a:solidFill>
              <a:schemeClr val="accent3">
                <a:lumMod val="40000"/>
                <a:lumOff val="60000"/>
              </a:schemeClr>
            </a:solidFill>
            <a:ln w="9525" cap="flat">
              <a:noFill/>
              <a:prstDash val="solid"/>
              <a:miter/>
            </a:ln>
          </p:spPr>
          <p:txBody>
            <a:bodyPr rtlCol="0" anchor="ctr"/>
            <a:lstStyle/>
            <a:p>
              <a:pPr algn="l" rtl="0"/>
              <a:endParaRPr lang="en-US" dirty="0"/>
            </a:p>
          </p:txBody>
        </p:sp>
        <p:sp>
          <p:nvSpPr>
            <p:cNvPr id="537" name="Freeform: Shape 536">
              <a:extLst>
                <a:ext uri="{FF2B5EF4-FFF2-40B4-BE49-F238E27FC236}">
                  <a16:creationId xmlns:a16="http://schemas.microsoft.com/office/drawing/2014/main" id="{67739C96-A7DC-4295-9F8A-D42DA623EEFB}"/>
                </a:ext>
              </a:extLst>
            </p:cNvPr>
            <p:cNvSpPr/>
            <p:nvPr/>
          </p:nvSpPr>
          <p:spPr>
            <a:xfrm>
              <a:off x="12726618" y="4799747"/>
              <a:ext cx="132492" cy="132587"/>
            </a:xfrm>
            <a:custGeom>
              <a:avLst/>
              <a:gdLst>
                <a:gd name="connsiteX0" fmla="*/ 66294 w 132492"/>
                <a:gd name="connsiteY0" fmla="*/ 132588 h 132587"/>
                <a:gd name="connsiteX1" fmla="*/ 0 w 132492"/>
                <a:gd name="connsiteY1" fmla="*/ 66294 h 132587"/>
                <a:gd name="connsiteX2" fmla="*/ 66294 w 132492"/>
                <a:gd name="connsiteY2" fmla="*/ 0 h 132587"/>
                <a:gd name="connsiteX3" fmla="*/ 132493 w 132492"/>
                <a:gd name="connsiteY3" fmla="*/ 66294 h 132587"/>
                <a:gd name="connsiteX4" fmla="*/ 66294 w 132492"/>
                <a:gd name="connsiteY4" fmla="*/ 132588 h 132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92" h="132587">
                  <a:moveTo>
                    <a:pt x="66294" y="132588"/>
                  </a:moveTo>
                  <a:cubicBezTo>
                    <a:pt x="29718" y="132588"/>
                    <a:pt x="0" y="102870"/>
                    <a:pt x="0" y="66294"/>
                  </a:cubicBezTo>
                  <a:cubicBezTo>
                    <a:pt x="0" y="29718"/>
                    <a:pt x="29718" y="0"/>
                    <a:pt x="66294" y="0"/>
                  </a:cubicBezTo>
                  <a:cubicBezTo>
                    <a:pt x="102870" y="0"/>
                    <a:pt x="132493" y="29718"/>
                    <a:pt x="132493" y="66294"/>
                  </a:cubicBezTo>
                  <a:cubicBezTo>
                    <a:pt x="132493" y="102870"/>
                    <a:pt x="102775" y="132588"/>
                    <a:pt x="66294" y="132588"/>
                  </a:cubicBezTo>
                  <a:close/>
                </a:path>
              </a:pathLst>
            </a:custGeom>
            <a:solidFill>
              <a:schemeClr val="accent3">
                <a:lumMod val="40000"/>
                <a:lumOff val="60000"/>
              </a:schemeClr>
            </a:solidFill>
            <a:ln w="9525" cap="flat">
              <a:noFill/>
              <a:prstDash val="solid"/>
              <a:miter/>
            </a:ln>
          </p:spPr>
          <p:txBody>
            <a:bodyPr rtlCol="0" anchor="ctr"/>
            <a:lstStyle/>
            <a:p>
              <a:pPr algn="l" rtl="0"/>
              <a:endParaRPr lang="en-US" dirty="0"/>
            </a:p>
          </p:txBody>
        </p:sp>
        <p:sp>
          <p:nvSpPr>
            <p:cNvPr id="538" name="Freeform: Shape 537">
              <a:extLst>
                <a:ext uri="{FF2B5EF4-FFF2-40B4-BE49-F238E27FC236}">
                  <a16:creationId xmlns:a16="http://schemas.microsoft.com/office/drawing/2014/main" id="{04FFE353-F273-4E9D-BE1E-35121979E979}"/>
                </a:ext>
              </a:extLst>
            </p:cNvPr>
            <p:cNvSpPr/>
            <p:nvPr/>
          </p:nvSpPr>
          <p:spPr>
            <a:xfrm>
              <a:off x="12844728" y="4924049"/>
              <a:ext cx="113728" cy="113823"/>
            </a:xfrm>
            <a:custGeom>
              <a:avLst/>
              <a:gdLst>
                <a:gd name="connsiteX0" fmla="*/ 56864 w 113728"/>
                <a:gd name="connsiteY0" fmla="*/ 113824 h 113823"/>
                <a:gd name="connsiteX1" fmla="*/ 0 w 113728"/>
                <a:gd name="connsiteY1" fmla="*/ 56864 h 113823"/>
                <a:gd name="connsiteX2" fmla="*/ 56864 w 113728"/>
                <a:gd name="connsiteY2" fmla="*/ 0 h 113823"/>
                <a:gd name="connsiteX3" fmla="*/ 113729 w 113728"/>
                <a:gd name="connsiteY3" fmla="*/ 56864 h 113823"/>
                <a:gd name="connsiteX4" fmla="*/ 56864 w 113728"/>
                <a:gd name="connsiteY4" fmla="*/ 113824 h 113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28" h="113823">
                  <a:moveTo>
                    <a:pt x="56864" y="113824"/>
                  </a:moveTo>
                  <a:cubicBezTo>
                    <a:pt x="25527" y="113824"/>
                    <a:pt x="0" y="88297"/>
                    <a:pt x="0" y="56864"/>
                  </a:cubicBezTo>
                  <a:cubicBezTo>
                    <a:pt x="0" y="25432"/>
                    <a:pt x="25527" y="0"/>
                    <a:pt x="56864" y="0"/>
                  </a:cubicBezTo>
                  <a:cubicBezTo>
                    <a:pt x="88202" y="0"/>
                    <a:pt x="113729" y="25527"/>
                    <a:pt x="113729" y="56864"/>
                  </a:cubicBezTo>
                  <a:cubicBezTo>
                    <a:pt x="113729" y="88202"/>
                    <a:pt x="88202" y="113824"/>
                    <a:pt x="56864" y="113824"/>
                  </a:cubicBezTo>
                  <a:close/>
                </a:path>
              </a:pathLst>
            </a:custGeom>
            <a:solidFill>
              <a:schemeClr val="accent2"/>
            </a:solidFill>
            <a:ln w="9525" cap="flat">
              <a:noFill/>
              <a:prstDash val="solid"/>
              <a:miter/>
            </a:ln>
          </p:spPr>
          <p:txBody>
            <a:bodyPr rtlCol="0" anchor="ctr"/>
            <a:lstStyle/>
            <a:p>
              <a:pPr algn="l" rtl="0"/>
              <a:endParaRPr lang="en-US" dirty="0"/>
            </a:p>
          </p:txBody>
        </p:sp>
        <p:sp>
          <p:nvSpPr>
            <p:cNvPr id="539" name="Freeform: Shape 538">
              <a:extLst>
                <a:ext uri="{FF2B5EF4-FFF2-40B4-BE49-F238E27FC236}">
                  <a16:creationId xmlns:a16="http://schemas.microsoft.com/office/drawing/2014/main" id="{E36DCACF-3164-4848-A935-CD218ED43B44}"/>
                </a:ext>
              </a:extLst>
            </p:cNvPr>
            <p:cNvSpPr/>
            <p:nvPr/>
          </p:nvSpPr>
          <p:spPr>
            <a:xfrm>
              <a:off x="12935692" y="5046921"/>
              <a:ext cx="97821" cy="97916"/>
            </a:xfrm>
            <a:custGeom>
              <a:avLst/>
              <a:gdLst>
                <a:gd name="connsiteX0" fmla="*/ 48958 w 97821"/>
                <a:gd name="connsiteY0" fmla="*/ 97917 h 97916"/>
                <a:gd name="connsiteX1" fmla="*/ 0 w 97821"/>
                <a:gd name="connsiteY1" fmla="*/ 48958 h 97916"/>
                <a:gd name="connsiteX2" fmla="*/ 48958 w 97821"/>
                <a:gd name="connsiteY2" fmla="*/ 0 h 97916"/>
                <a:gd name="connsiteX3" fmla="*/ 97822 w 97821"/>
                <a:gd name="connsiteY3" fmla="*/ 48958 h 97916"/>
                <a:gd name="connsiteX4" fmla="*/ 48958 w 97821"/>
                <a:gd name="connsiteY4" fmla="*/ 97917 h 97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821" h="97916">
                  <a:moveTo>
                    <a:pt x="48958" y="97917"/>
                  </a:moveTo>
                  <a:cubicBezTo>
                    <a:pt x="22003" y="97917"/>
                    <a:pt x="0" y="75914"/>
                    <a:pt x="0" y="48958"/>
                  </a:cubicBezTo>
                  <a:cubicBezTo>
                    <a:pt x="0" y="22003"/>
                    <a:pt x="22003" y="0"/>
                    <a:pt x="48958" y="0"/>
                  </a:cubicBezTo>
                  <a:cubicBezTo>
                    <a:pt x="75914" y="0"/>
                    <a:pt x="97822" y="22003"/>
                    <a:pt x="97822" y="48958"/>
                  </a:cubicBezTo>
                  <a:cubicBezTo>
                    <a:pt x="97822" y="75914"/>
                    <a:pt x="75914" y="97917"/>
                    <a:pt x="48958" y="97917"/>
                  </a:cubicBezTo>
                  <a:close/>
                </a:path>
              </a:pathLst>
            </a:custGeom>
            <a:solidFill>
              <a:schemeClr val="accent2"/>
            </a:solidFill>
            <a:ln w="9525" cap="flat">
              <a:noFill/>
              <a:prstDash val="solid"/>
              <a:miter/>
            </a:ln>
          </p:spPr>
          <p:txBody>
            <a:bodyPr rtlCol="0" anchor="ctr"/>
            <a:lstStyle/>
            <a:p>
              <a:pPr algn="l" rtl="0"/>
              <a:endParaRPr lang="en-US" dirty="0"/>
            </a:p>
          </p:txBody>
        </p:sp>
        <p:sp>
          <p:nvSpPr>
            <p:cNvPr id="540" name="Freeform: Shape 539">
              <a:extLst>
                <a:ext uri="{FF2B5EF4-FFF2-40B4-BE49-F238E27FC236}">
                  <a16:creationId xmlns:a16="http://schemas.microsoft.com/office/drawing/2014/main" id="{72F7AA51-C898-4241-806F-117149918BCA}"/>
                </a:ext>
              </a:extLst>
            </p:cNvPr>
            <p:cNvSpPr/>
            <p:nvPr/>
          </p:nvSpPr>
          <p:spPr>
            <a:xfrm>
              <a:off x="12972363" y="5168269"/>
              <a:ext cx="85153" cy="85058"/>
            </a:xfrm>
            <a:custGeom>
              <a:avLst/>
              <a:gdLst>
                <a:gd name="connsiteX0" fmla="*/ 42577 w 85153"/>
                <a:gd name="connsiteY0" fmla="*/ 85058 h 85058"/>
                <a:gd name="connsiteX1" fmla="*/ 0 w 85153"/>
                <a:gd name="connsiteY1" fmla="*/ 42577 h 85058"/>
                <a:gd name="connsiteX2" fmla="*/ 42577 w 85153"/>
                <a:gd name="connsiteY2" fmla="*/ 0 h 85058"/>
                <a:gd name="connsiteX3" fmla="*/ 85153 w 85153"/>
                <a:gd name="connsiteY3" fmla="*/ 42577 h 85058"/>
                <a:gd name="connsiteX4" fmla="*/ 42577 w 85153"/>
                <a:gd name="connsiteY4" fmla="*/ 85058 h 85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153" h="85058">
                  <a:moveTo>
                    <a:pt x="42577" y="85058"/>
                  </a:moveTo>
                  <a:cubicBezTo>
                    <a:pt x="19145" y="85058"/>
                    <a:pt x="0" y="66008"/>
                    <a:pt x="0" y="42577"/>
                  </a:cubicBezTo>
                  <a:cubicBezTo>
                    <a:pt x="0" y="19145"/>
                    <a:pt x="19145" y="0"/>
                    <a:pt x="42577" y="0"/>
                  </a:cubicBezTo>
                  <a:cubicBezTo>
                    <a:pt x="66008" y="0"/>
                    <a:pt x="85153" y="19050"/>
                    <a:pt x="85153" y="42577"/>
                  </a:cubicBezTo>
                  <a:cubicBezTo>
                    <a:pt x="85153" y="66104"/>
                    <a:pt x="66103" y="85058"/>
                    <a:pt x="42577" y="85058"/>
                  </a:cubicBezTo>
                  <a:close/>
                </a:path>
              </a:pathLst>
            </a:custGeom>
            <a:solidFill>
              <a:schemeClr val="accent2"/>
            </a:solidFill>
            <a:ln w="9525" cap="flat">
              <a:noFill/>
              <a:prstDash val="solid"/>
              <a:miter/>
            </a:ln>
          </p:spPr>
          <p:txBody>
            <a:bodyPr rtlCol="0" anchor="ctr"/>
            <a:lstStyle/>
            <a:p>
              <a:pPr algn="l" rtl="0"/>
              <a:endParaRPr lang="en-US" dirty="0"/>
            </a:p>
          </p:txBody>
        </p:sp>
        <p:sp>
          <p:nvSpPr>
            <p:cNvPr id="541" name="Freeform: Shape 540">
              <a:extLst>
                <a:ext uri="{FF2B5EF4-FFF2-40B4-BE49-F238E27FC236}">
                  <a16:creationId xmlns:a16="http://schemas.microsoft.com/office/drawing/2014/main" id="{D0F97943-6D28-476F-B6AF-09B1EBC1EBB8}"/>
                </a:ext>
              </a:extLst>
            </p:cNvPr>
            <p:cNvSpPr/>
            <p:nvPr/>
          </p:nvSpPr>
          <p:spPr>
            <a:xfrm>
              <a:off x="12939978" y="5286380"/>
              <a:ext cx="78771" cy="78771"/>
            </a:xfrm>
            <a:custGeom>
              <a:avLst/>
              <a:gdLst>
                <a:gd name="connsiteX0" fmla="*/ 39338 w 78771"/>
                <a:gd name="connsiteY0" fmla="*/ 78772 h 78771"/>
                <a:gd name="connsiteX1" fmla="*/ 0 w 78771"/>
                <a:gd name="connsiteY1" fmla="*/ 39338 h 78771"/>
                <a:gd name="connsiteX2" fmla="*/ 39338 w 78771"/>
                <a:gd name="connsiteY2" fmla="*/ 0 h 78771"/>
                <a:gd name="connsiteX3" fmla="*/ 78772 w 78771"/>
                <a:gd name="connsiteY3" fmla="*/ 39338 h 78771"/>
                <a:gd name="connsiteX4" fmla="*/ 39338 w 78771"/>
                <a:gd name="connsiteY4" fmla="*/ 78772 h 78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71" h="78771">
                  <a:moveTo>
                    <a:pt x="39338" y="78772"/>
                  </a:moveTo>
                  <a:cubicBezTo>
                    <a:pt x="17621" y="78772"/>
                    <a:pt x="0" y="61055"/>
                    <a:pt x="0" y="39338"/>
                  </a:cubicBezTo>
                  <a:cubicBezTo>
                    <a:pt x="0" y="17621"/>
                    <a:pt x="17621" y="0"/>
                    <a:pt x="39338" y="0"/>
                  </a:cubicBezTo>
                  <a:cubicBezTo>
                    <a:pt x="61055" y="0"/>
                    <a:pt x="78772" y="17621"/>
                    <a:pt x="78772" y="39338"/>
                  </a:cubicBezTo>
                  <a:cubicBezTo>
                    <a:pt x="78772" y="61055"/>
                    <a:pt x="61055" y="78772"/>
                    <a:pt x="39338" y="78772"/>
                  </a:cubicBezTo>
                  <a:close/>
                </a:path>
              </a:pathLst>
            </a:custGeom>
            <a:solidFill>
              <a:schemeClr val="accent2"/>
            </a:solidFill>
            <a:ln w="9525" cap="flat">
              <a:noFill/>
              <a:prstDash val="solid"/>
              <a:miter/>
            </a:ln>
          </p:spPr>
          <p:txBody>
            <a:bodyPr rtlCol="0" anchor="ctr"/>
            <a:lstStyle/>
            <a:p>
              <a:pPr algn="l" rtl="0"/>
              <a:endParaRPr lang="en-US" dirty="0"/>
            </a:p>
          </p:txBody>
        </p:sp>
        <p:sp>
          <p:nvSpPr>
            <p:cNvPr id="542" name="Freeform: Shape 541">
              <a:extLst>
                <a:ext uri="{FF2B5EF4-FFF2-40B4-BE49-F238E27FC236}">
                  <a16:creationId xmlns:a16="http://schemas.microsoft.com/office/drawing/2014/main" id="{827E5468-1BD9-4D26-8E49-8142A76F49B6}"/>
                </a:ext>
              </a:extLst>
            </p:cNvPr>
            <p:cNvSpPr/>
            <p:nvPr/>
          </p:nvSpPr>
          <p:spPr>
            <a:xfrm>
              <a:off x="12624414" y="4692401"/>
              <a:ext cx="113728" cy="113728"/>
            </a:xfrm>
            <a:custGeom>
              <a:avLst/>
              <a:gdLst>
                <a:gd name="connsiteX0" fmla="*/ 56864 w 113728"/>
                <a:gd name="connsiteY0" fmla="*/ 113728 h 113728"/>
                <a:gd name="connsiteX1" fmla="*/ 0 w 113728"/>
                <a:gd name="connsiteY1" fmla="*/ 56864 h 113728"/>
                <a:gd name="connsiteX2" fmla="*/ 56864 w 113728"/>
                <a:gd name="connsiteY2" fmla="*/ 0 h 113728"/>
                <a:gd name="connsiteX3" fmla="*/ 113729 w 113728"/>
                <a:gd name="connsiteY3" fmla="*/ 56864 h 113728"/>
                <a:gd name="connsiteX4" fmla="*/ 56864 w 113728"/>
                <a:gd name="connsiteY4" fmla="*/ 113728 h 113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28" h="113728">
                  <a:moveTo>
                    <a:pt x="56864" y="113728"/>
                  </a:moveTo>
                  <a:cubicBezTo>
                    <a:pt x="25527" y="113728"/>
                    <a:pt x="0" y="88201"/>
                    <a:pt x="0" y="56864"/>
                  </a:cubicBezTo>
                  <a:cubicBezTo>
                    <a:pt x="0" y="25527"/>
                    <a:pt x="25527" y="0"/>
                    <a:pt x="56864" y="0"/>
                  </a:cubicBezTo>
                  <a:cubicBezTo>
                    <a:pt x="88202" y="0"/>
                    <a:pt x="113729" y="25527"/>
                    <a:pt x="113729" y="56864"/>
                  </a:cubicBezTo>
                  <a:cubicBezTo>
                    <a:pt x="113729" y="88201"/>
                    <a:pt x="88202" y="113728"/>
                    <a:pt x="56864" y="113728"/>
                  </a:cubicBezTo>
                  <a:close/>
                </a:path>
              </a:pathLst>
            </a:custGeom>
            <a:solidFill>
              <a:schemeClr val="accent2"/>
            </a:solidFill>
            <a:ln w="9525" cap="flat">
              <a:noFill/>
              <a:prstDash val="solid"/>
              <a:miter/>
            </a:ln>
          </p:spPr>
          <p:txBody>
            <a:bodyPr rtlCol="0" anchor="ctr"/>
            <a:lstStyle/>
            <a:p>
              <a:pPr algn="l" rtl="0"/>
              <a:endParaRPr lang="en-US" dirty="0"/>
            </a:p>
          </p:txBody>
        </p:sp>
        <p:sp>
          <p:nvSpPr>
            <p:cNvPr id="543" name="Freeform: Shape 542">
              <a:extLst>
                <a:ext uri="{FF2B5EF4-FFF2-40B4-BE49-F238E27FC236}">
                  <a16:creationId xmlns:a16="http://schemas.microsoft.com/office/drawing/2014/main" id="{BF43DE95-B915-4432-B161-620939D7057D}"/>
                </a:ext>
              </a:extLst>
            </p:cNvPr>
            <p:cNvSpPr/>
            <p:nvPr/>
          </p:nvSpPr>
          <p:spPr>
            <a:xfrm>
              <a:off x="12549357" y="4585435"/>
              <a:ext cx="97726" cy="97821"/>
            </a:xfrm>
            <a:custGeom>
              <a:avLst/>
              <a:gdLst>
                <a:gd name="connsiteX0" fmla="*/ 48863 w 97726"/>
                <a:gd name="connsiteY0" fmla="*/ 97822 h 97821"/>
                <a:gd name="connsiteX1" fmla="*/ 0 w 97726"/>
                <a:gd name="connsiteY1" fmla="*/ 48863 h 97821"/>
                <a:gd name="connsiteX2" fmla="*/ 48863 w 97726"/>
                <a:gd name="connsiteY2" fmla="*/ 0 h 97821"/>
                <a:gd name="connsiteX3" fmla="*/ 97727 w 97726"/>
                <a:gd name="connsiteY3" fmla="*/ 48863 h 97821"/>
                <a:gd name="connsiteX4" fmla="*/ 48863 w 97726"/>
                <a:gd name="connsiteY4" fmla="*/ 97822 h 97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26" h="97821">
                  <a:moveTo>
                    <a:pt x="48863" y="97822"/>
                  </a:moveTo>
                  <a:cubicBezTo>
                    <a:pt x="21908" y="97822"/>
                    <a:pt x="0" y="75819"/>
                    <a:pt x="0" y="48863"/>
                  </a:cubicBezTo>
                  <a:cubicBezTo>
                    <a:pt x="0" y="21908"/>
                    <a:pt x="21908" y="0"/>
                    <a:pt x="48863" y="0"/>
                  </a:cubicBezTo>
                  <a:cubicBezTo>
                    <a:pt x="75819" y="0"/>
                    <a:pt x="97727" y="21908"/>
                    <a:pt x="97727" y="48863"/>
                  </a:cubicBezTo>
                  <a:cubicBezTo>
                    <a:pt x="97727" y="75819"/>
                    <a:pt x="75819" y="97822"/>
                    <a:pt x="48863" y="97822"/>
                  </a:cubicBezTo>
                  <a:close/>
                </a:path>
              </a:pathLst>
            </a:custGeom>
            <a:solidFill>
              <a:schemeClr val="accent2"/>
            </a:solidFill>
            <a:ln w="9525" cap="flat">
              <a:noFill/>
              <a:prstDash val="solid"/>
              <a:miter/>
            </a:ln>
          </p:spPr>
          <p:txBody>
            <a:bodyPr rtlCol="0" anchor="ctr"/>
            <a:lstStyle/>
            <a:p>
              <a:pPr algn="l" rtl="0"/>
              <a:endParaRPr lang="en-US" dirty="0"/>
            </a:p>
          </p:txBody>
        </p:sp>
        <p:sp>
          <p:nvSpPr>
            <p:cNvPr id="544" name="Freeform: Shape 543">
              <a:extLst>
                <a:ext uri="{FF2B5EF4-FFF2-40B4-BE49-F238E27FC236}">
                  <a16:creationId xmlns:a16="http://schemas.microsoft.com/office/drawing/2014/main" id="{E2A6D08A-18C1-4590-B1CD-E39C54328E54}"/>
                </a:ext>
              </a:extLst>
            </p:cNvPr>
            <p:cNvSpPr/>
            <p:nvPr/>
          </p:nvSpPr>
          <p:spPr>
            <a:xfrm>
              <a:off x="12525355" y="4476850"/>
              <a:ext cx="85153" cy="85153"/>
            </a:xfrm>
            <a:custGeom>
              <a:avLst/>
              <a:gdLst>
                <a:gd name="connsiteX0" fmla="*/ 42577 w 85153"/>
                <a:gd name="connsiteY0" fmla="*/ 85154 h 85153"/>
                <a:gd name="connsiteX1" fmla="*/ 0 w 85153"/>
                <a:gd name="connsiteY1" fmla="*/ 42577 h 85153"/>
                <a:gd name="connsiteX2" fmla="*/ 42577 w 85153"/>
                <a:gd name="connsiteY2" fmla="*/ 0 h 85153"/>
                <a:gd name="connsiteX3" fmla="*/ 85153 w 85153"/>
                <a:gd name="connsiteY3" fmla="*/ 42577 h 85153"/>
                <a:gd name="connsiteX4" fmla="*/ 42577 w 85153"/>
                <a:gd name="connsiteY4" fmla="*/ 85154 h 85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153" h="85153">
                  <a:moveTo>
                    <a:pt x="42577" y="85154"/>
                  </a:moveTo>
                  <a:cubicBezTo>
                    <a:pt x="19145" y="85154"/>
                    <a:pt x="0" y="66008"/>
                    <a:pt x="0" y="42577"/>
                  </a:cubicBezTo>
                  <a:cubicBezTo>
                    <a:pt x="0" y="19145"/>
                    <a:pt x="19050" y="0"/>
                    <a:pt x="42577" y="0"/>
                  </a:cubicBezTo>
                  <a:cubicBezTo>
                    <a:pt x="66104" y="0"/>
                    <a:pt x="85153" y="19050"/>
                    <a:pt x="85153" y="42577"/>
                  </a:cubicBezTo>
                  <a:cubicBezTo>
                    <a:pt x="85153" y="66104"/>
                    <a:pt x="66008" y="85154"/>
                    <a:pt x="42577" y="85154"/>
                  </a:cubicBezTo>
                  <a:close/>
                </a:path>
              </a:pathLst>
            </a:custGeom>
            <a:solidFill>
              <a:schemeClr val="accent2"/>
            </a:solidFill>
            <a:ln w="9525" cap="flat">
              <a:noFill/>
              <a:prstDash val="solid"/>
              <a:miter/>
            </a:ln>
          </p:spPr>
          <p:txBody>
            <a:bodyPr rtlCol="0" anchor="ctr"/>
            <a:lstStyle/>
            <a:p>
              <a:pPr algn="l" rtl="0"/>
              <a:endParaRPr lang="en-US" dirty="0"/>
            </a:p>
          </p:txBody>
        </p:sp>
        <p:sp>
          <p:nvSpPr>
            <p:cNvPr id="545" name="Freeform: Shape 544">
              <a:extLst>
                <a:ext uri="{FF2B5EF4-FFF2-40B4-BE49-F238E27FC236}">
                  <a16:creationId xmlns:a16="http://schemas.microsoft.com/office/drawing/2014/main" id="{FB64FC76-95BE-466C-B65E-5ADF5BB2EF35}"/>
                </a:ext>
              </a:extLst>
            </p:cNvPr>
            <p:cNvSpPr/>
            <p:nvPr/>
          </p:nvSpPr>
          <p:spPr>
            <a:xfrm>
              <a:off x="12564121" y="4365122"/>
              <a:ext cx="78771" cy="78771"/>
            </a:xfrm>
            <a:custGeom>
              <a:avLst/>
              <a:gdLst>
                <a:gd name="connsiteX0" fmla="*/ 39338 w 78771"/>
                <a:gd name="connsiteY0" fmla="*/ 78772 h 78771"/>
                <a:gd name="connsiteX1" fmla="*/ 0 w 78771"/>
                <a:gd name="connsiteY1" fmla="*/ 39338 h 78771"/>
                <a:gd name="connsiteX2" fmla="*/ 39338 w 78771"/>
                <a:gd name="connsiteY2" fmla="*/ 0 h 78771"/>
                <a:gd name="connsiteX3" fmla="*/ 78772 w 78771"/>
                <a:gd name="connsiteY3" fmla="*/ 39338 h 78771"/>
                <a:gd name="connsiteX4" fmla="*/ 39338 w 78771"/>
                <a:gd name="connsiteY4" fmla="*/ 78772 h 78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71" h="78771">
                  <a:moveTo>
                    <a:pt x="39338" y="78772"/>
                  </a:moveTo>
                  <a:cubicBezTo>
                    <a:pt x="17621" y="78772"/>
                    <a:pt x="0" y="61055"/>
                    <a:pt x="0" y="39338"/>
                  </a:cubicBezTo>
                  <a:cubicBezTo>
                    <a:pt x="0" y="17621"/>
                    <a:pt x="17621" y="0"/>
                    <a:pt x="39338" y="0"/>
                  </a:cubicBezTo>
                  <a:cubicBezTo>
                    <a:pt x="61055" y="0"/>
                    <a:pt x="78772" y="17621"/>
                    <a:pt x="78772" y="39338"/>
                  </a:cubicBezTo>
                  <a:cubicBezTo>
                    <a:pt x="78772" y="61055"/>
                    <a:pt x="61055" y="78772"/>
                    <a:pt x="39338" y="78772"/>
                  </a:cubicBezTo>
                  <a:close/>
                </a:path>
              </a:pathLst>
            </a:custGeom>
            <a:solidFill>
              <a:schemeClr val="accent2"/>
            </a:solidFill>
            <a:ln w="9525" cap="flat">
              <a:noFill/>
              <a:prstDash val="solid"/>
              <a:miter/>
            </a:ln>
          </p:spPr>
          <p:txBody>
            <a:bodyPr rtlCol="0" anchor="ctr"/>
            <a:lstStyle/>
            <a:p>
              <a:pPr algn="l" rtl="0"/>
              <a:endParaRPr lang="en-US" dirty="0"/>
            </a:p>
          </p:txBody>
        </p:sp>
        <p:sp>
          <p:nvSpPr>
            <p:cNvPr id="546" name="Freeform: Shape 545">
              <a:extLst>
                <a:ext uri="{FF2B5EF4-FFF2-40B4-BE49-F238E27FC236}">
                  <a16:creationId xmlns:a16="http://schemas.microsoft.com/office/drawing/2014/main" id="{BDF8862D-B977-4AFE-9E97-8AE33A784FC0}"/>
                </a:ext>
              </a:extLst>
            </p:cNvPr>
            <p:cNvSpPr/>
            <p:nvPr/>
          </p:nvSpPr>
          <p:spPr>
            <a:xfrm>
              <a:off x="12664039" y="4390172"/>
              <a:ext cx="254793" cy="28575"/>
            </a:xfrm>
            <a:custGeom>
              <a:avLst/>
              <a:gdLst>
                <a:gd name="connsiteX0" fmla="*/ 240506 w 254793"/>
                <a:gd name="connsiteY0" fmla="*/ 28575 h 28575"/>
                <a:gd name="connsiteX1" fmla="*/ 14287 w 254793"/>
                <a:gd name="connsiteY1" fmla="*/ 28575 h 28575"/>
                <a:gd name="connsiteX2" fmla="*/ 0 w 254793"/>
                <a:gd name="connsiteY2" fmla="*/ 14288 h 28575"/>
                <a:gd name="connsiteX3" fmla="*/ 14287 w 254793"/>
                <a:gd name="connsiteY3" fmla="*/ 0 h 28575"/>
                <a:gd name="connsiteX4" fmla="*/ 240506 w 254793"/>
                <a:gd name="connsiteY4" fmla="*/ 0 h 28575"/>
                <a:gd name="connsiteX5" fmla="*/ 254794 w 254793"/>
                <a:gd name="connsiteY5" fmla="*/ 14288 h 28575"/>
                <a:gd name="connsiteX6" fmla="*/ 240506 w 254793"/>
                <a:gd name="connsiteY6"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793" h="28575">
                  <a:moveTo>
                    <a:pt x="240506" y="28575"/>
                  </a:moveTo>
                  <a:lnTo>
                    <a:pt x="14287" y="28575"/>
                  </a:lnTo>
                  <a:cubicBezTo>
                    <a:pt x="6382" y="28575"/>
                    <a:pt x="0" y="22193"/>
                    <a:pt x="0" y="14288"/>
                  </a:cubicBezTo>
                  <a:cubicBezTo>
                    <a:pt x="0" y="6382"/>
                    <a:pt x="6382" y="0"/>
                    <a:pt x="14287" y="0"/>
                  </a:cubicBezTo>
                  <a:lnTo>
                    <a:pt x="240506" y="0"/>
                  </a:lnTo>
                  <a:cubicBezTo>
                    <a:pt x="248412" y="0"/>
                    <a:pt x="254794" y="6382"/>
                    <a:pt x="254794" y="14288"/>
                  </a:cubicBezTo>
                  <a:cubicBezTo>
                    <a:pt x="254794" y="22193"/>
                    <a:pt x="248412" y="28575"/>
                    <a:pt x="240506" y="28575"/>
                  </a:cubicBezTo>
                  <a:close/>
                </a:path>
              </a:pathLst>
            </a:custGeom>
            <a:solidFill>
              <a:schemeClr val="accent3"/>
            </a:solidFill>
            <a:ln w="9525" cap="flat">
              <a:noFill/>
              <a:prstDash val="solid"/>
              <a:miter/>
            </a:ln>
          </p:spPr>
          <p:txBody>
            <a:bodyPr rtlCol="0" anchor="ctr"/>
            <a:lstStyle/>
            <a:p>
              <a:pPr algn="l" rtl="0"/>
              <a:endParaRPr lang="en-US" dirty="0"/>
            </a:p>
          </p:txBody>
        </p:sp>
        <p:sp>
          <p:nvSpPr>
            <p:cNvPr id="547" name="Freeform: Shape 546">
              <a:extLst>
                <a:ext uri="{FF2B5EF4-FFF2-40B4-BE49-F238E27FC236}">
                  <a16:creationId xmlns:a16="http://schemas.microsoft.com/office/drawing/2014/main" id="{74F92952-B5B4-4110-AE8E-B66264F7BD51}"/>
                </a:ext>
              </a:extLst>
            </p:cNvPr>
            <p:cNvSpPr/>
            <p:nvPr/>
          </p:nvSpPr>
          <p:spPr>
            <a:xfrm>
              <a:off x="12633654" y="4505139"/>
              <a:ext cx="315468" cy="28575"/>
            </a:xfrm>
            <a:custGeom>
              <a:avLst/>
              <a:gdLst>
                <a:gd name="connsiteX0" fmla="*/ 301276 w 315468"/>
                <a:gd name="connsiteY0" fmla="*/ 28575 h 28575"/>
                <a:gd name="connsiteX1" fmla="*/ 14288 w 315468"/>
                <a:gd name="connsiteY1" fmla="*/ 28575 h 28575"/>
                <a:gd name="connsiteX2" fmla="*/ 0 w 315468"/>
                <a:gd name="connsiteY2" fmla="*/ 14288 h 28575"/>
                <a:gd name="connsiteX3" fmla="*/ 14288 w 315468"/>
                <a:gd name="connsiteY3" fmla="*/ 0 h 28575"/>
                <a:gd name="connsiteX4" fmla="*/ 301181 w 315468"/>
                <a:gd name="connsiteY4" fmla="*/ 0 h 28575"/>
                <a:gd name="connsiteX5" fmla="*/ 315468 w 315468"/>
                <a:gd name="connsiteY5" fmla="*/ 14288 h 28575"/>
                <a:gd name="connsiteX6" fmla="*/ 301181 w 315468"/>
                <a:gd name="connsiteY6"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468" h="28575">
                  <a:moveTo>
                    <a:pt x="301276" y="28575"/>
                  </a:moveTo>
                  <a:lnTo>
                    <a:pt x="14288" y="28575"/>
                  </a:lnTo>
                  <a:cubicBezTo>
                    <a:pt x="6382" y="28575"/>
                    <a:pt x="0" y="22193"/>
                    <a:pt x="0" y="14288"/>
                  </a:cubicBezTo>
                  <a:cubicBezTo>
                    <a:pt x="0" y="6382"/>
                    <a:pt x="6382" y="0"/>
                    <a:pt x="14288" y="0"/>
                  </a:cubicBezTo>
                  <a:lnTo>
                    <a:pt x="301181" y="0"/>
                  </a:lnTo>
                  <a:cubicBezTo>
                    <a:pt x="309086" y="0"/>
                    <a:pt x="315468" y="6382"/>
                    <a:pt x="315468" y="14288"/>
                  </a:cubicBezTo>
                  <a:cubicBezTo>
                    <a:pt x="315468" y="22193"/>
                    <a:pt x="309086" y="28575"/>
                    <a:pt x="301181" y="28575"/>
                  </a:cubicBezTo>
                  <a:close/>
                </a:path>
              </a:pathLst>
            </a:custGeom>
            <a:solidFill>
              <a:schemeClr val="accent3"/>
            </a:solidFill>
            <a:ln w="9525" cap="flat">
              <a:noFill/>
              <a:prstDash val="solid"/>
              <a:miter/>
            </a:ln>
          </p:spPr>
          <p:txBody>
            <a:bodyPr rtlCol="0" anchor="ctr"/>
            <a:lstStyle/>
            <a:p>
              <a:pPr algn="l" rtl="0"/>
              <a:endParaRPr lang="en-US" dirty="0"/>
            </a:p>
          </p:txBody>
        </p:sp>
        <p:sp>
          <p:nvSpPr>
            <p:cNvPr id="548" name="Freeform: Shape 547">
              <a:extLst>
                <a:ext uri="{FF2B5EF4-FFF2-40B4-BE49-F238E27FC236}">
                  <a16:creationId xmlns:a16="http://schemas.microsoft.com/office/drawing/2014/main" id="{DA90088D-D772-4E37-A1DB-DD71477DD4A2}"/>
                </a:ext>
              </a:extLst>
            </p:cNvPr>
            <p:cNvSpPr/>
            <p:nvPr/>
          </p:nvSpPr>
          <p:spPr>
            <a:xfrm>
              <a:off x="12671754" y="4620011"/>
              <a:ext cx="239268" cy="28575"/>
            </a:xfrm>
            <a:custGeom>
              <a:avLst/>
              <a:gdLst>
                <a:gd name="connsiteX0" fmla="*/ 225076 w 239268"/>
                <a:gd name="connsiteY0" fmla="*/ 28575 h 28575"/>
                <a:gd name="connsiteX1" fmla="*/ 14288 w 239268"/>
                <a:gd name="connsiteY1" fmla="*/ 28575 h 28575"/>
                <a:gd name="connsiteX2" fmla="*/ 0 w 239268"/>
                <a:gd name="connsiteY2" fmla="*/ 14288 h 28575"/>
                <a:gd name="connsiteX3" fmla="*/ 14288 w 239268"/>
                <a:gd name="connsiteY3" fmla="*/ 0 h 28575"/>
                <a:gd name="connsiteX4" fmla="*/ 224981 w 239268"/>
                <a:gd name="connsiteY4" fmla="*/ 0 h 28575"/>
                <a:gd name="connsiteX5" fmla="*/ 239268 w 239268"/>
                <a:gd name="connsiteY5" fmla="*/ 14288 h 28575"/>
                <a:gd name="connsiteX6" fmla="*/ 224981 w 239268"/>
                <a:gd name="connsiteY6"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268" h="28575">
                  <a:moveTo>
                    <a:pt x="225076" y="28575"/>
                  </a:moveTo>
                  <a:lnTo>
                    <a:pt x="14288" y="28575"/>
                  </a:lnTo>
                  <a:cubicBezTo>
                    <a:pt x="6382" y="28575"/>
                    <a:pt x="0" y="22193"/>
                    <a:pt x="0" y="14288"/>
                  </a:cubicBezTo>
                  <a:cubicBezTo>
                    <a:pt x="0" y="6382"/>
                    <a:pt x="6382" y="0"/>
                    <a:pt x="14288" y="0"/>
                  </a:cubicBezTo>
                  <a:lnTo>
                    <a:pt x="224981" y="0"/>
                  </a:lnTo>
                  <a:cubicBezTo>
                    <a:pt x="232886" y="0"/>
                    <a:pt x="239268" y="6382"/>
                    <a:pt x="239268" y="14288"/>
                  </a:cubicBezTo>
                  <a:cubicBezTo>
                    <a:pt x="239268" y="22193"/>
                    <a:pt x="232886" y="28575"/>
                    <a:pt x="224981" y="28575"/>
                  </a:cubicBezTo>
                  <a:close/>
                </a:path>
              </a:pathLst>
            </a:custGeom>
            <a:solidFill>
              <a:schemeClr val="accent3"/>
            </a:solidFill>
            <a:ln w="9525" cap="flat">
              <a:noFill/>
              <a:prstDash val="solid"/>
              <a:miter/>
            </a:ln>
          </p:spPr>
          <p:txBody>
            <a:bodyPr rtlCol="0" anchor="ctr"/>
            <a:lstStyle/>
            <a:p>
              <a:pPr algn="l" rtl="0"/>
              <a:endParaRPr lang="en-US" dirty="0"/>
            </a:p>
          </p:txBody>
        </p:sp>
        <p:sp>
          <p:nvSpPr>
            <p:cNvPr id="549" name="Freeform: Shape 548">
              <a:extLst>
                <a:ext uri="{FF2B5EF4-FFF2-40B4-BE49-F238E27FC236}">
                  <a16:creationId xmlns:a16="http://schemas.microsoft.com/office/drawing/2014/main" id="{A767BF07-47CC-4816-BA2B-6F289B89BDA7}"/>
                </a:ext>
              </a:extLst>
            </p:cNvPr>
            <p:cNvSpPr/>
            <p:nvPr/>
          </p:nvSpPr>
          <p:spPr>
            <a:xfrm>
              <a:off x="12757574" y="4734977"/>
              <a:ext cx="67818" cy="28575"/>
            </a:xfrm>
            <a:custGeom>
              <a:avLst/>
              <a:gdLst>
                <a:gd name="connsiteX0" fmla="*/ 53531 w 67818"/>
                <a:gd name="connsiteY0" fmla="*/ 28575 h 28575"/>
                <a:gd name="connsiteX1" fmla="*/ 14288 w 67818"/>
                <a:gd name="connsiteY1" fmla="*/ 28575 h 28575"/>
                <a:gd name="connsiteX2" fmla="*/ 0 w 67818"/>
                <a:gd name="connsiteY2" fmla="*/ 14288 h 28575"/>
                <a:gd name="connsiteX3" fmla="*/ 14288 w 67818"/>
                <a:gd name="connsiteY3" fmla="*/ 0 h 28575"/>
                <a:gd name="connsiteX4" fmla="*/ 53531 w 67818"/>
                <a:gd name="connsiteY4" fmla="*/ 0 h 28575"/>
                <a:gd name="connsiteX5" fmla="*/ 67818 w 67818"/>
                <a:gd name="connsiteY5" fmla="*/ 14288 h 28575"/>
                <a:gd name="connsiteX6" fmla="*/ 53531 w 67818"/>
                <a:gd name="connsiteY6"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818" h="28575">
                  <a:moveTo>
                    <a:pt x="53531" y="28575"/>
                  </a:moveTo>
                  <a:lnTo>
                    <a:pt x="14288" y="28575"/>
                  </a:lnTo>
                  <a:cubicBezTo>
                    <a:pt x="6382" y="28575"/>
                    <a:pt x="0" y="22193"/>
                    <a:pt x="0" y="14288"/>
                  </a:cubicBezTo>
                  <a:cubicBezTo>
                    <a:pt x="0" y="6382"/>
                    <a:pt x="6382" y="0"/>
                    <a:pt x="14288" y="0"/>
                  </a:cubicBezTo>
                  <a:lnTo>
                    <a:pt x="53531" y="0"/>
                  </a:lnTo>
                  <a:cubicBezTo>
                    <a:pt x="61436" y="0"/>
                    <a:pt x="67818" y="6382"/>
                    <a:pt x="67818" y="14288"/>
                  </a:cubicBezTo>
                  <a:cubicBezTo>
                    <a:pt x="67818" y="22193"/>
                    <a:pt x="61436" y="28575"/>
                    <a:pt x="53531" y="28575"/>
                  </a:cubicBezTo>
                  <a:close/>
                </a:path>
              </a:pathLst>
            </a:custGeom>
            <a:solidFill>
              <a:schemeClr val="accent3"/>
            </a:solidFill>
            <a:ln w="9525" cap="flat">
              <a:noFill/>
              <a:prstDash val="solid"/>
              <a:miter/>
            </a:ln>
          </p:spPr>
          <p:txBody>
            <a:bodyPr rtlCol="0" anchor="ctr"/>
            <a:lstStyle/>
            <a:p>
              <a:pPr algn="l" rtl="0"/>
              <a:endParaRPr lang="en-US" dirty="0"/>
            </a:p>
          </p:txBody>
        </p:sp>
        <p:sp>
          <p:nvSpPr>
            <p:cNvPr id="550" name="Freeform: Shape 549">
              <a:extLst>
                <a:ext uri="{FF2B5EF4-FFF2-40B4-BE49-F238E27FC236}">
                  <a16:creationId xmlns:a16="http://schemas.microsoft.com/office/drawing/2014/main" id="{7A444F58-BB3B-4CA5-8F44-DEE082DEC9A6}"/>
                </a:ext>
              </a:extLst>
            </p:cNvPr>
            <p:cNvSpPr/>
            <p:nvPr/>
          </p:nvSpPr>
          <p:spPr>
            <a:xfrm>
              <a:off x="12666420" y="5310478"/>
              <a:ext cx="254793" cy="28575"/>
            </a:xfrm>
            <a:custGeom>
              <a:avLst/>
              <a:gdLst>
                <a:gd name="connsiteX0" fmla="*/ 240506 w 254793"/>
                <a:gd name="connsiteY0" fmla="*/ 28575 h 28575"/>
                <a:gd name="connsiteX1" fmla="*/ 14287 w 254793"/>
                <a:gd name="connsiteY1" fmla="*/ 28575 h 28575"/>
                <a:gd name="connsiteX2" fmla="*/ 0 w 254793"/>
                <a:gd name="connsiteY2" fmla="*/ 14288 h 28575"/>
                <a:gd name="connsiteX3" fmla="*/ 14287 w 254793"/>
                <a:gd name="connsiteY3" fmla="*/ 0 h 28575"/>
                <a:gd name="connsiteX4" fmla="*/ 240506 w 254793"/>
                <a:gd name="connsiteY4" fmla="*/ 0 h 28575"/>
                <a:gd name="connsiteX5" fmla="*/ 254794 w 254793"/>
                <a:gd name="connsiteY5" fmla="*/ 14288 h 28575"/>
                <a:gd name="connsiteX6" fmla="*/ 240506 w 254793"/>
                <a:gd name="connsiteY6"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793" h="28575">
                  <a:moveTo>
                    <a:pt x="240506" y="28575"/>
                  </a:moveTo>
                  <a:lnTo>
                    <a:pt x="14287" y="28575"/>
                  </a:lnTo>
                  <a:cubicBezTo>
                    <a:pt x="6382" y="28575"/>
                    <a:pt x="0" y="22193"/>
                    <a:pt x="0" y="14288"/>
                  </a:cubicBezTo>
                  <a:cubicBezTo>
                    <a:pt x="0" y="6382"/>
                    <a:pt x="6382" y="0"/>
                    <a:pt x="14287" y="0"/>
                  </a:cubicBezTo>
                  <a:lnTo>
                    <a:pt x="240506" y="0"/>
                  </a:lnTo>
                  <a:cubicBezTo>
                    <a:pt x="248412" y="0"/>
                    <a:pt x="254794" y="6382"/>
                    <a:pt x="254794" y="14288"/>
                  </a:cubicBezTo>
                  <a:cubicBezTo>
                    <a:pt x="254794" y="22193"/>
                    <a:pt x="248412" y="28575"/>
                    <a:pt x="240506" y="28575"/>
                  </a:cubicBezTo>
                  <a:close/>
                </a:path>
              </a:pathLst>
            </a:custGeom>
            <a:solidFill>
              <a:schemeClr val="accent3"/>
            </a:solidFill>
            <a:ln w="9525" cap="flat">
              <a:noFill/>
              <a:prstDash val="solid"/>
              <a:miter/>
            </a:ln>
          </p:spPr>
          <p:txBody>
            <a:bodyPr rtlCol="0" anchor="ctr"/>
            <a:lstStyle/>
            <a:p>
              <a:pPr algn="l" rtl="0"/>
              <a:endParaRPr lang="en-US" dirty="0"/>
            </a:p>
          </p:txBody>
        </p:sp>
        <p:sp>
          <p:nvSpPr>
            <p:cNvPr id="551" name="Freeform: Shape 550">
              <a:extLst>
                <a:ext uri="{FF2B5EF4-FFF2-40B4-BE49-F238E27FC236}">
                  <a16:creationId xmlns:a16="http://schemas.microsoft.com/office/drawing/2014/main" id="{E4FD12D2-B7F8-4893-98F9-6B603E9999C3}"/>
                </a:ext>
              </a:extLst>
            </p:cNvPr>
            <p:cNvSpPr/>
            <p:nvPr/>
          </p:nvSpPr>
          <p:spPr>
            <a:xfrm>
              <a:off x="12636035" y="5195511"/>
              <a:ext cx="315468" cy="28575"/>
            </a:xfrm>
            <a:custGeom>
              <a:avLst/>
              <a:gdLst>
                <a:gd name="connsiteX0" fmla="*/ 301276 w 315468"/>
                <a:gd name="connsiteY0" fmla="*/ 28575 h 28575"/>
                <a:gd name="connsiteX1" fmla="*/ 14288 w 315468"/>
                <a:gd name="connsiteY1" fmla="*/ 28575 h 28575"/>
                <a:gd name="connsiteX2" fmla="*/ 0 w 315468"/>
                <a:gd name="connsiteY2" fmla="*/ 14288 h 28575"/>
                <a:gd name="connsiteX3" fmla="*/ 14288 w 315468"/>
                <a:gd name="connsiteY3" fmla="*/ 0 h 28575"/>
                <a:gd name="connsiteX4" fmla="*/ 301181 w 315468"/>
                <a:gd name="connsiteY4" fmla="*/ 0 h 28575"/>
                <a:gd name="connsiteX5" fmla="*/ 315468 w 315468"/>
                <a:gd name="connsiteY5" fmla="*/ 14288 h 28575"/>
                <a:gd name="connsiteX6" fmla="*/ 301181 w 315468"/>
                <a:gd name="connsiteY6"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468" h="28575">
                  <a:moveTo>
                    <a:pt x="301276" y="28575"/>
                  </a:moveTo>
                  <a:lnTo>
                    <a:pt x="14288" y="28575"/>
                  </a:lnTo>
                  <a:cubicBezTo>
                    <a:pt x="6382" y="28575"/>
                    <a:pt x="0" y="22193"/>
                    <a:pt x="0" y="14288"/>
                  </a:cubicBezTo>
                  <a:cubicBezTo>
                    <a:pt x="0" y="6382"/>
                    <a:pt x="6382" y="0"/>
                    <a:pt x="14288" y="0"/>
                  </a:cubicBezTo>
                  <a:lnTo>
                    <a:pt x="301181" y="0"/>
                  </a:lnTo>
                  <a:cubicBezTo>
                    <a:pt x="309086" y="0"/>
                    <a:pt x="315468" y="6382"/>
                    <a:pt x="315468" y="14288"/>
                  </a:cubicBezTo>
                  <a:cubicBezTo>
                    <a:pt x="315468" y="22193"/>
                    <a:pt x="309086" y="28575"/>
                    <a:pt x="301181" y="28575"/>
                  </a:cubicBezTo>
                  <a:close/>
                </a:path>
              </a:pathLst>
            </a:custGeom>
            <a:solidFill>
              <a:schemeClr val="accent3"/>
            </a:solidFill>
            <a:ln w="9525" cap="flat">
              <a:noFill/>
              <a:prstDash val="solid"/>
              <a:miter/>
            </a:ln>
          </p:spPr>
          <p:txBody>
            <a:bodyPr rtlCol="0" anchor="ctr"/>
            <a:lstStyle/>
            <a:p>
              <a:pPr algn="l" rtl="0"/>
              <a:endParaRPr lang="en-US" dirty="0"/>
            </a:p>
          </p:txBody>
        </p:sp>
        <p:sp>
          <p:nvSpPr>
            <p:cNvPr id="552" name="Freeform: Shape 551">
              <a:extLst>
                <a:ext uri="{FF2B5EF4-FFF2-40B4-BE49-F238E27FC236}">
                  <a16:creationId xmlns:a16="http://schemas.microsoft.com/office/drawing/2014/main" id="{2690418C-514F-4EB0-8E87-80765469B693}"/>
                </a:ext>
              </a:extLst>
            </p:cNvPr>
            <p:cNvSpPr/>
            <p:nvPr/>
          </p:nvSpPr>
          <p:spPr>
            <a:xfrm>
              <a:off x="12674135" y="5080640"/>
              <a:ext cx="239268" cy="28575"/>
            </a:xfrm>
            <a:custGeom>
              <a:avLst/>
              <a:gdLst>
                <a:gd name="connsiteX0" fmla="*/ 225076 w 239268"/>
                <a:gd name="connsiteY0" fmla="*/ 28575 h 28575"/>
                <a:gd name="connsiteX1" fmla="*/ 14288 w 239268"/>
                <a:gd name="connsiteY1" fmla="*/ 28575 h 28575"/>
                <a:gd name="connsiteX2" fmla="*/ 0 w 239268"/>
                <a:gd name="connsiteY2" fmla="*/ 14288 h 28575"/>
                <a:gd name="connsiteX3" fmla="*/ 14288 w 239268"/>
                <a:gd name="connsiteY3" fmla="*/ 0 h 28575"/>
                <a:gd name="connsiteX4" fmla="*/ 224981 w 239268"/>
                <a:gd name="connsiteY4" fmla="*/ 0 h 28575"/>
                <a:gd name="connsiteX5" fmla="*/ 239268 w 239268"/>
                <a:gd name="connsiteY5" fmla="*/ 14288 h 28575"/>
                <a:gd name="connsiteX6" fmla="*/ 224981 w 239268"/>
                <a:gd name="connsiteY6"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268" h="28575">
                  <a:moveTo>
                    <a:pt x="225076" y="28575"/>
                  </a:moveTo>
                  <a:lnTo>
                    <a:pt x="14288" y="28575"/>
                  </a:lnTo>
                  <a:cubicBezTo>
                    <a:pt x="6382" y="28575"/>
                    <a:pt x="0" y="22193"/>
                    <a:pt x="0" y="14288"/>
                  </a:cubicBezTo>
                  <a:cubicBezTo>
                    <a:pt x="0" y="6382"/>
                    <a:pt x="6382" y="0"/>
                    <a:pt x="14288" y="0"/>
                  </a:cubicBezTo>
                  <a:lnTo>
                    <a:pt x="224981" y="0"/>
                  </a:lnTo>
                  <a:cubicBezTo>
                    <a:pt x="232886" y="0"/>
                    <a:pt x="239268" y="6382"/>
                    <a:pt x="239268" y="14288"/>
                  </a:cubicBezTo>
                  <a:cubicBezTo>
                    <a:pt x="239268" y="22193"/>
                    <a:pt x="232886" y="28575"/>
                    <a:pt x="224981" y="28575"/>
                  </a:cubicBezTo>
                  <a:close/>
                </a:path>
              </a:pathLst>
            </a:custGeom>
            <a:solidFill>
              <a:schemeClr val="accent3"/>
            </a:solidFill>
            <a:ln w="9525" cap="flat">
              <a:noFill/>
              <a:prstDash val="solid"/>
              <a:miter/>
            </a:ln>
          </p:spPr>
          <p:txBody>
            <a:bodyPr rtlCol="0" anchor="ctr"/>
            <a:lstStyle/>
            <a:p>
              <a:pPr algn="l" rtl="0"/>
              <a:endParaRPr lang="en-US" dirty="0"/>
            </a:p>
          </p:txBody>
        </p:sp>
        <p:sp>
          <p:nvSpPr>
            <p:cNvPr id="553" name="Freeform: Shape 552">
              <a:extLst>
                <a:ext uri="{FF2B5EF4-FFF2-40B4-BE49-F238E27FC236}">
                  <a16:creationId xmlns:a16="http://schemas.microsoft.com/office/drawing/2014/main" id="{94FA2B20-F151-4C49-8023-2A309066EE5A}"/>
                </a:ext>
              </a:extLst>
            </p:cNvPr>
            <p:cNvSpPr/>
            <p:nvPr/>
          </p:nvSpPr>
          <p:spPr>
            <a:xfrm>
              <a:off x="12759955" y="4965673"/>
              <a:ext cx="67818" cy="28575"/>
            </a:xfrm>
            <a:custGeom>
              <a:avLst/>
              <a:gdLst>
                <a:gd name="connsiteX0" fmla="*/ 53531 w 67818"/>
                <a:gd name="connsiteY0" fmla="*/ 28575 h 28575"/>
                <a:gd name="connsiteX1" fmla="*/ 14288 w 67818"/>
                <a:gd name="connsiteY1" fmla="*/ 28575 h 28575"/>
                <a:gd name="connsiteX2" fmla="*/ 0 w 67818"/>
                <a:gd name="connsiteY2" fmla="*/ 14288 h 28575"/>
                <a:gd name="connsiteX3" fmla="*/ 14288 w 67818"/>
                <a:gd name="connsiteY3" fmla="*/ 0 h 28575"/>
                <a:gd name="connsiteX4" fmla="*/ 53531 w 67818"/>
                <a:gd name="connsiteY4" fmla="*/ 0 h 28575"/>
                <a:gd name="connsiteX5" fmla="*/ 67818 w 67818"/>
                <a:gd name="connsiteY5" fmla="*/ 14288 h 28575"/>
                <a:gd name="connsiteX6" fmla="*/ 53531 w 67818"/>
                <a:gd name="connsiteY6"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818" h="28575">
                  <a:moveTo>
                    <a:pt x="53531" y="28575"/>
                  </a:moveTo>
                  <a:lnTo>
                    <a:pt x="14288" y="28575"/>
                  </a:lnTo>
                  <a:cubicBezTo>
                    <a:pt x="6382" y="28575"/>
                    <a:pt x="0" y="22193"/>
                    <a:pt x="0" y="14288"/>
                  </a:cubicBezTo>
                  <a:cubicBezTo>
                    <a:pt x="0" y="6382"/>
                    <a:pt x="6382" y="0"/>
                    <a:pt x="14288" y="0"/>
                  </a:cubicBezTo>
                  <a:lnTo>
                    <a:pt x="53531" y="0"/>
                  </a:lnTo>
                  <a:cubicBezTo>
                    <a:pt x="61436" y="0"/>
                    <a:pt x="67818" y="6382"/>
                    <a:pt x="67818" y="14288"/>
                  </a:cubicBezTo>
                  <a:cubicBezTo>
                    <a:pt x="67818" y="22193"/>
                    <a:pt x="61436" y="28575"/>
                    <a:pt x="53531" y="28575"/>
                  </a:cubicBezTo>
                  <a:close/>
                </a:path>
              </a:pathLst>
            </a:custGeom>
            <a:solidFill>
              <a:schemeClr val="accent3"/>
            </a:solidFill>
            <a:ln w="9525" cap="flat">
              <a:noFill/>
              <a:prstDash val="solid"/>
              <a:miter/>
            </a:ln>
          </p:spPr>
          <p:txBody>
            <a:bodyPr rtlCol="0" anchor="ctr"/>
            <a:lstStyle/>
            <a:p>
              <a:pPr algn="l" rtl="0"/>
              <a:endParaRPr lang="en-US" dirty="0"/>
            </a:p>
          </p:txBody>
        </p:sp>
      </p:grpSp>
      <p:grpSp>
        <p:nvGrpSpPr>
          <p:cNvPr id="554" name="Group 553">
            <a:extLst>
              <a:ext uri="{FF2B5EF4-FFF2-40B4-BE49-F238E27FC236}">
                <a16:creationId xmlns:a16="http://schemas.microsoft.com/office/drawing/2014/main" id="{93252F64-FB0A-454D-8F54-C88ABB05C67E}"/>
              </a:ext>
            </a:extLst>
          </p:cNvPr>
          <p:cNvGrpSpPr/>
          <p:nvPr/>
        </p:nvGrpSpPr>
        <p:grpSpPr>
          <a:xfrm>
            <a:off x="554737" y="4389542"/>
            <a:ext cx="432406" cy="336300"/>
            <a:chOff x="634928" y="3823750"/>
            <a:chExt cx="626746" cy="487447"/>
          </a:xfrm>
        </p:grpSpPr>
        <p:sp>
          <p:nvSpPr>
            <p:cNvPr id="555" name="Freeform: Shape 554">
              <a:extLst>
                <a:ext uri="{FF2B5EF4-FFF2-40B4-BE49-F238E27FC236}">
                  <a16:creationId xmlns:a16="http://schemas.microsoft.com/office/drawing/2014/main" id="{53065424-197B-47CD-8E0B-86601DD91F34}"/>
                </a:ext>
              </a:extLst>
            </p:cNvPr>
            <p:cNvSpPr/>
            <p:nvPr/>
          </p:nvSpPr>
          <p:spPr>
            <a:xfrm>
              <a:off x="674555" y="4019037"/>
              <a:ext cx="194088" cy="146049"/>
            </a:xfrm>
            <a:custGeom>
              <a:avLst/>
              <a:gdLst>
                <a:gd name="connsiteX0" fmla="*/ 31780 w 194088"/>
                <a:gd name="connsiteY0" fmla="*/ 59029 h 146049"/>
                <a:gd name="connsiteX1" fmla="*/ 17473 w 194088"/>
                <a:gd name="connsiteY1" fmla="*/ 145863 h 146049"/>
                <a:gd name="connsiteX2" fmla="*/ 6402 w 194088"/>
                <a:gd name="connsiteY2" fmla="*/ 146049 h 146049"/>
                <a:gd name="connsiteX3" fmla="*/ 25684 w 194088"/>
                <a:gd name="connsiteY3" fmla="*/ 50321 h 146049"/>
                <a:gd name="connsiteX4" fmla="*/ 102192 w 194088"/>
                <a:gd name="connsiteY4" fmla="*/ 60211 h 146049"/>
                <a:gd name="connsiteX5" fmla="*/ 155499 w 194088"/>
                <a:gd name="connsiteY5" fmla="*/ 68422 h 146049"/>
                <a:gd name="connsiteX6" fmla="*/ 182867 w 194088"/>
                <a:gd name="connsiteY6" fmla="*/ 0 h 146049"/>
                <a:gd name="connsiteX7" fmla="*/ 193815 w 194088"/>
                <a:gd name="connsiteY7" fmla="*/ 2426 h 146049"/>
                <a:gd name="connsiteX8" fmla="*/ 160724 w 194088"/>
                <a:gd name="connsiteY8" fmla="*/ 77628 h 146049"/>
                <a:gd name="connsiteX9" fmla="*/ 95225 w 194088"/>
                <a:gd name="connsiteY9" fmla="*/ 68173 h 146049"/>
                <a:gd name="connsiteX10" fmla="*/ 31780 w 194088"/>
                <a:gd name="connsiteY10" fmla="*/ 58967 h 146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088" h="146049">
                  <a:moveTo>
                    <a:pt x="31780" y="59029"/>
                  </a:moveTo>
                  <a:cubicBezTo>
                    <a:pt x="14488" y="71159"/>
                    <a:pt x="2296" y="100144"/>
                    <a:pt x="17473" y="145863"/>
                  </a:cubicBezTo>
                  <a:cubicBezTo>
                    <a:pt x="13804" y="145676"/>
                    <a:pt x="10134" y="145800"/>
                    <a:pt x="6402" y="146049"/>
                  </a:cubicBezTo>
                  <a:cubicBezTo>
                    <a:pt x="-8962" y="96599"/>
                    <a:pt x="5655" y="64379"/>
                    <a:pt x="25684" y="50321"/>
                  </a:cubicBezTo>
                  <a:cubicBezTo>
                    <a:pt x="47641" y="34895"/>
                    <a:pt x="77685" y="38814"/>
                    <a:pt x="102192" y="60211"/>
                  </a:cubicBezTo>
                  <a:cubicBezTo>
                    <a:pt x="118862" y="74766"/>
                    <a:pt x="138767" y="77814"/>
                    <a:pt x="155499" y="68422"/>
                  </a:cubicBezTo>
                  <a:cubicBezTo>
                    <a:pt x="175652" y="57101"/>
                    <a:pt x="185853" y="30728"/>
                    <a:pt x="182867" y="0"/>
                  </a:cubicBezTo>
                  <a:lnTo>
                    <a:pt x="193815" y="2426"/>
                  </a:lnTo>
                  <a:cubicBezTo>
                    <a:pt x="196116" y="35890"/>
                    <a:pt x="183800" y="64627"/>
                    <a:pt x="160724" y="77628"/>
                  </a:cubicBezTo>
                  <a:cubicBezTo>
                    <a:pt x="139886" y="89321"/>
                    <a:pt x="115441" y="85838"/>
                    <a:pt x="95225" y="68173"/>
                  </a:cubicBezTo>
                  <a:cubicBezTo>
                    <a:pt x="74512" y="50072"/>
                    <a:pt x="49569" y="46465"/>
                    <a:pt x="31780" y="58967"/>
                  </a:cubicBezTo>
                  <a:close/>
                </a:path>
              </a:pathLst>
            </a:custGeom>
            <a:solidFill>
              <a:schemeClr val="accent2"/>
            </a:solidFill>
            <a:ln w="6130" cap="flat">
              <a:noFill/>
              <a:prstDash val="solid"/>
              <a:miter/>
            </a:ln>
          </p:spPr>
          <p:txBody>
            <a:bodyPr rtlCol="0" anchor="ctr"/>
            <a:lstStyle/>
            <a:p>
              <a:pPr algn="l" rtl="0"/>
              <a:endParaRPr lang="en-US" dirty="0"/>
            </a:p>
          </p:txBody>
        </p:sp>
        <p:sp>
          <p:nvSpPr>
            <p:cNvPr id="556" name="Freeform: Shape 555">
              <a:extLst>
                <a:ext uri="{FF2B5EF4-FFF2-40B4-BE49-F238E27FC236}">
                  <a16:creationId xmlns:a16="http://schemas.microsoft.com/office/drawing/2014/main" id="{C46878A8-CD6F-45A8-A4B7-0EE70F7F494C}"/>
                </a:ext>
              </a:extLst>
            </p:cNvPr>
            <p:cNvSpPr/>
            <p:nvPr/>
          </p:nvSpPr>
          <p:spPr>
            <a:xfrm rot="17381999">
              <a:off x="832209" y="4138079"/>
              <a:ext cx="133049" cy="45344"/>
            </a:xfrm>
            <a:custGeom>
              <a:avLst/>
              <a:gdLst>
                <a:gd name="connsiteX0" fmla="*/ 0 w 133049"/>
                <a:gd name="connsiteY0" fmla="*/ 0 h 45344"/>
                <a:gd name="connsiteX1" fmla="*/ 133049 w 133049"/>
                <a:gd name="connsiteY1" fmla="*/ 0 h 45344"/>
                <a:gd name="connsiteX2" fmla="*/ 133049 w 133049"/>
                <a:gd name="connsiteY2" fmla="*/ 45345 h 45344"/>
                <a:gd name="connsiteX3" fmla="*/ 0 w 133049"/>
                <a:gd name="connsiteY3" fmla="*/ 45345 h 45344"/>
              </a:gdLst>
              <a:ahLst/>
              <a:cxnLst>
                <a:cxn ang="0">
                  <a:pos x="connsiteX0" y="connsiteY0"/>
                </a:cxn>
                <a:cxn ang="0">
                  <a:pos x="connsiteX1" y="connsiteY1"/>
                </a:cxn>
                <a:cxn ang="0">
                  <a:pos x="connsiteX2" y="connsiteY2"/>
                </a:cxn>
                <a:cxn ang="0">
                  <a:pos x="connsiteX3" y="connsiteY3"/>
                </a:cxn>
              </a:cxnLst>
              <a:rect l="l" t="t" r="r" b="b"/>
              <a:pathLst>
                <a:path w="133049" h="45344">
                  <a:moveTo>
                    <a:pt x="0" y="0"/>
                  </a:moveTo>
                  <a:lnTo>
                    <a:pt x="133049" y="0"/>
                  </a:lnTo>
                  <a:lnTo>
                    <a:pt x="133049" y="45345"/>
                  </a:lnTo>
                  <a:lnTo>
                    <a:pt x="0" y="45345"/>
                  </a:lnTo>
                  <a:close/>
                </a:path>
              </a:pathLst>
            </a:custGeom>
            <a:solidFill>
              <a:schemeClr val="accent3"/>
            </a:solidFill>
            <a:ln w="6130" cap="flat">
              <a:noFill/>
              <a:prstDash val="solid"/>
              <a:miter/>
            </a:ln>
          </p:spPr>
          <p:txBody>
            <a:bodyPr rtlCol="0" anchor="ctr"/>
            <a:lstStyle/>
            <a:p>
              <a:pPr algn="l" rtl="0"/>
              <a:endParaRPr lang="en-US" dirty="0"/>
            </a:p>
          </p:txBody>
        </p:sp>
        <p:sp>
          <p:nvSpPr>
            <p:cNvPr id="557" name="Freeform: Shape 556">
              <a:extLst>
                <a:ext uri="{FF2B5EF4-FFF2-40B4-BE49-F238E27FC236}">
                  <a16:creationId xmlns:a16="http://schemas.microsoft.com/office/drawing/2014/main" id="{6C0545AF-1596-48F2-8CD3-2ACCB66A329D}"/>
                </a:ext>
              </a:extLst>
            </p:cNvPr>
            <p:cNvSpPr/>
            <p:nvPr/>
          </p:nvSpPr>
          <p:spPr>
            <a:xfrm rot="17381999">
              <a:off x="815402" y="4149966"/>
              <a:ext cx="133049" cy="9579"/>
            </a:xfrm>
            <a:custGeom>
              <a:avLst/>
              <a:gdLst>
                <a:gd name="connsiteX0" fmla="*/ 0 w 133049"/>
                <a:gd name="connsiteY0" fmla="*/ 0 h 9579"/>
                <a:gd name="connsiteX1" fmla="*/ 133049 w 133049"/>
                <a:gd name="connsiteY1" fmla="*/ 0 h 9579"/>
                <a:gd name="connsiteX2" fmla="*/ 133049 w 133049"/>
                <a:gd name="connsiteY2" fmla="*/ 9579 h 9579"/>
                <a:gd name="connsiteX3" fmla="*/ 0 w 133049"/>
                <a:gd name="connsiteY3" fmla="*/ 9579 h 9579"/>
              </a:gdLst>
              <a:ahLst/>
              <a:cxnLst>
                <a:cxn ang="0">
                  <a:pos x="connsiteX0" y="connsiteY0"/>
                </a:cxn>
                <a:cxn ang="0">
                  <a:pos x="connsiteX1" y="connsiteY1"/>
                </a:cxn>
                <a:cxn ang="0">
                  <a:pos x="connsiteX2" y="connsiteY2"/>
                </a:cxn>
                <a:cxn ang="0">
                  <a:pos x="connsiteX3" y="connsiteY3"/>
                </a:cxn>
              </a:cxnLst>
              <a:rect l="l" t="t" r="r" b="b"/>
              <a:pathLst>
                <a:path w="133049" h="9579">
                  <a:moveTo>
                    <a:pt x="0" y="0"/>
                  </a:moveTo>
                  <a:lnTo>
                    <a:pt x="133049" y="0"/>
                  </a:lnTo>
                  <a:lnTo>
                    <a:pt x="133049" y="9579"/>
                  </a:lnTo>
                  <a:lnTo>
                    <a:pt x="0" y="9579"/>
                  </a:lnTo>
                  <a:close/>
                </a:path>
              </a:pathLst>
            </a:custGeom>
            <a:solidFill>
              <a:srgbClr val="FAFAFA"/>
            </a:solidFill>
            <a:ln w="6130" cap="flat">
              <a:noFill/>
              <a:prstDash val="solid"/>
              <a:miter/>
            </a:ln>
          </p:spPr>
          <p:txBody>
            <a:bodyPr rtlCol="0" anchor="ctr"/>
            <a:lstStyle/>
            <a:p>
              <a:pPr algn="l" rtl="0"/>
              <a:endParaRPr lang="en-US" dirty="0"/>
            </a:p>
          </p:txBody>
        </p:sp>
        <p:sp>
          <p:nvSpPr>
            <p:cNvPr id="558" name="Freeform: Shape 557">
              <a:extLst>
                <a:ext uri="{FF2B5EF4-FFF2-40B4-BE49-F238E27FC236}">
                  <a16:creationId xmlns:a16="http://schemas.microsoft.com/office/drawing/2014/main" id="{1FF025F7-8935-41CE-B3F7-5ECC42AF2116}"/>
                </a:ext>
              </a:extLst>
            </p:cNvPr>
            <p:cNvSpPr/>
            <p:nvPr/>
          </p:nvSpPr>
          <p:spPr>
            <a:xfrm rot="17381999">
              <a:off x="849363" y="4162142"/>
              <a:ext cx="133049" cy="9579"/>
            </a:xfrm>
            <a:custGeom>
              <a:avLst/>
              <a:gdLst>
                <a:gd name="connsiteX0" fmla="*/ 0 w 133049"/>
                <a:gd name="connsiteY0" fmla="*/ 0 h 9579"/>
                <a:gd name="connsiteX1" fmla="*/ 133049 w 133049"/>
                <a:gd name="connsiteY1" fmla="*/ 0 h 9579"/>
                <a:gd name="connsiteX2" fmla="*/ 133049 w 133049"/>
                <a:gd name="connsiteY2" fmla="*/ 9579 h 9579"/>
                <a:gd name="connsiteX3" fmla="*/ 0 w 133049"/>
                <a:gd name="connsiteY3" fmla="*/ 9579 h 9579"/>
              </a:gdLst>
              <a:ahLst/>
              <a:cxnLst>
                <a:cxn ang="0">
                  <a:pos x="connsiteX0" y="connsiteY0"/>
                </a:cxn>
                <a:cxn ang="0">
                  <a:pos x="connsiteX1" y="connsiteY1"/>
                </a:cxn>
                <a:cxn ang="0">
                  <a:pos x="connsiteX2" y="connsiteY2"/>
                </a:cxn>
                <a:cxn ang="0">
                  <a:pos x="connsiteX3" y="connsiteY3"/>
                </a:cxn>
              </a:cxnLst>
              <a:rect l="l" t="t" r="r" b="b"/>
              <a:pathLst>
                <a:path w="133049" h="9579">
                  <a:moveTo>
                    <a:pt x="0" y="0"/>
                  </a:moveTo>
                  <a:lnTo>
                    <a:pt x="133049" y="0"/>
                  </a:lnTo>
                  <a:lnTo>
                    <a:pt x="133049" y="9579"/>
                  </a:lnTo>
                  <a:lnTo>
                    <a:pt x="0" y="9579"/>
                  </a:lnTo>
                  <a:close/>
                </a:path>
              </a:pathLst>
            </a:custGeom>
            <a:solidFill>
              <a:schemeClr val="accent2">
                <a:lumMod val="75000"/>
              </a:schemeClr>
            </a:solidFill>
            <a:ln w="6130" cap="flat">
              <a:noFill/>
              <a:prstDash val="solid"/>
              <a:miter/>
            </a:ln>
          </p:spPr>
          <p:txBody>
            <a:bodyPr rtlCol="0" anchor="ctr"/>
            <a:lstStyle/>
            <a:p>
              <a:pPr algn="l" rtl="0"/>
              <a:endParaRPr lang="en-US" dirty="0"/>
            </a:p>
          </p:txBody>
        </p:sp>
        <p:sp>
          <p:nvSpPr>
            <p:cNvPr id="559" name="Freeform: Shape 558">
              <a:extLst>
                <a:ext uri="{FF2B5EF4-FFF2-40B4-BE49-F238E27FC236}">
                  <a16:creationId xmlns:a16="http://schemas.microsoft.com/office/drawing/2014/main" id="{7A2FCF39-5FD8-4400-BD7C-8B4B116609FD}"/>
                </a:ext>
              </a:extLst>
            </p:cNvPr>
            <p:cNvSpPr/>
            <p:nvPr/>
          </p:nvSpPr>
          <p:spPr>
            <a:xfrm>
              <a:off x="720579" y="4200604"/>
              <a:ext cx="133049" cy="45344"/>
            </a:xfrm>
            <a:custGeom>
              <a:avLst/>
              <a:gdLst>
                <a:gd name="connsiteX0" fmla="*/ 0 w 133049"/>
                <a:gd name="connsiteY0" fmla="*/ 0 h 45344"/>
                <a:gd name="connsiteX1" fmla="*/ 133049 w 133049"/>
                <a:gd name="connsiteY1" fmla="*/ 0 h 45344"/>
                <a:gd name="connsiteX2" fmla="*/ 133049 w 133049"/>
                <a:gd name="connsiteY2" fmla="*/ 45345 h 45344"/>
                <a:gd name="connsiteX3" fmla="*/ 0 w 133049"/>
                <a:gd name="connsiteY3" fmla="*/ 45345 h 45344"/>
              </a:gdLst>
              <a:ahLst/>
              <a:cxnLst>
                <a:cxn ang="0">
                  <a:pos x="connsiteX0" y="connsiteY0"/>
                </a:cxn>
                <a:cxn ang="0">
                  <a:pos x="connsiteX1" y="connsiteY1"/>
                </a:cxn>
                <a:cxn ang="0">
                  <a:pos x="connsiteX2" y="connsiteY2"/>
                </a:cxn>
                <a:cxn ang="0">
                  <a:pos x="connsiteX3" y="connsiteY3"/>
                </a:cxn>
              </a:cxnLst>
              <a:rect l="l" t="t" r="r" b="b"/>
              <a:pathLst>
                <a:path w="133049" h="45344">
                  <a:moveTo>
                    <a:pt x="0" y="0"/>
                  </a:moveTo>
                  <a:lnTo>
                    <a:pt x="133049" y="0"/>
                  </a:lnTo>
                  <a:lnTo>
                    <a:pt x="133049" y="45345"/>
                  </a:lnTo>
                  <a:lnTo>
                    <a:pt x="0" y="45345"/>
                  </a:lnTo>
                  <a:close/>
                </a:path>
              </a:pathLst>
            </a:custGeom>
            <a:solidFill>
              <a:schemeClr val="accent3"/>
            </a:solidFill>
            <a:ln w="6130" cap="flat">
              <a:noFill/>
              <a:prstDash val="solid"/>
              <a:miter/>
            </a:ln>
          </p:spPr>
          <p:txBody>
            <a:bodyPr rtlCol="0" anchor="ctr"/>
            <a:lstStyle/>
            <a:p>
              <a:pPr algn="l" rtl="0"/>
              <a:endParaRPr lang="en-US" dirty="0"/>
            </a:p>
          </p:txBody>
        </p:sp>
        <p:sp>
          <p:nvSpPr>
            <p:cNvPr id="560" name="Freeform: Shape 559">
              <a:extLst>
                <a:ext uri="{FF2B5EF4-FFF2-40B4-BE49-F238E27FC236}">
                  <a16:creationId xmlns:a16="http://schemas.microsoft.com/office/drawing/2014/main" id="{7248ED04-83EA-4836-AB32-2A554EFFE354}"/>
                </a:ext>
              </a:extLst>
            </p:cNvPr>
            <p:cNvSpPr/>
            <p:nvPr/>
          </p:nvSpPr>
          <p:spPr>
            <a:xfrm>
              <a:off x="720579" y="4200604"/>
              <a:ext cx="133049" cy="9579"/>
            </a:xfrm>
            <a:custGeom>
              <a:avLst/>
              <a:gdLst>
                <a:gd name="connsiteX0" fmla="*/ 0 w 133049"/>
                <a:gd name="connsiteY0" fmla="*/ 0 h 9579"/>
                <a:gd name="connsiteX1" fmla="*/ 133049 w 133049"/>
                <a:gd name="connsiteY1" fmla="*/ 0 h 9579"/>
                <a:gd name="connsiteX2" fmla="*/ 133049 w 133049"/>
                <a:gd name="connsiteY2" fmla="*/ 9579 h 9579"/>
                <a:gd name="connsiteX3" fmla="*/ 0 w 133049"/>
                <a:gd name="connsiteY3" fmla="*/ 9579 h 9579"/>
              </a:gdLst>
              <a:ahLst/>
              <a:cxnLst>
                <a:cxn ang="0">
                  <a:pos x="connsiteX0" y="connsiteY0"/>
                </a:cxn>
                <a:cxn ang="0">
                  <a:pos x="connsiteX1" y="connsiteY1"/>
                </a:cxn>
                <a:cxn ang="0">
                  <a:pos x="connsiteX2" y="connsiteY2"/>
                </a:cxn>
                <a:cxn ang="0">
                  <a:pos x="connsiteX3" y="connsiteY3"/>
                </a:cxn>
              </a:cxnLst>
              <a:rect l="l" t="t" r="r" b="b"/>
              <a:pathLst>
                <a:path w="133049" h="9579">
                  <a:moveTo>
                    <a:pt x="0" y="0"/>
                  </a:moveTo>
                  <a:lnTo>
                    <a:pt x="133049" y="0"/>
                  </a:lnTo>
                  <a:lnTo>
                    <a:pt x="133049" y="9579"/>
                  </a:lnTo>
                  <a:lnTo>
                    <a:pt x="0" y="9579"/>
                  </a:lnTo>
                  <a:close/>
                </a:path>
              </a:pathLst>
            </a:custGeom>
            <a:solidFill>
              <a:srgbClr val="FAFAFA"/>
            </a:solidFill>
            <a:ln w="6130" cap="flat">
              <a:noFill/>
              <a:prstDash val="solid"/>
              <a:miter/>
            </a:ln>
          </p:spPr>
          <p:txBody>
            <a:bodyPr rtlCol="0" anchor="ctr"/>
            <a:lstStyle/>
            <a:p>
              <a:pPr algn="l" rtl="0"/>
              <a:endParaRPr lang="en-US" dirty="0"/>
            </a:p>
          </p:txBody>
        </p:sp>
        <p:sp>
          <p:nvSpPr>
            <p:cNvPr id="561" name="Freeform: Shape 560">
              <a:extLst>
                <a:ext uri="{FF2B5EF4-FFF2-40B4-BE49-F238E27FC236}">
                  <a16:creationId xmlns:a16="http://schemas.microsoft.com/office/drawing/2014/main" id="{FC02B94D-49CB-4911-B53C-471FF82C89A0}"/>
                </a:ext>
              </a:extLst>
            </p:cNvPr>
            <p:cNvSpPr/>
            <p:nvPr/>
          </p:nvSpPr>
          <p:spPr>
            <a:xfrm>
              <a:off x="720579" y="4236743"/>
              <a:ext cx="133049" cy="9579"/>
            </a:xfrm>
            <a:custGeom>
              <a:avLst/>
              <a:gdLst>
                <a:gd name="connsiteX0" fmla="*/ 0 w 133049"/>
                <a:gd name="connsiteY0" fmla="*/ 0 h 9579"/>
                <a:gd name="connsiteX1" fmla="*/ 133049 w 133049"/>
                <a:gd name="connsiteY1" fmla="*/ 0 h 9579"/>
                <a:gd name="connsiteX2" fmla="*/ 133049 w 133049"/>
                <a:gd name="connsiteY2" fmla="*/ 9579 h 9579"/>
                <a:gd name="connsiteX3" fmla="*/ 0 w 133049"/>
                <a:gd name="connsiteY3" fmla="*/ 9579 h 9579"/>
              </a:gdLst>
              <a:ahLst/>
              <a:cxnLst>
                <a:cxn ang="0">
                  <a:pos x="connsiteX0" y="connsiteY0"/>
                </a:cxn>
                <a:cxn ang="0">
                  <a:pos x="connsiteX1" y="connsiteY1"/>
                </a:cxn>
                <a:cxn ang="0">
                  <a:pos x="connsiteX2" y="connsiteY2"/>
                </a:cxn>
                <a:cxn ang="0">
                  <a:pos x="connsiteX3" y="connsiteY3"/>
                </a:cxn>
              </a:cxnLst>
              <a:rect l="l" t="t" r="r" b="b"/>
              <a:pathLst>
                <a:path w="133049" h="9579">
                  <a:moveTo>
                    <a:pt x="0" y="0"/>
                  </a:moveTo>
                  <a:lnTo>
                    <a:pt x="133049" y="0"/>
                  </a:lnTo>
                  <a:lnTo>
                    <a:pt x="133049" y="9579"/>
                  </a:lnTo>
                  <a:lnTo>
                    <a:pt x="0" y="9579"/>
                  </a:lnTo>
                  <a:close/>
                </a:path>
              </a:pathLst>
            </a:custGeom>
            <a:solidFill>
              <a:schemeClr val="accent2">
                <a:lumMod val="75000"/>
              </a:schemeClr>
            </a:solidFill>
            <a:ln w="6130" cap="flat">
              <a:noFill/>
              <a:prstDash val="solid"/>
              <a:miter/>
            </a:ln>
          </p:spPr>
          <p:txBody>
            <a:bodyPr rtlCol="0" anchor="ctr"/>
            <a:lstStyle/>
            <a:p>
              <a:pPr algn="l" rtl="0"/>
              <a:endParaRPr lang="en-US" dirty="0"/>
            </a:p>
          </p:txBody>
        </p:sp>
        <p:sp>
          <p:nvSpPr>
            <p:cNvPr id="562" name="Freeform: Shape 561">
              <a:extLst>
                <a:ext uri="{FF2B5EF4-FFF2-40B4-BE49-F238E27FC236}">
                  <a16:creationId xmlns:a16="http://schemas.microsoft.com/office/drawing/2014/main" id="{36C394F2-7C85-4154-BB55-5002BE912073}"/>
                </a:ext>
              </a:extLst>
            </p:cNvPr>
            <p:cNvSpPr/>
            <p:nvPr/>
          </p:nvSpPr>
          <p:spPr>
            <a:xfrm>
              <a:off x="877159" y="4001391"/>
              <a:ext cx="115594" cy="115594"/>
            </a:xfrm>
            <a:custGeom>
              <a:avLst/>
              <a:gdLst>
                <a:gd name="connsiteX0" fmla="*/ 112193 w 115594"/>
                <a:gd name="connsiteY0" fmla="*/ 77298 h 115594"/>
                <a:gd name="connsiteX1" fmla="*/ 38297 w 115594"/>
                <a:gd name="connsiteY1" fmla="*/ 112193 h 115594"/>
                <a:gd name="connsiteX2" fmla="*/ 3402 w 115594"/>
                <a:gd name="connsiteY2" fmla="*/ 38297 h 115594"/>
                <a:gd name="connsiteX3" fmla="*/ 77298 w 115594"/>
                <a:gd name="connsiteY3" fmla="*/ 3402 h 115594"/>
                <a:gd name="connsiteX4" fmla="*/ 112193 w 115594"/>
                <a:gd name="connsiteY4" fmla="*/ 77298 h 115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94" h="115594">
                  <a:moveTo>
                    <a:pt x="112193" y="77298"/>
                  </a:moveTo>
                  <a:cubicBezTo>
                    <a:pt x="101432" y="107341"/>
                    <a:pt x="68341" y="122954"/>
                    <a:pt x="38297" y="112193"/>
                  </a:cubicBezTo>
                  <a:cubicBezTo>
                    <a:pt x="8254" y="101432"/>
                    <a:pt x="-7359" y="68341"/>
                    <a:pt x="3402" y="38297"/>
                  </a:cubicBezTo>
                  <a:cubicBezTo>
                    <a:pt x="14163" y="8254"/>
                    <a:pt x="47254" y="-7359"/>
                    <a:pt x="77298" y="3402"/>
                  </a:cubicBezTo>
                  <a:cubicBezTo>
                    <a:pt x="107341" y="14163"/>
                    <a:pt x="122954" y="47254"/>
                    <a:pt x="112193" y="77298"/>
                  </a:cubicBezTo>
                  <a:close/>
                </a:path>
              </a:pathLst>
            </a:custGeom>
            <a:solidFill>
              <a:schemeClr val="accent3"/>
            </a:solidFill>
            <a:ln w="6130" cap="flat">
              <a:noFill/>
              <a:prstDash val="solid"/>
              <a:miter/>
            </a:ln>
          </p:spPr>
          <p:txBody>
            <a:bodyPr rtlCol="0" anchor="ctr"/>
            <a:lstStyle/>
            <a:p>
              <a:pPr algn="l" rtl="0"/>
              <a:endParaRPr lang="en-US" dirty="0"/>
            </a:p>
          </p:txBody>
        </p:sp>
        <p:sp>
          <p:nvSpPr>
            <p:cNvPr id="563" name="Freeform: Shape 562">
              <a:extLst>
                <a:ext uri="{FF2B5EF4-FFF2-40B4-BE49-F238E27FC236}">
                  <a16:creationId xmlns:a16="http://schemas.microsoft.com/office/drawing/2014/main" id="{76F4282A-FF42-4584-A4CB-5A599DA9D321}"/>
                </a:ext>
              </a:extLst>
            </p:cNvPr>
            <p:cNvSpPr/>
            <p:nvPr/>
          </p:nvSpPr>
          <p:spPr>
            <a:xfrm>
              <a:off x="877159" y="4037262"/>
              <a:ext cx="113001" cy="79785"/>
            </a:xfrm>
            <a:custGeom>
              <a:avLst/>
              <a:gdLst>
                <a:gd name="connsiteX0" fmla="*/ 40163 w 113001"/>
                <a:gd name="connsiteY0" fmla="*/ 71283 h 79785"/>
                <a:gd name="connsiteX1" fmla="*/ 4460 w 113001"/>
                <a:gd name="connsiteY1" fmla="*/ 0 h 79785"/>
                <a:gd name="connsiteX2" fmla="*/ 3402 w 113001"/>
                <a:gd name="connsiteY2" fmla="*/ 2488 h 79785"/>
                <a:gd name="connsiteX3" fmla="*/ 38297 w 113001"/>
                <a:gd name="connsiteY3" fmla="*/ 76383 h 79785"/>
                <a:gd name="connsiteX4" fmla="*/ 112193 w 113001"/>
                <a:gd name="connsiteY4" fmla="*/ 41488 h 79785"/>
                <a:gd name="connsiteX5" fmla="*/ 113001 w 113001"/>
                <a:gd name="connsiteY5" fmla="*/ 38938 h 79785"/>
                <a:gd name="connsiteX6" fmla="*/ 40163 w 113001"/>
                <a:gd name="connsiteY6" fmla="*/ 71407 h 7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01" h="79785">
                  <a:moveTo>
                    <a:pt x="40163" y="71283"/>
                  </a:moveTo>
                  <a:cubicBezTo>
                    <a:pt x="10991" y="60833"/>
                    <a:pt x="-4560" y="29297"/>
                    <a:pt x="4460" y="0"/>
                  </a:cubicBezTo>
                  <a:cubicBezTo>
                    <a:pt x="4149" y="809"/>
                    <a:pt x="3713" y="1617"/>
                    <a:pt x="3402" y="2488"/>
                  </a:cubicBezTo>
                  <a:cubicBezTo>
                    <a:pt x="-7359" y="32531"/>
                    <a:pt x="8254" y="65623"/>
                    <a:pt x="38297" y="76383"/>
                  </a:cubicBezTo>
                  <a:cubicBezTo>
                    <a:pt x="68341" y="87144"/>
                    <a:pt x="101432" y="71532"/>
                    <a:pt x="112193" y="41488"/>
                  </a:cubicBezTo>
                  <a:cubicBezTo>
                    <a:pt x="112504" y="40618"/>
                    <a:pt x="112690" y="39747"/>
                    <a:pt x="113001" y="38938"/>
                  </a:cubicBezTo>
                  <a:cubicBezTo>
                    <a:pt x="101307" y="67302"/>
                    <a:pt x="69336" y="81857"/>
                    <a:pt x="40163" y="71407"/>
                  </a:cubicBezTo>
                  <a:close/>
                </a:path>
              </a:pathLst>
            </a:custGeom>
            <a:solidFill>
              <a:schemeClr val="accent2">
                <a:lumMod val="75000"/>
              </a:schemeClr>
            </a:solidFill>
            <a:ln w="6130" cap="flat">
              <a:noFill/>
              <a:prstDash val="solid"/>
              <a:miter/>
            </a:ln>
          </p:spPr>
          <p:txBody>
            <a:bodyPr rtlCol="0" anchor="ctr"/>
            <a:lstStyle/>
            <a:p>
              <a:pPr algn="l" rtl="0"/>
              <a:endParaRPr lang="en-US" dirty="0"/>
            </a:p>
          </p:txBody>
        </p:sp>
        <p:sp>
          <p:nvSpPr>
            <p:cNvPr id="564" name="Freeform: Shape 563">
              <a:extLst>
                <a:ext uri="{FF2B5EF4-FFF2-40B4-BE49-F238E27FC236}">
                  <a16:creationId xmlns:a16="http://schemas.microsoft.com/office/drawing/2014/main" id="{1A2E5F75-F587-4ACB-A55D-D5069B485CB4}"/>
                </a:ext>
              </a:extLst>
            </p:cNvPr>
            <p:cNvSpPr/>
            <p:nvPr/>
          </p:nvSpPr>
          <p:spPr>
            <a:xfrm>
              <a:off x="1128124" y="4007157"/>
              <a:ext cx="82914" cy="116934"/>
            </a:xfrm>
            <a:custGeom>
              <a:avLst/>
              <a:gdLst>
                <a:gd name="connsiteX0" fmla="*/ 82915 w 82914"/>
                <a:gd name="connsiteY0" fmla="*/ 16546 h 116934"/>
                <a:gd name="connsiteX1" fmla="*/ 36761 w 82914"/>
                <a:gd name="connsiteY1" fmla="*/ 0 h 116934"/>
                <a:gd name="connsiteX2" fmla="*/ 0 w 82914"/>
                <a:gd name="connsiteY2" fmla="*/ 102695 h 116934"/>
                <a:gd name="connsiteX3" fmla="*/ 38316 w 82914"/>
                <a:gd name="connsiteY3" fmla="*/ 116441 h 116934"/>
                <a:gd name="connsiteX4" fmla="*/ 48890 w 82914"/>
                <a:gd name="connsiteY4" fmla="*/ 111403 h 116934"/>
                <a:gd name="connsiteX5" fmla="*/ 82853 w 82914"/>
                <a:gd name="connsiteY5" fmla="*/ 16546 h 116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914" h="116934">
                  <a:moveTo>
                    <a:pt x="82915" y="16546"/>
                  </a:moveTo>
                  <a:lnTo>
                    <a:pt x="36761" y="0"/>
                  </a:lnTo>
                  <a:lnTo>
                    <a:pt x="0" y="102695"/>
                  </a:lnTo>
                  <a:lnTo>
                    <a:pt x="38316" y="116441"/>
                  </a:lnTo>
                  <a:cubicBezTo>
                    <a:pt x="42608" y="117996"/>
                    <a:pt x="47398" y="115757"/>
                    <a:pt x="48890" y="111403"/>
                  </a:cubicBezTo>
                  <a:lnTo>
                    <a:pt x="82853" y="16546"/>
                  </a:lnTo>
                  <a:close/>
                </a:path>
              </a:pathLst>
            </a:custGeom>
            <a:solidFill>
              <a:schemeClr val="accent2">
                <a:lumMod val="75000"/>
              </a:schemeClr>
            </a:solidFill>
            <a:ln w="6130" cap="flat">
              <a:noFill/>
              <a:prstDash val="solid"/>
              <a:miter/>
            </a:ln>
          </p:spPr>
          <p:txBody>
            <a:bodyPr rtlCol="0" anchor="ctr"/>
            <a:lstStyle/>
            <a:p>
              <a:pPr algn="l" rtl="0"/>
              <a:endParaRPr lang="en-US" dirty="0"/>
            </a:p>
          </p:txBody>
        </p:sp>
        <p:sp>
          <p:nvSpPr>
            <p:cNvPr id="565" name="Freeform: Shape 564">
              <a:extLst>
                <a:ext uri="{FF2B5EF4-FFF2-40B4-BE49-F238E27FC236}">
                  <a16:creationId xmlns:a16="http://schemas.microsoft.com/office/drawing/2014/main" id="{2CD53244-C899-4D36-8DD0-FAA8D579E092}"/>
                </a:ext>
              </a:extLst>
            </p:cNvPr>
            <p:cNvSpPr/>
            <p:nvPr/>
          </p:nvSpPr>
          <p:spPr>
            <a:xfrm>
              <a:off x="752323" y="3881074"/>
              <a:ext cx="409887" cy="242751"/>
            </a:xfrm>
            <a:custGeom>
              <a:avLst/>
              <a:gdLst>
                <a:gd name="connsiteX0" fmla="*/ 409887 w 409887"/>
                <a:gd name="connsiteY0" fmla="*/ 133609 h 242751"/>
                <a:gd name="connsiteX1" fmla="*/ 36740 w 409887"/>
                <a:gd name="connsiteY1" fmla="*/ 0 h 242751"/>
                <a:gd name="connsiteX2" fmla="*/ 787 w 409887"/>
                <a:gd name="connsiteY2" fmla="*/ 100331 h 242751"/>
                <a:gd name="connsiteX3" fmla="*/ 8811 w 409887"/>
                <a:gd name="connsiteY3" fmla="*/ 117312 h 242751"/>
                <a:gd name="connsiteX4" fmla="*/ 356954 w 409887"/>
                <a:gd name="connsiteY4" fmla="*/ 241964 h 242751"/>
                <a:gd name="connsiteX5" fmla="*/ 373935 w 409887"/>
                <a:gd name="connsiteY5" fmla="*/ 233940 h 242751"/>
                <a:gd name="connsiteX6" fmla="*/ 409887 w 409887"/>
                <a:gd name="connsiteY6" fmla="*/ 133609 h 24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887" h="242751">
                  <a:moveTo>
                    <a:pt x="409887" y="133609"/>
                  </a:moveTo>
                  <a:lnTo>
                    <a:pt x="36740" y="0"/>
                  </a:lnTo>
                  <a:lnTo>
                    <a:pt x="787" y="100331"/>
                  </a:lnTo>
                  <a:cubicBezTo>
                    <a:pt x="-1701" y="107235"/>
                    <a:pt x="1907" y="114824"/>
                    <a:pt x="8811" y="117312"/>
                  </a:cubicBezTo>
                  <a:lnTo>
                    <a:pt x="356954" y="241964"/>
                  </a:lnTo>
                  <a:cubicBezTo>
                    <a:pt x="363858" y="244452"/>
                    <a:pt x="371447" y="240844"/>
                    <a:pt x="373935" y="233940"/>
                  </a:cubicBezTo>
                  <a:lnTo>
                    <a:pt x="409887" y="133609"/>
                  </a:lnTo>
                  <a:close/>
                </a:path>
              </a:pathLst>
            </a:custGeom>
            <a:solidFill>
              <a:schemeClr val="accent3"/>
            </a:solidFill>
            <a:ln w="6130" cap="flat">
              <a:noFill/>
              <a:prstDash val="solid"/>
              <a:miter/>
            </a:ln>
          </p:spPr>
          <p:txBody>
            <a:bodyPr rtlCol="0" anchor="ctr"/>
            <a:lstStyle/>
            <a:p>
              <a:pPr algn="l" rtl="0"/>
              <a:endParaRPr lang="en-US" dirty="0"/>
            </a:p>
          </p:txBody>
        </p:sp>
        <p:sp>
          <p:nvSpPr>
            <p:cNvPr id="566" name="Freeform: Shape 565">
              <a:extLst>
                <a:ext uri="{FF2B5EF4-FFF2-40B4-BE49-F238E27FC236}">
                  <a16:creationId xmlns:a16="http://schemas.microsoft.com/office/drawing/2014/main" id="{BAD8C4A0-B123-4FD0-94BA-D217A7F317EE}"/>
                </a:ext>
              </a:extLst>
            </p:cNvPr>
            <p:cNvSpPr/>
            <p:nvPr/>
          </p:nvSpPr>
          <p:spPr>
            <a:xfrm>
              <a:off x="752403" y="3983271"/>
              <a:ext cx="373108" cy="140599"/>
            </a:xfrm>
            <a:custGeom>
              <a:avLst/>
              <a:gdLst>
                <a:gd name="connsiteX0" fmla="*/ 362223 w 373108"/>
                <a:gd name="connsiteY0" fmla="*/ 134293 h 140599"/>
                <a:gd name="connsiteX1" fmla="*/ 8110 w 373108"/>
                <a:gd name="connsiteY1" fmla="*/ 7526 h 140599"/>
                <a:gd name="connsiteX2" fmla="*/ 272 w 373108"/>
                <a:gd name="connsiteY2" fmla="*/ 0 h 140599"/>
                <a:gd name="connsiteX3" fmla="*/ 8794 w 373108"/>
                <a:gd name="connsiteY3" fmla="*/ 15177 h 140599"/>
                <a:gd name="connsiteX4" fmla="*/ 356936 w 373108"/>
                <a:gd name="connsiteY4" fmla="*/ 139829 h 140599"/>
                <a:gd name="connsiteX5" fmla="*/ 373109 w 373108"/>
                <a:gd name="connsiteY5" fmla="*/ 133485 h 140599"/>
                <a:gd name="connsiteX6" fmla="*/ 362286 w 373108"/>
                <a:gd name="connsiteY6" fmla="*/ 134355 h 14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108" h="140599">
                  <a:moveTo>
                    <a:pt x="362223" y="134293"/>
                  </a:moveTo>
                  <a:lnTo>
                    <a:pt x="8110" y="7526"/>
                  </a:lnTo>
                  <a:cubicBezTo>
                    <a:pt x="4378" y="6220"/>
                    <a:pt x="1703" y="3359"/>
                    <a:pt x="272" y="0"/>
                  </a:cubicBezTo>
                  <a:cubicBezTo>
                    <a:pt x="-1034" y="6345"/>
                    <a:pt x="2449" y="12876"/>
                    <a:pt x="8794" y="15177"/>
                  </a:cubicBezTo>
                  <a:lnTo>
                    <a:pt x="356936" y="139829"/>
                  </a:lnTo>
                  <a:cubicBezTo>
                    <a:pt x="363219" y="142068"/>
                    <a:pt x="370061" y="139269"/>
                    <a:pt x="373109" y="133485"/>
                  </a:cubicBezTo>
                  <a:cubicBezTo>
                    <a:pt x="369874" y="135226"/>
                    <a:pt x="366018" y="135662"/>
                    <a:pt x="362286" y="134355"/>
                  </a:cubicBezTo>
                  <a:close/>
                </a:path>
              </a:pathLst>
            </a:custGeom>
            <a:solidFill>
              <a:schemeClr val="accent2">
                <a:lumMod val="75000"/>
              </a:schemeClr>
            </a:solidFill>
            <a:ln w="6130" cap="flat">
              <a:noFill/>
              <a:prstDash val="solid"/>
              <a:miter/>
            </a:ln>
          </p:spPr>
          <p:txBody>
            <a:bodyPr rtlCol="0" anchor="ctr"/>
            <a:lstStyle/>
            <a:p>
              <a:pPr algn="l" rtl="0"/>
              <a:endParaRPr lang="en-US" dirty="0"/>
            </a:p>
          </p:txBody>
        </p:sp>
        <p:sp>
          <p:nvSpPr>
            <p:cNvPr id="567" name="Freeform: Shape 566">
              <a:extLst>
                <a:ext uri="{FF2B5EF4-FFF2-40B4-BE49-F238E27FC236}">
                  <a16:creationId xmlns:a16="http://schemas.microsoft.com/office/drawing/2014/main" id="{47014678-F84A-44DC-B20A-84D4A1D3AEAD}"/>
                </a:ext>
              </a:extLst>
            </p:cNvPr>
            <p:cNvSpPr/>
            <p:nvPr/>
          </p:nvSpPr>
          <p:spPr>
            <a:xfrm>
              <a:off x="766653" y="3829438"/>
              <a:ext cx="489373" cy="219418"/>
            </a:xfrm>
            <a:custGeom>
              <a:avLst/>
              <a:gdLst>
                <a:gd name="connsiteX0" fmla="*/ 8042 w 489373"/>
                <a:gd name="connsiteY0" fmla="*/ 113900 h 219418"/>
                <a:gd name="connsiteX1" fmla="*/ 702 w 489373"/>
                <a:gd name="connsiteY1" fmla="*/ 98349 h 219418"/>
                <a:gd name="connsiteX2" fmla="*/ 32363 w 489373"/>
                <a:gd name="connsiteY2" fmla="*/ 10023 h 219418"/>
                <a:gd name="connsiteX3" fmla="*/ 51645 w 489373"/>
                <a:gd name="connsiteY3" fmla="*/ 880 h 219418"/>
                <a:gd name="connsiteX4" fmla="*/ 487865 w 489373"/>
                <a:gd name="connsiteY4" fmla="*/ 157130 h 219418"/>
                <a:gd name="connsiteX5" fmla="*/ 489295 w 489373"/>
                <a:gd name="connsiteY5" fmla="*/ 158747 h 219418"/>
                <a:gd name="connsiteX6" fmla="*/ 488798 w 489373"/>
                <a:gd name="connsiteY6" fmla="*/ 160862 h 219418"/>
                <a:gd name="connsiteX7" fmla="*/ 474243 w 489373"/>
                <a:gd name="connsiteY7" fmla="*/ 176910 h 219418"/>
                <a:gd name="connsiteX8" fmla="*/ 408993 w 489373"/>
                <a:gd name="connsiteY8" fmla="*/ 197188 h 219418"/>
                <a:gd name="connsiteX9" fmla="*/ 392012 w 489373"/>
                <a:gd name="connsiteY9" fmla="*/ 193144 h 219418"/>
                <a:gd name="connsiteX10" fmla="*/ 318179 w 489373"/>
                <a:gd name="connsiteY10" fmla="*/ 214231 h 219418"/>
                <a:gd name="connsiteX11" fmla="*/ 299767 w 489373"/>
                <a:gd name="connsiteY11" fmla="*/ 218398 h 219418"/>
                <a:gd name="connsiteX12" fmla="*/ 299767 w 489373"/>
                <a:gd name="connsiteY12" fmla="*/ 218398 h 219418"/>
                <a:gd name="connsiteX13" fmla="*/ 8042 w 489373"/>
                <a:gd name="connsiteY13" fmla="*/ 113900 h 21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9373" h="219418">
                  <a:moveTo>
                    <a:pt x="8042" y="113900"/>
                  </a:moveTo>
                  <a:cubicBezTo>
                    <a:pt x="1759" y="111660"/>
                    <a:pt x="-1537" y="104694"/>
                    <a:pt x="702" y="98349"/>
                  </a:cubicBezTo>
                  <a:lnTo>
                    <a:pt x="32363" y="10023"/>
                  </a:lnTo>
                  <a:cubicBezTo>
                    <a:pt x="35162" y="2186"/>
                    <a:pt x="43808" y="-1920"/>
                    <a:pt x="51645" y="880"/>
                  </a:cubicBezTo>
                  <a:lnTo>
                    <a:pt x="487865" y="157130"/>
                  </a:lnTo>
                  <a:cubicBezTo>
                    <a:pt x="488860" y="157503"/>
                    <a:pt x="489171" y="158312"/>
                    <a:pt x="489295" y="158747"/>
                  </a:cubicBezTo>
                  <a:cubicBezTo>
                    <a:pt x="489420" y="159182"/>
                    <a:pt x="489482" y="160053"/>
                    <a:pt x="488798" y="160862"/>
                  </a:cubicBezTo>
                  <a:lnTo>
                    <a:pt x="474243" y="176910"/>
                  </a:lnTo>
                  <a:cubicBezTo>
                    <a:pt x="457821" y="195073"/>
                    <a:pt x="432816" y="202848"/>
                    <a:pt x="408993" y="197188"/>
                  </a:cubicBezTo>
                  <a:lnTo>
                    <a:pt x="392012" y="193144"/>
                  </a:lnTo>
                  <a:cubicBezTo>
                    <a:pt x="365639" y="186924"/>
                    <a:pt x="337337" y="194948"/>
                    <a:pt x="318179" y="214231"/>
                  </a:cubicBezTo>
                  <a:cubicBezTo>
                    <a:pt x="313389" y="219020"/>
                    <a:pt x="306174" y="220700"/>
                    <a:pt x="299767" y="218398"/>
                  </a:cubicBezTo>
                  <a:lnTo>
                    <a:pt x="299767" y="218398"/>
                  </a:lnTo>
                  <a:lnTo>
                    <a:pt x="8042" y="113900"/>
                  </a:lnTo>
                  <a:close/>
                </a:path>
              </a:pathLst>
            </a:custGeom>
            <a:solidFill>
              <a:schemeClr val="accent3"/>
            </a:solidFill>
            <a:ln w="6130" cap="flat">
              <a:noFill/>
              <a:prstDash val="solid"/>
              <a:miter/>
            </a:ln>
          </p:spPr>
          <p:txBody>
            <a:bodyPr rtlCol="0" anchor="ctr"/>
            <a:lstStyle/>
            <a:p>
              <a:pPr algn="l" rtl="0"/>
              <a:endParaRPr lang="en-US" dirty="0"/>
            </a:p>
          </p:txBody>
        </p:sp>
        <p:grpSp>
          <p:nvGrpSpPr>
            <p:cNvPr id="568" name="Graphic 509">
              <a:extLst>
                <a:ext uri="{FF2B5EF4-FFF2-40B4-BE49-F238E27FC236}">
                  <a16:creationId xmlns:a16="http://schemas.microsoft.com/office/drawing/2014/main" id="{AE78FEE7-1B6B-4112-BAED-402517B12A58}"/>
                </a:ext>
              </a:extLst>
            </p:cNvPr>
            <p:cNvGrpSpPr/>
            <p:nvPr/>
          </p:nvGrpSpPr>
          <p:grpSpPr>
            <a:xfrm>
              <a:off x="789992" y="3854044"/>
              <a:ext cx="445978" cy="166323"/>
              <a:chOff x="789992" y="3854044"/>
              <a:chExt cx="445978" cy="166323"/>
            </a:xfrm>
          </p:grpSpPr>
          <p:sp>
            <p:nvSpPr>
              <p:cNvPr id="618" name="Freeform: Shape 617">
                <a:extLst>
                  <a:ext uri="{FF2B5EF4-FFF2-40B4-BE49-F238E27FC236}">
                    <a16:creationId xmlns:a16="http://schemas.microsoft.com/office/drawing/2014/main" id="{5057305A-1FFC-4F3B-9D22-15231DA97E9A}"/>
                  </a:ext>
                </a:extLst>
              </p:cNvPr>
              <p:cNvSpPr/>
              <p:nvPr/>
            </p:nvSpPr>
            <p:spPr>
              <a:xfrm rot="-4218001">
                <a:off x="1011643" y="3699898"/>
                <a:ext cx="4043" cy="470803"/>
              </a:xfrm>
              <a:custGeom>
                <a:avLst/>
                <a:gdLst>
                  <a:gd name="connsiteX0" fmla="*/ 0 w 4043"/>
                  <a:gd name="connsiteY0" fmla="*/ 0 h 470803"/>
                  <a:gd name="connsiteX1" fmla="*/ 4043 w 4043"/>
                  <a:gd name="connsiteY1" fmla="*/ 0 h 470803"/>
                  <a:gd name="connsiteX2" fmla="*/ 4043 w 4043"/>
                  <a:gd name="connsiteY2" fmla="*/ 470804 h 470803"/>
                  <a:gd name="connsiteX3" fmla="*/ 0 w 4043"/>
                  <a:gd name="connsiteY3" fmla="*/ 470804 h 470803"/>
                </a:gdLst>
                <a:ahLst/>
                <a:cxnLst>
                  <a:cxn ang="0">
                    <a:pos x="connsiteX0" y="connsiteY0"/>
                  </a:cxn>
                  <a:cxn ang="0">
                    <a:pos x="connsiteX1" y="connsiteY1"/>
                  </a:cxn>
                  <a:cxn ang="0">
                    <a:pos x="connsiteX2" y="connsiteY2"/>
                  </a:cxn>
                  <a:cxn ang="0">
                    <a:pos x="connsiteX3" y="connsiteY3"/>
                  </a:cxn>
                </a:cxnLst>
                <a:rect l="l" t="t" r="r" b="b"/>
                <a:pathLst>
                  <a:path w="4043" h="470803">
                    <a:moveTo>
                      <a:pt x="0" y="0"/>
                    </a:moveTo>
                    <a:lnTo>
                      <a:pt x="4043" y="0"/>
                    </a:lnTo>
                    <a:lnTo>
                      <a:pt x="4043" y="470804"/>
                    </a:lnTo>
                    <a:lnTo>
                      <a:pt x="0" y="470804"/>
                    </a:lnTo>
                    <a:close/>
                  </a:path>
                </a:pathLst>
              </a:custGeom>
              <a:solidFill>
                <a:srgbClr val="FAFAFA"/>
              </a:solidFill>
              <a:ln w="6130" cap="flat">
                <a:noFill/>
                <a:prstDash val="solid"/>
                <a:miter/>
              </a:ln>
            </p:spPr>
            <p:txBody>
              <a:bodyPr rtlCol="0" anchor="ctr"/>
              <a:lstStyle/>
              <a:p>
                <a:pPr algn="l" rtl="0"/>
                <a:endParaRPr lang="en-US" dirty="0"/>
              </a:p>
            </p:txBody>
          </p:sp>
          <p:sp>
            <p:nvSpPr>
              <p:cNvPr id="619" name="Freeform: Shape 618">
                <a:extLst>
                  <a:ext uri="{FF2B5EF4-FFF2-40B4-BE49-F238E27FC236}">
                    <a16:creationId xmlns:a16="http://schemas.microsoft.com/office/drawing/2014/main" id="{0F6FBB0E-4C64-4482-AF97-CA2F10A206CC}"/>
                  </a:ext>
                </a:extLst>
              </p:cNvPr>
              <p:cNvSpPr/>
              <p:nvPr/>
            </p:nvSpPr>
            <p:spPr>
              <a:xfrm rot="-4218001">
                <a:off x="1010276" y="3703709"/>
                <a:ext cx="4043" cy="470803"/>
              </a:xfrm>
              <a:custGeom>
                <a:avLst/>
                <a:gdLst>
                  <a:gd name="connsiteX0" fmla="*/ 0 w 4043"/>
                  <a:gd name="connsiteY0" fmla="*/ 0 h 470803"/>
                  <a:gd name="connsiteX1" fmla="*/ 4043 w 4043"/>
                  <a:gd name="connsiteY1" fmla="*/ 0 h 470803"/>
                  <a:gd name="connsiteX2" fmla="*/ 4043 w 4043"/>
                  <a:gd name="connsiteY2" fmla="*/ 470804 h 470803"/>
                  <a:gd name="connsiteX3" fmla="*/ 0 w 4043"/>
                  <a:gd name="connsiteY3" fmla="*/ 470804 h 470803"/>
                </a:gdLst>
                <a:ahLst/>
                <a:cxnLst>
                  <a:cxn ang="0">
                    <a:pos x="connsiteX0" y="connsiteY0"/>
                  </a:cxn>
                  <a:cxn ang="0">
                    <a:pos x="connsiteX1" y="connsiteY1"/>
                  </a:cxn>
                  <a:cxn ang="0">
                    <a:pos x="connsiteX2" y="connsiteY2"/>
                  </a:cxn>
                  <a:cxn ang="0">
                    <a:pos x="connsiteX3" y="connsiteY3"/>
                  </a:cxn>
                </a:cxnLst>
                <a:rect l="l" t="t" r="r" b="b"/>
                <a:pathLst>
                  <a:path w="4043" h="470803">
                    <a:moveTo>
                      <a:pt x="0" y="0"/>
                    </a:moveTo>
                    <a:lnTo>
                      <a:pt x="4043" y="0"/>
                    </a:lnTo>
                    <a:lnTo>
                      <a:pt x="4043" y="470804"/>
                    </a:lnTo>
                    <a:lnTo>
                      <a:pt x="0" y="470804"/>
                    </a:lnTo>
                    <a:close/>
                  </a:path>
                </a:pathLst>
              </a:custGeom>
              <a:solidFill>
                <a:srgbClr val="B0B0B0"/>
              </a:solidFill>
              <a:ln w="6130" cap="flat">
                <a:noFill/>
                <a:prstDash val="solid"/>
                <a:miter/>
              </a:ln>
            </p:spPr>
            <p:txBody>
              <a:bodyPr rtlCol="0" anchor="ctr"/>
              <a:lstStyle/>
              <a:p>
                <a:pPr algn="l" rtl="0"/>
                <a:endParaRPr lang="en-US" dirty="0"/>
              </a:p>
            </p:txBody>
          </p:sp>
        </p:grpSp>
        <p:grpSp>
          <p:nvGrpSpPr>
            <p:cNvPr id="569" name="Graphic 509">
              <a:extLst>
                <a:ext uri="{FF2B5EF4-FFF2-40B4-BE49-F238E27FC236}">
                  <a16:creationId xmlns:a16="http://schemas.microsoft.com/office/drawing/2014/main" id="{54ECB226-391B-48B1-9597-D876BF008B92}"/>
                </a:ext>
              </a:extLst>
            </p:cNvPr>
            <p:cNvGrpSpPr/>
            <p:nvPr/>
          </p:nvGrpSpPr>
          <p:grpSpPr>
            <a:xfrm>
              <a:off x="760926" y="3823750"/>
              <a:ext cx="500748" cy="230795"/>
              <a:chOff x="760926" y="3823750"/>
              <a:chExt cx="500748" cy="230795"/>
            </a:xfrm>
          </p:grpSpPr>
          <p:sp>
            <p:nvSpPr>
              <p:cNvPr id="616" name="Freeform: Shape 615">
                <a:extLst>
                  <a:ext uri="{FF2B5EF4-FFF2-40B4-BE49-F238E27FC236}">
                    <a16:creationId xmlns:a16="http://schemas.microsoft.com/office/drawing/2014/main" id="{B3A6097F-6699-4644-9307-458B19889B41}"/>
                  </a:ext>
                </a:extLst>
              </p:cNvPr>
              <p:cNvSpPr/>
              <p:nvPr/>
            </p:nvSpPr>
            <p:spPr>
              <a:xfrm>
                <a:off x="762379" y="3936309"/>
                <a:ext cx="499296" cy="118235"/>
              </a:xfrm>
              <a:custGeom>
                <a:avLst/>
                <a:gdLst>
                  <a:gd name="connsiteX0" fmla="*/ 493570 w 499296"/>
                  <a:gd name="connsiteY0" fmla="*/ 51814 h 118235"/>
                  <a:gd name="connsiteX1" fmla="*/ 493570 w 499296"/>
                  <a:gd name="connsiteY1" fmla="*/ 51814 h 118235"/>
                  <a:gd name="connsiteX2" fmla="*/ 493072 w 499296"/>
                  <a:gd name="connsiteY2" fmla="*/ 53929 h 118235"/>
                  <a:gd name="connsiteX3" fmla="*/ 478517 w 499296"/>
                  <a:gd name="connsiteY3" fmla="*/ 69977 h 118235"/>
                  <a:gd name="connsiteX4" fmla="*/ 413267 w 499296"/>
                  <a:gd name="connsiteY4" fmla="*/ 90254 h 118235"/>
                  <a:gd name="connsiteX5" fmla="*/ 396286 w 499296"/>
                  <a:gd name="connsiteY5" fmla="*/ 86211 h 118235"/>
                  <a:gd name="connsiteX6" fmla="*/ 322453 w 499296"/>
                  <a:gd name="connsiteY6" fmla="*/ 107298 h 118235"/>
                  <a:gd name="connsiteX7" fmla="*/ 304041 w 499296"/>
                  <a:gd name="connsiteY7" fmla="*/ 111465 h 118235"/>
                  <a:gd name="connsiteX8" fmla="*/ 12316 w 499296"/>
                  <a:gd name="connsiteY8" fmla="*/ 7029 h 118235"/>
                  <a:gd name="connsiteX9" fmla="*/ 5163 w 499296"/>
                  <a:gd name="connsiteY9" fmla="*/ 0 h 118235"/>
                  <a:gd name="connsiteX10" fmla="*/ 0 w 499296"/>
                  <a:gd name="connsiteY10" fmla="*/ 2426 h 118235"/>
                  <a:gd name="connsiteX11" fmla="*/ 10388 w 499296"/>
                  <a:gd name="connsiteY11" fmla="*/ 12378 h 118235"/>
                  <a:gd name="connsiteX12" fmla="*/ 302113 w 499296"/>
                  <a:gd name="connsiteY12" fmla="*/ 116877 h 118235"/>
                  <a:gd name="connsiteX13" fmla="*/ 326496 w 499296"/>
                  <a:gd name="connsiteY13" fmla="*/ 111341 h 118235"/>
                  <a:gd name="connsiteX14" fmla="*/ 394918 w 499296"/>
                  <a:gd name="connsiteY14" fmla="*/ 91809 h 118235"/>
                  <a:gd name="connsiteX15" fmla="*/ 411899 w 499296"/>
                  <a:gd name="connsiteY15" fmla="*/ 95790 h 118235"/>
                  <a:gd name="connsiteX16" fmla="*/ 482684 w 499296"/>
                  <a:gd name="connsiteY16" fmla="*/ 73771 h 118235"/>
                  <a:gd name="connsiteX17" fmla="*/ 497239 w 499296"/>
                  <a:gd name="connsiteY17" fmla="*/ 57723 h 118235"/>
                  <a:gd name="connsiteX18" fmla="*/ 499043 w 499296"/>
                  <a:gd name="connsiteY18" fmla="*/ 50321 h 118235"/>
                  <a:gd name="connsiteX19" fmla="*/ 493507 w 499296"/>
                  <a:gd name="connsiteY19" fmla="*/ 51752 h 118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296" h="118235">
                    <a:moveTo>
                      <a:pt x="493570" y="51814"/>
                    </a:moveTo>
                    <a:cubicBezTo>
                      <a:pt x="493570" y="51814"/>
                      <a:pt x="493570" y="51814"/>
                      <a:pt x="493570" y="51814"/>
                    </a:cubicBezTo>
                    <a:cubicBezTo>
                      <a:pt x="493694" y="52249"/>
                      <a:pt x="493756" y="53120"/>
                      <a:pt x="493072" y="53929"/>
                    </a:cubicBezTo>
                    <a:lnTo>
                      <a:pt x="478517" y="69977"/>
                    </a:lnTo>
                    <a:cubicBezTo>
                      <a:pt x="462096" y="88140"/>
                      <a:pt x="437091" y="95915"/>
                      <a:pt x="413267" y="90254"/>
                    </a:cubicBezTo>
                    <a:lnTo>
                      <a:pt x="396286" y="86211"/>
                    </a:lnTo>
                    <a:cubicBezTo>
                      <a:pt x="369913" y="79991"/>
                      <a:pt x="341611" y="88015"/>
                      <a:pt x="322453" y="107298"/>
                    </a:cubicBezTo>
                    <a:cubicBezTo>
                      <a:pt x="317663" y="112087"/>
                      <a:pt x="310448" y="113767"/>
                      <a:pt x="304041" y="111465"/>
                    </a:cubicBezTo>
                    <a:lnTo>
                      <a:pt x="12316" y="7029"/>
                    </a:lnTo>
                    <a:cubicBezTo>
                      <a:pt x="8895" y="5785"/>
                      <a:pt x="6407" y="3172"/>
                      <a:pt x="5163" y="0"/>
                    </a:cubicBezTo>
                    <a:lnTo>
                      <a:pt x="0" y="2426"/>
                    </a:lnTo>
                    <a:cubicBezTo>
                      <a:pt x="1866" y="6904"/>
                      <a:pt x="5474" y="10636"/>
                      <a:pt x="10388" y="12378"/>
                    </a:cubicBezTo>
                    <a:lnTo>
                      <a:pt x="302113" y="116877"/>
                    </a:lnTo>
                    <a:cubicBezTo>
                      <a:pt x="310635" y="119925"/>
                      <a:pt x="320152" y="117748"/>
                      <a:pt x="326496" y="111341"/>
                    </a:cubicBezTo>
                    <a:cubicBezTo>
                      <a:pt x="344348" y="93365"/>
                      <a:pt x="370286" y="85963"/>
                      <a:pt x="394918" y="91809"/>
                    </a:cubicBezTo>
                    <a:lnTo>
                      <a:pt x="411899" y="95790"/>
                    </a:lnTo>
                    <a:cubicBezTo>
                      <a:pt x="437775" y="101886"/>
                      <a:pt x="464895" y="93489"/>
                      <a:pt x="482684" y="73771"/>
                    </a:cubicBezTo>
                    <a:lnTo>
                      <a:pt x="497239" y="57723"/>
                    </a:lnTo>
                    <a:cubicBezTo>
                      <a:pt x="499168" y="55608"/>
                      <a:pt x="499665" y="52809"/>
                      <a:pt x="499043" y="50321"/>
                    </a:cubicBezTo>
                    <a:lnTo>
                      <a:pt x="493507" y="51752"/>
                    </a:lnTo>
                    <a:close/>
                  </a:path>
                </a:pathLst>
              </a:custGeom>
              <a:solidFill>
                <a:srgbClr val="B0B0B0"/>
              </a:solidFill>
              <a:ln w="6130" cap="flat">
                <a:noFill/>
                <a:prstDash val="solid"/>
                <a:miter/>
              </a:ln>
            </p:spPr>
            <p:txBody>
              <a:bodyPr rtlCol="0" anchor="ctr"/>
              <a:lstStyle/>
              <a:p>
                <a:pPr algn="l" rtl="0"/>
                <a:endParaRPr lang="en-US" dirty="0"/>
              </a:p>
            </p:txBody>
          </p:sp>
          <p:sp>
            <p:nvSpPr>
              <p:cNvPr id="617" name="Freeform: Shape 616">
                <a:extLst>
                  <a:ext uri="{FF2B5EF4-FFF2-40B4-BE49-F238E27FC236}">
                    <a16:creationId xmlns:a16="http://schemas.microsoft.com/office/drawing/2014/main" id="{AF887488-C58E-44BF-9A5E-E287F1466F4C}"/>
                  </a:ext>
                </a:extLst>
              </p:cNvPr>
              <p:cNvSpPr/>
              <p:nvPr/>
            </p:nvSpPr>
            <p:spPr>
              <a:xfrm>
                <a:off x="760926" y="3823750"/>
                <a:ext cx="500557" cy="164373"/>
              </a:xfrm>
              <a:custGeom>
                <a:avLst/>
                <a:gdLst>
                  <a:gd name="connsiteX0" fmla="*/ 6428 w 500557"/>
                  <a:gd name="connsiteY0" fmla="*/ 104038 h 164373"/>
                  <a:gd name="connsiteX1" fmla="*/ 38089 w 500557"/>
                  <a:gd name="connsiteY1" fmla="*/ 15711 h 164373"/>
                  <a:gd name="connsiteX2" fmla="*/ 57371 w 500557"/>
                  <a:gd name="connsiteY2" fmla="*/ 6568 h 164373"/>
                  <a:gd name="connsiteX3" fmla="*/ 493591 w 500557"/>
                  <a:gd name="connsiteY3" fmla="*/ 162818 h 164373"/>
                  <a:gd name="connsiteX4" fmla="*/ 495022 w 500557"/>
                  <a:gd name="connsiteY4" fmla="*/ 164373 h 164373"/>
                  <a:gd name="connsiteX5" fmla="*/ 500558 w 500557"/>
                  <a:gd name="connsiteY5" fmla="*/ 162942 h 164373"/>
                  <a:gd name="connsiteX6" fmla="*/ 495519 w 500557"/>
                  <a:gd name="connsiteY6" fmla="*/ 157469 h 164373"/>
                  <a:gd name="connsiteX7" fmla="*/ 59300 w 500557"/>
                  <a:gd name="connsiteY7" fmla="*/ 1218 h 164373"/>
                  <a:gd name="connsiteX8" fmla="*/ 32677 w 500557"/>
                  <a:gd name="connsiteY8" fmla="*/ 13783 h 164373"/>
                  <a:gd name="connsiteX9" fmla="*/ 1017 w 500557"/>
                  <a:gd name="connsiteY9" fmla="*/ 102109 h 164373"/>
                  <a:gd name="connsiteX10" fmla="*/ 1390 w 500557"/>
                  <a:gd name="connsiteY10" fmla="*/ 114985 h 164373"/>
                  <a:gd name="connsiteX11" fmla="*/ 6553 w 500557"/>
                  <a:gd name="connsiteY11" fmla="*/ 112559 h 164373"/>
                  <a:gd name="connsiteX12" fmla="*/ 6366 w 500557"/>
                  <a:gd name="connsiteY12" fmla="*/ 104038 h 16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557" h="164373">
                    <a:moveTo>
                      <a:pt x="6428" y="104038"/>
                    </a:moveTo>
                    <a:lnTo>
                      <a:pt x="38089" y="15711"/>
                    </a:lnTo>
                    <a:cubicBezTo>
                      <a:pt x="40888" y="7874"/>
                      <a:pt x="49534" y="3769"/>
                      <a:pt x="57371" y="6568"/>
                    </a:cubicBezTo>
                    <a:lnTo>
                      <a:pt x="493591" y="162818"/>
                    </a:lnTo>
                    <a:cubicBezTo>
                      <a:pt x="494586" y="163191"/>
                      <a:pt x="494897" y="163938"/>
                      <a:pt x="495022" y="164373"/>
                    </a:cubicBezTo>
                    <a:lnTo>
                      <a:pt x="500558" y="162942"/>
                    </a:lnTo>
                    <a:cubicBezTo>
                      <a:pt x="499936" y="160517"/>
                      <a:pt x="498194" y="158402"/>
                      <a:pt x="495519" y="157469"/>
                    </a:cubicBezTo>
                    <a:lnTo>
                      <a:pt x="59300" y="1218"/>
                    </a:lnTo>
                    <a:cubicBezTo>
                      <a:pt x="48477" y="-2638"/>
                      <a:pt x="36596" y="2960"/>
                      <a:pt x="32677" y="13783"/>
                    </a:cubicBezTo>
                    <a:lnTo>
                      <a:pt x="1017" y="102109"/>
                    </a:lnTo>
                    <a:cubicBezTo>
                      <a:pt x="-538" y="106463"/>
                      <a:pt x="-227" y="111066"/>
                      <a:pt x="1390" y="114985"/>
                    </a:cubicBezTo>
                    <a:lnTo>
                      <a:pt x="6553" y="112559"/>
                    </a:lnTo>
                    <a:cubicBezTo>
                      <a:pt x="5495" y="109884"/>
                      <a:pt x="5309" y="106899"/>
                      <a:pt x="6366" y="104038"/>
                    </a:cubicBezTo>
                    <a:close/>
                  </a:path>
                </a:pathLst>
              </a:custGeom>
              <a:solidFill>
                <a:srgbClr val="FAFAFA"/>
              </a:solidFill>
              <a:ln w="6130" cap="flat">
                <a:noFill/>
                <a:prstDash val="solid"/>
                <a:miter/>
              </a:ln>
            </p:spPr>
            <p:txBody>
              <a:bodyPr rtlCol="0" anchor="ctr"/>
              <a:lstStyle/>
              <a:p>
                <a:pPr algn="l" rtl="0"/>
                <a:endParaRPr lang="en-US" dirty="0"/>
              </a:p>
            </p:txBody>
          </p:sp>
        </p:grpSp>
        <p:sp>
          <p:nvSpPr>
            <p:cNvPr id="570" name="Freeform: Shape 569">
              <a:extLst>
                <a:ext uri="{FF2B5EF4-FFF2-40B4-BE49-F238E27FC236}">
                  <a16:creationId xmlns:a16="http://schemas.microsoft.com/office/drawing/2014/main" id="{1A7D8F31-4ADB-4D98-AD92-A779F42590F6}"/>
                </a:ext>
              </a:extLst>
            </p:cNvPr>
            <p:cNvSpPr/>
            <p:nvPr/>
          </p:nvSpPr>
          <p:spPr>
            <a:xfrm rot="17381999">
              <a:off x="847209" y="3871102"/>
              <a:ext cx="11382" cy="83972"/>
            </a:xfrm>
            <a:custGeom>
              <a:avLst/>
              <a:gdLst>
                <a:gd name="connsiteX0" fmla="*/ 0 w 11382"/>
                <a:gd name="connsiteY0" fmla="*/ 0 h 83972"/>
                <a:gd name="connsiteX1" fmla="*/ 11383 w 11382"/>
                <a:gd name="connsiteY1" fmla="*/ 0 h 83972"/>
                <a:gd name="connsiteX2" fmla="*/ 11383 w 11382"/>
                <a:gd name="connsiteY2" fmla="*/ 83972 h 83972"/>
                <a:gd name="connsiteX3" fmla="*/ 0 w 11382"/>
                <a:gd name="connsiteY3" fmla="*/ 83972 h 83972"/>
              </a:gdLst>
              <a:ahLst/>
              <a:cxnLst>
                <a:cxn ang="0">
                  <a:pos x="connsiteX0" y="connsiteY0"/>
                </a:cxn>
                <a:cxn ang="0">
                  <a:pos x="connsiteX1" y="connsiteY1"/>
                </a:cxn>
                <a:cxn ang="0">
                  <a:pos x="connsiteX2" y="connsiteY2"/>
                </a:cxn>
                <a:cxn ang="0">
                  <a:pos x="connsiteX3" y="connsiteY3"/>
                </a:cxn>
              </a:cxnLst>
              <a:rect l="l" t="t" r="r" b="b"/>
              <a:pathLst>
                <a:path w="11382" h="83972">
                  <a:moveTo>
                    <a:pt x="0" y="0"/>
                  </a:moveTo>
                  <a:lnTo>
                    <a:pt x="11383" y="0"/>
                  </a:lnTo>
                  <a:lnTo>
                    <a:pt x="11383" y="83972"/>
                  </a:lnTo>
                  <a:lnTo>
                    <a:pt x="0" y="83972"/>
                  </a:lnTo>
                  <a:close/>
                </a:path>
              </a:pathLst>
            </a:custGeom>
            <a:solidFill>
              <a:schemeClr val="accent2"/>
            </a:solidFill>
            <a:ln w="6130" cap="flat">
              <a:noFill/>
              <a:prstDash val="solid"/>
              <a:miter/>
            </a:ln>
          </p:spPr>
          <p:txBody>
            <a:bodyPr rtlCol="0" anchor="ctr"/>
            <a:lstStyle/>
            <a:p>
              <a:pPr algn="l" rtl="0"/>
              <a:endParaRPr lang="en-US" dirty="0"/>
            </a:p>
          </p:txBody>
        </p:sp>
        <p:sp>
          <p:nvSpPr>
            <p:cNvPr id="571" name="Freeform: Shape 570">
              <a:extLst>
                <a:ext uri="{FF2B5EF4-FFF2-40B4-BE49-F238E27FC236}">
                  <a16:creationId xmlns:a16="http://schemas.microsoft.com/office/drawing/2014/main" id="{B9988F0F-5C71-476D-BA82-B0C8791BBB5B}"/>
                </a:ext>
              </a:extLst>
            </p:cNvPr>
            <p:cNvSpPr/>
            <p:nvPr/>
          </p:nvSpPr>
          <p:spPr>
            <a:xfrm rot="17381999">
              <a:off x="952978" y="3888319"/>
              <a:ext cx="11382" cy="125149"/>
            </a:xfrm>
            <a:custGeom>
              <a:avLst/>
              <a:gdLst>
                <a:gd name="connsiteX0" fmla="*/ 0 w 11382"/>
                <a:gd name="connsiteY0" fmla="*/ 0 h 125149"/>
                <a:gd name="connsiteX1" fmla="*/ 11383 w 11382"/>
                <a:gd name="connsiteY1" fmla="*/ 0 h 125149"/>
                <a:gd name="connsiteX2" fmla="*/ 11383 w 11382"/>
                <a:gd name="connsiteY2" fmla="*/ 125150 h 125149"/>
                <a:gd name="connsiteX3" fmla="*/ 0 w 11382"/>
                <a:gd name="connsiteY3" fmla="*/ 125150 h 125149"/>
              </a:gdLst>
              <a:ahLst/>
              <a:cxnLst>
                <a:cxn ang="0">
                  <a:pos x="connsiteX0" y="connsiteY0"/>
                </a:cxn>
                <a:cxn ang="0">
                  <a:pos x="connsiteX1" y="connsiteY1"/>
                </a:cxn>
                <a:cxn ang="0">
                  <a:pos x="connsiteX2" y="connsiteY2"/>
                </a:cxn>
                <a:cxn ang="0">
                  <a:pos x="connsiteX3" y="connsiteY3"/>
                </a:cxn>
              </a:cxnLst>
              <a:rect l="l" t="t" r="r" b="b"/>
              <a:pathLst>
                <a:path w="11382" h="125149">
                  <a:moveTo>
                    <a:pt x="0" y="0"/>
                  </a:moveTo>
                  <a:lnTo>
                    <a:pt x="11383" y="0"/>
                  </a:lnTo>
                  <a:lnTo>
                    <a:pt x="11383" y="125150"/>
                  </a:lnTo>
                  <a:lnTo>
                    <a:pt x="0" y="125150"/>
                  </a:lnTo>
                  <a:close/>
                </a:path>
              </a:pathLst>
            </a:custGeom>
            <a:solidFill>
              <a:schemeClr val="accent3">
                <a:lumMod val="20000"/>
                <a:lumOff val="80000"/>
              </a:schemeClr>
            </a:solidFill>
            <a:ln w="6130" cap="flat">
              <a:noFill/>
              <a:prstDash val="solid"/>
              <a:miter/>
            </a:ln>
          </p:spPr>
          <p:txBody>
            <a:bodyPr rtlCol="0" anchor="ctr"/>
            <a:lstStyle/>
            <a:p>
              <a:pPr algn="l" rtl="0"/>
              <a:endParaRPr lang="en-US" dirty="0"/>
            </a:p>
          </p:txBody>
        </p:sp>
        <p:grpSp>
          <p:nvGrpSpPr>
            <p:cNvPr id="572" name="Graphic 509">
              <a:extLst>
                <a:ext uri="{FF2B5EF4-FFF2-40B4-BE49-F238E27FC236}">
                  <a16:creationId xmlns:a16="http://schemas.microsoft.com/office/drawing/2014/main" id="{D1D5CEBA-2E11-4A9F-892D-D98895B97ADD}"/>
                </a:ext>
              </a:extLst>
            </p:cNvPr>
            <p:cNvGrpSpPr/>
            <p:nvPr/>
          </p:nvGrpSpPr>
          <p:grpSpPr>
            <a:xfrm>
              <a:off x="1038475" y="3975525"/>
              <a:ext cx="65468" cy="53835"/>
              <a:chOff x="1038475" y="3975525"/>
              <a:chExt cx="65468" cy="53835"/>
            </a:xfrm>
            <a:solidFill>
              <a:schemeClr val="bg1"/>
            </a:solidFill>
          </p:grpSpPr>
          <p:sp>
            <p:nvSpPr>
              <p:cNvPr id="612" name="Freeform: Shape 611">
                <a:extLst>
                  <a:ext uri="{FF2B5EF4-FFF2-40B4-BE49-F238E27FC236}">
                    <a16:creationId xmlns:a16="http://schemas.microsoft.com/office/drawing/2014/main" id="{D000948A-5E85-4B4B-87E6-F28465148958}"/>
                  </a:ext>
                </a:extLst>
              </p:cNvPr>
              <p:cNvSpPr/>
              <p:nvPr/>
            </p:nvSpPr>
            <p:spPr>
              <a:xfrm>
                <a:off x="1054418" y="4016614"/>
                <a:ext cx="12745" cy="12745"/>
              </a:xfrm>
              <a:custGeom>
                <a:avLst/>
                <a:gdLst>
                  <a:gd name="connsiteX0" fmla="*/ 12375 w 12745"/>
                  <a:gd name="connsiteY0" fmla="*/ 8519 h 12745"/>
                  <a:gd name="connsiteX1" fmla="*/ 4227 w 12745"/>
                  <a:gd name="connsiteY1" fmla="*/ 12375 h 12745"/>
                  <a:gd name="connsiteX2" fmla="*/ 371 w 12745"/>
                  <a:gd name="connsiteY2" fmla="*/ 4227 h 12745"/>
                  <a:gd name="connsiteX3" fmla="*/ 8519 w 12745"/>
                  <a:gd name="connsiteY3" fmla="*/ 371 h 12745"/>
                  <a:gd name="connsiteX4" fmla="*/ 12375 w 12745"/>
                  <a:gd name="connsiteY4" fmla="*/ 8519 h 12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 h="12745">
                    <a:moveTo>
                      <a:pt x="12375" y="8519"/>
                    </a:moveTo>
                    <a:cubicBezTo>
                      <a:pt x="11194" y="11816"/>
                      <a:pt x="7524" y="13557"/>
                      <a:pt x="4227" y="12375"/>
                    </a:cubicBezTo>
                    <a:cubicBezTo>
                      <a:pt x="930" y="11194"/>
                      <a:pt x="-811" y="7524"/>
                      <a:pt x="371" y="4227"/>
                    </a:cubicBezTo>
                    <a:cubicBezTo>
                      <a:pt x="1552" y="930"/>
                      <a:pt x="5222" y="-811"/>
                      <a:pt x="8519" y="371"/>
                    </a:cubicBezTo>
                    <a:cubicBezTo>
                      <a:pt x="11816" y="1552"/>
                      <a:pt x="13557" y="5222"/>
                      <a:pt x="12375" y="8519"/>
                    </a:cubicBezTo>
                    <a:close/>
                  </a:path>
                </a:pathLst>
              </a:custGeom>
              <a:grpFill/>
              <a:ln w="6130" cap="flat">
                <a:noFill/>
                <a:prstDash val="solid"/>
                <a:miter/>
              </a:ln>
            </p:spPr>
            <p:txBody>
              <a:bodyPr rtlCol="0" anchor="ctr"/>
              <a:lstStyle/>
              <a:p>
                <a:pPr algn="l" rtl="0"/>
                <a:endParaRPr lang="en-US" dirty="0"/>
              </a:p>
            </p:txBody>
          </p:sp>
          <p:sp>
            <p:nvSpPr>
              <p:cNvPr id="613" name="Freeform: Shape 612">
                <a:extLst>
                  <a:ext uri="{FF2B5EF4-FFF2-40B4-BE49-F238E27FC236}">
                    <a16:creationId xmlns:a16="http://schemas.microsoft.com/office/drawing/2014/main" id="{3B4BB7B6-17ED-41EF-B5F5-9AF029EF78AB}"/>
                  </a:ext>
                </a:extLst>
              </p:cNvPr>
              <p:cNvSpPr/>
              <p:nvPr/>
            </p:nvSpPr>
            <p:spPr>
              <a:xfrm>
                <a:off x="1038475" y="3975525"/>
                <a:ext cx="65468" cy="32017"/>
              </a:xfrm>
              <a:custGeom>
                <a:avLst/>
                <a:gdLst>
                  <a:gd name="connsiteX0" fmla="*/ 60974 w 65468"/>
                  <a:gd name="connsiteY0" fmla="*/ 31881 h 32017"/>
                  <a:gd name="connsiteX1" fmla="*/ 59046 w 65468"/>
                  <a:gd name="connsiteY1" fmla="*/ 30139 h 32017"/>
                  <a:gd name="connsiteX2" fmla="*/ 35969 w 65468"/>
                  <a:gd name="connsiteY2" fmla="*/ 9240 h 32017"/>
                  <a:gd name="connsiteX3" fmla="*/ 4868 w 65468"/>
                  <a:gd name="connsiteY3" fmla="*/ 10733 h 32017"/>
                  <a:gd name="connsiteX4" fmla="*/ 327 w 65468"/>
                  <a:gd name="connsiteY4" fmla="*/ 9115 h 32017"/>
                  <a:gd name="connsiteX5" fmla="*/ 1944 w 65468"/>
                  <a:gd name="connsiteY5" fmla="*/ 4575 h 32017"/>
                  <a:gd name="connsiteX6" fmla="*/ 38208 w 65468"/>
                  <a:gd name="connsiteY6" fmla="*/ 2771 h 32017"/>
                  <a:gd name="connsiteX7" fmla="*/ 65141 w 65468"/>
                  <a:gd name="connsiteY7" fmla="*/ 27154 h 32017"/>
                  <a:gd name="connsiteX8" fmla="*/ 63524 w 65468"/>
                  <a:gd name="connsiteY8" fmla="*/ 31694 h 32017"/>
                  <a:gd name="connsiteX9" fmla="*/ 60912 w 65468"/>
                  <a:gd name="connsiteY9" fmla="*/ 31819 h 3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468" h="32017">
                    <a:moveTo>
                      <a:pt x="60974" y="31881"/>
                    </a:moveTo>
                    <a:cubicBezTo>
                      <a:pt x="60165" y="31570"/>
                      <a:pt x="59419" y="30948"/>
                      <a:pt x="59046" y="30139"/>
                    </a:cubicBezTo>
                    <a:cubicBezTo>
                      <a:pt x="54380" y="20312"/>
                      <a:pt x="46232" y="12910"/>
                      <a:pt x="35969" y="9240"/>
                    </a:cubicBezTo>
                    <a:cubicBezTo>
                      <a:pt x="25768" y="5570"/>
                      <a:pt x="14696" y="6130"/>
                      <a:pt x="4868" y="10733"/>
                    </a:cubicBezTo>
                    <a:cubicBezTo>
                      <a:pt x="3189" y="11541"/>
                      <a:pt x="1136" y="10795"/>
                      <a:pt x="327" y="9115"/>
                    </a:cubicBezTo>
                    <a:cubicBezTo>
                      <a:pt x="-481" y="7436"/>
                      <a:pt x="265" y="5383"/>
                      <a:pt x="1944" y="4575"/>
                    </a:cubicBezTo>
                    <a:cubicBezTo>
                      <a:pt x="13390" y="-837"/>
                      <a:pt x="26328" y="-1459"/>
                      <a:pt x="38208" y="2771"/>
                    </a:cubicBezTo>
                    <a:cubicBezTo>
                      <a:pt x="50151" y="7063"/>
                      <a:pt x="59730" y="15709"/>
                      <a:pt x="65141" y="27154"/>
                    </a:cubicBezTo>
                    <a:cubicBezTo>
                      <a:pt x="65950" y="28833"/>
                      <a:pt x="65203" y="30886"/>
                      <a:pt x="63524" y="31694"/>
                    </a:cubicBezTo>
                    <a:cubicBezTo>
                      <a:pt x="62653" y="32068"/>
                      <a:pt x="61720" y="32130"/>
                      <a:pt x="60912" y="31819"/>
                    </a:cubicBezTo>
                    <a:close/>
                  </a:path>
                </a:pathLst>
              </a:custGeom>
              <a:grpFill/>
              <a:ln w="6130" cap="flat">
                <a:noFill/>
                <a:prstDash val="solid"/>
                <a:miter/>
              </a:ln>
            </p:spPr>
            <p:txBody>
              <a:bodyPr rtlCol="0" anchor="ctr"/>
              <a:lstStyle/>
              <a:p>
                <a:pPr algn="l" rtl="0"/>
                <a:endParaRPr lang="en-US" dirty="0"/>
              </a:p>
            </p:txBody>
          </p:sp>
          <p:sp>
            <p:nvSpPr>
              <p:cNvPr id="614" name="Freeform: Shape 613">
                <a:extLst>
                  <a:ext uri="{FF2B5EF4-FFF2-40B4-BE49-F238E27FC236}">
                    <a16:creationId xmlns:a16="http://schemas.microsoft.com/office/drawing/2014/main" id="{6BA65891-6580-4AD7-AF24-9271D229C549}"/>
                  </a:ext>
                </a:extLst>
              </p:cNvPr>
              <p:cNvSpPr/>
              <p:nvPr/>
            </p:nvSpPr>
            <p:spPr>
              <a:xfrm>
                <a:off x="1044260" y="3988798"/>
                <a:ext cx="47678" cy="24405"/>
              </a:xfrm>
              <a:custGeom>
                <a:avLst/>
                <a:gdLst>
                  <a:gd name="connsiteX0" fmla="*/ 43122 w 47678"/>
                  <a:gd name="connsiteY0" fmla="*/ 24268 h 24405"/>
                  <a:gd name="connsiteX1" fmla="*/ 41194 w 47678"/>
                  <a:gd name="connsiteY1" fmla="*/ 22527 h 24405"/>
                  <a:gd name="connsiteX2" fmla="*/ 25706 w 47678"/>
                  <a:gd name="connsiteY2" fmla="*/ 8469 h 24405"/>
                  <a:gd name="connsiteX3" fmla="*/ 4868 w 47678"/>
                  <a:gd name="connsiteY3" fmla="*/ 9464 h 24405"/>
                  <a:gd name="connsiteX4" fmla="*/ 327 w 47678"/>
                  <a:gd name="connsiteY4" fmla="*/ 7847 h 24405"/>
                  <a:gd name="connsiteX5" fmla="*/ 1944 w 47678"/>
                  <a:gd name="connsiteY5" fmla="*/ 3306 h 24405"/>
                  <a:gd name="connsiteX6" fmla="*/ 28007 w 47678"/>
                  <a:gd name="connsiteY6" fmla="*/ 2000 h 24405"/>
                  <a:gd name="connsiteX7" fmla="*/ 47352 w 47678"/>
                  <a:gd name="connsiteY7" fmla="*/ 19541 h 24405"/>
                  <a:gd name="connsiteX8" fmla="*/ 45734 w 47678"/>
                  <a:gd name="connsiteY8" fmla="*/ 24082 h 24405"/>
                  <a:gd name="connsiteX9" fmla="*/ 43122 w 47678"/>
                  <a:gd name="connsiteY9" fmla="*/ 24206 h 2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78" h="24405">
                    <a:moveTo>
                      <a:pt x="43122" y="24268"/>
                    </a:moveTo>
                    <a:cubicBezTo>
                      <a:pt x="42313" y="23957"/>
                      <a:pt x="41567" y="23397"/>
                      <a:pt x="41194" y="22527"/>
                    </a:cubicBezTo>
                    <a:cubicBezTo>
                      <a:pt x="38084" y="15933"/>
                      <a:pt x="32610" y="10957"/>
                      <a:pt x="25706" y="8469"/>
                    </a:cubicBezTo>
                    <a:cubicBezTo>
                      <a:pt x="18801" y="5981"/>
                      <a:pt x="11461" y="6354"/>
                      <a:pt x="4868" y="9464"/>
                    </a:cubicBezTo>
                    <a:cubicBezTo>
                      <a:pt x="3189" y="10273"/>
                      <a:pt x="1136" y="9527"/>
                      <a:pt x="327" y="7847"/>
                    </a:cubicBezTo>
                    <a:cubicBezTo>
                      <a:pt x="-481" y="6168"/>
                      <a:pt x="265" y="4115"/>
                      <a:pt x="1944" y="3306"/>
                    </a:cubicBezTo>
                    <a:cubicBezTo>
                      <a:pt x="10155" y="-612"/>
                      <a:pt x="19423" y="-1048"/>
                      <a:pt x="28007" y="2000"/>
                    </a:cubicBezTo>
                    <a:cubicBezTo>
                      <a:pt x="36591" y="5048"/>
                      <a:pt x="43433" y="11330"/>
                      <a:pt x="47352" y="19541"/>
                    </a:cubicBezTo>
                    <a:cubicBezTo>
                      <a:pt x="48160" y="21220"/>
                      <a:pt x="47414" y="23273"/>
                      <a:pt x="45734" y="24082"/>
                    </a:cubicBezTo>
                    <a:cubicBezTo>
                      <a:pt x="44864" y="24455"/>
                      <a:pt x="43931" y="24517"/>
                      <a:pt x="43122" y="24206"/>
                    </a:cubicBezTo>
                    <a:close/>
                  </a:path>
                </a:pathLst>
              </a:custGeom>
              <a:grpFill/>
              <a:ln w="6130" cap="flat">
                <a:noFill/>
                <a:prstDash val="solid"/>
                <a:miter/>
              </a:ln>
            </p:spPr>
            <p:txBody>
              <a:bodyPr rtlCol="0" anchor="ctr"/>
              <a:lstStyle/>
              <a:p>
                <a:pPr algn="l" rtl="0"/>
                <a:endParaRPr lang="en-US" dirty="0"/>
              </a:p>
            </p:txBody>
          </p:sp>
          <p:sp>
            <p:nvSpPr>
              <p:cNvPr id="615" name="Freeform: Shape 614">
                <a:extLst>
                  <a:ext uri="{FF2B5EF4-FFF2-40B4-BE49-F238E27FC236}">
                    <a16:creationId xmlns:a16="http://schemas.microsoft.com/office/drawing/2014/main" id="{69D21D3C-3EFC-4DF2-AA43-28F5C03BCDAF}"/>
                  </a:ext>
                </a:extLst>
              </p:cNvPr>
              <p:cNvSpPr/>
              <p:nvPr/>
            </p:nvSpPr>
            <p:spPr>
              <a:xfrm>
                <a:off x="1049982" y="4002226"/>
                <a:ext cx="29889" cy="16827"/>
              </a:xfrm>
              <a:custGeom>
                <a:avLst/>
                <a:gdLst>
                  <a:gd name="connsiteX0" fmla="*/ 2255 w 29889"/>
                  <a:gd name="connsiteY0" fmla="*/ 8289 h 16827"/>
                  <a:gd name="connsiteX1" fmla="*/ 327 w 29889"/>
                  <a:gd name="connsiteY1" fmla="*/ 6548 h 16827"/>
                  <a:gd name="connsiteX2" fmla="*/ 1944 w 29889"/>
                  <a:gd name="connsiteY2" fmla="*/ 2007 h 16827"/>
                  <a:gd name="connsiteX3" fmla="*/ 17806 w 29889"/>
                  <a:gd name="connsiteY3" fmla="*/ 1261 h 16827"/>
                  <a:gd name="connsiteX4" fmla="*/ 29562 w 29889"/>
                  <a:gd name="connsiteY4" fmla="*/ 11959 h 16827"/>
                  <a:gd name="connsiteX5" fmla="*/ 27945 w 29889"/>
                  <a:gd name="connsiteY5" fmla="*/ 16500 h 16827"/>
                  <a:gd name="connsiteX6" fmla="*/ 23404 w 29889"/>
                  <a:gd name="connsiteY6" fmla="*/ 14883 h 16827"/>
                  <a:gd name="connsiteX7" fmla="*/ 15504 w 29889"/>
                  <a:gd name="connsiteY7" fmla="*/ 7730 h 16827"/>
                  <a:gd name="connsiteX8" fmla="*/ 4868 w 29889"/>
                  <a:gd name="connsiteY8" fmla="*/ 8227 h 16827"/>
                  <a:gd name="connsiteX9" fmla="*/ 2255 w 29889"/>
                  <a:gd name="connsiteY9" fmla="*/ 8352 h 1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89" h="16827">
                    <a:moveTo>
                      <a:pt x="2255" y="8289"/>
                    </a:moveTo>
                    <a:cubicBezTo>
                      <a:pt x="1447" y="7978"/>
                      <a:pt x="700" y="7419"/>
                      <a:pt x="327" y="6548"/>
                    </a:cubicBezTo>
                    <a:cubicBezTo>
                      <a:pt x="-481" y="4868"/>
                      <a:pt x="265" y="2816"/>
                      <a:pt x="1944" y="2007"/>
                    </a:cubicBezTo>
                    <a:cubicBezTo>
                      <a:pt x="6983" y="-357"/>
                      <a:pt x="12581" y="-668"/>
                      <a:pt x="17806" y="1261"/>
                    </a:cubicBezTo>
                    <a:cubicBezTo>
                      <a:pt x="23031" y="3127"/>
                      <a:pt x="27198" y="6921"/>
                      <a:pt x="29562" y="11959"/>
                    </a:cubicBezTo>
                    <a:cubicBezTo>
                      <a:pt x="30371" y="13639"/>
                      <a:pt x="29624" y="15691"/>
                      <a:pt x="27945" y="16500"/>
                    </a:cubicBezTo>
                    <a:cubicBezTo>
                      <a:pt x="26265" y="17309"/>
                      <a:pt x="24213" y="16562"/>
                      <a:pt x="23404" y="14883"/>
                    </a:cubicBezTo>
                    <a:cubicBezTo>
                      <a:pt x="21787" y="11524"/>
                      <a:pt x="18988" y="8974"/>
                      <a:pt x="15504" y="7730"/>
                    </a:cubicBezTo>
                    <a:cubicBezTo>
                      <a:pt x="12021" y="6486"/>
                      <a:pt x="8227" y="6672"/>
                      <a:pt x="4868" y="8227"/>
                    </a:cubicBezTo>
                    <a:cubicBezTo>
                      <a:pt x="3997" y="8600"/>
                      <a:pt x="3064" y="8663"/>
                      <a:pt x="2255" y="8352"/>
                    </a:cubicBezTo>
                    <a:close/>
                  </a:path>
                </a:pathLst>
              </a:custGeom>
              <a:grpFill/>
              <a:ln w="6130" cap="flat">
                <a:noFill/>
                <a:prstDash val="solid"/>
                <a:miter/>
              </a:ln>
            </p:spPr>
            <p:txBody>
              <a:bodyPr rtlCol="0" anchor="ctr"/>
              <a:lstStyle/>
              <a:p>
                <a:pPr algn="l" rtl="0"/>
                <a:endParaRPr lang="en-US" dirty="0"/>
              </a:p>
            </p:txBody>
          </p:sp>
        </p:grpSp>
        <p:sp>
          <p:nvSpPr>
            <p:cNvPr id="573" name="Freeform: Shape 572">
              <a:extLst>
                <a:ext uri="{FF2B5EF4-FFF2-40B4-BE49-F238E27FC236}">
                  <a16:creationId xmlns:a16="http://schemas.microsoft.com/office/drawing/2014/main" id="{81E3A516-C8EE-42C8-89F6-B515BD024462}"/>
                </a:ext>
              </a:extLst>
            </p:cNvPr>
            <p:cNvSpPr/>
            <p:nvPr/>
          </p:nvSpPr>
          <p:spPr>
            <a:xfrm>
              <a:off x="1140813" y="4073712"/>
              <a:ext cx="22454" cy="29234"/>
            </a:xfrm>
            <a:custGeom>
              <a:avLst/>
              <a:gdLst>
                <a:gd name="connsiteX0" fmla="*/ 7962 w 22454"/>
                <a:gd name="connsiteY0" fmla="*/ 15550 h 29234"/>
                <a:gd name="connsiteX1" fmla="*/ 4292 w 22454"/>
                <a:gd name="connsiteY1" fmla="*/ 25814 h 29234"/>
                <a:gd name="connsiteX2" fmla="*/ 0 w 22454"/>
                <a:gd name="connsiteY2" fmla="*/ 24259 h 29234"/>
                <a:gd name="connsiteX3" fmla="*/ 8646 w 22454"/>
                <a:gd name="connsiteY3" fmla="*/ 0 h 29234"/>
                <a:gd name="connsiteX4" fmla="*/ 12938 w 22454"/>
                <a:gd name="connsiteY4" fmla="*/ 1555 h 29234"/>
                <a:gd name="connsiteX5" fmla="*/ 9268 w 22454"/>
                <a:gd name="connsiteY5" fmla="*/ 11818 h 29234"/>
                <a:gd name="connsiteX6" fmla="*/ 14493 w 22454"/>
                <a:gd name="connsiteY6" fmla="*/ 13684 h 29234"/>
                <a:gd name="connsiteX7" fmla="*/ 18163 w 22454"/>
                <a:gd name="connsiteY7" fmla="*/ 3421 h 29234"/>
                <a:gd name="connsiteX8" fmla="*/ 22455 w 22454"/>
                <a:gd name="connsiteY8" fmla="*/ 4976 h 29234"/>
                <a:gd name="connsiteX9" fmla="*/ 13809 w 22454"/>
                <a:gd name="connsiteY9" fmla="*/ 29235 h 29234"/>
                <a:gd name="connsiteX10" fmla="*/ 9517 w 22454"/>
                <a:gd name="connsiteY10" fmla="*/ 27680 h 29234"/>
                <a:gd name="connsiteX11" fmla="*/ 13187 w 22454"/>
                <a:gd name="connsiteY11" fmla="*/ 17416 h 29234"/>
                <a:gd name="connsiteX12" fmla="*/ 7962 w 22454"/>
                <a:gd name="connsiteY12" fmla="*/ 15550 h 2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54" h="29234">
                  <a:moveTo>
                    <a:pt x="7962" y="15550"/>
                  </a:moveTo>
                  <a:lnTo>
                    <a:pt x="4292" y="25814"/>
                  </a:lnTo>
                  <a:lnTo>
                    <a:pt x="0" y="24259"/>
                  </a:lnTo>
                  <a:lnTo>
                    <a:pt x="8646" y="0"/>
                  </a:lnTo>
                  <a:lnTo>
                    <a:pt x="12938" y="1555"/>
                  </a:lnTo>
                  <a:lnTo>
                    <a:pt x="9268" y="11818"/>
                  </a:lnTo>
                  <a:lnTo>
                    <a:pt x="14493" y="13684"/>
                  </a:lnTo>
                  <a:lnTo>
                    <a:pt x="18163" y="3421"/>
                  </a:lnTo>
                  <a:lnTo>
                    <a:pt x="22455" y="4976"/>
                  </a:lnTo>
                  <a:lnTo>
                    <a:pt x="13809" y="29235"/>
                  </a:lnTo>
                  <a:lnTo>
                    <a:pt x="9517" y="27680"/>
                  </a:lnTo>
                  <a:lnTo>
                    <a:pt x="13187" y="17416"/>
                  </a:lnTo>
                  <a:lnTo>
                    <a:pt x="7962" y="15550"/>
                  </a:lnTo>
                  <a:close/>
                </a:path>
              </a:pathLst>
            </a:custGeom>
            <a:solidFill>
              <a:srgbClr val="4D4D4D"/>
            </a:solidFill>
            <a:ln w="6130" cap="flat">
              <a:noFill/>
              <a:prstDash val="solid"/>
              <a:miter/>
            </a:ln>
          </p:spPr>
          <p:txBody>
            <a:bodyPr rtlCol="0" anchor="ctr"/>
            <a:lstStyle/>
            <a:p>
              <a:pPr algn="l" rtl="0"/>
              <a:endParaRPr lang="en-US" dirty="0"/>
            </a:p>
          </p:txBody>
        </p:sp>
        <p:sp>
          <p:nvSpPr>
            <p:cNvPr id="574" name="Freeform: Shape 573">
              <a:extLst>
                <a:ext uri="{FF2B5EF4-FFF2-40B4-BE49-F238E27FC236}">
                  <a16:creationId xmlns:a16="http://schemas.microsoft.com/office/drawing/2014/main" id="{397BA39B-C772-4618-987C-587E0FA55605}"/>
                </a:ext>
              </a:extLst>
            </p:cNvPr>
            <p:cNvSpPr/>
            <p:nvPr/>
          </p:nvSpPr>
          <p:spPr>
            <a:xfrm>
              <a:off x="1158416" y="4080057"/>
              <a:ext cx="20488" cy="27197"/>
            </a:xfrm>
            <a:custGeom>
              <a:avLst/>
              <a:gdLst>
                <a:gd name="connsiteX0" fmla="*/ 15675 w 20488"/>
                <a:gd name="connsiteY0" fmla="*/ 23326 h 27197"/>
                <a:gd name="connsiteX1" fmla="*/ 12192 w 20488"/>
                <a:gd name="connsiteY1" fmla="*/ 26684 h 27197"/>
                <a:gd name="connsiteX2" fmla="*/ 6780 w 20488"/>
                <a:gd name="connsiteY2" fmla="*/ 26684 h 27197"/>
                <a:gd name="connsiteX3" fmla="*/ 0 w 20488"/>
                <a:gd name="connsiteY3" fmla="*/ 24259 h 27197"/>
                <a:gd name="connsiteX4" fmla="*/ 8708 w 20488"/>
                <a:gd name="connsiteY4" fmla="*/ 0 h 27197"/>
                <a:gd name="connsiteX5" fmla="*/ 15488 w 20488"/>
                <a:gd name="connsiteY5" fmla="*/ 2426 h 27197"/>
                <a:gd name="connsiteX6" fmla="*/ 19656 w 20488"/>
                <a:gd name="connsiteY6" fmla="*/ 5847 h 27197"/>
                <a:gd name="connsiteX7" fmla="*/ 20153 w 20488"/>
                <a:gd name="connsiteY7" fmla="*/ 10636 h 27197"/>
                <a:gd name="connsiteX8" fmla="*/ 15613 w 20488"/>
                <a:gd name="connsiteY8" fmla="*/ 23326 h 27197"/>
                <a:gd name="connsiteX9" fmla="*/ 5660 w 20488"/>
                <a:gd name="connsiteY9" fmla="*/ 22206 h 27197"/>
                <a:gd name="connsiteX10" fmla="*/ 8273 w 20488"/>
                <a:gd name="connsiteY10" fmla="*/ 23139 h 27197"/>
                <a:gd name="connsiteX11" fmla="*/ 10263 w 20488"/>
                <a:gd name="connsiteY11" fmla="*/ 23139 h 27197"/>
                <a:gd name="connsiteX12" fmla="*/ 11507 w 20488"/>
                <a:gd name="connsiteY12" fmla="*/ 21895 h 27197"/>
                <a:gd name="connsiteX13" fmla="*/ 16048 w 20488"/>
                <a:gd name="connsiteY13" fmla="*/ 9206 h 27197"/>
                <a:gd name="connsiteX14" fmla="*/ 15861 w 20488"/>
                <a:gd name="connsiteY14" fmla="*/ 7464 h 27197"/>
                <a:gd name="connsiteX15" fmla="*/ 14369 w 20488"/>
                <a:gd name="connsiteY15" fmla="*/ 6220 h 27197"/>
                <a:gd name="connsiteX16" fmla="*/ 11756 w 20488"/>
                <a:gd name="connsiteY16" fmla="*/ 5287 h 27197"/>
                <a:gd name="connsiteX17" fmla="*/ 5723 w 20488"/>
                <a:gd name="connsiteY17" fmla="*/ 22206 h 2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488" h="27197">
                  <a:moveTo>
                    <a:pt x="15675" y="23326"/>
                  </a:moveTo>
                  <a:cubicBezTo>
                    <a:pt x="15115" y="24943"/>
                    <a:pt x="13933" y="26062"/>
                    <a:pt x="12192" y="26684"/>
                  </a:cubicBezTo>
                  <a:cubicBezTo>
                    <a:pt x="10450" y="27369"/>
                    <a:pt x="8646" y="27369"/>
                    <a:pt x="6780" y="26684"/>
                  </a:cubicBezTo>
                  <a:lnTo>
                    <a:pt x="0" y="24259"/>
                  </a:lnTo>
                  <a:lnTo>
                    <a:pt x="8708" y="0"/>
                  </a:lnTo>
                  <a:lnTo>
                    <a:pt x="15488" y="2426"/>
                  </a:lnTo>
                  <a:cubicBezTo>
                    <a:pt x="17354" y="3110"/>
                    <a:pt x="18785" y="4230"/>
                    <a:pt x="19656" y="5847"/>
                  </a:cubicBezTo>
                  <a:cubicBezTo>
                    <a:pt x="20589" y="7464"/>
                    <a:pt x="20713" y="9019"/>
                    <a:pt x="20153" y="10636"/>
                  </a:cubicBezTo>
                  <a:lnTo>
                    <a:pt x="15613" y="23326"/>
                  </a:lnTo>
                  <a:close/>
                  <a:moveTo>
                    <a:pt x="5660" y="22206"/>
                  </a:moveTo>
                  <a:lnTo>
                    <a:pt x="8273" y="23139"/>
                  </a:lnTo>
                  <a:cubicBezTo>
                    <a:pt x="8957" y="23388"/>
                    <a:pt x="9641" y="23388"/>
                    <a:pt x="10263" y="23139"/>
                  </a:cubicBezTo>
                  <a:cubicBezTo>
                    <a:pt x="10885" y="22890"/>
                    <a:pt x="11321" y="22455"/>
                    <a:pt x="11507" y="21895"/>
                  </a:cubicBezTo>
                  <a:lnTo>
                    <a:pt x="16048" y="9206"/>
                  </a:lnTo>
                  <a:cubicBezTo>
                    <a:pt x="16235" y="8646"/>
                    <a:pt x="16172" y="8024"/>
                    <a:pt x="15861" y="7464"/>
                  </a:cubicBezTo>
                  <a:cubicBezTo>
                    <a:pt x="15550" y="6904"/>
                    <a:pt x="15053" y="6469"/>
                    <a:pt x="14369" y="6220"/>
                  </a:cubicBezTo>
                  <a:lnTo>
                    <a:pt x="11756" y="5287"/>
                  </a:lnTo>
                  <a:lnTo>
                    <a:pt x="5723" y="22206"/>
                  </a:lnTo>
                  <a:close/>
                </a:path>
              </a:pathLst>
            </a:custGeom>
            <a:solidFill>
              <a:srgbClr val="4D4D4D"/>
            </a:solidFill>
            <a:ln w="6130" cap="flat">
              <a:noFill/>
              <a:prstDash val="solid"/>
              <a:miter/>
            </a:ln>
          </p:spPr>
          <p:txBody>
            <a:bodyPr rtlCol="0" anchor="ctr"/>
            <a:lstStyle/>
            <a:p>
              <a:pPr algn="l" rtl="0"/>
              <a:endParaRPr lang="en-US" dirty="0"/>
            </a:p>
          </p:txBody>
        </p:sp>
        <p:grpSp>
          <p:nvGrpSpPr>
            <p:cNvPr id="575" name="Graphic 509">
              <a:extLst>
                <a:ext uri="{FF2B5EF4-FFF2-40B4-BE49-F238E27FC236}">
                  <a16:creationId xmlns:a16="http://schemas.microsoft.com/office/drawing/2014/main" id="{35B9D64F-D947-47A5-888A-DE3E36F887B1}"/>
                </a:ext>
              </a:extLst>
            </p:cNvPr>
            <p:cNvGrpSpPr/>
            <p:nvPr/>
          </p:nvGrpSpPr>
          <p:grpSpPr>
            <a:xfrm>
              <a:off x="912844" y="4068799"/>
              <a:ext cx="27990" cy="27990"/>
              <a:chOff x="912844" y="4068799"/>
              <a:chExt cx="27990" cy="27990"/>
            </a:xfrm>
          </p:grpSpPr>
          <p:sp>
            <p:nvSpPr>
              <p:cNvPr id="609" name="Freeform: Shape 608">
                <a:extLst>
                  <a:ext uri="{FF2B5EF4-FFF2-40B4-BE49-F238E27FC236}">
                    <a16:creationId xmlns:a16="http://schemas.microsoft.com/office/drawing/2014/main" id="{19307187-ABCF-4560-B25A-5EED702F5315}"/>
                  </a:ext>
                </a:extLst>
              </p:cNvPr>
              <p:cNvSpPr/>
              <p:nvPr/>
            </p:nvSpPr>
            <p:spPr>
              <a:xfrm>
                <a:off x="912844" y="4068799"/>
                <a:ext cx="27244" cy="27244"/>
              </a:xfrm>
              <a:custGeom>
                <a:avLst/>
                <a:gdLst>
                  <a:gd name="connsiteX0" fmla="*/ 27244 w 27244"/>
                  <a:gd name="connsiteY0" fmla="*/ 13622 h 27244"/>
                  <a:gd name="connsiteX1" fmla="*/ 13622 w 27244"/>
                  <a:gd name="connsiteY1" fmla="*/ 27244 h 27244"/>
                  <a:gd name="connsiteX2" fmla="*/ 0 w 27244"/>
                  <a:gd name="connsiteY2" fmla="*/ 13622 h 27244"/>
                  <a:gd name="connsiteX3" fmla="*/ 13622 w 27244"/>
                  <a:gd name="connsiteY3" fmla="*/ 0 h 27244"/>
                  <a:gd name="connsiteX4" fmla="*/ 27244 w 27244"/>
                  <a:gd name="connsiteY4" fmla="*/ 13622 h 27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44" h="27244">
                    <a:moveTo>
                      <a:pt x="27244" y="13622"/>
                    </a:moveTo>
                    <a:cubicBezTo>
                      <a:pt x="27244" y="21145"/>
                      <a:pt x="21145" y="27244"/>
                      <a:pt x="13622" y="27244"/>
                    </a:cubicBezTo>
                    <a:cubicBezTo>
                      <a:pt x="6099" y="27244"/>
                      <a:pt x="0" y="21145"/>
                      <a:pt x="0" y="13622"/>
                    </a:cubicBezTo>
                    <a:cubicBezTo>
                      <a:pt x="0" y="6099"/>
                      <a:pt x="6099" y="0"/>
                      <a:pt x="13622" y="0"/>
                    </a:cubicBezTo>
                    <a:cubicBezTo>
                      <a:pt x="21145" y="0"/>
                      <a:pt x="27244" y="6099"/>
                      <a:pt x="27244" y="13622"/>
                    </a:cubicBezTo>
                    <a:close/>
                  </a:path>
                </a:pathLst>
              </a:custGeom>
              <a:solidFill>
                <a:srgbClr val="B0B0B0"/>
              </a:solidFill>
              <a:ln w="6130" cap="flat">
                <a:noFill/>
                <a:prstDash val="solid"/>
                <a:miter/>
              </a:ln>
            </p:spPr>
            <p:txBody>
              <a:bodyPr rtlCol="0" anchor="ctr"/>
              <a:lstStyle/>
              <a:p>
                <a:pPr algn="l" rtl="0"/>
                <a:endParaRPr lang="en-US" dirty="0"/>
              </a:p>
            </p:txBody>
          </p:sp>
          <p:sp>
            <p:nvSpPr>
              <p:cNvPr id="610" name="Freeform: Shape 609">
                <a:extLst>
                  <a:ext uri="{FF2B5EF4-FFF2-40B4-BE49-F238E27FC236}">
                    <a16:creationId xmlns:a16="http://schemas.microsoft.com/office/drawing/2014/main" id="{94BCF13F-EB8F-4A05-B4AC-81699422030A}"/>
                  </a:ext>
                </a:extLst>
              </p:cNvPr>
              <p:cNvSpPr/>
              <p:nvPr/>
            </p:nvSpPr>
            <p:spPr>
              <a:xfrm>
                <a:off x="912906" y="4068799"/>
                <a:ext cx="23263" cy="24071"/>
              </a:xfrm>
              <a:custGeom>
                <a:avLst/>
                <a:gdLst>
                  <a:gd name="connsiteX0" fmla="*/ 995 w 23263"/>
                  <a:gd name="connsiteY0" fmla="*/ 14431 h 24071"/>
                  <a:gd name="connsiteX1" fmla="*/ 14617 w 23263"/>
                  <a:gd name="connsiteY1" fmla="*/ 809 h 24071"/>
                  <a:gd name="connsiteX2" fmla="*/ 23263 w 23263"/>
                  <a:gd name="connsiteY2" fmla="*/ 3981 h 24071"/>
                  <a:gd name="connsiteX3" fmla="*/ 13622 w 23263"/>
                  <a:gd name="connsiteY3" fmla="*/ 0 h 24071"/>
                  <a:gd name="connsiteX4" fmla="*/ 0 w 23263"/>
                  <a:gd name="connsiteY4" fmla="*/ 13622 h 24071"/>
                  <a:gd name="connsiteX5" fmla="*/ 4976 w 23263"/>
                  <a:gd name="connsiteY5" fmla="*/ 24072 h 24071"/>
                  <a:gd name="connsiteX6" fmla="*/ 995 w 23263"/>
                  <a:gd name="connsiteY6" fmla="*/ 14493 h 2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63" h="24071">
                    <a:moveTo>
                      <a:pt x="995" y="14431"/>
                    </a:moveTo>
                    <a:cubicBezTo>
                      <a:pt x="995" y="6904"/>
                      <a:pt x="7091" y="809"/>
                      <a:pt x="14617" y="809"/>
                    </a:cubicBezTo>
                    <a:cubicBezTo>
                      <a:pt x="17914" y="809"/>
                      <a:pt x="20900" y="2053"/>
                      <a:pt x="23263" y="3981"/>
                    </a:cubicBezTo>
                    <a:cubicBezTo>
                      <a:pt x="20775" y="1493"/>
                      <a:pt x="17416" y="0"/>
                      <a:pt x="13622" y="0"/>
                    </a:cubicBezTo>
                    <a:cubicBezTo>
                      <a:pt x="6096" y="0"/>
                      <a:pt x="0" y="6096"/>
                      <a:pt x="0" y="13622"/>
                    </a:cubicBezTo>
                    <a:cubicBezTo>
                      <a:pt x="0" y="17852"/>
                      <a:pt x="1928" y="21584"/>
                      <a:pt x="4976" y="24072"/>
                    </a:cubicBezTo>
                    <a:cubicBezTo>
                      <a:pt x="2550" y="21584"/>
                      <a:pt x="995" y="18225"/>
                      <a:pt x="995" y="14493"/>
                    </a:cubicBezTo>
                    <a:close/>
                  </a:path>
                </a:pathLst>
              </a:custGeom>
              <a:solidFill>
                <a:srgbClr val="636363"/>
              </a:solidFill>
              <a:ln w="6130" cap="flat">
                <a:noFill/>
                <a:prstDash val="solid"/>
                <a:miter/>
              </a:ln>
            </p:spPr>
            <p:txBody>
              <a:bodyPr rtlCol="0" anchor="ctr"/>
              <a:lstStyle/>
              <a:p>
                <a:pPr algn="l" rtl="0"/>
                <a:endParaRPr lang="en-US" dirty="0"/>
              </a:p>
            </p:txBody>
          </p:sp>
          <p:sp>
            <p:nvSpPr>
              <p:cNvPr id="611" name="Freeform: Shape 610">
                <a:extLst>
                  <a:ext uri="{FF2B5EF4-FFF2-40B4-BE49-F238E27FC236}">
                    <a16:creationId xmlns:a16="http://schemas.microsoft.com/office/drawing/2014/main" id="{9A95BFC0-DBB6-445A-AA3D-2FBC35A90A2A}"/>
                  </a:ext>
                </a:extLst>
              </p:cNvPr>
              <p:cNvSpPr/>
              <p:nvPr/>
            </p:nvSpPr>
            <p:spPr>
              <a:xfrm>
                <a:off x="917260" y="4073215"/>
                <a:ext cx="23574" cy="23574"/>
              </a:xfrm>
              <a:custGeom>
                <a:avLst/>
                <a:gdLst>
                  <a:gd name="connsiteX0" fmla="*/ 19158 w 23574"/>
                  <a:gd name="connsiteY0" fmla="*/ 0 h 23574"/>
                  <a:gd name="connsiteX1" fmla="*/ 22828 w 23574"/>
                  <a:gd name="connsiteY1" fmla="*/ 9206 h 23574"/>
                  <a:gd name="connsiteX2" fmla="*/ 9206 w 23574"/>
                  <a:gd name="connsiteY2" fmla="*/ 22828 h 23574"/>
                  <a:gd name="connsiteX3" fmla="*/ 0 w 23574"/>
                  <a:gd name="connsiteY3" fmla="*/ 19158 h 23574"/>
                  <a:gd name="connsiteX4" fmla="*/ 9952 w 23574"/>
                  <a:gd name="connsiteY4" fmla="*/ 23574 h 23574"/>
                  <a:gd name="connsiteX5" fmla="*/ 23574 w 23574"/>
                  <a:gd name="connsiteY5" fmla="*/ 9952 h 23574"/>
                  <a:gd name="connsiteX6" fmla="*/ 19158 w 23574"/>
                  <a:gd name="connsiteY6" fmla="*/ 0 h 23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74" h="23574">
                    <a:moveTo>
                      <a:pt x="19158" y="0"/>
                    </a:moveTo>
                    <a:cubicBezTo>
                      <a:pt x="21397" y="2426"/>
                      <a:pt x="22828" y="5660"/>
                      <a:pt x="22828" y="9206"/>
                    </a:cubicBezTo>
                    <a:cubicBezTo>
                      <a:pt x="22828" y="16732"/>
                      <a:pt x="16732" y="22828"/>
                      <a:pt x="9206" y="22828"/>
                    </a:cubicBezTo>
                    <a:cubicBezTo>
                      <a:pt x="5660" y="22828"/>
                      <a:pt x="2426" y="21397"/>
                      <a:pt x="0" y="19158"/>
                    </a:cubicBezTo>
                    <a:cubicBezTo>
                      <a:pt x="2488" y="21833"/>
                      <a:pt x="6034" y="23574"/>
                      <a:pt x="9952" y="23574"/>
                    </a:cubicBezTo>
                    <a:cubicBezTo>
                      <a:pt x="17479" y="23574"/>
                      <a:pt x="23574" y="17479"/>
                      <a:pt x="23574" y="9952"/>
                    </a:cubicBezTo>
                    <a:cubicBezTo>
                      <a:pt x="23574" y="5971"/>
                      <a:pt x="21895" y="2488"/>
                      <a:pt x="19158" y="0"/>
                    </a:cubicBezTo>
                    <a:close/>
                  </a:path>
                </a:pathLst>
              </a:custGeom>
              <a:solidFill>
                <a:srgbClr val="FAFAFA"/>
              </a:solidFill>
              <a:ln w="6130" cap="flat">
                <a:noFill/>
                <a:prstDash val="solid"/>
                <a:miter/>
              </a:ln>
            </p:spPr>
            <p:txBody>
              <a:bodyPr rtlCol="0" anchor="ctr"/>
              <a:lstStyle/>
              <a:p>
                <a:pPr algn="l" rtl="0"/>
                <a:endParaRPr lang="en-US" dirty="0"/>
              </a:p>
            </p:txBody>
          </p:sp>
        </p:grpSp>
        <p:grpSp>
          <p:nvGrpSpPr>
            <p:cNvPr id="576" name="Graphic 509">
              <a:extLst>
                <a:ext uri="{FF2B5EF4-FFF2-40B4-BE49-F238E27FC236}">
                  <a16:creationId xmlns:a16="http://schemas.microsoft.com/office/drawing/2014/main" id="{E20283D6-3373-4B76-A97F-D0C28303DDD8}"/>
                </a:ext>
              </a:extLst>
            </p:cNvPr>
            <p:cNvGrpSpPr/>
            <p:nvPr/>
          </p:nvGrpSpPr>
          <p:grpSpPr>
            <a:xfrm>
              <a:off x="916763" y="4073182"/>
              <a:ext cx="20153" cy="19224"/>
              <a:chOff x="916763" y="4073182"/>
              <a:chExt cx="20153" cy="19224"/>
            </a:xfrm>
          </p:grpSpPr>
          <p:sp>
            <p:nvSpPr>
              <p:cNvPr id="605" name="Freeform: Shape 604">
                <a:extLst>
                  <a:ext uri="{FF2B5EF4-FFF2-40B4-BE49-F238E27FC236}">
                    <a16:creationId xmlns:a16="http://schemas.microsoft.com/office/drawing/2014/main" id="{1D73BBBD-AA84-4E17-8B37-013136FCBA91}"/>
                  </a:ext>
                </a:extLst>
              </p:cNvPr>
              <p:cNvSpPr/>
              <p:nvPr/>
            </p:nvSpPr>
            <p:spPr>
              <a:xfrm>
                <a:off x="916763" y="4073182"/>
                <a:ext cx="20153" cy="19224"/>
              </a:xfrm>
              <a:custGeom>
                <a:avLst/>
                <a:gdLst>
                  <a:gd name="connsiteX0" fmla="*/ 20153 w 20153"/>
                  <a:gd name="connsiteY0" fmla="*/ 9612 h 19224"/>
                  <a:gd name="connsiteX1" fmla="*/ 17603 w 20153"/>
                  <a:gd name="connsiteY1" fmla="*/ 12038 h 19224"/>
                  <a:gd name="connsiteX2" fmla="*/ 18225 w 20153"/>
                  <a:gd name="connsiteY2" fmla="*/ 15521 h 19224"/>
                  <a:gd name="connsiteX3" fmla="*/ 14742 w 20153"/>
                  <a:gd name="connsiteY3" fmla="*/ 16019 h 19224"/>
                  <a:gd name="connsiteX4" fmla="*/ 13187 w 20153"/>
                  <a:gd name="connsiteY4" fmla="*/ 19191 h 19224"/>
                  <a:gd name="connsiteX5" fmla="*/ 10077 w 20153"/>
                  <a:gd name="connsiteY5" fmla="*/ 17512 h 19224"/>
                  <a:gd name="connsiteX6" fmla="*/ 6967 w 20153"/>
                  <a:gd name="connsiteY6" fmla="*/ 19191 h 19224"/>
                  <a:gd name="connsiteX7" fmla="*/ 5412 w 20153"/>
                  <a:gd name="connsiteY7" fmla="*/ 16019 h 19224"/>
                  <a:gd name="connsiteX8" fmla="*/ 1928 w 20153"/>
                  <a:gd name="connsiteY8" fmla="*/ 15521 h 19224"/>
                  <a:gd name="connsiteX9" fmla="*/ 2550 w 20153"/>
                  <a:gd name="connsiteY9" fmla="*/ 12038 h 19224"/>
                  <a:gd name="connsiteX10" fmla="*/ 0 w 20153"/>
                  <a:gd name="connsiteY10" fmla="*/ 9612 h 19224"/>
                  <a:gd name="connsiteX11" fmla="*/ 2550 w 20153"/>
                  <a:gd name="connsiteY11" fmla="*/ 7186 h 19224"/>
                  <a:gd name="connsiteX12" fmla="*/ 1928 w 20153"/>
                  <a:gd name="connsiteY12" fmla="*/ 3703 h 19224"/>
                  <a:gd name="connsiteX13" fmla="*/ 5412 w 20153"/>
                  <a:gd name="connsiteY13" fmla="*/ 3205 h 19224"/>
                  <a:gd name="connsiteX14" fmla="*/ 6967 w 20153"/>
                  <a:gd name="connsiteY14" fmla="*/ 33 h 19224"/>
                  <a:gd name="connsiteX15" fmla="*/ 10077 w 20153"/>
                  <a:gd name="connsiteY15" fmla="*/ 1712 h 19224"/>
                  <a:gd name="connsiteX16" fmla="*/ 13187 w 20153"/>
                  <a:gd name="connsiteY16" fmla="*/ 33 h 19224"/>
                  <a:gd name="connsiteX17" fmla="*/ 14742 w 20153"/>
                  <a:gd name="connsiteY17" fmla="*/ 3205 h 19224"/>
                  <a:gd name="connsiteX18" fmla="*/ 18225 w 20153"/>
                  <a:gd name="connsiteY18" fmla="*/ 3703 h 19224"/>
                  <a:gd name="connsiteX19" fmla="*/ 17603 w 20153"/>
                  <a:gd name="connsiteY19" fmla="*/ 7186 h 19224"/>
                  <a:gd name="connsiteX20" fmla="*/ 20153 w 20153"/>
                  <a:gd name="connsiteY20" fmla="*/ 9612 h 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53" h="19224">
                    <a:moveTo>
                      <a:pt x="20153" y="9612"/>
                    </a:moveTo>
                    <a:cubicBezTo>
                      <a:pt x="20153" y="10607"/>
                      <a:pt x="17914" y="11167"/>
                      <a:pt x="17603" y="12038"/>
                    </a:cubicBezTo>
                    <a:cubicBezTo>
                      <a:pt x="17292" y="12971"/>
                      <a:pt x="18785" y="14775"/>
                      <a:pt x="18225" y="15521"/>
                    </a:cubicBezTo>
                    <a:cubicBezTo>
                      <a:pt x="17665" y="16268"/>
                      <a:pt x="15488" y="15459"/>
                      <a:pt x="14742" y="16019"/>
                    </a:cubicBezTo>
                    <a:cubicBezTo>
                      <a:pt x="13995" y="16579"/>
                      <a:pt x="14120" y="18880"/>
                      <a:pt x="13187" y="19191"/>
                    </a:cubicBezTo>
                    <a:cubicBezTo>
                      <a:pt x="12316" y="19502"/>
                      <a:pt x="11072" y="17512"/>
                      <a:pt x="10077" y="17512"/>
                    </a:cubicBezTo>
                    <a:cubicBezTo>
                      <a:pt x="9081" y="17512"/>
                      <a:pt x="7837" y="19440"/>
                      <a:pt x="6967" y="19191"/>
                    </a:cubicBezTo>
                    <a:cubicBezTo>
                      <a:pt x="6034" y="18880"/>
                      <a:pt x="6158" y="16579"/>
                      <a:pt x="5412" y="16019"/>
                    </a:cubicBezTo>
                    <a:cubicBezTo>
                      <a:pt x="4665" y="15459"/>
                      <a:pt x="2488" y="16330"/>
                      <a:pt x="1928" y="15521"/>
                    </a:cubicBezTo>
                    <a:cubicBezTo>
                      <a:pt x="1368" y="14775"/>
                      <a:pt x="2861" y="12971"/>
                      <a:pt x="2550" y="12038"/>
                    </a:cubicBezTo>
                    <a:cubicBezTo>
                      <a:pt x="2239" y="11167"/>
                      <a:pt x="0" y="10545"/>
                      <a:pt x="0" y="9612"/>
                    </a:cubicBezTo>
                    <a:cubicBezTo>
                      <a:pt x="0" y="8679"/>
                      <a:pt x="2239" y="8057"/>
                      <a:pt x="2550" y="7186"/>
                    </a:cubicBezTo>
                    <a:cubicBezTo>
                      <a:pt x="2861" y="6253"/>
                      <a:pt x="1368" y="4449"/>
                      <a:pt x="1928" y="3703"/>
                    </a:cubicBezTo>
                    <a:cubicBezTo>
                      <a:pt x="2488" y="2956"/>
                      <a:pt x="4665" y="3765"/>
                      <a:pt x="5412" y="3205"/>
                    </a:cubicBezTo>
                    <a:cubicBezTo>
                      <a:pt x="6158" y="2645"/>
                      <a:pt x="6034" y="344"/>
                      <a:pt x="6967" y="33"/>
                    </a:cubicBezTo>
                    <a:cubicBezTo>
                      <a:pt x="7837" y="-278"/>
                      <a:pt x="9081" y="1712"/>
                      <a:pt x="10077" y="1712"/>
                    </a:cubicBezTo>
                    <a:cubicBezTo>
                      <a:pt x="11072" y="1712"/>
                      <a:pt x="12316" y="-216"/>
                      <a:pt x="13187" y="33"/>
                    </a:cubicBezTo>
                    <a:cubicBezTo>
                      <a:pt x="14120" y="344"/>
                      <a:pt x="13995" y="2645"/>
                      <a:pt x="14742" y="3205"/>
                    </a:cubicBezTo>
                    <a:cubicBezTo>
                      <a:pt x="15488" y="3765"/>
                      <a:pt x="17665" y="2894"/>
                      <a:pt x="18225" y="3703"/>
                    </a:cubicBezTo>
                    <a:cubicBezTo>
                      <a:pt x="18785" y="4449"/>
                      <a:pt x="17292" y="6253"/>
                      <a:pt x="17603" y="7186"/>
                    </a:cubicBezTo>
                    <a:cubicBezTo>
                      <a:pt x="17914" y="8057"/>
                      <a:pt x="20153" y="8679"/>
                      <a:pt x="20153" y="9612"/>
                    </a:cubicBezTo>
                    <a:close/>
                  </a:path>
                </a:pathLst>
              </a:custGeom>
              <a:solidFill>
                <a:srgbClr val="636363"/>
              </a:solidFill>
              <a:ln w="6130" cap="flat">
                <a:noFill/>
                <a:prstDash val="solid"/>
                <a:miter/>
              </a:ln>
            </p:spPr>
            <p:txBody>
              <a:bodyPr rtlCol="0" anchor="ctr"/>
              <a:lstStyle/>
              <a:p>
                <a:pPr algn="l" rtl="0"/>
                <a:endParaRPr lang="en-US" dirty="0"/>
              </a:p>
            </p:txBody>
          </p:sp>
          <p:sp>
            <p:nvSpPr>
              <p:cNvPr id="606" name="Freeform: Shape 605">
                <a:extLst>
                  <a:ext uri="{FF2B5EF4-FFF2-40B4-BE49-F238E27FC236}">
                    <a16:creationId xmlns:a16="http://schemas.microsoft.com/office/drawing/2014/main" id="{0E0581AD-A88D-46B3-97D9-30640A557EB1}"/>
                  </a:ext>
                </a:extLst>
              </p:cNvPr>
              <p:cNvSpPr/>
              <p:nvPr/>
            </p:nvSpPr>
            <p:spPr>
              <a:xfrm>
                <a:off x="917447" y="4074000"/>
                <a:ext cx="18660" cy="17587"/>
              </a:xfrm>
              <a:custGeom>
                <a:avLst/>
                <a:gdLst>
                  <a:gd name="connsiteX0" fmla="*/ 18660 w 18660"/>
                  <a:gd name="connsiteY0" fmla="*/ 8794 h 17587"/>
                  <a:gd name="connsiteX1" fmla="*/ 16297 w 18660"/>
                  <a:gd name="connsiteY1" fmla="*/ 11033 h 17587"/>
                  <a:gd name="connsiteX2" fmla="*/ 16857 w 18660"/>
                  <a:gd name="connsiteY2" fmla="*/ 14206 h 17587"/>
                  <a:gd name="connsiteX3" fmla="*/ 13622 w 18660"/>
                  <a:gd name="connsiteY3" fmla="*/ 14641 h 17587"/>
                  <a:gd name="connsiteX4" fmla="*/ 12192 w 18660"/>
                  <a:gd name="connsiteY4" fmla="*/ 17564 h 17587"/>
                  <a:gd name="connsiteX5" fmla="*/ 9330 w 18660"/>
                  <a:gd name="connsiteY5" fmla="*/ 16009 h 17587"/>
                  <a:gd name="connsiteX6" fmla="*/ 6469 w 18660"/>
                  <a:gd name="connsiteY6" fmla="*/ 17564 h 17587"/>
                  <a:gd name="connsiteX7" fmla="*/ 5038 w 18660"/>
                  <a:gd name="connsiteY7" fmla="*/ 14641 h 17587"/>
                  <a:gd name="connsiteX8" fmla="*/ 1804 w 18660"/>
                  <a:gd name="connsiteY8" fmla="*/ 14206 h 17587"/>
                  <a:gd name="connsiteX9" fmla="*/ 2364 w 18660"/>
                  <a:gd name="connsiteY9" fmla="*/ 11033 h 17587"/>
                  <a:gd name="connsiteX10" fmla="*/ 0 w 18660"/>
                  <a:gd name="connsiteY10" fmla="*/ 8794 h 17587"/>
                  <a:gd name="connsiteX11" fmla="*/ 2364 w 18660"/>
                  <a:gd name="connsiteY11" fmla="*/ 6555 h 17587"/>
                  <a:gd name="connsiteX12" fmla="*/ 1804 w 18660"/>
                  <a:gd name="connsiteY12" fmla="*/ 3382 h 17587"/>
                  <a:gd name="connsiteX13" fmla="*/ 5038 w 18660"/>
                  <a:gd name="connsiteY13" fmla="*/ 2947 h 17587"/>
                  <a:gd name="connsiteX14" fmla="*/ 6469 w 18660"/>
                  <a:gd name="connsiteY14" fmla="*/ 24 h 17587"/>
                  <a:gd name="connsiteX15" fmla="*/ 9330 w 18660"/>
                  <a:gd name="connsiteY15" fmla="*/ 1579 h 17587"/>
                  <a:gd name="connsiteX16" fmla="*/ 12192 w 18660"/>
                  <a:gd name="connsiteY16" fmla="*/ 24 h 17587"/>
                  <a:gd name="connsiteX17" fmla="*/ 13622 w 18660"/>
                  <a:gd name="connsiteY17" fmla="*/ 2947 h 17587"/>
                  <a:gd name="connsiteX18" fmla="*/ 16857 w 18660"/>
                  <a:gd name="connsiteY18" fmla="*/ 3382 h 17587"/>
                  <a:gd name="connsiteX19" fmla="*/ 16297 w 18660"/>
                  <a:gd name="connsiteY19" fmla="*/ 6555 h 17587"/>
                  <a:gd name="connsiteX20" fmla="*/ 18660 w 18660"/>
                  <a:gd name="connsiteY20" fmla="*/ 8794 h 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660" h="17587">
                    <a:moveTo>
                      <a:pt x="18660" y="8794"/>
                    </a:moveTo>
                    <a:cubicBezTo>
                      <a:pt x="18660" y="9665"/>
                      <a:pt x="16608" y="10225"/>
                      <a:pt x="16297" y="11033"/>
                    </a:cubicBezTo>
                    <a:cubicBezTo>
                      <a:pt x="16048" y="11842"/>
                      <a:pt x="17354" y="13521"/>
                      <a:pt x="16857" y="14206"/>
                    </a:cubicBezTo>
                    <a:cubicBezTo>
                      <a:pt x="16359" y="14890"/>
                      <a:pt x="14369" y="14143"/>
                      <a:pt x="13622" y="14641"/>
                    </a:cubicBezTo>
                    <a:cubicBezTo>
                      <a:pt x="12938" y="15139"/>
                      <a:pt x="13062" y="17316"/>
                      <a:pt x="12192" y="17564"/>
                    </a:cubicBezTo>
                    <a:cubicBezTo>
                      <a:pt x="11383" y="17813"/>
                      <a:pt x="10201" y="16009"/>
                      <a:pt x="9330" y="16009"/>
                    </a:cubicBezTo>
                    <a:cubicBezTo>
                      <a:pt x="8459" y="16009"/>
                      <a:pt x="7278" y="17813"/>
                      <a:pt x="6469" y="17564"/>
                    </a:cubicBezTo>
                    <a:cubicBezTo>
                      <a:pt x="5660" y="17316"/>
                      <a:pt x="5723" y="15139"/>
                      <a:pt x="5038" y="14641"/>
                    </a:cubicBezTo>
                    <a:cubicBezTo>
                      <a:pt x="4354" y="14143"/>
                      <a:pt x="2364" y="14890"/>
                      <a:pt x="1804" y="14206"/>
                    </a:cubicBezTo>
                    <a:cubicBezTo>
                      <a:pt x="1306" y="13521"/>
                      <a:pt x="2675" y="11842"/>
                      <a:pt x="2364" y="11033"/>
                    </a:cubicBezTo>
                    <a:cubicBezTo>
                      <a:pt x="2115" y="10225"/>
                      <a:pt x="0" y="9665"/>
                      <a:pt x="0" y="8794"/>
                    </a:cubicBezTo>
                    <a:cubicBezTo>
                      <a:pt x="0" y="7923"/>
                      <a:pt x="2053" y="7363"/>
                      <a:pt x="2364" y="6555"/>
                    </a:cubicBezTo>
                    <a:cubicBezTo>
                      <a:pt x="2612" y="5746"/>
                      <a:pt x="1306" y="4067"/>
                      <a:pt x="1804" y="3382"/>
                    </a:cubicBezTo>
                    <a:cubicBezTo>
                      <a:pt x="2301" y="2698"/>
                      <a:pt x="4292" y="3445"/>
                      <a:pt x="5038" y="2947"/>
                    </a:cubicBezTo>
                    <a:cubicBezTo>
                      <a:pt x="5723" y="2449"/>
                      <a:pt x="5598" y="272"/>
                      <a:pt x="6469" y="24"/>
                    </a:cubicBezTo>
                    <a:cubicBezTo>
                      <a:pt x="7278" y="-225"/>
                      <a:pt x="8459" y="1579"/>
                      <a:pt x="9330" y="1579"/>
                    </a:cubicBezTo>
                    <a:cubicBezTo>
                      <a:pt x="10201" y="1579"/>
                      <a:pt x="11383" y="-225"/>
                      <a:pt x="12192" y="24"/>
                    </a:cubicBezTo>
                    <a:cubicBezTo>
                      <a:pt x="13000" y="272"/>
                      <a:pt x="12938" y="2449"/>
                      <a:pt x="13622" y="2947"/>
                    </a:cubicBezTo>
                    <a:cubicBezTo>
                      <a:pt x="14306" y="3445"/>
                      <a:pt x="16297" y="2698"/>
                      <a:pt x="16857" y="3382"/>
                    </a:cubicBezTo>
                    <a:cubicBezTo>
                      <a:pt x="17354" y="4067"/>
                      <a:pt x="15986" y="5746"/>
                      <a:pt x="16297" y="6555"/>
                    </a:cubicBezTo>
                    <a:cubicBezTo>
                      <a:pt x="16546" y="7363"/>
                      <a:pt x="18660" y="7923"/>
                      <a:pt x="18660" y="8794"/>
                    </a:cubicBezTo>
                    <a:close/>
                  </a:path>
                </a:pathLst>
              </a:custGeom>
              <a:solidFill>
                <a:srgbClr val="E8E8E8"/>
              </a:solidFill>
              <a:ln w="6130" cap="flat">
                <a:noFill/>
                <a:prstDash val="solid"/>
                <a:miter/>
              </a:ln>
            </p:spPr>
            <p:txBody>
              <a:bodyPr rtlCol="0" anchor="ctr"/>
              <a:lstStyle/>
              <a:p>
                <a:pPr algn="l" rtl="0"/>
                <a:endParaRPr lang="en-US" dirty="0"/>
              </a:p>
            </p:txBody>
          </p:sp>
          <p:sp>
            <p:nvSpPr>
              <p:cNvPr id="607" name="Freeform: Shape 606">
                <a:extLst>
                  <a:ext uri="{FF2B5EF4-FFF2-40B4-BE49-F238E27FC236}">
                    <a16:creationId xmlns:a16="http://schemas.microsoft.com/office/drawing/2014/main" id="{04774921-66DB-4B67-BE53-FCA14788493A}"/>
                  </a:ext>
                </a:extLst>
              </p:cNvPr>
              <p:cNvSpPr/>
              <p:nvPr/>
            </p:nvSpPr>
            <p:spPr>
              <a:xfrm>
                <a:off x="923356" y="4077071"/>
                <a:ext cx="12751" cy="14578"/>
              </a:xfrm>
              <a:custGeom>
                <a:avLst/>
                <a:gdLst>
                  <a:gd name="connsiteX0" fmla="*/ 12751 w 12751"/>
                  <a:gd name="connsiteY0" fmla="*/ 5723 h 14578"/>
                  <a:gd name="connsiteX1" fmla="*/ 10388 w 12751"/>
                  <a:gd name="connsiteY1" fmla="*/ 3483 h 14578"/>
                  <a:gd name="connsiteX2" fmla="*/ 10947 w 12751"/>
                  <a:gd name="connsiteY2" fmla="*/ 311 h 14578"/>
                  <a:gd name="connsiteX3" fmla="*/ 10014 w 12751"/>
                  <a:gd name="connsiteY3" fmla="*/ 0 h 14578"/>
                  <a:gd name="connsiteX4" fmla="*/ 10201 w 12751"/>
                  <a:gd name="connsiteY4" fmla="*/ 62 h 14578"/>
                  <a:gd name="connsiteX5" fmla="*/ 9641 w 12751"/>
                  <a:gd name="connsiteY5" fmla="*/ 3172 h 14578"/>
                  <a:gd name="connsiteX6" fmla="*/ 11881 w 12751"/>
                  <a:gd name="connsiteY6" fmla="*/ 5349 h 14578"/>
                  <a:gd name="connsiteX7" fmla="*/ 9641 w 12751"/>
                  <a:gd name="connsiteY7" fmla="*/ 7526 h 14578"/>
                  <a:gd name="connsiteX8" fmla="*/ 10201 w 12751"/>
                  <a:gd name="connsiteY8" fmla="*/ 10636 h 14578"/>
                  <a:gd name="connsiteX9" fmla="*/ 7091 w 12751"/>
                  <a:gd name="connsiteY9" fmla="*/ 11072 h 14578"/>
                  <a:gd name="connsiteX10" fmla="*/ 5723 w 12751"/>
                  <a:gd name="connsiteY10" fmla="*/ 13933 h 14578"/>
                  <a:gd name="connsiteX11" fmla="*/ 2923 w 12751"/>
                  <a:gd name="connsiteY11" fmla="*/ 12440 h 14578"/>
                  <a:gd name="connsiteX12" fmla="*/ 124 w 12751"/>
                  <a:gd name="connsiteY12" fmla="*/ 13933 h 14578"/>
                  <a:gd name="connsiteX13" fmla="*/ 0 w 12751"/>
                  <a:gd name="connsiteY13" fmla="*/ 13809 h 14578"/>
                  <a:gd name="connsiteX14" fmla="*/ 560 w 12751"/>
                  <a:gd name="connsiteY14" fmla="*/ 14555 h 14578"/>
                  <a:gd name="connsiteX15" fmla="*/ 3421 w 12751"/>
                  <a:gd name="connsiteY15" fmla="*/ 13000 h 14578"/>
                  <a:gd name="connsiteX16" fmla="*/ 6282 w 12751"/>
                  <a:gd name="connsiteY16" fmla="*/ 14555 h 14578"/>
                  <a:gd name="connsiteX17" fmla="*/ 7713 w 12751"/>
                  <a:gd name="connsiteY17" fmla="*/ 11632 h 14578"/>
                  <a:gd name="connsiteX18" fmla="*/ 10947 w 12751"/>
                  <a:gd name="connsiteY18" fmla="*/ 11196 h 14578"/>
                  <a:gd name="connsiteX19" fmla="*/ 10388 w 12751"/>
                  <a:gd name="connsiteY19" fmla="*/ 8024 h 14578"/>
                  <a:gd name="connsiteX20" fmla="*/ 12751 w 12751"/>
                  <a:gd name="connsiteY20" fmla="*/ 5785 h 1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751" h="14578">
                    <a:moveTo>
                      <a:pt x="12751" y="5723"/>
                    </a:moveTo>
                    <a:cubicBezTo>
                      <a:pt x="12751" y="4852"/>
                      <a:pt x="10699" y="4292"/>
                      <a:pt x="10388" y="3483"/>
                    </a:cubicBezTo>
                    <a:cubicBezTo>
                      <a:pt x="10139" y="2675"/>
                      <a:pt x="11445" y="995"/>
                      <a:pt x="10947" y="311"/>
                    </a:cubicBezTo>
                    <a:cubicBezTo>
                      <a:pt x="10761" y="62"/>
                      <a:pt x="10388" y="0"/>
                      <a:pt x="10014" y="0"/>
                    </a:cubicBezTo>
                    <a:cubicBezTo>
                      <a:pt x="10014" y="0"/>
                      <a:pt x="10139" y="0"/>
                      <a:pt x="10201" y="62"/>
                    </a:cubicBezTo>
                    <a:cubicBezTo>
                      <a:pt x="10699" y="746"/>
                      <a:pt x="9392" y="2364"/>
                      <a:pt x="9641" y="3172"/>
                    </a:cubicBezTo>
                    <a:cubicBezTo>
                      <a:pt x="9890" y="3981"/>
                      <a:pt x="11881" y="4479"/>
                      <a:pt x="11881" y="5349"/>
                    </a:cubicBezTo>
                    <a:cubicBezTo>
                      <a:pt x="11881" y="6220"/>
                      <a:pt x="9890" y="6780"/>
                      <a:pt x="9641" y="7526"/>
                    </a:cubicBezTo>
                    <a:cubicBezTo>
                      <a:pt x="9392" y="8335"/>
                      <a:pt x="10699" y="9952"/>
                      <a:pt x="10201" y="10636"/>
                    </a:cubicBezTo>
                    <a:cubicBezTo>
                      <a:pt x="9703" y="11321"/>
                      <a:pt x="7775" y="10574"/>
                      <a:pt x="7091" y="11072"/>
                    </a:cubicBezTo>
                    <a:cubicBezTo>
                      <a:pt x="6407" y="11569"/>
                      <a:pt x="6531" y="13622"/>
                      <a:pt x="5723" y="13933"/>
                    </a:cubicBezTo>
                    <a:cubicBezTo>
                      <a:pt x="4914" y="14182"/>
                      <a:pt x="3794" y="12440"/>
                      <a:pt x="2923" y="12440"/>
                    </a:cubicBezTo>
                    <a:cubicBezTo>
                      <a:pt x="2053" y="12440"/>
                      <a:pt x="933" y="14182"/>
                      <a:pt x="124" y="13933"/>
                    </a:cubicBezTo>
                    <a:cubicBezTo>
                      <a:pt x="124" y="13933"/>
                      <a:pt x="62" y="13871"/>
                      <a:pt x="0" y="13809"/>
                    </a:cubicBezTo>
                    <a:cubicBezTo>
                      <a:pt x="124" y="14182"/>
                      <a:pt x="311" y="14493"/>
                      <a:pt x="560" y="14555"/>
                    </a:cubicBezTo>
                    <a:cubicBezTo>
                      <a:pt x="1368" y="14804"/>
                      <a:pt x="2550" y="13000"/>
                      <a:pt x="3421" y="13000"/>
                    </a:cubicBezTo>
                    <a:cubicBezTo>
                      <a:pt x="4292" y="13000"/>
                      <a:pt x="5474" y="14804"/>
                      <a:pt x="6282" y="14555"/>
                    </a:cubicBezTo>
                    <a:cubicBezTo>
                      <a:pt x="7091" y="14306"/>
                      <a:pt x="7029" y="12129"/>
                      <a:pt x="7713" y="11632"/>
                    </a:cubicBezTo>
                    <a:cubicBezTo>
                      <a:pt x="8397" y="11134"/>
                      <a:pt x="10388" y="11880"/>
                      <a:pt x="10947" y="11196"/>
                    </a:cubicBezTo>
                    <a:cubicBezTo>
                      <a:pt x="11445" y="10512"/>
                      <a:pt x="10077" y="8833"/>
                      <a:pt x="10388" y="8024"/>
                    </a:cubicBezTo>
                    <a:cubicBezTo>
                      <a:pt x="10636" y="7215"/>
                      <a:pt x="12751" y="6656"/>
                      <a:pt x="12751" y="5785"/>
                    </a:cubicBezTo>
                    <a:close/>
                  </a:path>
                </a:pathLst>
              </a:custGeom>
              <a:solidFill>
                <a:srgbClr val="949494"/>
              </a:solidFill>
              <a:ln w="6130" cap="flat">
                <a:noFill/>
                <a:prstDash val="solid"/>
                <a:miter/>
              </a:ln>
            </p:spPr>
            <p:txBody>
              <a:bodyPr rtlCol="0" anchor="ctr"/>
              <a:lstStyle/>
              <a:p>
                <a:pPr algn="l" rtl="0"/>
                <a:endParaRPr lang="en-US" dirty="0"/>
              </a:p>
            </p:txBody>
          </p:sp>
          <p:sp>
            <p:nvSpPr>
              <p:cNvPr id="608" name="Freeform: Shape 607">
                <a:extLst>
                  <a:ext uri="{FF2B5EF4-FFF2-40B4-BE49-F238E27FC236}">
                    <a16:creationId xmlns:a16="http://schemas.microsoft.com/office/drawing/2014/main" id="{1B158931-E0B9-4898-927E-52ED672E1971}"/>
                  </a:ext>
                </a:extLst>
              </p:cNvPr>
              <p:cNvSpPr/>
              <p:nvPr/>
            </p:nvSpPr>
            <p:spPr>
              <a:xfrm>
                <a:off x="917509" y="4073938"/>
                <a:ext cx="16974" cy="17626"/>
              </a:xfrm>
              <a:custGeom>
                <a:avLst/>
                <a:gdLst>
                  <a:gd name="connsiteX0" fmla="*/ 13622 w 16974"/>
                  <a:gd name="connsiteY0" fmla="*/ 2947 h 17626"/>
                  <a:gd name="connsiteX1" fmla="*/ 13373 w 16974"/>
                  <a:gd name="connsiteY1" fmla="*/ 2574 h 17626"/>
                  <a:gd name="connsiteX2" fmla="*/ 13995 w 16974"/>
                  <a:gd name="connsiteY2" fmla="*/ 4004 h 17626"/>
                  <a:gd name="connsiteX3" fmla="*/ 16857 w 16974"/>
                  <a:gd name="connsiteY3" fmla="*/ 4315 h 17626"/>
                  <a:gd name="connsiteX4" fmla="*/ 16857 w 16974"/>
                  <a:gd name="connsiteY4" fmla="*/ 3382 h 17626"/>
                  <a:gd name="connsiteX5" fmla="*/ 13622 w 16974"/>
                  <a:gd name="connsiteY5" fmla="*/ 2947 h 17626"/>
                  <a:gd name="connsiteX6" fmla="*/ 9330 w 16974"/>
                  <a:gd name="connsiteY6" fmla="*/ 1579 h 17626"/>
                  <a:gd name="connsiteX7" fmla="*/ 6469 w 16974"/>
                  <a:gd name="connsiteY7" fmla="*/ 24 h 17626"/>
                  <a:gd name="connsiteX8" fmla="*/ 5038 w 16974"/>
                  <a:gd name="connsiteY8" fmla="*/ 2947 h 17626"/>
                  <a:gd name="connsiteX9" fmla="*/ 1804 w 16974"/>
                  <a:gd name="connsiteY9" fmla="*/ 3382 h 17626"/>
                  <a:gd name="connsiteX10" fmla="*/ 2364 w 16974"/>
                  <a:gd name="connsiteY10" fmla="*/ 6555 h 17626"/>
                  <a:gd name="connsiteX11" fmla="*/ 0 w 16974"/>
                  <a:gd name="connsiteY11" fmla="*/ 8794 h 17626"/>
                  <a:gd name="connsiteX12" fmla="*/ 2364 w 16974"/>
                  <a:gd name="connsiteY12" fmla="*/ 11033 h 17626"/>
                  <a:gd name="connsiteX13" fmla="*/ 1804 w 16974"/>
                  <a:gd name="connsiteY13" fmla="*/ 14206 h 17626"/>
                  <a:gd name="connsiteX14" fmla="*/ 2799 w 16974"/>
                  <a:gd name="connsiteY14" fmla="*/ 14517 h 17626"/>
                  <a:gd name="connsiteX15" fmla="*/ 3359 w 16974"/>
                  <a:gd name="connsiteY15" fmla="*/ 11655 h 17626"/>
                  <a:gd name="connsiteX16" fmla="*/ 1182 w 16974"/>
                  <a:gd name="connsiteY16" fmla="*/ 9540 h 17626"/>
                  <a:gd name="connsiteX17" fmla="*/ 3421 w 16974"/>
                  <a:gd name="connsiteY17" fmla="*/ 7426 h 17626"/>
                  <a:gd name="connsiteX18" fmla="*/ 2861 w 16974"/>
                  <a:gd name="connsiteY18" fmla="*/ 4440 h 17626"/>
                  <a:gd name="connsiteX19" fmla="*/ 5909 w 16974"/>
                  <a:gd name="connsiteY19" fmla="*/ 4004 h 17626"/>
                  <a:gd name="connsiteX20" fmla="*/ 7215 w 16974"/>
                  <a:gd name="connsiteY20" fmla="*/ 1268 h 17626"/>
                  <a:gd name="connsiteX21" fmla="*/ 9890 w 16974"/>
                  <a:gd name="connsiteY21" fmla="*/ 2698 h 17626"/>
                  <a:gd name="connsiteX22" fmla="*/ 12565 w 16974"/>
                  <a:gd name="connsiteY22" fmla="*/ 1268 h 17626"/>
                  <a:gd name="connsiteX23" fmla="*/ 12938 w 16974"/>
                  <a:gd name="connsiteY23" fmla="*/ 1641 h 17626"/>
                  <a:gd name="connsiteX24" fmla="*/ 12129 w 16974"/>
                  <a:gd name="connsiteY24" fmla="*/ 24 h 17626"/>
                  <a:gd name="connsiteX25" fmla="*/ 9268 w 16974"/>
                  <a:gd name="connsiteY25" fmla="*/ 1579 h 17626"/>
                  <a:gd name="connsiteX26" fmla="*/ 5163 w 16974"/>
                  <a:gd name="connsiteY26" fmla="*/ 14952 h 17626"/>
                  <a:gd name="connsiteX27" fmla="*/ 6407 w 16974"/>
                  <a:gd name="connsiteY27" fmla="*/ 17627 h 17626"/>
                  <a:gd name="connsiteX28" fmla="*/ 6842 w 16974"/>
                  <a:gd name="connsiteY28" fmla="*/ 17564 h 17626"/>
                  <a:gd name="connsiteX29" fmla="*/ 5847 w 16974"/>
                  <a:gd name="connsiteY29" fmla="*/ 15139 h 17626"/>
                  <a:gd name="connsiteX30" fmla="*/ 5163 w 16974"/>
                  <a:gd name="connsiteY30" fmla="*/ 14952 h 1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974" h="17626">
                    <a:moveTo>
                      <a:pt x="13622" y="2947"/>
                    </a:moveTo>
                    <a:cubicBezTo>
                      <a:pt x="13622" y="2947"/>
                      <a:pt x="13436" y="2698"/>
                      <a:pt x="13373" y="2574"/>
                    </a:cubicBezTo>
                    <a:cubicBezTo>
                      <a:pt x="13498" y="3196"/>
                      <a:pt x="13684" y="3818"/>
                      <a:pt x="13995" y="4004"/>
                    </a:cubicBezTo>
                    <a:cubicBezTo>
                      <a:pt x="14617" y="4440"/>
                      <a:pt x="16172" y="3942"/>
                      <a:pt x="16857" y="4315"/>
                    </a:cubicBezTo>
                    <a:cubicBezTo>
                      <a:pt x="16981" y="3942"/>
                      <a:pt x="17043" y="3569"/>
                      <a:pt x="16857" y="3382"/>
                    </a:cubicBezTo>
                    <a:cubicBezTo>
                      <a:pt x="16359" y="2698"/>
                      <a:pt x="14369" y="3445"/>
                      <a:pt x="13622" y="2947"/>
                    </a:cubicBezTo>
                    <a:close/>
                    <a:moveTo>
                      <a:pt x="9330" y="1579"/>
                    </a:moveTo>
                    <a:cubicBezTo>
                      <a:pt x="8459" y="1579"/>
                      <a:pt x="7278" y="-225"/>
                      <a:pt x="6469" y="24"/>
                    </a:cubicBezTo>
                    <a:cubicBezTo>
                      <a:pt x="5660" y="272"/>
                      <a:pt x="5723" y="2449"/>
                      <a:pt x="5038" y="2947"/>
                    </a:cubicBezTo>
                    <a:cubicBezTo>
                      <a:pt x="4354" y="3445"/>
                      <a:pt x="2364" y="2698"/>
                      <a:pt x="1804" y="3382"/>
                    </a:cubicBezTo>
                    <a:cubicBezTo>
                      <a:pt x="1306" y="4067"/>
                      <a:pt x="2675" y="5746"/>
                      <a:pt x="2364" y="6555"/>
                    </a:cubicBezTo>
                    <a:cubicBezTo>
                      <a:pt x="2115" y="7363"/>
                      <a:pt x="0" y="7923"/>
                      <a:pt x="0" y="8794"/>
                    </a:cubicBezTo>
                    <a:cubicBezTo>
                      <a:pt x="0" y="9665"/>
                      <a:pt x="2053" y="10225"/>
                      <a:pt x="2364" y="11033"/>
                    </a:cubicBezTo>
                    <a:cubicBezTo>
                      <a:pt x="2612" y="11842"/>
                      <a:pt x="1306" y="13521"/>
                      <a:pt x="1804" y="14206"/>
                    </a:cubicBezTo>
                    <a:cubicBezTo>
                      <a:pt x="1990" y="14454"/>
                      <a:pt x="2364" y="14517"/>
                      <a:pt x="2799" y="14517"/>
                    </a:cubicBezTo>
                    <a:cubicBezTo>
                      <a:pt x="2488" y="13832"/>
                      <a:pt x="3608" y="12402"/>
                      <a:pt x="3359" y="11655"/>
                    </a:cubicBezTo>
                    <a:cubicBezTo>
                      <a:pt x="3110" y="10909"/>
                      <a:pt x="1182" y="10349"/>
                      <a:pt x="1182" y="9540"/>
                    </a:cubicBezTo>
                    <a:cubicBezTo>
                      <a:pt x="1182" y="8732"/>
                      <a:pt x="3172" y="8172"/>
                      <a:pt x="3421" y="7426"/>
                    </a:cubicBezTo>
                    <a:cubicBezTo>
                      <a:pt x="3670" y="6617"/>
                      <a:pt x="2426" y="5062"/>
                      <a:pt x="2861" y="4440"/>
                    </a:cubicBezTo>
                    <a:cubicBezTo>
                      <a:pt x="3359" y="3756"/>
                      <a:pt x="5225" y="4502"/>
                      <a:pt x="5909" y="4004"/>
                    </a:cubicBezTo>
                    <a:cubicBezTo>
                      <a:pt x="6593" y="3507"/>
                      <a:pt x="6469" y="1516"/>
                      <a:pt x="7215" y="1268"/>
                    </a:cubicBezTo>
                    <a:cubicBezTo>
                      <a:pt x="7962" y="1019"/>
                      <a:pt x="9081" y="2698"/>
                      <a:pt x="9890" y="2698"/>
                    </a:cubicBezTo>
                    <a:cubicBezTo>
                      <a:pt x="10699" y="2698"/>
                      <a:pt x="11818" y="1019"/>
                      <a:pt x="12565" y="1268"/>
                    </a:cubicBezTo>
                    <a:cubicBezTo>
                      <a:pt x="12751" y="1268"/>
                      <a:pt x="12814" y="1454"/>
                      <a:pt x="12938" y="1641"/>
                    </a:cubicBezTo>
                    <a:cubicBezTo>
                      <a:pt x="12751" y="894"/>
                      <a:pt x="12565" y="148"/>
                      <a:pt x="12129" y="24"/>
                    </a:cubicBezTo>
                    <a:cubicBezTo>
                      <a:pt x="11321" y="-225"/>
                      <a:pt x="10139" y="1579"/>
                      <a:pt x="9268" y="1579"/>
                    </a:cubicBezTo>
                    <a:close/>
                    <a:moveTo>
                      <a:pt x="5163" y="14952"/>
                    </a:moveTo>
                    <a:cubicBezTo>
                      <a:pt x="5660" y="15636"/>
                      <a:pt x="5660" y="17378"/>
                      <a:pt x="6407" y="17627"/>
                    </a:cubicBezTo>
                    <a:cubicBezTo>
                      <a:pt x="6531" y="17627"/>
                      <a:pt x="6718" y="17627"/>
                      <a:pt x="6842" y="17564"/>
                    </a:cubicBezTo>
                    <a:cubicBezTo>
                      <a:pt x="6407" y="16942"/>
                      <a:pt x="6345" y="15512"/>
                      <a:pt x="5847" y="15139"/>
                    </a:cubicBezTo>
                    <a:cubicBezTo>
                      <a:pt x="5660" y="15014"/>
                      <a:pt x="5412" y="14952"/>
                      <a:pt x="5163" y="14952"/>
                    </a:cubicBezTo>
                    <a:close/>
                  </a:path>
                </a:pathLst>
              </a:custGeom>
              <a:solidFill>
                <a:srgbClr val="FAFAFA"/>
              </a:solidFill>
              <a:ln w="6130" cap="flat">
                <a:noFill/>
                <a:prstDash val="solid"/>
                <a:miter/>
              </a:ln>
            </p:spPr>
            <p:txBody>
              <a:bodyPr rtlCol="0" anchor="ctr"/>
              <a:lstStyle/>
              <a:p>
                <a:pPr algn="l" rtl="0"/>
                <a:endParaRPr lang="en-US" dirty="0"/>
              </a:p>
            </p:txBody>
          </p:sp>
        </p:grpSp>
        <p:sp>
          <p:nvSpPr>
            <p:cNvPr id="577" name="Freeform: Shape 576">
              <a:extLst>
                <a:ext uri="{FF2B5EF4-FFF2-40B4-BE49-F238E27FC236}">
                  <a16:creationId xmlns:a16="http://schemas.microsoft.com/office/drawing/2014/main" id="{7BEBD00E-2989-40A2-9457-01EDFCCD83ED}"/>
                </a:ext>
              </a:extLst>
            </p:cNvPr>
            <p:cNvSpPr/>
            <p:nvPr/>
          </p:nvSpPr>
          <p:spPr>
            <a:xfrm>
              <a:off x="666028" y="4143503"/>
              <a:ext cx="75761" cy="159857"/>
            </a:xfrm>
            <a:custGeom>
              <a:avLst/>
              <a:gdLst>
                <a:gd name="connsiteX0" fmla="*/ 0 w 75761"/>
                <a:gd name="connsiteY0" fmla="*/ 62 h 159857"/>
                <a:gd name="connsiteX1" fmla="*/ 0 w 75761"/>
                <a:gd name="connsiteY1" fmla="*/ 159858 h 159857"/>
                <a:gd name="connsiteX2" fmla="*/ 75762 w 75761"/>
                <a:gd name="connsiteY2" fmla="*/ 79929 h 159857"/>
                <a:gd name="connsiteX3" fmla="*/ 0 w 75761"/>
                <a:gd name="connsiteY3" fmla="*/ 0 h 159857"/>
              </a:gdLst>
              <a:ahLst/>
              <a:cxnLst>
                <a:cxn ang="0">
                  <a:pos x="connsiteX0" y="connsiteY0"/>
                </a:cxn>
                <a:cxn ang="0">
                  <a:pos x="connsiteX1" y="connsiteY1"/>
                </a:cxn>
                <a:cxn ang="0">
                  <a:pos x="connsiteX2" y="connsiteY2"/>
                </a:cxn>
                <a:cxn ang="0">
                  <a:pos x="connsiteX3" y="connsiteY3"/>
                </a:cxn>
              </a:cxnLst>
              <a:rect l="l" t="t" r="r" b="b"/>
              <a:pathLst>
                <a:path w="75761" h="159857">
                  <a:moveTo>
                    <a:pt x="0" y="62"/>
                  </a:moveTo>
                  <a:lnTo>
                    <a:pt x="0" y="159858"/>
                  </a:lnTo>
                  <a:cubicBezTo>
                    <a:pt x="42235" y="157556"/>
                    <a:pt x="75762" y="122724"/>
                    <a:pt x="75762" y="79929"/>
                  </a:cubicBezTo>
                  <a:cubicBezTo>
                    <a:pt x="75762" y="37134"/>
                    <a:pt x="42235" y="2301"/>
                    <a:pt x="0" y="0"/>
                  </a:cubicBezTo>
                  <a:close/>
                </a:path>
              </a:pathLst>
            </a:custGeom>
            <a:solidFill>
              <a:schemeClr val="accent3"/>
            </a:solidFill>
            <a:ln w="6130" cap="flat">
              <a:noFill/>
              <a:prstDash val="solid"/>
              <a:miter/>
            </a:ln>
          </p:spPr>
          <p:txBody>
            <a:bodyPr rtlCol="0" anchor="ctr"/>
            <a:lstStyle/>
            <a:p>
              <a:pPr algn="l" rtl="0"/>
              <a:endParaRPr lang="en-US" dirty="0"/>
            </a:p>
          </p:txBody>
        </p:sp>
        <p:sp>
          <p:nvSpPr>
            <p:cNvPr id="578" name="Freeform: Shape 577">
              <a:extLst>
                <a:ext uri="{FF2B5EF4-FFF2-40B4-BE49-F238E27FC236}">
                  <a16:creationId xmlns:a16="http://schemas.microsoft.com/office/drawing/2014/main" id="{CB123692-29F9-45E0-9AF6-72C81D14A103}"/>
                </a:ext>
              </a:extLst>
            </p:cNvPr>
            <p:cNvSpPr/>
            <p:nvPr/>
          </p:nvSpPr>
          <p:spPr>
            <a:xfrm>
              <a:off x="665966" y="4164776"/>
              <a:ext cx="75761" cy="138585"/>
            </a:xfrm>
            <a:custGeom>
              <a:avLst/>
              <a:gdLst>
                <a:gd name="connsiteX0" fmla="*/ 50134 w 75761"/>
                <a:gd name="connsiteY0" fmla="*/ 0 h 138585"/>
                <a:gd name="connsiteX1" fmla="*/ 71594 w 75761"/>
                <a:gd name="connsiteY1" fmla="*/ 54489 h 138585"/>
                <a:gd name="connsiteX2" fmla="*/ 0 w 75761"/>
                <a:gd name="connsiteY2" fmla="*/ 134169 h 138585"/>
                <a:gd name="connsiteX3" fmla="*/ 0 w 75761"/>
                <a:gd name="connsiteY3" fmla="*/ 138585 h 138585"/>
                <a:gd name="connsiteX4" fmla="*/ 75762 w 75761"/>
                <a:gd name="connsiteY4" fmla="*/ 58656 h 138585"/>
                <a:gd name="connsiteX5" fmla="*/ 50072 w 75761"/>
                <a:gd name="connsiteY5" fmla="*/ 0 h 13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61" h="138585">
                  <a:moveTo>
                    <a:pt x="50134" y="0"/>
                  </a:moveTo>
                  <a:cubicBezTo>
                    <a:pt x="63446" y="14306"/>
                    <a:pt x="71594" y="33402"/>
                    <a:pt x="71594" y="54489"/>
                  </a:cubicBezTo>
                  <a:cubicBezTo>
                    <a:pt x="71594" y="95853"/>
                    <a:pt x="40244" y="129877"/>
                    <a:pt x="0" y="134169"/>
                  </a:cubicBezTo>
                  <a:lnTo>
                    <a:pt x="0" y="138585"/>
                  </a:lnTo>
                  <a:cubicBezTo>
                    <a:pt x="42235" y="136284"/>
                    <a:pt x="75762" y="101451"/>
                    <a:pt x="75762" y="58656"/>
                  </a:cubicBezTo>
                  <a:cubicBezTo>
                    <a:pt x="75762" y="35455"/>
                    <a:pt x="65871" y="14617"/>
                    <a:pt x="50072" y="0"/>
                  </a:cubicBezTo>
                  <a:close/>
                </a:path>
              </a:pathLst>
            </a:custGeom>
            <a:solidFill>
              <a:schemeClr val="accent2">
                <a:lumMod val="75000"/>
              </a:schemeClr>
            </a:solidFill>
            <a:ln w="6130" cap="flat">
              <a:noFill/>
              <a:prstDash val="solid"/>
              <a:miter/>
            </a:ln>
          </p:spPr>
          <p:txBody>
            <a:bodyPr rtlCol="0" anchor="ctr"/>
            <a:lstStyle/>
            <a:p>
              <a:pPr algn="l" rtl="0"/>
              <a:endParaRPr lang="en-US" dirty="0"/>
            </a:p>
          </p:txBody>
        </p:sp>
        <p:sp>
          <p:nvSpPr>
            <p:cNvPr id="579" name="Freeform: Shape 578">
              <a:extLst>
                <a:ext uri="{FF2B5EF4-FFF2-40B4-BE49-F238E27FC236}">
                  <a16:creationId xmlns:a16="http://schemas.microsoft.com/office/drawing/2014/main" id="{B89AC63E-756C-4802-96B0-C2153CCB9CB3}"/>
                </a:ext>
              </a:extLst>
            </p:cNvPr>
            <p:cNvSpPr/>
            <p:nvPr/>
          </p:nvSpPr>
          <p:spPr>
            <a:xfrm>
              <a:off x="666028" y="4143440"/>
              <a:ext cx="54986" cy="26373"/>
            </a:xfrm>
            <a:custGeom>
              <a:avLst/>
              <a:gdLst>
                <a:gd name="connsiteX0" fmla="*/ 0 w 54986"/>
                <a:gd name="connsiteY0" fmla="*/ 0 h 26373"/>
                <a:gd name="connsiteX1" fmla="*/ 0 w 54986"/>
                <a:gd name="connsiteY1" fmla="*/ 5536 h 26373"/>
                <a:gd name="connsiteX2" fmla="*/ 1244 w 54986"/>
                <a:gd name="connsiteY2" fmla="*/ 5536 h 26373"/>
                <a:gd name="connsiteX3" fmla="*/ 54986 w 54986"/>
                <a:gd name="connsiteY3" fmla="*/ 26373 h 26373"/>
                <a:gd name="connsiteX4" fmla="*/ 62 w 54986"/>
                <a:gd name="connsiteY4" fmla="*/ 62 h 26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86" h="26373">
                  <a:moveTo>
                    <a:pt x="0" y="0"/>
                  </a:moveTo>
                  <a:lnTo>
                    <a:pt x="0" y="5536"/>
                  </a:lnTo>
                  <a:cubicBezTo>
                    <a:pt x="435" y="5536"/>
                    <a:pt x="809" y="5536"/>
                    <a:pt x="1244" y="5536"/>
                  </a:cubicBezTo>
                  <a:cubicBezTo>
                    <a:pt x="21957" y="5536"/>
                    <a:pt x="40742" y="13436"/>
                    <a:pt x="54986" y="26373"/>
                  </a:cubicBezTo>
                  <a:cubicBezTo>
                    <a:pt x="41240" y="11196"/>
                    <a:pt x="21833" y="1244"/>
                    <a:pt x="62" y="62"/>
                  </a:cubicBezTo>
                  <a:close/>
                </a:path>
              </a:pathLst>
            </a:custGeom>
            <a:solidFill>
              <a:srgbClr val="FAFAFA"/>
            </a:solidFill>
            <a:ln w="6130" cap="flat">
              <a:noFill/>
              <a:prstDash val="solid"/>
              <a:miter/>
            </a:ln>
          </p:spPr>
          <p:txBody>
            <a:bodyPr rtlCol="0" anchor="ctr"/>
            <a:lstStyle/>
            <a:p>
              <a:pPr algn="l" rtl="0"/>
              <a:endParaRPr lang="en-US" dirty="0"/>
            </a:p>
          </p:txBody>
        </p:sp>
        <p:grpSp>
          <p:nvGrpSpPr>
            <p:cNvPr id="580" name="Graphic 509">
              <a:extLst>
                <a:ext uri="{FF2B5EF4-FFF2-40B4-BE49-F238E27FC236}">
                  <a16:creationId xmlns:a16="http://schemas.microsoft.com/office/drawing/2014/main" id="{C6BEEF64-B553-4972-90BC-7609A944920D}"/>
                </a:ext>
              </a:extLst>
            </p:cNvPr>
            <p:cNvGrpSpPr/>
            <p:nvPr/>
          </p:nvGrpSpPr>
          <p:grpSpPr>
            <a:xfrm>
              <a:off x="702914" y="4209436"/>
              <a:ext cx="27990" cy="27990"/>
              <a:chOff x="702914" y="4209436"/>
              <a:chExt cx="27990" cy="27990"/>
            </a:xfrm>
          </p:grpSpPr>
          <p:sp>
            <p:nvSpPr>
              <p:cNvPr id="602" name="Freeform: Shape 601">
                <a:extLst>
                  <a:ext uri="{FF2B5EF4-FFF2-40B4-BE49-F238E27FC236}">
                    <a16:creationId xmlns:a16="http://schemas.microsoft.com/office/drawing/2014/main" id="{4997EFFC-3509-448F-965E-210128160540}"/>
                  </a:ext>
                </a:extLst>
              </p:cNvPr>
              <p:cNvSpPr/>
              <p:nvPr/>
            </p:nvSpPr>
            <p:spPr>
              <a:xfrm>
                <a:off x="702914" y="4209436"/>
                <a:ext cx="27244" cy="27244"/>
              </a:xfrm>
              <a:custGeom>
                <a:avLst/>
                <a:gdLst>
                  <a:gd name="connsiteX0" fmla="*/ 27244 w 27244"/>
                  <a:gd name="connsiteY0" fmla="*/ 13622 h 27244"/>
                  <a:gd name="connsiteX1" fmla="*/ 13622 w 27244"/>
                  <a:gd name="connsiteY1" fmla="*/ 27244 h 27244"/>
                  <a:gd name="connsiteX2" fmla="*/ 0 w 27244"/>
                  <a:gd name="connsiteY2" fmla="*/ 13622 h 27244"/>
                  <a:gd name="connsiteX3" fmla="*/ 13622 w 27244"/>
                  <a:gd name="connsiteY3" fmla="*/ 0 h 27244"/>
                  <a:gd name="connsiteX4" fmla="*/ 27244 w 27244"/>
                  <a:gd name="connsiteY4" fmla="*/ 13622 h 27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44" h="27244">
                    <a:moveTo>
                      <a:pt x="27244" y="13622"/>
                    </a:moveTo>
                    <a:cubicBezTo>
                      <a:pt x="27244" y="21145"/>
                      <a:pt x="21145" y="27244"/>
                      <a:pt x="13622" y="27244"/>
                    </a:cubicBezTo>
                    <a:cubicBezTo>
                      <a:pt x="6099" y="27244"/>
                      <a:pt x="0" y="21145"/>
                      <a:pt x="0" y="13622"/>
                    </a:cubicBezTo>
                    <a:cubicBezTo>
                      <a:pt x="0" y="6099"/>
                      <a:pt x="6099" y="0"/>
                      <a:pt x="13622" y="0"/>
                    </a:cubicBezTo>
                    <a:cubicBezTo>
                      <a:pt x="21145" y="0"/>
                      <a:pt x="27244" y="6099"/>
                      <a:pt x="27244" y="13622"/>
                    </a:cubicBezTo>
                    <a:close/>
                  </a:path>
                </a:pathLst>
              </a:custGeom>
              <a:solidFill>
                <a:srgbClr val="B0B0B0"/>
              </a:solidFill>
              <a:ln w="6130" cap="flat">
                <a:noFill/>
                <a:prstDash val="solid"/>
                <a:miter/>
              </a:ln>
            </p:spPr>
            <p:txBody>
              <a:bodyPr rtlCol="0" anchor="ctr"/>
              <a:lstStyle/>
              <a:p>
                <a:pPr algn="l" rtl="0"/>
                <a:endParaRPr lang="en-US" dirty="0"/>
              </a:p>
            </p:txBody>
          </p:sp>
          <p:sp>
            <p:nvSpPr>
              <p:cNvPr id="603" name="Freeform: Shape 602">
                <a:extLst>
                  <a:ext uri="{FF2B5EF4-FFF2-40B4-BE49-F238E27FC236}">
                    <a16:creationId xmlns:a16="http://schemas.microsoft.com/office/drawing/2014/main" id="{F2D35AC5-4C61-4A22-BC13-8AD21DC22B97}"/>
                  </a:ext>
                </a:extLst>
              </p:cNvPr>
              <p:cNvSpPr/>
              <p:nvPr/>
            </p:nvSpPr>
            <p:spPr>
              <a:xfrm>
                <a:off x="702914" y="4209436"/>
                <a:ext cx="23263" cy="24071"/>
              </a:xfrm>
              <a:custGeom>
                <a:avLst/>
                <a:gdLst>
                  <a:gd name="connsiteX0" fmla="*/ 995 w 23263"/>
                  <a:gd name="connsiteY0" fmla="*/ 14493 h 24071"/>
                  <a:gd name="connsiteX1" fmla="*/ 14617 w 23263"/>
                  <a:gd name="connsiteY1" fmla="*/ 871 h 24071"/>
                  <a:gd name="connsiteX2" fmla="*/ 23263 w 23263"/>
                  <a:gd name="connsiteY2" fmla="*/ 4043 h 24071"/>
                  <a:gd name="connsiteX3" fmla="*/ 13622 w 23263"/>
                  <a:gd name="connsiteY3" fmla="*/ 0 h 24071"/>
                  <a:gd name="connsiteX4" fmla="*/ 0 w 23263"/>
                  <a:gd name="connsiteY4" fmla="*/ 13622 h 24071"/>
                  <a:gd name="connsiteX5" fmla="*/ 4976 w 23263"/>
                  <a:gd name="connsiteY5" fmla="*/ 24072 h 24071"/>
                  <a:gd name="connsiteX6" fmla="*/ 995 w 23263"/>
                  <a:gd name="connsiteY6" fmla="*/ 14493 h 2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63" h="24071">
                    <a:moveTo>
                      <a:pt x="995" y="14493"/>
                    </a:moveTo>
                    <a:cubicBezTo>
                      <a:pt x="995" y="6967"/>
                      <a:pt x="7091" y="871"/>
                      <a:pt x="14617" y="871"/>
                    </a:cubicBezTo>
                    <a:cubicBezTo>
                      <a:pt x="17914" y="871"/>
                      <a:pt x="20900" y="2115"/>
                      <a:pt x="23263" y="4043"/>
                    </a:cubicBezTo>
                    <a:cubicBezTo>
                      <a:pt x="20775" y="1555"/>
                      <a:pt x="17416" y="0"/>
                      <a:pt x="13622" y="0"/>
                    </a:cubicBezTo>
                    <a:cubicBezTo>
                      <a:pt x="6096" y="0"/>
                      <a:pt x="0" y="6096"/>
                      <a:pt x="0" y="13622"/>
                    </a:cubicBezTo>
                    <a:cubicBezTo>
                      <a:pt x="0" y="17852"/>
                      <a:pt x="1928" y="21584"/>
                      <a:pt x="4976" y="24072"/>
                    </a:cubicBezTo>
                    <a:cubicBezTo>
                      <a:pt x="2550" y="21584"/>
                      <a:pt x="995" y="18225"/>
                      <a:pt x="995" y="14493"/>
                    </a:cubicBezTo>
                    <a:close/>
                  </a:path>
                </a:pathLst>
              </a:custGeom>
              <a:solidFill>
                <a:srgbClr val="636363"/>
              </a:solidFill>
              <a:ln w="6130" cap="flat">
                <a:noFill/>
                <a:prstDash val="solid"/>
                <a:miter/>
              </a:ln>
            </p:spPr>
            <p:txBody>
              <a:bodyPr rtlCol="0" anchor="ctr"/>
              <a:lstStyle/>
              <a:p>
                <a:pPr algn="l" rtl="0"/>
                <a:endParaRPr lang="en-US" dirty="0"/>
              </a:p>
            </p:txBody>
          </p:sp>
          <p:sp>
            <p:nvSpPr>
              <p:cNvPr id="604" name="Freeform: Shape 603">
                <a:extLst>
                  <a:ext uri="{FF2B5EF4-FFF2-40B4-BE49-F238E27FC236}">
                    <a16:creationId xmlns:a16="http://schemas.microsoft.com/office/drawing/2014/main" id="{B5F26003-3B42-49A4-AB7D-B738AA67BAB7}"/>
                  </a:ext>
                </a:extLst>
              </p:cNvPr>
              <p:cNvSpPr/>
              <p:nvPr/>
            </p:nvSpPr>
            <p:spPr>
              <a:xfrm>
                <a:off x="707330" y="4213853"/>
                <a:ext cx="23574" cy="23574"/>
              </a:xfrm>
              <a:custGeom>
                <a:avLst/>
                <a:gdLst>
                  <a:gd name="connsiteX0" fmla="*/ 19158 w 23574"/>
                  <a:gd name="connsiteY0" fmla="*/ 0 h 23574"/>
                  <a:gd name="connsiteX1" fmla="*/ 22828 w 23574"/>
                  <a:gd name="connsiteY1" fmla="*/ 9206 h 23574"/>
                  <a:gd name="connsiteX2" fmla="*/ 9206 w 23574"/>
                  <a:gd name="connsiteY2" fmla="*/ 22828 h 23574"/>
                  <a:gd name="connsiteX3" fmla="*/ 0 w 23574"/>
                  <a:gd name="connsiteY3" fmla="*/ 19158 h 23574"/>
                  <a:gd name="connsiteX4" fmla="*/ 9952 w 23574"/>
                  <a:gd name="connsiteY4" fmla="*/ 23574 h 23574"/>
                  <a:gd name="connsiteX5" fmla="*/ 23574 w 23574"/>
                  <a:gd name="connsiteY5" fmla="*/ 9952 h 23574"/>
                  <a:gd name="connsiteX6" fmla="*/ 19158 w 23574"/>
                  <a:gd name="connsiteY6" fmla="*/ 0 h 23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74" h="23574">
                    <a:moveTo>
                      <a:pt x="19158" y="0"/>
                    </a:moveTo>
                    <a:cubicBezTo>
                      <a:pt x="21397" y="2426"/>
                      <a:pt x="22828" y="5660"/>
                      <a:pt x="22828" y="9206"/>
                    </a:cubicBezTo>
                    <a:cubicBezTo>
                      <a:pt x="22828" y="16732"/>
                      <a:pt x="16732" y="22828"/>
                      <a:pt x="9206" y="22828"/>
                    </a:cubicBezTo>
                    <a:cubicBezTo>
                      <a:pt x="5660" y="22828"/>
                      <a:pt x="2426" y="21397"/>
                      <a:pt x="0" y="19158"/>
                    </a:cubicBezTo>
                    <a:cubicBezTo>
                      <a:pt x="2488" y="21833"/>
                      <a:pt x="6034" y="23574"/>
                      <a:pt x="9952" y="23574"/>
                    </a:cubicBezTo>
                    <a:cubicBezTo>
                      <a:pt x="17479" y="23574"/>
                      <a:pt x="23574" y="17479"/>
                      <a:pt x="23574" y="9952"/>
                    </a:cubicBezTo>
                    <a:cubicBezTo>
                      <a:pt x="23574" y="5971"/>
                      <a:pt x="21895" y="2488"/>
                      <a:pt x="19158" y="0"/>
                    </a:cubicBezTo>
                    <a:close/>
                  </a:path>
                </a:pathLst>
              </a:custGeom>
              <a:solidFill>
                <a:srgbClr val="FAFAFA"/>
              </a:solidFill>
              <a:ln w="6130" cap="flat">
                <a:noFill/>
                <a:prstDash val="solid"/>
                <a:miter/>
              </a:ln>
            </p:spPr>
            <p:txBody>
              <a:bodyPr rtlCol="0" anchor="ctr"/>
              <a:lstStyle/>
              <a:p>
                <a:pPr algn="l" rtl="0"/>
                <a:endParaRPr lang="en-US" dirty="0"/>
              </a:p>
            </p:txBody>
          </p:sp>
        </p:grpSp>
        <p:grpSp>
          <p:nvGrpSpPr>
            <p:cNvPr id="581" name="Graphic 509">
              <a:extLst>
                <a:ext uri="{FF2B5EF4-FFF2-40B4-BE49-F238E27FC236}">
                  <a16:creationId xmlns:a16="http://schemas.microsoft.com/office/drawing/2014/main" id="{30CF4402-84FF-4950-8B1B-B191CE32AD1B}"/>
                </a:ext>
              </a:extLst>
            </p:cNvPr>
            <p:cNvGrpSpPr/>
            <p:nvPr/>
          </p:nvGrpSpPr>
          <p:grpSpPr>
            <a:xfrm>
              <a:off x="706770" y="4213820"/>
              <a:ext cx="20153" cy="19224"/>
              <a:chOff x="706770" y="4213820"/>
              <a:chExt cx="20153" cy="19224"/>
            </a:xfrm>
          </p:grpSpPr>
          <p:sp>
            <p:nvSpPr>
              <p:cNvPr id="598" name="Freeform: Shape 597">
                <a:extLst>
                  <a:ext uri="{FF2B5EF4-FFF2-40B4-BE49-F238E27FC236}">
                    <a16:creationId xmlns:a16="http://schemas.microsoft.com/office/drawing/2014/main" id="{2EADC220-18A1-48E4-83F1-75608BCDA36C}"/>
                  </a:ext>
                </a:extLst>
              </p:cNvPr>
              <p:cNvSpPr/>
              <p:nvPr/>
            </p:nvSpPr>
            <p:spPr>
              <a:xfrm>
                <a:off x="706770" y="4213820"/>
                <a:ext cx="20153" cy="19224"/>
              </a:xfrm>
              <a:custGeom>
                <a:avLst/>
                <a:gdLst>
                  <a:gd name="connsiteX0" fmla="*/ 20153 w 20153"/>
                  <a:gd name="connsiteY0" fmla="*/ 9612 h 19224"/>
                  <a:gd name="connsiteX1" fmla="*/ 17603 w 20153"/>
                  <a:gd name="connsiteY1" fmla="*/ 12038 h 19224"/>
                  <a:gd name="connsiteX2" fmla="*/ 18225 w 20153"/>
                  <a:gd name="connsiteY2" fmla="*/ 15521 h 19224"/>
                  <a:gd name="connsiteX3" fmla="*/ 14742 w 20153"/>
                  <a:gd name="connsiteY3" fmla="*/ 16019 h 19224"/>
                  <a:gd name="connsiteX4" fmla="*/ 13187 w 20153"/>
                  <a:gd name="connsiteY4" fmla="*/ 19191 h 19224"/>
                  <a:gd name="connsiteX5" fmla="*/ 10077 w 20153"/>
                  <a:gd name="connsiteY5" fmla="*/ 17512 h 19224"/>
                  <a:gd name="connsiteX6" fmla="*/ 6967 w 20153"/>
                  <a:gd name="connsiteY6" fmla="*/ 19191 h 19224"/>
                  <a:gd name="connsiteX7" fmla="*/ 5412 w 20153"/>
                  <a:gd name="connsiteY7" fmla="*/ 16019 h 19224"/>
                  <a:gd name="connsiteX8" fmla="*/ 1928 w 20153"/>
                  <a:gd name="connsiteY8" fmla="*/ 15521 h 19224"/>
                  <a:gd name="connsiteX9" fmla="*/ 2550 w 20153"/>
                  <a:gd name="connsiteY9" fmla="*/ 12038 h 19224"/>
                  <a:gd name="connsiteX10" fmla="*/ 0 w 20153"/>
                  <a:gd name="connsiteY10" fmla="*/ 9612 h 19224"/>
                  <a:gd name="connsiteX11" fmla="*/ 2550 w 20153"/>
                  <a:gd name="connsiteY11" fmla="*/ 7186 h 19224"/>
                  <a:gd name="connsiteX12" fmla="*/ 1928 w 20153"/>
                  <a:gd name="connsiteY12" fmla="*/ 3703 h 19224"/>
                  <a:gd name="connsiteX13" fmla="*/ 5412 w 20153"/>
                  <a:gd name="connsiteY13" fmla="*/ 3205 h 19224"/>
                  <a:gd name="connsiteX14" fmla="*/ 6967 w 20153"/>
                  <a:gd name="connsiteY14" fmla="*/ 33 h 19224"/>
                  <a:gd name="connsiteX15" fmla="*/ 10077 w 20153"/>
                  <a:gd name="connsiteY15" fmla="*/ 1712 h 19224"/>
                  <a:gd name="connsiteX16" fmla="*/ 13187 w 20153"/>
                  <a:gd name="connsiteY16" fmla="*/ 33 h 19224"/>
                  <a:gd name="connsiteX17" fmla="*/ 14742 w 20153"/>
                  <a:gd name="connsiteY17" fmla="*/ 3205 h 19224"/>
                  <a:gd name="connsiteX18" fmla="*/ 18225 w 20153"/>
                  <a:gd name="connsiteY18" fmla="*/ 3703 h 19224"/>
                  <a:gd name="connsiteX19" fmla="*/ 17603 w 20153"/>
                  <a:gd name="connsiteY19" fmla="*/ 7186 h 19224"/>
                  <a:gd name="connsiteX20" fmla="*/ 20153 w 20153"/>
                  <a:gd name="connsiteY20" fmla="*/ 9612 h 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53" h="19224">
                    <a:moveTo>
                      <a:pt x="20153" y="9612"/>
                    </a:moveTo>
                    <a:cubicBezTo>
                      <a:pt x="20153" y="10607"/>
                      <a:pt x="17914" y="11167"/>
                      <a:pt x="17603" y="12038"/>
                    </a:cubicBezTo>
                    <a:cubicBezTo>
                      <a:pt x="17292" y="12971"/>
                      <a:pt x="18785" y="14775"/>
                      <a:pt x="18225" y="15521"/>
                    </a:cubicBezTo>
                    <a:cubicBezTo>
                      <a:pt x="17665" y="16268"/>
                      <a:pt x="15488" y="15459"/>
                      <a:pt x="14742" y="16019"/>
                    </a:cubicBezTo>
                    <a:cubicBezTo>
                      <a:pt x="13995" y="16579"/>
                      <a:pt x="14120" y="18880"/>
                      <a:pt x="13187" y="19191"/>
                    </a:cubicBezTo>
                    <a:cubicBezTo>
                      <a:pt x="12316" y="19502"/>
                      <a:pt x="11072" y="17512"/>
                      <a:pt x="10077" y="17512"/>
                    </a:cubicBezTo>
                    <a:cubicBezTo>
                      <a:pt x="9081" y="17512"/>
                      <a:pt x="7837" y="19440"/>
                      <a:pt x="6967" y="19191"/>
                    </a:cubicBezTo>
                    <a:cubicBezTo>
                      <a:pt x="6034" y="18880"/>
                      <a:pt x="6158" y="16579"/>
                      <a:pt x="5412" y="16019"/>
                    </a:cubicBezTo>
                    <a:cubicBezTo>
                      <a:pt x="4665" y="15459"/>
                      <a:pt x="2488" y="16330"/>
                      <a:pt x="1928" y="15521"/>
                    </a:cubicBezTo>
                    <a:cubicBezTo>
                      <a:pt x="1368" y="14775"/>
                      <a:pt x="2861" y="12971"/>
                      <a:pt x="2550" y="12038"/>
                    </a:cubicBezTo>
                    <a:cubicBezTo>
                      <a:pt x="2239" y="11167"/>
                      <a:pt x="0" y="10545"/>
                      <a:pt x="0" y="9612"/>
                    </a:cubicBezTo>
                    <a:cubicBezTo>
                      <a:pt x="0" y="8679"/>
                      <a:pt x="2239" y="8057"/>
                      <a:pt x="2550" y="7186"/>
                    </a:cubicBezTo>
                    <a:cubicBezTo>
                      <a:pt x="2861" y="6253"/>
                      <a:pt x="1368" y="4449"/>
                      <a:pt x="1928" y="3703"/>
                    </a:cubicBezTo>
                    <a:cubicBezTo>
                      <a:pt x="2488" y="2956"/>
                      <a:pt x="4665" y="3765"/>
                      <a:pt x="5412" y="3205"/>
                    </a:cubicBezTo>
                    <a:cubicBezTo>
                      <a:pt x="6158" y="2645"/>
                      <a:pt x="6034" y="344"/>
                      <a:pt x="6967" y="33"/>
                    </a:cubicBezTo>
                    <a:cubicBezTo>
                      <a:pt x="7837" y="-278"/>
                      <a:pt x="9081" y="1712"/>
                      <a:pt x="10077" y="1712"/>
                    </a:cubicBezTo>
                    <a:cubicBezTo>
                      <a:pt x="11072" y="1712"/>
                      <a:pt x="12316" y="-216"/>
                      <a:pt x="13187" y="33"/>
                    </a:cubicBezTo>
                    <a:cubicBezTo>
                      <a:pt x="14120" y="344"/>
                      <a:pt x="13995" y="2645"/>
                      <a:pt x="14742" y="3205"/>
                    </a:cubicBezTo>
                    <a:cubicBezTo>
                      <a:pt x="15488" y="3765"/>
                      <a:pt x="17665" y="2894"/>
                      <a:pt x="18225" y="3703"/>
                    </a:cubicBezTo>
                    <a:cubicBezTo>
                      <a:pt x="18785" y="4449"/>
                      <a:pt x="17292" y="6253"/>
                      <a:pt x="17603" y="7186"/>
                    </a:cubicBezTo>
                    <a:cubicBezTo>
                      <a:pt x="17914" y="8057"/>
                      <a:pt x="20153" y="8679"/>
                      <a:pt x="20153" y="9612"/>
                    </a:cubicBezTo>
                    <a:close/>
                  </a:path>
                </a:pathLst>
              </a:custGeom>
              <a:solidFill>
                <a:srgbClr val="636363"/>
              </a:solidFill>
              <a:ln w="6130" cap="flat">
                <a:noFill/>
                <a:prstDash val="solid"/>
                <a:miter/>
              </a:ln>
            </p:spPr>
            <p:txBody>
              <a:bodyPr rtlCol="0" anchor="ctr"/>
              <a:lstStyle/>
              <a:p>
                <a:pPr algn="l" rtl="0"/>
                <a:endParaRPr lang="en-US" dirty="0"/>
              </a:p>
            </p:txBody>
          </p:sp>
          <p:sp>
            <p:nvSpPr>
              <p:cNvPr id="599" name="Freeform: Shape 598">
                <a:extLst>
                  <a:ext uri="{FF2B5EF4-FFF2-40B4-BE49-F238E27FC236}">
                    <a16:creationId xmlns:a16="http://schemas.microsoft.com/office/drawing/2014/main" id="{E75F7EA0-2DA6-4303-BA0A-506154279F9B}"/>
                  </a:ext>
                </a:extLst>
              </p:cNvPr>
              <p:cNvSpPr/>
              <p:nvPr/>
            </p:nvSpPr>
            <p:spPr>
              <a:xfrm>
                <a:off x="707517" y="4214638"/>
                <a:ext cx="18660" cy="17587"/>
              </a:xfrm>
              <a:custGeom>
                <a:avLst/>
                <a:gdLst>
                  <a:gd name="connsiteX0" fmla="*/ 18660 w 18660"/>
                  <a:gd name="connsiteY0" fmla="*/ 8794 h 17587"/>
                  <a:gd name="connsiteX1" fmla="*/ 16297 w 18660"/>
                  <a:gd name="connsiteY1" fmla="*/ 11033 h 17587"/>
                  <a:gd name="connsiteX2" fmla="*/ 16857 w 18660"/>
                  <a:gd name="connsiteY2" fmla="*/ 14206 h 17587"/>
                  <a:gd name="connsiteX3" fmla="*/ 13622 w 18660"/>
                  <a:gd name="connsiteY3" fmla="*/ 14641 h 17587"/>
                  <a:gd name="connsiteX4" fmla="*/ 12192 w 18660"/>
                  <a:gd name="connsiteY4" fmla="*/ 17564 h 17587"/>
                  <a:gd name="connsiteX5" fmla="*/ 9330 w 18660"/>
                  <a:gd name="connsiteY5" fmla="*/ 16009 h 17587"/>
                  <a:gd name="connsiteX6" fmla="*/ 6469 w 18660"/>
                  <a:gd name="connsiteY6" fmla="*/ 17564 h 17587"/>
                  <a:gd name="connsiteX7" fmla="*/ 5038 w 18660"/>
                  <a:gd name="connsiteY7" fmla="*/ 14641 h 17587"/>
                  <a:gd name="connsiteX8" fmla="*/ 1804 w 18660"/>
                  <a:gd name="connsiteY8" fmla="*/ 14206 h 17587"/>
                  <a:gd name="connsiteX9" fmla="*/ 2364 w 18660"/>
                  <a:gd name="connsiteY9" fmla="*/ 11033 h 17587"/>
                  <a:gd name="connsiteX10" fmla="*/ 0 w 18660"/>
                  <a:gd name="connsiteY10" fmla="*/ 8794 h 17587"/>
                  <a:gd name="connsiteX11" fmla="*/ 2364 w 18660"/>
                  <a:gd name="connsiteY11" fmla="*/ 6555 h 17587"/>
                  <a:gd name="connsiteX12" fmla="*/ 1804 w 18660"/>
                  <a:gd name="connsiteY12" fmla="*/ 3382 h 17587"/>
                  <a:gd name="connsiteX13" fmla="*/ 5038 w 18660"/>
                  <a:gd name="connsiteY13" fmla="*/ 2947 h 17587"/>
                  <a:gd name="connsiteX14" fmla="*/ 6469 w 18660"/>
                  <a:gd name="connsiteY14" fmla="*/ 24 h 17587"/>
                  <a:gd name="connsiteX15" fmla="*/ 9330 w 18660"/>
                  <a:gd name="connsiteY15" fmla="*/ 1579 h 17587"/>
                  <a:gd name="connsiteX16" fmla="*/ 12192 w 18660"/>
                  <a:gd name="connsiteY16" fmla="*/ 24 h 17587"/>
                  <a:gd name="connsiteX17" fmla="*/ 13622 w 18660"/>
                  <a:gd name="connsiteY17" fmla="*/ 2947 h 17587"/>
                  <a:gd name="connsiteX18" fmla="*/ 16857 w 18660"/>
                  <a:gd name="connsiteY18" fmla="*/ 3382 h 17587"/>
                  <a:gd name="connsiteX19" fmla="*/ 16297 w 18660"/>
                  <a:gd name="connsiteY19" fmla="*/ 6555 h 17587"/>
                  <a:gd name="connsiteX20" fmla="*/ 18660 w 18660"/>
                  <a:gd name="connsiteY20" fmla="*/ 8794 h 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660" h="17587">
                    <a:moveTo>
                      <a:pt x="18660" y="8794"/>
                    </a:moveTo>
                    <a:cubicBezTo>
                      <a:pt x="18660" y="9665"/>
                      <a:pt x="16608" y="10225"/>
                      <a:pt x="16297" y="11033"/>
                    </a:cubicBezTo>
                    <a:cubicBezTo>
                      <a:pt x="16048" y="11842"/>
                      <a:pt x="17354" y="13521"/>
                      <a:pt x="16857" y="14206"/>
                    </a:cubicBezTo>
                    <a:cubicBezTo>
                      <a:pt x="16359" y="14890"/>
                      <a:pt x="14369" y="14143"/>
                      <a:pt x="13622" y="14641"/>
                    </a:cubicBezTo>
                    <a:cubicBezTo>
                      <a:pt x="12938" y="15139"/>
                      <a:pt x="13062" y="17316"/>
                      <a:pt x="12192" y="17564"/>
                    </a:cubicBezTo>
                    <a:cubicBezTo>
                      <a:pt x="11383" y="17813"/>
                      <a:pt x="10201" y="16009"/>
                      <a:pt x="9330" y="16009"/>
                    </a:cubicBezTo>
                    <a:cubicBezTo>
                      <a:pt x="8459" y="16009"/>
                      <a:pt x="7278" y="17813"/>
                      <a:pt x="6469" y="17564"/>
                    </a:cubicBezTo>
                    <a:cubicBezTo>
                      <a:pt x="5660" y="17316"/>
                      <a:pt x="5723" y="15139"/>
                      <a:pt x="5038" y="14641"/>
                    </a:cubicBezTo>
                    <a:cubicBezTo>
                      <a:pt x="4354" y="14143"/>
                      <a:pt x="2364" y="14890"/>
                      <a:pt x="1804" y="14206"/>
                    </a:cubicBezTo>
                    <a:cubicBezTo>
                      <a:pt x="1306" y="13521"/>
                      <a:pt x="2675" y="11842"/>
                      <a:pt x="2364" y="11033"/>
                    </a:cubicBezTo>
                    <a:cubicBezTo>
                      <a:pt x="2115" y="10225"/>
                      <a:pt x="0" y="9665"/>
                      <a:pt x="0" y="8794"/>
                    </a:cubicBezTo>
                    <a:cubicBezTo>
                      <a:pt x="0" y="7923"/>
                      <a:pt x="2053" y="7363"/>
                      <a:pt x="2364" y="6555"/>
                    </a:cubicBezTo>
                    <a:cubicBezTo>
                      <a:pt x="2612" y="5746"/>
                      <a:pt x="1306" y="4067"/>
                      <a:pt x="1804" y="3382"/>
                    </a:cubicBezTo>
                    <a:cubicBezTo>
                      <a:pt x="2301" y="2698"/>
                      <a:pt x="4292" y="3445"/>
                      <a:pt x="5038" y="2947"/>
                    </a:cubicBezTo>
                    <a:cubicBezTo>
                      <a:pt x="5723" y="2449"/>
                      <a:pt x="5598" y="272"/>
                      <a:pt x="6469" y="24"/>
                    </a:cubicBezTo>
                    <a:cubicBezTo>
                      <a:pt x="7278" y="-225"/>
                      <a:pt x="8459" y="1579"/>
                      <a:pt x="9330" y="1579"/>
                    </a:cubicBezTo>
                    <a:cubicBezTo>
                      <a:pt x="10201" y="1579"/>
                      <a:pt x="11383" y="-225"/>
                      <a:pt x="12192" y="24"/>
                    </a:cubicBezTo>
                    <a:cubicBezTo>
                      <a:pt x="13000" y="272"/>
                      <a:pt x="12938" y="2449"/>
                      <a:pt x="13622" y="2947"/>
                    </a:cubicBezTo>
                    <a:cubicBezTo>
                      <a:pt x="14306" y="3445"/>
                      <a:pt x="16297" y="2698"/>
                      <a:pt x="16857" y="3382"/>
                    </a:cubicBezTo>
                    <a:cubicBezTo>
                      <a:pt x="17354" y="4067"/>
                      <a:pt x="15986" y="5746"/>
                      <a:pt x="16297" y="6555"/>
                    </a:cubicBezTo>
                    <a:cubicBezTo>
                      <a:pt x="16546" y="7363"/>
                      <a:pt x="18660" y="7923"/>
                      <a:pt x="18660" y="8794"/>
                    </a:cubicBezTo>
                    <a:close/>
                  </a:path>
                </a:pathLst>
              </a:custGeom>
              <a:solidFill>
                <a:srgbClr val="E8E8E8"/>
              </a:solidFill>
              <a:ln w="6130" cap="flat">
                <a:noFill/>
                <a:prstDash val="solid"/>
                <a:miter/>
              </a:ln>
            </p:spPr>
            <p:txBody>
              <a:bodyPr rtlCol="0" anchor="ctr"/>
              <a:lstStyle/>
              <a:p>
                <a:pPr algn="l" rtl="0"/>
                <a:endParaRPr lang="en-US" dirty="0"/>
              </a:p>
            </p:txBody>
          </p:sp>
          <p:sp>
            <p:nvSpPr>
              <p:cNvPr id="600" name="Freeform: Shape 599">
                <a:extLst>
                  <a:ext uri="{FF2B5EF4-FFF2-40B4-BE49-F238E27FC236}">
                    <a16:creationId xmlns:a16="http://schemas.microsoft.com/office/drawing/2014/main" id="{98460563-E264-4A4D-A324-FCC28F7D5581}"/>
                  </a:ext>
                </a:extLst>
              </p:cNvPr>
              <p:cNvSpPr/>
              <p:nvPr/>
            </p:nvSpPr>
            <p:spPr>
              <a:xfrm>
                <a:off x="713426" y="4217709"/>
                <a:ext cx="12751" cy="14578"/>
              </a:xfrm>
              <a:custGeom>
                <a:avLst/>
                <a:gdLst>
                  <a:gd name="connsiteX0" fmla="*/ 12751 w 12751"/>
                  <a:gd name="connsiteY0" fmla="*/ 5723 h 14578"/>
                  <a:gd name="connsiteX1" fmla="*/ 10388 w 12751"/>
                  <a:gd name="connsiteY1" fmla="*/ 3483 h 14578"/>
                  <a:gd name="connsiteX2" fmla="*/ 10947 w 12751"/>
                  <a:gd name="connsiteY2" fmla="*/ 311 h 14578"/>
                  <a:gd name="connsiteX3" fmla="*/ 10014 w 12751"/>
                  <a:gd name="connsiteY3" fmla="*/ 0 h 14578"/>
                  <a:gd name="connsiteX4" fmla="*/ 10201 w 12751"/>
                  <a:gd name="connsiteY4" fmla="*/ 62 h 14578"/>
                  <a:gd name="connsiteX5" fmla="*/ 9641 w 12751"/>
                  <a:gd name="connsiteY5" fmla="*/ 3172 h 14578"/>
                  <a:gd name="connsiteX6" fmla="*/ 11881 w 12751"/>
                  <a:gd name="connsiteY6" fmla="*/ 5349 h 14578"/>
                  <a:gd name="connsiteX7" fmla="*/ 9641 w 12751"/>
                  <a:gd name="connsiteY7" fmla="*/ 7526 h 14578"/>
                  <a:gd name="connsiteX8" fmla="*/ 10201 w 12751"/>
                  <a:gd name="connsiteY8" fmla="*/ 10636 h 14578"/>
                  <a:gd name="connsiteX9" fmla="*/ 7091 w 12751"/>
                  <a:gd name="connsiteY9" fmla="*/ 11072 h 14578"/>
                  <a:gd name="connsiteX10" fmla="*/ 5723 w 12751"/>
                  <a:gd name="connsiteY10" fmla="*/ 13933 h 14578"/>
                  <a:gd name="connsiteX11" fmla="*/ 2923 w 12751"/>
                  <a:gd name="connsiteY11" fmla="*/ 12440 h 14578"/>
                  <a:gd name="connsiteX12" fmla="*/ 124 w 12751"/>
                  <a:gd name="connsiteY12" fmla="*/ 13933 h 14578"/>
                  <a:gd name="connsiteX13" fmla="*/ 0 w 12751"/>
                  <a:gd name="connsiteY13" fmla="*/ 13809 h 14578"/>
                  <a:gd name="connsiteX14" fmla="*/ 560 w 12751"/>
                  <a:gd name="connsiteY14" fmla="*/ 14555 h 14578"/>
                  <a:gd name="connsiteX15" fmla="*/ 3421 w 12751"/>
                  <a:gd name="connsiteY15" fmla="*/ 13000 h 14578"/>
                  <a:gd name="connsiteX16" fmla="*/ 6282 w 12751"/>
                  <a:gd name="connsiteY16" fmla="*/ 14555 h 14578"/>
                  <a:gd name="connsiteX17" fmla="*/ 7713 w 12751"/>
                  <a:gd name="connsiteY17" fmla="*/ 11632 h 14578"/>
                  <a:gd name="connsiteX18" fmla="*/ 10947 w 12751"/>
                  <a:gd name="connsiteY18" fmla="*/ 11196 h 14578"/>
                  <a:gd name="connsiteX19" fmla="*/ 10388 w 12751"/>
                  <a:gd name="connsiteY19" fmla="*/ 8024 h 14578"/>
                  <a:gd name="connsiteX20" fmla="*/ 12751 w 12751"/>
                  <a:gd name="connsiteY20" fmla="*/ 5785 h 1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751" h="14578">
                    <a:moveTo>
                      <a:pt x="12751" y="5723"/>
                    </a:moveTo>
                    <a:cubicBezTo>
                      <a:pt x="12751" y="4852"/>
                      <a:pt x="10699" y="4292"/>
                      <a:pt x="10388" y="3483"/>
                    </a:cubicBezTo>
                    <a:cubicBezTo>
                      <a:pt x="10139" y="2675"/>
                      <a:pt x="11445" y="995"/>
                      <a:pt x="10947" y="311"/>
                    </a:cubicBezTo>
                    <a:cubicBezTo>
                      <a:pt x="10761" y="62"/>
                      <a:pt x="10388" y="0"/>
                      <a:pt x="10014" y="0"/>
                    </a:cubicBezTo>
                    <a:cubicBezTo>
                      <a:pt x="10014" y="0"/>
                      <a:pt x="10139" y="0"/>
                      <a:pt x="10201" y="62"/>
                    </a:cubicBezTo>
                    <a:cubicBezTo>
                      <a:pt x="10699" y="746"/>
                      <a:pt x="9392" y="2364"/>
                      <a:pt x="9641" y="3172"/>
                    </a:cubicBezTo>
                    <a:cubicBezTo>
                      <a:pt x="9890" y="3981"/>
                      <a:pt x="11881" y="4478"/>
                      <a:pt x="11881" y="5349"/>
                    </a:cubicBezTo>
                    <a:cubicBezTo>
                      <a:pt x="11881" y="6220"/>
                      <a:pt x="9890" y="6780"/>
                      <a:pt x="9641" y="7526"/>
                    </a:cubicBezTo>
                    <a:cubicBezTo>
                      <a:pt x="9392" y="8335"/>
                      <a:pt x="10699" y="9952"/>
                      <a:pt x="10201" y="10636"/>
                    </a:cubicBezTo>
                    <a:cubicBezTo>
                      <a:pt x="9703" y="11321"/>
                      <a:pt x="7775" y="10574"/>
                      <a:pt x="7091" y="11072"/>
                    </a:cubicBezTo>
                    <a:cubicBezTo>
                      <a:pt x="6407" y="11569"/>
                      <a:pt x="6531" y="13622"/>
                      <a:pt x="5723" y="13933"/>
                    </a:cubicBezTo>
                    <a:cubicBezTo>
                      <a:pt x="4914" y="14182"/>
                      <a:pt x="3794" y="12440"/>
                      <a:pt x="2923" y="12440"/>
                    </a:cubicBezTo>
                    <a:cubicBezTo>
                      <a:pt x="2053" y="12440"/>
                      <a:pt x="933" y="14182"/>
                      <a:pt x="124" y="13933"/>
                    </a:cubicBezTo>
                    <a:cubicBezTo>
                      <a:pt x="124" y="13933"/>
                      <a:pt x="62" y="13871"/>
                      <a:pt x="0" y="13809"/>
                    </a:cubicBezTo>
                    <a:cubicBezTo>
                      <a:pt x="124" y="14182"/>
                      <a:pt x="311" y="14493"/>
                      <a:pt x="560" y="14555"/>
                    </a:cubicBezTo>
                    <a:cubicBezTo>
                      <a:pt x="1368" y="14804"/>
                      <a:pt x="2550" y="13000"/>
                      <a:pt x="3421" y="13000"/>
                    </a:cubicBezTo>
                    <a:cubicBezTo>
                      <a:pt x="4292" y="13000"/>
                      <a:pt x="5474" y="14804"/>
                      <a:pt x="6282" y="14555"/>
                    </a:cubicBezTo>
                    <a:cubicBezTo>
                      <a:pt x="7091" y="14306"/>
                      <a:pt x="7029" y="12129"/>
                      <a:pt x="7713" y="11632"/>
                    </a:cubicBezTo>
                    <a:cubicBezTo>
                      <a:pt x="8397" y="11134"/>
                      <a:pt x="10388" y="11880"/>
                      <a:pt x="10947" y="11196"/>
                    </a:cubicBezTo>
                    <a:cubicBezTo>
                      <a:pt x="11445" y="10512"/>
                      <a:pt x="10077" y="8833"/>
                      <a:pt x="10388" y="8024"/>
                    </a:cubicBezTo>
                    <a:cubicBezTo>
                      <a:pt x="10636" y="7215"/>
                      <a:pt x="12751" y="6656"/>
                      <a:pt x="12751" y="5785"/>
                    </a:cubicBezTo>
                    <a:close/>
                  </a:path>
                </a:pathLst>
              </a:custGeom>
              <a:solidFill>
                <a:srgbClr val="949494"/>
              </a:solidFill>
              <a:ln w="6130" cap="flat">
                <a:noFill/>
                <a:prstDash val="solid"/>
                <a:miter/>
              </a:ln>
            </p:spPr>
            <p:txBody>
              <a:bodyPr rtlCol="0" anchor="ctr"/>
              <a:lstStyle/>
              <a:p>
                <a:pPr algn="l" rtl="0"/>
                <a:endParaRPr lang="en-US" dirty="0"/>
              </a:p>
            </p:txBody>
          </p:sp>
          <p:sp>
            <p:nvSpPr>
              <p:cNvPr id="601" name="Freeform: Shape 600">
                <a:extLst>
                  <a:ext uri="{FF2B5EF4-FFF2-40B4-BE49-F238E27FC236}">
                    <a16:creationId xmlns:a16="http://schemas.microsoft.com/office/drawing/2014/main" id="{751A18DC-B23D-41AA-8CCC-69C12C72C694}"/>
                  </a:ext>
                </a:extLst>
              </p:cNvPr>
              <p:cNvSpPr/>
              <p:nvPr/>
            </p:nvSpPr>
            <p:spPr>
              <a:xfrm>
                <a:off x="707579" y="4214638"/>
                <a:ext cx="16974" cy="17626"/>
              </a:xfrm>
              <a:custGeom>
                <a:avLst/>
                <a:gdLst>
                  <a:gd name="connsiteX0" fmla="*/ 13622 w 16974"/>
                  <a:gd name="connsiteY0" fmla="*/ 2947 h 17626"/>
                  <a:gd name="connsiteX1" fmla="*/ 13373 w 16974"/>
                  <a:gd name="connsiteY1" fmla="*/ 2574 h 17626"/>
                  <a:gd name="connsiteX2" fmla="*/ 13995 w 16974"/>
                  <a:gd name="connsiteY2" fmla="*/ 4004 h 17626"/>
                  <a:gd name="connsiteX3" fmla="*/ 16857 w 16974"/>
                  <a:gd name="connsiteY3" fmla="*/ 4315 h 17626"/>
                  <a:gd name="connsiteX4" fmla="*/ 16857 w 16974"/>
                  <a:gd name="connsiteY4" fmla="*/ 3382 h 17626"/>
                  <a:gd name="connsiteX5" fmla="*/ 13622 w 16974"/>
                  <a:gd name="connsiteY5" fmla="*/ 2947 h 17626"/>
                  <a:gd name="connsiteX6" fmla="*/ 9330 w 16974"/>
                  <a:gd name="connsiteY6" fmla="*/ 1579 h 17626"/>
                  <a:gd name="connsiteX7" fmla="*/ 6469 w 16974"/>
                  <a:gd name="connsiteY7" fmla="*/ 24 h 17626"/>
                  <a:gd name="connsiteX8" fmla="*/ 5038 w 16974"/>
                  <a:gd name="connsiteY8" fmla="*/ 2947 h 17626"/>
                  <a:gd name="connsiteX9" fmla="*/ 1804 w 16974"/>
                  <a:gd name="connsiteY9" fmla="*/ 3382 h 17626"/>
                  <a:gd name="connsiteX10" fmla="*/ 2364 w 16974"/>
                  <a:gd name="connsiteY10" fmla="*/ 6555 h 17626"/>
                  <a:gd name="connsiteX11" fmla="*/ 0 w 16974"/>
                  <a:gd name="connsiteY11" fmla="*/ 8794 h 17626"/>
                  <a:gd name="connsiteX12" fmla="*/ 2364 w 16974"/>
                  <a:gd name="connsiteY12" fmla="*/ 11033 h 17626"/>
                  <a:gd name="connsiteX13" fmla="*/ 1804 w 16974"/>
                  <a:gd name="connsiteY13" fmla="*/ 14206 h 17626"/>
                  <a:gd name="connsiteX14" fmla="*/ 2799 w 16974"/>
                  <a:gd name="connsiteY14" fmla="*/ 14517 h 17626"/>
                  <a:gd name="connsiteX15" fmla="*/ 3359 w 16974"/>
                  <a:gd name="connsiteY15" fmla="*/ 11655 h 17626"/>
                  <a:gd name="connsiteX16" fmla="*/ 1182 w 16974"/>
                  <a:gd name="connsiteY16" fmla="*/ 9540 h 17626"/>
                  <a:gd name="connsiteX17" fmla="*/ 3421 w 16974"/>
                  <a:gd name="connsiteY17" fmla="*/ 7426 h 17626"/>
                  <a:gd name="connsiteX18" fmla="*/ 2861 w 16974"/>
                  <a:gd name="connsiteY18" fmla="*/ 4440 h 17626"/>
                  <a:gd name="connsiteX19" fmla="*/ 5909 w 16974"/>
                  <a:gd name="connsiteY19" fmla="*/ 4004 h 17626"/>
                  <a:gd name="connsiteX20" fmla="*/ 7215 w 16974"/>
                  <a:gd name="connsiteY20" fmla="*/ 1268 h 17626"/>
                  <a:gd name="connsiteX21" fmla="*/ 9890 w 16974"/>
                  <a:gd name="connsiteY21" fmla="*/ 2698 h 17626"/>
                  <a:gd name="connsiteX22" fmla="*/ 12627 w 16974"/>
                  <a:gd name="connsiteY22" fmla="*/ 1268 h 17626"/>
                  <a:gd name="connsiteX23" fmla="*/ 13000 w 16974"/>
                  <a:gd name="connsiteY23" fmla="*/ 1641 h 17626"/>
                  <a:gd name="connsiteX24" fmla="*/ 12192 w 16974"/>
                  <a:gd name="connsiteY24" fmla="*/ 24 h 17626"/>
                  <a:gd name="connsiteX25" fmla="*/ 9330 w 16974"/>
                  <a:gd name="connsiteY25" fmla="*/ 1579 h 17626"/>
                  <a:gd name="connsiteX26" fmla="*/ 5163 w 16974"/>
                  <a:gd name="connsiteY26" fmla="*/ 14952 h 17626"/>
                  <a:gd name="connsiteX27" fmla="*/ 6407 w 16974"/>
                  <a:gd name="connsiteY27" fmla="*/ 17627 h 17626"/>
                  <a:gd name="connsiteX28" fmla="*/ 6842 w 16974"/>
                  <a:gd name="connsiteY28" fmla="*/ 17564 h 17626"/>
                  <a:gd name="connsiteX29" fmla="*/ 5847 w 16974"/>
                  <a:gd name="connsiteY29" fmla="*/ 15139 h 17626"/>
                  <a:gd name="connsiteX30" fmla="*/ 5163 w 16974"/>
                  <a:gd name="connsiteY30" fmla="*/ 14952 h 1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974" h="17626">
                    <a:moveTo>
                      <a:pt x="13622" y="2947"/>
                    </a:moveTo>
                    <a:cubicBezTo>
                      <a:pt x="13622" y="2947"/>
                      <a:pt x="13436" y="2698"/>
                      <a:pt x="13373" y="2574"/>
                    </a:cubicBezTo>
                    <a:cubicBezTo>
                      <a:pt x="13498" y="3196"/>
                      <a:pt x="13684" y="3818"/>
                      <a:pt x="13995" y="4004"/>
                    </a:cubicBezTo>
                    <a:cubicBezTo>
                      <a:pt x="14617" y="4440"/>
                      <a:pt x="16172" y="3942"/>
                      <a:pt x="16857" y="4315"/>
                    </a:cubicBezTo>
                    <a:cubicBezTo>
                      <a:pt x="16981" y="3942"/>
                      <a:pt x="17043" y="3569"/>
                      <a:pt x="16857" y="3382"/>
                    </a:cubicBezTo>
                    <a:cubicBezTo>
                      <a:pt x="16359" y="2698"/>
                      <a:pt x="14369" y="3445"/>
                      <a:pt x="13622" y="2947"/>
                    </a:cubicBezTo>
                    <a:close/>
                    <a:moveTo>
                      <a:pt x="9330" y="1579"/>
                    </a:moveTo>
                    <a:cubicBezTo>
                      <a:pt x="8459" y="1579"/>
                      <a:pt x="7278" y="-225"/>
                      <a:pt x="6469" y="24"/>
                    </a:cubicBezTo>
                    <a:cubicBezTo>
                      <a:pt x="5660" y="272"/>
                      <a:pt x="5723" y="2449"/>
                      <a:pt x="5038" y="2947"/>
                    </a:cubicBezTo>
                    <a:cubicBezTo>
                      <a:pt x="4354" y="3445"/>
                      <a:pt x="2364" y="2698"/>
                      <a:pt x="1804" y="3382"/>
                    </a:cubicBezTo>
                    <a:cubicBezTo>
                      <a:pt x="1306" y="4067"/>
                      <a:pt x="2675" y="5746"/>
                      <a:pt x="2364" y="6555"/>
                    </a:cubicBezTo>
                    <a:cubicBezTo>
                      <a:pt x="2115" y="7363"/>
                      <a:pt x="0" y="7923"/>
                      <a:pt x="0" y="8794"/>
                    </a:cubicBezTo>
                    <a:cubicBezTo>
                      <a:pt x="0" y="9665"/>
                      <a:pt x="2053" y="10225"/>
                      <a:pt x="2364" y="11033"/>
                    </a:cubicBezTo>
                    <a:cubicBezTo>
                      <a:pt x="2612" y="11842"/>
                      <a:pt x="1306" y="13521"/>
                      <a:pt x="1804" y="14206"/>
                    </a:cubicBezTo>
                    <a:cubicBezTo>
                      <a:pt x="1990" y="14454"/>
                      <a:pt x="2364" y="14517"/>
                      <a:pt x="2799" y="14517"/>
                    </a:cubicBezTo>
                    <a:cubicBezTo>
                      <a:pt x="2488" y="13832"/>
                      <a:pt x="3608" y="12402"/>
                      <a:pt x="3359" y="11655"/>
                    </a:cubicBezTo>
                    <a:cubicBezTo>
                      <a:pt x="3110" y="10909"/>
                      <a:pt x="1182" y="10349"/>
                      <a:pt x="1182" y="9540"/>
                    </a:cubicBezTo>
                    <a:cubicBezTo>
                      <a:pt x="1182" y="8732"/>
                      <a:pt x="3172" y="8172"/>
                      <a:pt x="3421" y="7426"/>
                    </a:cubicBezTo>
                    <a:cubicBezTo>
                      <a:pt x="3670" y="6617"/>
                      <a:pt x="2426" y="5062"/>
                      <a:pt x="2861" y="4440"/>
                    </a:cubicBezTo>
                    <a:cubicBezTo>
                      <a:pt x="3359" y="3756"/>
                      <a:pt x="5225" y="4502"/>
                      <a:pt x="5909" y="4004"/>
                    </a:cubicBezTo>
                    <a:cubicBezTo>
                      <a:pt x="6593" y="3507"/>
                      <a:pt x="6469" y="1516"/>
                      <a:pt x="7215" y="1268"/>
                    </a:cubicBezTo>
                    <a:cubicBezTo>
                      <a:pt x="7962" y="1019"/>
                      <a:pt x="9081" y="2698"/>
                      <a:pt x="9890" y="2698"/>
                    </a:cubicBezTo>
                    <a:cubicBezTo>
                      <a:pt x="10699" y="2698"/>
                      <a:pt x="11818" y="1019"/>
                      <a:pt x="12627" y="1268"/>
                    </a:cubicBezTo>
                    <a:cubicBezTo>
                      <a:pt x="12814" y="1268"/>
                      <a:pt x="12876" y="1516"/>
                      <a:pt x="13000" y="1641"/>
                    </a:cubicBezTo>
                    <a:cubicBezTo>
                      <a:pt x="12814" y="894"/>
                      <a:pt x="12627" y="148"/>
                      <a:pt x="12192" y="24"/>
                    </a:cubicBezTo>
                    <a:cubicBezTo>
                      <a:pt x="11383" y="-225"/>
                      <a:pt x="10201" y="1579"/>
                      <a:pt x="9330" y="1579"/>
                    </a:cubicBezTo>
                    <a:close/>
                    <a:moveTo>
                      <a:pt x="5163" y="14952"/>
                    </a:moveTo>
                    <a:cubicBezTo>
                      <a:pt x="5660" y="15636"/>
                      <a:pt x="5660" y="17378"/>
                      <a:pt x="6407" y="17627"/>
                    </a:cubicBezTo>
                    <a:cubicBezTo>
                      <a:pt x="6531" y="17627"/>
                      <a:pt x="6718" y="17627"/>
                      <a:pt x="6842" y="17564"/>
                    </a:cubicBezTo>
                    <a:cubicBezTo>
                      <a:pt x="6407" y="16942"/>
                      <a:pt x="6345" y="15512"/>
                      <a:pt x="5847" y="15139"/>
                    </a:cubicBezTo>
                    <a:cubicBezTo>
                      <a:pt x="5660" y="15014"/>
                      <a:pt x="5412" y="14952"/>
                      <a:pt x="5163" y="14952"/>
                    </a:cubicBezTo>
                    <a:close/>
                  </a:path>
                </a:pathLst>
              </a:custGeom>
              <a:solidFill>
                <a:srgbClr val="FAFAFA"/>
              </a:solidFill>
              <a:ln w="6130" cap="flat">
                <a:noFill/>
                <a:prstDash val="solid"/>
                <a:miter/>
              </a:ln>
            </p:spPr>
            <p:txBody>
              <a:bodyPr rtlCol="0" anchor="ctr"/>
              <a:lstStyle/>
              <a:p>
                <a:pPr algn="l" rtl="0"/>
                <a:endParaRPr lang="en-US" dirty="0"/>
              </a:p>
            </p:txBody>
          </p:sp>
        </p:grpSp>
        <p:sp>
          <p:nvSpPr>
            <p:cNvPr id="582" name="Freeform: Shape 581">
              <a:extLst>
                <a:ext uri="{FF2B5EF4-FFF2-40B4-BE49-F238E27FC236}">
                  <a16:creationId xmlns:a16="http://schemas.microsoft.com/office/drawing/2014/main" id="{6B5786B1-AF47-45EA-83E0-699D3F70ADAC}"/>
                </a:ext>
              </a:extLst>
            </p:cNvPr>
            <p:cNvSpPr/>
            <p:nvPr/>
          </p:nvSpPr>
          <p:spPr>
            <a:xfrm>
              <a:off x="836523" y="4183436"/>
              <a:ext cx="79991" cy="79991"/>
            </a:xfrm>
            <a:custGeom>
              <a:avLst/>
              <a:gdLst>
                <a:gd name="connsiteX0" fmla="*/ 79991 w 79991"/>
                <a:gd name="connsiteY0" fmla="*/ 39996 h 79991"/>
                <a:gd name="connsiteX1" fmla="*/ 39996 w 79991"/>
                <a:gd name="connsiteY1" fmla="*/ 79991 h 79991"/>
                <a:gd name="connsiteX2" fmla="*/ 0 w 79991"/>
                <a:gd name="connsiteY2" fmla="*/ 39996 h 79991"/>
                <a:gd name="connsiteX3" fmla="*/ 39996 w 79991"/>
                <a:gd name="connsiteY3" fmla="*/ 0 h 79991"/>
                <a:gd name="connsiteX4" fmla="*/ 79991 w 79991"/>
                <a:gd name="connsiteY4" fmla="*/ 39996 h 7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91" h="79991">
                  <a:moveTo>
                    <a:pt x="79991" y="39996"/>
                  </a:moveTo>
                  <a:cubicBezTo>
                    <a:pt x="79991" y="62085"/>
                    <a:pt x="62085" y="79991"/>
                    <a:pt x="39996" y="79991"/>
                  </a:cubicBezTo>
                  <a:cubicBezTo>
                    <a:pt x="17907" y="79991"/>
                    <a:pt x="0" y="62085"/>
                    <a:pt x="0" y="39996"/>
                  </a:cubicBezTo>
                  <a:cubicBezTo>
                    <a:pt x="0" y="17907"/>
                    <a:pt x="17907" y="0"/>
                    <a:pt x="39996" y="0"/>
                  </a:cubicBezTo>
                  <a:cubicBezTo>
                    <a:pt x="62085" y="0"/>
                    <a:pt x="79991" y="17907"/>
                    <a:pt x="79991" y="39996"/>
                  </a:cubicBezTo>
                  <a:close/>
                </a:path>
              </a:pathLst>
            </a:custGeom>
            <a:solidFill>
              <a:schemeClr val="accent3">
                <a:lumMod val="75000"/>
              </a:schemeClr>
            </a:solidFill>
            <a:ln w="6130" cap="flat">
              <a:noFill/>
              <a:prstDash val="solid"/>
              <a:miter/>
            </a:ln>
          </p:spPr>
          <p:txBody>
            <a:bodyPr rtlCol="0" anchor="ctr"/>
            <a:lstStyle/>
            <a:p>
              <a:pPr algn="l" rtl="0"/>
              <a:endParaRPr lang="en-US" dirty="0"/>
            </a:p>
          </p:txBody>
        </p:sp>
        <p:sp>
          <p:nvSpPr>
            <p:cNvPr id="583" name="Freeform: Shape 582">
              <a:extLst>
                <a:ext uri="{FF2B5EF4-FFF2-40B4-BE49-F238E27FC236}">
                  <a16:creationId xmlns:a16="http://schemas.microsoft.com/office/drawing/2014/main" id="{F6A10C51-5F3B-4114-B5A2-EE20B4B93646}"/>
                </a:ext>
              </a:extLst>
            </p:cNvPr>
            <p:cNvSpPr/>
            <p:nvPr/>
          </p:nvSpPr>
          <p:spPr>
            <a:xfrm>
              <a:off x="847222" y="4194072"/>
              <a:ext cx="69354" cy="69354"/>
            </a:xfrm>
            <a:custGeom>
              <a:avLst/>
              <a:gdLst>
                <a:gd name="connsiteX0" fmla="*/ 56417 w 69354"/>
                <a:gd name="connsiteY0" fmla="*/ 62 h 69354"/>
                <a:gd name="connsiteX1" fmla="*/ 67115 w 69354"/>
                <a:gd name="connsiteY1" fmla="*/ 27182 h 69354"/>
                <a:gd name="connsiteX2" fmla="*/ 27120 w 69354"/>
                <a:gd name="connsiteY2" fmla="*/ 67178 h 69354"/>
                <a:gd name="connsiteX3" fmla="*/ 0 w 69354"/>
                <a:gd name="connsiteY3" fmla="*/ 56479 h 69354"/>
                <a:gd name="connsiteX4" fmla="*/ 29359 w 69354"/>
                <a:gd name="connsiteY4" fmla="*/ 69355 h 69354"/>
                <a:gd name="connsiteX5" fmla="*/ 69355 w 69354"/>
                <a:gd name="connsiteY5" fmla="*/ 29359 h 69354"/>
                <a:gd name="connsiteX6" fmla="*/ 56479 w 69354"/>
                <a:gd name="connsiteY6" fmla="*/ 0 h 69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354" h="69354">
                  <a:moveTo>
                    <a:pt x="56417" y="62"/>
                  </a:moveTo>
                  <a:cubicBezTo>
                    <a:pt x="63010" y="7215"/>
                    <a:pt x="67115" y="16732"/>
                    <a:pt x="67115" y="27182"/>
                  </a:cubicBezTo>
                  <a:cubicBezTo>
                    <a:pt x="67115" y="49264"/>
                    <a:pt x="49201" y="67178"/>
                    <a:pt x="27120" y="67178"/>
                  </a:cubicBezTo>
                  <a:cubicBezTo>
                    <a:pt x="16608" y="67178"/>
                    <a:pt x="7091" y="63135"/>
                    <a:pt x="0" y="56479"/>
                  </a:cubicBezTo>
                  <a:cubicBezTo>
                    <a:pt x="7278" y="64379"/>
                    <a:pt x="17727" y="69355"/>
                    <a:pt x="29359" y="69355"/>
                  </a:cubicBezTo>
                  <a:cubicBezTo>
                    <a:pt x="51441" y="69355"/>
                    <a:pt x="69355" y="51441"/>
                    <a:pt x="69355" y="29359"/>
                  </a:cubicBezTo>
                  <a:cubicBezTo>
                    <a:pt x="69355" y="17727"/>
                    <a:pt x="64379" y="7340"/>
                    <a:pt x="56479" y="0"/>
                  </a:cubicBezTo>
                  <a:close/>
                </a:path>
              </a:pathLst>
            </a:custGeom>
            <a:solidFill>
              <a:schemeClr val="accent2">
                <a:lumMod val="75000"/>
              </a:schemeClr>
            </a:solidFill>
            <a:ln w="6130" cap="flat">
              <a:noFill/>
              <a:prstDash val="solid"/>
              <a:miter/>
            </a:ln>
          </p:spPr>
          <p:txBody>
            <a:bodyPr rtlCol="0" anchor="ctr"/>
            <a:lstStyle/>
            <a:p>
              <a:pPr algn="l" rtl="0"/>
              <a:endParaRPr lang="en-US" dirty="0"/>
            </a:p>
          </p:txBody>
        </p:sp>
        <p:sp>
          <p:nvSpPr>
            <p:cNvPr id="584" name="Freeform: Shape 583">
              <a:extLst>
                <a:ext uri="{FF2B5EF4-FFF2-40B4-BE49-F238E27FC236}">
                  <a16:creationId xmlns:a16="http://schemas.microsoft.com/office/drawing/2014/main" id="{8469FA82-68CB-4E4B-B85B-F9D35E8A7CE8}"/>
                </a:ext>
              </a:extLst>
            </p:cNvPr>
            <p:cNvSpPr/>
            <p:nvPr/>
          </p:nvSpPr>
          <p:spPr>
            <a:xfrm>
              <a:off x="836461" y="4183436"/>
              <a:ext cx="69727" cy="69727"/>
            </a:xfrm>
            <a:custGeom>
              <a:avLst/>
              <a:gdLst>
                <a:gd name="connsiteX0" fmla="*/ 3048 w 69727"/>
                <a:gd name="connsiteY0" fmla="*/ 43043 h 69727"/>
                <a:gd name="connsiteX1" fmla="*/ 43043 w 69727"/>
                <a:gd name="connsiteY1" fmla="*/ 3048 h 69727"/>
                <a:gd name="connsiteX2" fmla="*/ 69728 w 69727"/>
                <a:gd name="connsiteY2" fmla="*/ 13311 h 69727"/>
                <a:gd name="connsiteX3" fmla="*/ 39996 w 69727"/>
                <a:gd name="connsiteY3" fmla="*/ 0 h 69727"/>
                <a:gd name="connsiteX4" fmla="*/ 0 w 69727"/>
                <a:gd name="connsiteY4" fmla="*/ 39996 h 69727"/>
                <a:gd name="connsiteX5" fmla="*/ 13311 w 69727"/>
                <a:gd name="connsiteY5" fmla="*/ 69728 h 69727"/>
                <a:gd name="connsiteX6" fmla="*/ 3048 w 69727"/>
                <a:gd name="connsiteY6" fmla="*/ 43043 h 6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27" h="69727">
                  <a:moveTo>
                    <a:pt x="3048" y="43043"/>
                  </a:moveTo>
                  <a:cubicBezTo>
                    <a:pt x="3048" y="20962"/>
                    <a:pt x="20962" y="3048"/>
                    <a:pt x="43043" y="3048"/>
                  </a:cubicBezTo>
                  <a:cubicBezTo>
                    <a:pt x="53307" y="3048"/>
                    <a:pt x="62637" y="6967"/>
                    <a:pt x="69728" y="13311"/>
                  </a:cubicBezTo>
                  <a:cubicBezTo>
                    <a:pt x="62388" y="5163"/>
                    <a:pt x="51814" y="0"/>
                    <a:pt x="39996" y="0"/>
                  </a:cubicBezTo>
                  <a:cubicBezTo>
                    <a:pt x="17914" y="0"/>
                    <a:pt x="0" y="17914"/>
                    <a:pt x="0" y="39996"/>
                  </a:cubicBezTo>
                  <a:cubicBezTo>
                    <a:pt x="0" y="51814"/>
                    <a:pt x="5163" y="62388"/>
                    <a:pt x="13311" y="69728"/>
                  </a:cubicBezTo>
                  <a:cubicBezTo>
                    <a:pt x="6967" y="62637"/>
                    <a:pt x="3048" y="53307"/>
                    <a:pt x="3048" y="43043"/>
                  </a:cubicBezTo>
                  <a:close/>
                </a:path>
              </a:pathLst>
            </a:custGeom>
            <a:solidFill>
              <a:srgbClr val="FAFAFA"/>
            </a:solidFill>
            <a:ln w="6130" cap="flat">
              <a:noFill/>
              <a:prstDash val="solid"/>
              <a:miter/>
            </a:ln>
          </p:spPr>
          <p:txBody>
            <a:bodyPr rtlCol="0" anchor="ctr"/>
            <a:lstStyle/>
            <a:p>
              <a:pPr algn="l" rtl="0"/>
              <a:endParaRPr lang="en-US" dirty="0"/>
            </a:p>
          </p:txBody>
        </p:sp>
        <p:grpSp>
          <p:nvGrpSpPr>
            <p:cNvPr id="585" name="Graphic 509">
              <a:extLst>
                <a:ext uri="{FF2B5EF4-FFF2-40B4-BE49-F238E27FC236}">
                  <a16:creationId xmlns:a16="http://schemas.microsoft.com/office/drawing/2014/main" id="{AEAD6819-08C5-4E29-8CC3-ECB09798E5B3}"/>
                </a:ext>
              </a:extLst>
            </p:cNvPr>
            <p:cNvGrpSpPr/>
            <p:nvPr/>
          </p:nvGrpSpPr>
          <p:grpSpPr>
            <a:xfrm>
              <a:off x="862523" y="4209436"/>
              <a:ext cx="27990" cy="27990"/>
              <a:chOff x="862523" y="4209436"/>
              <a:chExt cx="27990" cy="27990"/>
            </a:xfrm>
          </p:grpSpPr>
          <p:grpSp>
            <p:nvGrpSpPr>
              <p:cNvPr id="589" name="Graphic 509">
                <a:extLst>
                  <a:ext uri="{FF2B5EF4-FFF2-40B4-BE49-F238E27FC236}">
                    <a16:creationId xmlns:a16="http://schemas.microsoft.com/office/drawing/2014/main" id="{7D58F3B2-4448-4962-A7D8-402317484CAB}"/>
                  </a:ext>
                </a:extLst>
              </p:cNvPr>
              <p:cNvGrpSpPr/>
              <p:nvPr/>
            </p:nvGrpSpPr>
            <p:grpSpPr>
              <a:xfrm>
                <a:off x="862523" y="4209436"/>
                <a:ext cx="27990" cy="27990"/>
                <a:chOff x="862523" y="4209436"/>
                <a:chExt cx="27990" cy="27990"/>
              </a:xfrm>
            </p:grpSpPr>
            <p:sp>
              <p:nvSpPr>
                <p:cNvPr id="595" name="Freeform: Shape 594">
                  <a:extLst>
                    <a:ext uri="{FF2B5EF4-FFF2-40B4-BE49-F238E27FC236}">
                      <a16:creationId xmlns:a16="http://schemas.microsoft.com/office/drawing/2014/main" id="{2ABCC295-1044-4211-B0F1-18ACD6597902}"/>
                    </a:ext>
                  </a:extLst>
                </p:cNvPr>
                <p:cNvSpPr/>
                <p:nvPr/>
              </p:nvSpPr>
              <p:spPr>
                <a:xfrm>
                  <a:off x="862523" y="4209436"/>
                  <a:ext cx="27244" cy="27244"/>
                </a:xfrm>
                <a:custGeom>
                  <a:avLst/>
                  <a:gdLst>
                    <a:gd name="connsiteX0" fmla="*/ 27244 w 27244"/>
                    <a:gd name="connsiteY0" fmla="*/ 13622 h 27244"/>
                    <a:gd name="connsiteX1" fmla="*/ 13622 w 27244"/>
                    <a:gd name="connsiteY1" fmla="*/ 27244 h 27244"/>
                    <a:gd name="connsiteX2" fmla="*/ 0 w 27244"/>
                    <a:gd name="connsiteY2" fmla="*/ 13622 h 27244"/>
                    <a:gd name="connsiteX3" fmla="*/ 13622 w 27244"/>
                    <a:gd name="connsiteY3" fmla="*/ 0 h 27244"/>
                    <a:gd name="connsiteX4" fmla="*/ 27244 w 27244"/>
                    <a:gd name="connsiteY4" fmla="*/ 13622 h 27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44" h="27244">
                      <a:moveTo>
                        <a:pt x="27244" y="13622"/>
                      </a:moveTo>
                      <a:cubicBezTo>
                        <a:pt x="27244" y="21145"/>
                        <a:pt x="21145" y="27244"/>
                        <a:pt x="13622" y="27244"/>
                      </a:cubicBezTo>
                      <a:cubicBezTo>
                        <a:pt x="6099" y="27244"/>
                        <a:pt x="0" y="21145"/>
                        <a:pt x="0" y="13622"/>
                      </a:cubicBezTo>
                      <a:cubicBezTo>
                        <a:pt x="0" y="6099"/>
                        <a:pt x="6099" y="0"/>
                        <a:pt x="13622" y="0"/>
                      </a:cubicBezTo>
                      <a:cubicBezTo>
                        <a:pt x="21145" y="0"/>
                        <a:pt x="27244" y="6099"/>
                        <a:pt x="27244" y="13622"/>
                      </a:cubicBezTo>
                      <a:close/>
                    </a:path>
                  </a:pathLst>
                </a:custGeom>
                <a:solidFill>
                  <a:srgbClr val="B0B0B0"/>
                </a:solidFill>
                <a:ln w="6130" cap="flat">
                  <a:noFill/>
                  <a:prstDash val="solid"/>
                  <a:miter/>
                </a:ln>
              </p:spPr>
              <p:txBody>
                <a:bodyPr rtlCol="0" anchor="ctr"/>
                <a:lstStyle/>
                <a:p>
                  <a:pPr algn="l" rtl="0"/>
                  <a:endParaRPr lang="en-US" dirty="0"/>
                </a:p>
              </p:txBody>
            </p:sp>
            <p:sp>
              <p:nvSpPr>
                <p:cNvPr id="596" name="Freeform: Shape 595">
                  <a:extLst>
                    <a:ext uri="{FF2B5EF4-FFF2-40B4-BE49-F238E27FC236}">
                      <a16:creationId xmlns:a16="http://schemas.microsoft.com/office/drawing/2014/main" id="{E79BDDD1-BC09-4665-AC54-3E4E581BE58E}"/>
                    </a:ext>
                  </a:extLst>
                </p:cNvPr>
                <p:cNvSpPr/>
                <p:nvPr/>
              </p:nvSpPr>
              <p:spPr>
                <a:xfrm>
                  <a:off x="862523" y="4209436"/>
                  <a:ext cx="23263" cy="24071"/>
                </a:xfrm>
                <a:custGeom>
                  <a:avLst/>
                  <a:gdLst>
                    <a:gd name="connsiteX0" fmla="*/ 995 w 23263"/>
                    <a:gd name="connsiteY0" fmla="*/ 14493 h 24071"/>
                    <a:gd name="connsiteX1" fmla="*/ 14617 w 23263"/>
                    <a:gd name="connsiteY1" fmla="*/ 871 h 24071"/>
                    <a:gd name="connsiteX2" fmla="*/ 23263 w 23263"/>
                    <a:gd name="connsiteY2" fmla="*/ 4043 h 24071"/>
                    <a:gd name="connsiteX3" fmla="*/ 13622 w 23263"/>
                    <a:gd name="connsiteY3" fmla="*/ 0 h 24071"/>
                    <a:gd name="connsiteX4" fmla="*/ 0 w 23263"/>
                    <a:gd name="connsiteY4" fmla="*/ 13622 h 24071"/>
                    <a:gd name="connsiteX5" fmla="*/ 4976 w 23263"/>
                    <a:gd name="connsiteY5" fmla="*/ 24072 h 24071"/>
                    <a:gd name="connsiteX6" fmla="*/ 995 w 23263"/>
                    <a:gd name="connsiteY6" fmla="*/ 14493 h 2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63" h="24071">
                      <a:moveTo>
                        <a:pt x="995" y="14493"/>
                      </a:moveTo>
                      <a:cubicBezTo>
                        <a:pt x="995" y="6967"/>
                        <a:pt x="7091" y="871"/>
                        <a:pt x="14617" y="871"/>
                      </a:cubicBezTo>
                      <a:cubicBezTo>
                        <a:pt x="17914" y="871"/>
                        <a:pt x="20900" y="2115"/>
                        <a:pt x="23263" y="4043"/>
                      </a:cubicBezTo>
                      <a:cubicBezTo>
                        <a:pt x="20775" y="1555"/>
                        <a:pt x="17416" y="0"/>
                        <a:pt x="13622" y="0"/>
                      </a:cubicBezTo>
                      <a:cubicBezTo>
                        <a:pt x="6096" y="0"/>
                        <a:pt x="0" y="6096"/>
                        <a:pt x="0" y="13622"/>
                      </a:cubicBezTo>
                      <a:cubicBezTo>
                        <a:pt x="0" y="17852"/>
                        <a:pt x="1928" y="21584"/>
                        <a:pt x="4976" y="24072"/>
                      </a:cubicBezTo>
                      <a:cubicBezTo>
                        <a:pt x="2550" y="21584"/>
                        <a:pt x="995" y="18225"/>
                        <a:pt x="995" y="14493"/>
                      </a:cubicBezTo>
                      <a:close/>
                    </a:path>
                  </a:pathLst>
                </a:custGeom>
                <a:solidFill>
                  <a:srgbClr val="636363"/>
                </a:solidFill>
                <a:ln w="6130" cap="flat">
                  <a:noFill/>
                  <a:prstDash val="solid"/>
                  <a:miter/>
                </a:ln>
              </p:spPr>
              <p:txBody>
                <a:bodyPr rtlCol="0" anchor="ctr"/>
                <a:lstStyle/>
                <a:p>
                  <a:pPr algn="l" rtl="0"/>
                  <a:endParaRPr lang="en-US" dirty="0"/>
                </a:p>
              </p:txBody>
            </p:sp>
            <p:sp>
              <p:nvSpPr>
                <p:cNvPr id="597" name="Freeform: Shape 596">
                  <a:extLst>
                    <a:ext uri="{FF2B5EF4-FFF2-40B4-BE49-F238E27FC236}">
                      <a16:creationId xmlns:a16="http://schemas.microsoft.com/office/drawing/2014/main" id="{C3337E7B-5A31-45A8-82DF-BE93A213A78A}"/>
                    </a:ext>
                  </a:extLst>
                </p:cNvPr>
                <p:cNvSpPr/>
                <p:nvPr/>
              </p:nvSpPr>
              <p:spPr>
                <a:xfrm>
                  <a:off x="866939" y="4213853"/>
                  <a:ext cx="23574" cy="23574"/>
                </a:xfrm>
                <a:custGeom>
                  <a:avLst/>
                  <a:gdLst>
                    <a:gd name="connsiteX0" fmla="*/ 19158 w 23574"/>
                    <a:gd name="connsiteY0" fmla="*/ 0 h 23574"/>
                    <a:gd name="connsiteX1" fmla="*/ 22828 w 23574"/>
                    <a:gd name="connsiteY1" fmla="*/ 9206 h 23574"/>
                    <a:gd name="connsiteX2" fmla="*/ 9206 w 23574"/>
                    <a:gd name="connsiteY2" fmla="*/ 22828 h 23574"/>
                    <a:gd name="connsiteX3" fmla="*/ 0 w 23574"/>
                    <a:gd name="connsiteY3" fmla="*/ 19158 h 23574"/>
                    <a:gd name="connsiteX4" fmla="*/ 9952 w 23574"/>
                    <a:gd name="connsiteY4" fmla="*/ 23574 h 23574"/>
                    <a:gd name="connsiteX5" fmla="*/ 23574 w 23574"/>
                    <a:gd name="connsiteY5" fmla="*/ 9952 h 23574"/>
                    <a:gd name="connsiteX6" fmla="*/ 19158 w 23574"/>
                    <a:gd name="connsiteY6" fmla="*/ 0 h 23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74" h="23574">
                      <a:moveTo>
                        <a:pt x="19158" y="0"/>
                      </a:moveTo>
                      <a:cubicBezTo>
                        <a:pt x="21397" y="2426"/>
                        <a:pt x="22828" y="5660"/>
                        <a:pt x="22828" y="9206"/>
                      </a:cubicBezTo>
                      <a:cubicBezTo>
                        <a:pt x="22828" y="16732"/>
                        <a:pt x="16732" y="22828"/>
                        <a:pt x="9206" y="22828"/>
                      </a:cubicBezTo>
                      <a:cubicBezTo>
                        <a:pt x="5660" y="22828"/>
                        <a:pt x="2426" y="21397"/>
                        <a:pt x="0" y="19158"/>
                      </a:cubicBezTo>
                      <a:cubicBezTo>
                        <a:pt x="2488" y="21833"/>
                        <a:pt x="6034" y="23574"/>
                        <a:pt x="9952" y="23574"/>
                      </a:cubicBezTo>
                      <a:cubicBezTo>
                        <a:pt x="17479" y="23574"/>
                        <a:pt x="23574" y="17479"/>
                        <a:pt x="23574" y="9952"/>
                      </a:cubicBezTo>
                      <a:cubicBezTo>
                        <a:pt x="23574" y="5971"/>
                        <a:pt x="21895" y="2488"/>
                        <a:pt x="19158" y="0"/>
                      </a:cubicBezTo>
                      <a:close/>
                    </a:path>
                  </a:pathLst>
                </a:custGeom>
                <a:solidFill>
                  <a:srgbClr val="FAFAFA"/>
                </a:solidFill>
                <a:ln w="6130" cap="flat">
                  <a:noFill/>
                  <a:prstDash val="solid"/>
                  <a:miter/>
                </a:ln>
              </p:spPr>
              <p:txBody>
                <a:bodyPr rtlCol="0" anchor="ctr"/>
                <a:lstStyle/>
                <a:p>
                  <a:pPr algn="l" rtl="0"/>
                  <a:endParaRPr lang="en-US" dirty="0"/>
                </a:p>
              </p:txBody>
            </p:sp>
          </p:grpSp>
          <p:grpSp>
            <p:nvGrpSpPr>
              <p:cNvPr id="590" name="Graphic 509">
                <a:extLst>
                  <a:ext uri="{FF2B5EF4-FFF2-40B4-BE49-F238E27FC236}">
                    <a16:creationId xmlns:a16="http://schemas.microsoft.com/office/drawing/2014/main" id="{B698FB89-7ECA-41B5-A067-F9AC4C2EC52C}"/>
                  </a:ext>
                </a:extLst>
              </p:cNvPr>
              <p:cNvGrpSpPr/>
              <p:nvPr/>
            </p:nvGrpSpPr>
            <p:grpSpPr>
              <a:xfrm>
                <a:off x="866380" y="4213820"/>
                <a:ext cx="20153" cy="19224"/>
                <a:chOff x="866380" y="4213820"/>
                <a:chExt cx="20153" cy="19224"/>
              </a:xfrm>
            </p:grpSpPr>
            <p:sp>
              <p:nvSpPr>
                <p:cNvPr id="591" name="Freeform: Shape 590">
                  <a:extLst>
                    <a:ext uri="{FF2B5EF4-FFF2-40B4-BE49-F238E27FC236}">
                      <a16:creationId xmlns:a16="http://schemas.microsoft.com/office/drawing/2014/main" id="{F1F40738-9129-4721-B635-74124F17E228}"/>
                    </a:ext>
                  </a:extLst>
                </p:cNvPr>
                <p:cNvSpPr/>
                <p:nvPr/>
              </p:nvSpPr>
              <p:spPr>
                <a:xfrm>
                  <a:off x="866380" y="4213820"/>
                  <a:ext cx="20153" cy="19224"/>
                </a:xfrm>
                <a:custGeom>
                  <a:avLst/>
                  <a:gdLst>
                    <a:gd name="connsiteX0" fmla="*/ 20153 w 20153"/>
                    <a:gd name="connsiteY0" fmla="*/ 9612 h 19224"/>
                    <a:gd name="connsiteX1" fmla="*/ 17603 w 20153"/>
                    <a:gd name="connsiteY1" fmla="*/ 12038 h 19224"/>
                    <a:gd name="connsiteX2" fmla="*/ 18225 w 20153"/>
                    <a:gd name="connsiteY2" fmla="*/ 15521 h 19224"/>
                    <a:gd name="connsiteX3" fmla="*/ 14742 w 20153"/>
                    <a:gd name="connsiteY3" fmla="*/ 16019 h 19224"/>
                    <a:gd name="connsiteX4" fmla="*/ 13187 w 20153"/>
                    <a:gd name="connsiteY4" fmla="*/ 19191 h 19224"/>
                    <a:gd name="connsiteX5" fmla="*/ 10077 w 20153"/>
                    <a:gd name="connsiteY5" fmla="*/ 17512 h 19224"/>
                    <a:gd name="connsiteX6" fmla="*/ 6967 w 20153"/>
                    <a:gd name="connsiteY6" fmla="*/ 19191 h 19224"/>
                    <a:gd name="connsiteX7" fmla="*/ 5412 w 20153"/>
                    <a:gd name="connsiteY7" fmla="*/ 16019 h 19224"/>
                    <a:gd name="connsiteX8" fmla="*/ 1928 w 20153"/>
                    <a:gd name="connsiteY8" fmla="*/ 15521 h 19224"/>
                    <a:gd name="connsiteX9" fmla="*/ 2550 w 20153"/>
                    <a:gd name="connsiteY9" fmla="*/ 12038 h 19224"/>
                    <a:gd name="connsiteX10" fmla="*/ 0 w 20153"/>
                    <a:gd name="connsiteY10" fmla="*/ 9612 h 19224"/>
                    <a:gd name="connsiteX11" fmla="*/ 2550 w 20153"/>
                    <a:gd name="connsiteY11" fmla="*/ 7186 h 19224"/>
                    <a:gd name="connsiteX12" fmla="*/ 1928 w 20153"/>
                    <a:gd name="connsiteY12" fmla="*/ 3703 h 19224"/>
                    <a:gd name="connsiteX13" fmla="*/ 5412 w 20153"/>
                    <a:gd name="connsiteY13" fmla="*/ 3205 h 19224"/>
                    <a:gd name="connsiteX14" fmla="*/ 6967 w 20153"/>
                    <a:gd name="connsiteY14" fmla="*/ 33 h 19224"/>
                    <a:gd name="connsiteX15" fmla="*/ 10077 w 20153"/>
                    <a:gd name="connsiteY15" fmla="*/ 1712 h 19224"/>
                    <a:gd name="connsiteX16" fmla="*/ 13187 w 20153"/>
                    <a:gd name="connsiteY16" fmla="*/ 33 h 19224"/>
                    <a:gd name="connsiteX17" fmla="*/ 14742 w 20153"/>
                    <a:gd name="connsiteY17" fmla="*/ 3205 h 19224"/>
                    <a:gd name="connsiteX18" fmla="*/ 18225 w 20153"/>
                    <a:gd name="connsiteY18" fmla="*/ 3703 h 19224"/>
                    <a:gd name="connsiteX19" fmla="*/ 17603 w 20153"/>
                    <a:gd name="connsiteY19" fmla="*/ 7186 h 19224"/>
                    <a:gd name="connsiteX20" fmla="*/ 20153 w 20153"/>
                    <a:gd name="connsiteY20" fmla="*/ 9612 h 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53" h="19224">
                      <a:moveTo>
                        <a:pt x="20153" y="9612"/>
                      </a:moveTo>
                      <a:cubicBezTo>
                        <a:pt x="20153" y="10607"/>
                        <a:pt x="17914" y="11167"/>
                        <a:pt x="17603" y="12038"/>
                      </a:cubicBezTo>
                      <a:cubicBezTo>
                        <a:pt x="17292" y="12971"/>
                        <a:pt x="18785" y="14775"/>
                        <a:pt x="18225" y="15521"/>
                      </a:cubicBezTo>
                      <a:cubicBezTo>
                        <a:pt x="17665" y="16268"/>
                        <a:pt x="15488" y="15459"/>
                        <a:pt x="14742" y="16019"/>
                      </a:cubicBezTo>
                      <a:cubicBezTo>
                        <a:pt x="13995" y="16579"/>
                        <a:pt x="14120" y="18880"/>
                        <a:pt x="13187" y="19191"/>
                      </a:cubicBezTo>
                      <a:cubicBezTo>
                        <a:pt x="12316" y="19502"/>
                        <a:pt x="11072" y="17512"/>
                        <a:pt x="10077" y="17512"/>
                      </a:cubicBezTo>
                      <a:cubicBezTo>
                        <a:pt x="9081" y="17512"/>
                        <a:pt x="7837" y="19440"/>
                        <a:pt x="6967" y="19191"/>
                      </a:cubicBezTo>
                      <a:cubicBezTo>
                        <a:pt x="6034" y="18880"/>
                        <a:pt x="6158" y="16579"/>
                        <a:pt x="5412" y="16019"/>
                      </a:cubicBezTo>
                      <a:cubicBezTo>
                        <a:pt x="4665" y="15459"/>
                        <a:pt x="2488" y="16330"/>
                        <a:pt x="1928" y="15521"/>
                      </a:cubicBezTo>
                      <a:cubicBezTo>
                        <a:pt x="1368" y="14775"/>
                        <a:pt x="2861" y="12971"/>
                        <a:pt x="2550" y="12038"/>
                      </a:cubicBezTo>
                      <a:cubicBezTo>
                        <a:pt x="2239" y="11167"/>
                        <a:pt x="0" y="10545"/>
                        <a:pt x="0" y="9612"/>
                      </a:cubicBezTo>
                      <a:cubicBezTo>
                        <a:pt x="0" y="8679"/>
                        <a:pt x="2239" y="8057"/>
                        <a:pt x="2550" y="7186"/>
                      </a:cubicBezTo>
                      <a:cubicBezTo>
                        <a:pt x="2861" y="6253"/>
                        <a:pt x="1368" y="4449"/>
                        <a:pt x="1928" y="3703"/>
                      </a:cubicBezTo>
                      <a:cubicBezTo>
                        <a:pt x="2488" y="2956"/>
                        <a:pt x="4665" y="3765"/>
                        <a:pt x="5412" y="3205"/>
                      </a:cubicBezTo>
                      <a:cubicBezTo>
                        <a:pt x="6158" y="2645"/>
                        <a:pt x="6034" y="344"/>
                        <a:pt x="6967" y="33"/>
                      </a:cubicBezTo>
                      <a:cubicBezTo>
                        <a:pt x="7837" y="-278"/>
                        <a:pt x="9081" y="1712"/>
                        <a:pt x="10077" y="1712"/>
                      </a:cubicBezTo>
                      <a:cubicBezTo>
                        <a:pt x="11072" y="1712"/>
                        <a:pt x="12316" y="-216"/>
                        <a:pt x="13187" y="33"/>
                      </a:cubicBezTo>
                      <a:cubicBezTo>
                        <a:pt x="14120" y="344"/>
                        <a:pt x="13995" y="2645"/>
                        <a:pt x="14742" y="3205"/>
                      </a:cubicBezTo>
                      <a:cubicBezTo>
                        <a:pt x="15488" y="3765"/>
                        <a:pt x="17665" y="2894"/>
                        <a:pt x="18225" y="3703"/>
                      </a:cubicBezTo>
                      <a:cubicBezTo>
                        <a:pt x="18785" y="4449"/>
                        <a:pt x="17292" y="6253"/>
                        <a:pt x="17603" y="7186"/>
                      </a:cubicBezTo>
                      <a:cubicBezTo>
                        <a:pt x="17914" y="8057"/>
                        <a:pt x="20153" y="8679"/>
                        <a:pt x="20153" y="9612"/>
                      </a:cubicBezTo>
                      <a:close/>
                    </a:path>
                  </a:pathLst>
                </a:custGeom>
                <a:solidFill>
                  <a:srgbClr val="636363"/>
                </a:solidFill>
                <a:ln w="6130" cap="flat">
                  <a:noFill/>
                  <a:prstDash val="solid"/>
                  <a:miter/>
                </a:ln>
              </p:spPr>
              <p:txBody>
                <a:bodyPr rtlCol="0" anchor="ctr"/>
                <a:lstStyle/>
                <a:p>
                  <a:pPr algn="l" rtl="0"/>
                  <a:endParaRPr lang="en-US" dirty="0"/>
                </a:p>
              </p:txBody>
            </p:sp>
            <p:sp>
              <p:nvSpPr>
                <p:cNvPr id="592" name="Freeform: Shape 591">
                  <a:extLst>
                    <a:ext uri="{FF2B5EF4-FFF2-40B4-BE49-F238E27FC236}">
                      <a16:creationId xmlns:a16="http://schemas.microsoft.com/office/drawing/2014/main" id="{3CACD458-72E3-4B42-80A0-0D5F91A9A606}"/>
                    </a:ext>
                  </a:extLst>
                </p:cNvPr>
                <p:cNvSpPr/>
                <p:nvPr/>
              </p:nvSpPr>
              <p:spPr>
                <a:xfrm>
                  <a:off x="867126" y="4214638"/>
                  <a:ext cx="18660" cy="17587"/>
                </a:xfrm>
                <a:custGeom>
                  <a:avLst/>
                  <a:gdLst>
                    <a:gd name="connsiteX0" fmla="*/ 18660 w 18660"/>
                    <a:gd name="connsiteY0" fmla="*/ 8794 h 17587"/>
                    <a:gd name="connsiteX1" fmla="*/ 16297 w 18660"/>
                    <a:gd name="connsiteY1" fmla="*/ 11033 h 17587"/>
                    <a:gd name="connsiteX2" fmla="*/ 16857 w 18660"/>
                    <a:gd name="connsiteY2" fmla="*/ 14206 h 17587"/>
                    <a:gd name="connsiteX3" fmla="*/ 13622 w 18660"/>
                    <a:gd name="connsiteY3" fmla="*/ 14641 h 17587"/>
                    <a:gd name="connsiteX4" fmla="*/ 12192 w 18660"/>
                    <a:gd name="connsiteY4" fmla="*/ 17564 h 17587"/>
                    <a:gd name="connsiteX5" fmla="*/ 9330 w 18660"/>
                    <a:gd name="connsiteY5" fmla="*/ 16009 h 17587"/>
                    <a:gd name="connsiteX6" fmla="*/ 6469 w 18660"/>
                    <a:gd name="connsiteY6" fmla="*/ 17564 h 17587"/>
                    <a:gd name="connsiteX7" fmla="*/ 5038 w 18660"/>
                    <a:gd name="connsiteY7" fmla="*/ 14641 h 17587"/>
                    <a:gd name="connsiteX8" fmla="*/ 1804 w 18660"/>
                    <a:gd name="connsiteY8" fmla="*/ 14206 h 17587"/>
                    <a:gd name="connsiteX9" fmla="*/ 2364 w 18660"/>
                    <a:gd name="connsiteY9" fmla="*/ 11033 h 17587"/>
                    <a:gd name="connsiteX10" fmla="*/ 0 w 18660"/>
                    <a:gd name="connsiteY10" fmla="*/ 8794 h 17587"/>
                    <a:gd name="connsiteX11" fmla="*/ 2364 w 18660"/>
                    <a:gd name="connsiteY11" fmla="*/ 6555 h 17587"/>
                    <a:gd name="connsiteX12" fmla="*/ 1804 w 18660"/>
                    <a:gd name="connsiteY12" fmla="*/ 3382 h 17587"/>
                    <a:gd name="connsiteX13" fmla="*/ 5038 w 18660"/>
                    <a:gd name="connsiteY13" fmla="*/ 2947 h 17587"/>
                    <a:gd name="connsiteX14" fmla="*/ 6469 w 18660"/>
                    <a:gd name="connsiteY14" fmla="*/ 24 h 17587"/>
                    <a:gd name="connsiteX15" fmla="*/ 9330 w 18660"/>
                    <a:gd name="connsiteY15" fmla="*/ 1579 h 17587"/>
                    <a:gd name="connsiteX16" fmla="*/ 12192 w 18660"/>
                    <a:gd name="connsiteY16" fmla="*/ 24 h 17587"/>
                    <a:gd name="connsiteX17" fmla="*/ 13622 w 18660"/>
                    <a:gd name="connsiteY17" fmla="*/ 2947 h 17587"/>
                    <a:gd name="connsiteX18" fmla="*/ 16857 w 18660"/>
                    <a:gd name="connsiteY18" fmla="*/ 3382 h 17587"/>
                    <a:gd name="connsiteX19" fmla="*/ 16297 w 18660"/>
                    <a:gd name="connsiteY19" fmla="*/ 6555 h 17587"/>
                    <a:gd name="connsiteX20" fmla="*/ 18660 w 18660"/>
                    <a:gd name="connsiteY20" fmla="*/ 8794 h 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660" h="17587">
                      <a:moveTo>
                        <a:pt x="18660" y="8794"/>
                      </a:moveTo>
                      <a:cubicBezTo>
                        <a:pt x="18660" y="9665"/>
                        <a:pt x="16608" y="10225"/>
                        <a:pt x="16297" y="11033"/>
                      </a:cubicBezTo>
                      <a:cubicBezTo>
                        <a:pt x="16048" y="11842"/>
                        <a:pt x="17354" y="13521"/>
                        <a:pt x="16857" y="14206"/>
                      </a:cubicBezTo>
                      <a:cubicBezTo>
                        <a:pt x="16359" y="14890"/>
                        <a:pt x="14369" y="14143"/>
                        <a:pt x="13622" y="14641"/>
                      </a:cubicBezTo>
                      <a:cubicBezTo>
                        <a:pt x="12938" y="15139"/>
                        <a:pt x="13062" y="17316"/>
                        <a:pt x="12192" y="17564"/>
                      </a:cubicBezTo>
                      <a:cubicBezTo>
                        <a:pt x="11383" y="17813"/>
                        <a:pt x="10201" y="16009"/>
                        <a:pt x="9330" y="16009"/>
                      </a:cubicBezTo>
                      <a:cubicBezTo>
                        <a:pt x="8459" y="16009"/>
                        <a:pt x="7278" y="17813"/>
                        <a:pt x="6469" y="17564"/>
                      </a:cubicBezTo>
                      <a:cubicBezTo>
                        <a:pt x="5660" y="17316"/>
                        <a:pt x="5723" y="15139"/>
                        <a:pt x="5038" y="14641"/>
                      </a:cubicBezTo>
                      <a:cubicBezTo>
                        <a:pt x="4354" y="14143"/>
                        <a:pt x="2364" y="14890"/>
                        <a:pt x="1804" y="14206"/>
                      </a:cubicBezTo>
                      <a:cubicBezTo>
                        <a:pt x="1306" y="13521"/>
                        <a:pt x="2675" y="11842"/>
                        <a:pt x="2364" y="11033"/>
                      </a:cubicBezTo>
                      <a:cubicBezTo>
                        <a:pt x="2115" y="10225"/>
                        <a:pt x="0" y="9665"/>
                        <a:pt x="0" y="8794"/>
                      </a:cubicBezTo>
                      <a:cubicBezTo>
                        <a:pt x="0" y="7923"/>
                        <a:pt x="2053" y="7363"/>
                        <a:pt x="2364" y="6555"/>
                      </a:cubicBezTo>
                      <a:cubicBezTo>
                        <a:pt x="2612" y="5746"/>
                        <a:pt x="1306" y="4067"/>
                        <a:pt x="1804" y="3382"/>
                      </a:cubicBezTo>
                      <a:cubicBezTo>
                        <a:pt x="2301" y="2698"/>
                        <a:pt x="4292" y="3445"/>
                        <a:pt x="5038" y="2947"/>
                      </a:cubicBezTo>
                      <a:cubicBezTo>
                        <a:pt x="5723" y="2449"/>
                        <a:pt x="5598" y="272"/>
                        <a:pt x="6469" y="24"/>
                      </a:cubicBezTo>
                      <a:cubicBezTo>
                        <a:pt x="7278" y="-225"/>
                        <a:pt x="8459" y="1579"/>
                        <a:pt x="9330" y="1579"/>
                      </a:cubicBezTo>
                      <a:cubicBezTo>
                        <a:pt x="10201" y="1579"/>
                        <a:pt x="11383" y="-225"/>
                        <a:pt x="12192" y="24"/>
                      </a:cubicBezTo>
                      <a:cubicBezTo>
                        <a:pt x="13000" y="272"/>
                        <a:pt x="12938" y="2449"/>
                        <a:pt x="13622" y="2947"/>
                      </a:cubicBezTo>
                      <a:cubicBezTo>
                        <a:pt x="14306" y="3445"/>
                        <a:pt x="16297" y="2698"/>
                        <a:pt x="16857" y="3382"/>
                      </a:cubicBezTo>
                      <a:cubicBezTo>
                        <a:pt x="17354" y="4067"/>
                        <a:pt x="15986" y="5746"/>
                        <a:pt x="16297" y="6555"/>
                      </a:cubicBezTo>
                      <a:cubicBezTo>
                        <a:pt x="16546" y="7363"/>
                        <a:pt x="18660" y="7923"/>
                        <a:pt x="18660" y="8794"/>
                      </a:cubicBezTo>
                      <a:close/>
                    </a:path>
                  </a:pathLst>
                </a:custGeom>
                <a:solidFill>
                  <a:srgbClr val="E8E8E8"/>
                </a:solidFill>
                <a:ln w="6130" cap="flat">
                  <a:noFill/>
                  <a:prstDash val="solid"/>
                  <a:miter/>
                </a:ln>
              </p:spPr>
              <p:txBody>
                <a:bodyPr rtlCol="0" anchor="ctr"/>
                <a:lstStyle/>
                <a:p>
                  <a:pPr algn="l" rtl="0"/>
                  <a:endParaRPr lang="en-US" dirty="0"/>
                </a:p>
              </p:txBody>
            </p:sp>
            <p:sp>
              <p:nvSpPr>
                <p:cNvPr id="593" name="Freeform: Shape 592">
                  <a:extLst>
                    <a:ext uri="{FF2B5EF4-FFF2-40B4-BE49-F238E27FC236}">
                      <a16:creationId xmlns:a16="http://schemas.microsoft.com/office/drawing/2014/main" id="{4AC91ADA-A1E6-4A2A-9C14-46B4B82542B4}"/>
                    </a:ext>
                  </a:extLst>
                </p:cNvPr>
                <p:cNvSpPr/>
                <p:nvPr/>
              </p:nvSpPr>
              <p:spPr>
                <a:xfrm>
                  <a:off x="873035" y="4217709"/>
                  <a:ext cx="12751" cy="14578"/>
                </a:xfrm>
                <a:custGeom>
                  <a:avLst/>
                  <a:gdLst>
                    <a:gd name="connsiteX0" fmla="*/ 12751 w 12751"/>
                    <a:gd name="connsiteY0" fmla="*/ 5723 h 14578"/>
                    <a:gd name="connsiteX1" fmla="*/ 10388 w 12751"/>
                    <a:gd name="connsiteY1" fmla="*/ 3483 h 14578"/>
                    <a:gd name="connsiteX2" fmla="*/ 10947 w 12751"/>
                    <a:gd name="connsiteY2" fmla="*/ 311 h 14578"/>
                    <a:gd name="connsiteX3" fmla="*/ 10014 w 12751"/>
                    <a:gd name="connsiteY3" fmla="*/ 0 h 14578"/>
                    <a:gd name="connsiteX4" fmla="*/ 10201 w 12751"/>
                    <a:gd name="connsiteY4" fmla="*/ 62 h 14578"/>
                    <a:gd name="connsiteX5" fmla="*/ 9641 w 12751"/>
                    <a:gd name="connsiteY5" fmla="*/ 3172 h 14578"/>
                    <a:gd name="connsiteX6" fmla="*/ 11881 w 12751"/>
                    <a:gd name="connsiteY6" fmla="*/ 5349 h 14578"/>
                    <a:gd name="connsiteX7" fmla="*/ 9641 w 12751"/>
                    <a:gd name="connsiteY7" fmla="*/ 7526 h 14578"/>
                    <a:gd name="connsiteX8" fmla="*/ 10201 w 12751"/>
                    <a:gd name="connsiteY8" fmla="*/ 10636 h 14578"/>
                    <a:gd name="connsiteX9" fmla="*/ 7091 w 12751"/>
                    <a:gd name="connsiteY9" fmla="*/ 11072 h 14578"/>
                    <a:gd name="connsiteX10" fmla="*/ 5723 w 12751"/>
                    <a:gd name="connsiteY10" fmla="*/ 13933 h 14578"/>
                    <a:gd name="connsiteX11" fmla="*/ 2923 w 12751"/>
                    <a:gd name="connsiteY11" fmla="*/ 12440 h 14578"/>
                    <a:gd name="connsiteX12" fmla="*/ 124 w 12751"/>
                    <a:gd name="connsiteY12" fmla="*/ 13933 h 14578"/>
                    <a:gd name="connsiteX13" fmla="*/ 0 w 12751"/>
                    <a:gd name="connsiteY13" fmla="*/ 13809 h 14578"/>
                    <a:gd name="connsiteX14" fmla="*/ 560 w 12751"/>
                    <a:gd name="connsiteY14" fmla="*/ 14555 h 14578"/>
                    <a:gd name="connsiteX15" fmla="*/ 3421 w 12751"/>
                    <a:gd name="connsiteY15" fmla="*/ 13000 h 14578"/>
                    <a:gd name="connsiteX16" fmla="*/ 6282 w 12751"/>
                    <a:gd name="connsiteY16" fmla="*/ 14555 h 14578"/>
                    <a:gd name="connsiteX17" fmla="*/ 7713 w 12751"/>
                    <a:gd name="connsiteY17" fmla="*/ 11632 h 14578"/>
                    <a:gd name="connsiteX18" fmla="*/ 10947 w 12751"/>
                    <a:gd name="connsiteY18" fmla="*/ 11196 h 14578"/>
                    <a:gd name="connsiteX19" fmla="*/ 10388 w 12751"/>
                    <a:gd name="connsiteY19" fmla="*/ 8024 h 14578"/>
                    <a:gd name="connsiteX20" fmla="*/ 12751 w 12751"/>
                    <a:gd name="connsiteY20" fmla="*/ 5785 h 1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751" h="14578">
                      <a:moveTo>
                        <a:pt x="12751" y="5723"/>
                      </a:moveTo>
                      <a:cubicBezTo>
                        <a:pt x="12751" y="4852"/>
                        <a:pt x="10699" y="4292"/>
                        <a:pt x="10388" y="3483"/>
                      </a:cubicBezTo>
                      <a:cubicBezTo>
                        <a:pt x="10139" y="2675"/>
                        <a:pt x="11445" y="995"/>
                        <a:pt x="10947" y="311"/>
                      </a:cubicBezTo>
                      <a:cubicBezTo>
                        <a:pt x="10761" y="62"/>
                        <a:pt x="10388" y="0"/>
                        <a:pt x="10014" y="0"/>
                      </a:cubicBezTo>
                      <a:cubicBezTo>
                        <a:pt x="10014" y="0"/>
                        <a:pt x="10139" y="0"/>
                        <a:pt x="10201" y="62"/>
                      </a:cubicBezTo>
                      <a:cubicBezTo>
                        <a:pt x="10699" y="746"/>
                        <a:pt x="9392" y="2364"/>
                        <a:pt x="9641" y="3172"/>
                      </a:cubicBezTo>
                      <a:cubicBezTo>
                        <a:pt x="9890" y="3981"/>
                        <a:pt x="11881" y="4478"/>
                        <a:pt x="11881" y="5349"/>
                      </a:cubicBezTo>
                      <a:cubicBezTo>
                        <a:pt x="11881" y="6220"/>
                        <a:pt x="9890" y="6780"/>
                        <a:pt x="9641" y="7526"/>
                      </a:cubicBezTo>
                      <a:cubicBezTo>
                        <a:pt x="9392" y="8335"/>
                        <a:pt x="10699" y="9952"/>
                        <a:pt x="10201" y="10636"/>
                      </a:cubicBezTo>
                      <a:cubicBezTo>
                        <a:pt x="9703" y="11321"/>
                        <a:pt x="7775" y="10574"/>
                        <a:pt x="7091" y="11072"/>
                      </a:cubicBezTo>
                      <a:cubicBezTo>
                        <a:pt x="6407" y="11569"/>
                        <a:pt x="6531" y="13622"/>
                        <a:pt x="5723" y="13933"/>
                      </a:cubicBezTo>
                      <a:cubicBezTo>
                        <a:pt x="4914" y="14182"/>
                        <a:pt x="3794" y="12440"/>
                        <a:pt x="2923" y="12440"/>
                      </a:cubicBezTo>
                      <a:cubicBezTo>
                        <a:pt x="2053" y="12440"/>
                        <a:pt x="933" y="14182"/>
                        <a:pt x="124" y="13933"/>
                      </a:cubicBezTo>
                      <a:cubicBezTo>
                        <a:pt x="124" y="13933"/>
                        <a:pt x="62" y="13871"/>
                        <a:pt x="0" y="13809"/>
                      </a:cubicBezTo>
                      <a:cubicBezTo>
                        <a:pt x="124" y="14182"/>
                        <a:pt x="311" y="14493"/>
                        <a:pt x="560" y="14555"/>
                      </a:cubicBezTo>
                      <a:cubicBezTo>
                        <a:pt x="1368" y="14804"/>
                        <a:pt x="2550" y="13000"/>
                        <a:pt x="3421" y="13000"/>
                      </a:cubicBezTo>
                      <a:cubicBezTo>
                        <a:pt x="4292" y="13000"/>
                        <a:pt x="5474" y="14804"/>
                        <a:pt x="6282" y="14555"/>
                      </a:cubicBezTo>
                      <a:cubicBezTo>
                        <a:pt x="7091" y="14306"/>
                        <a:pt x="7029" y="12129"/>
                        <a:pt x="7713" y="11632"/>
                      </a:cubicBezTo>
                      <a:cubicBezTo>
                        <a:pt x="8397" y="11134"/>
                        <a:pt x="10388" y="11880"/>
                        <a:pt x="10947" y="11196"/>
                      </a:cubicBezTo>
                      <a:cubicBezTo>
                        <a:pt x="11445" y="10512"/>
                        <a:pt x="10077" y="8833"/>
                        <a:pt x="10388" y="8024"/>
                      </a:cubicBezTo>
                      <a:cubicBezTo>
                        <a:pt x="10636" y="7215"/>
                        <a:pt x="12751" y="6656"/>
                        <a:pt x="12751" y="5785"/>
                      </a:cubicBezTo>
                      <a:close/>
                    </a:path>
                  </a:pathLst>
                </a:custGeom>
                <a:solidFill>
                  <a:srgbClr val="949494"/>
                </a:solidFill>
                <a:ln w="6130" cap="flat">
                  <a:noFill/>
                  <a:prstDash val="solid"/>
                  <a:miter/>
                </a:ln>
              </p:spPr>
              <p:txBody>
                <a:bodyPr rtlCol="0" anchor="ctr"/>
                <a:lstStyle/>
                <a:p>
                  <a:pPr algn="l" rtl="0"/>
                  <a:endParaRPr lang="en-US" dirty="0"/>
                </a:p>
              </p:txBody>
            </p:sp>
            <p:sp>
              <p:nvSpPr>
                <p:cNvPr id="594" name="Freeform: Shape 593">
                  <a:extLst>
                    <a:ext uri="{FF2B5EF4-FFF2-40B4-BE49-F238E27FC236}">
                      <a16:creationId xmlns:a16="http://schemas.microsoft.com/office/drawing/2014/main" id="{A71C2071-8EF1-4040-A2BB-1BC93F218417}"/>
                    </a:ext>
                  </a:extLst>
                </p:cNvPr>
                <p:cNvSpPr/>
                <p:nvPr/>
              </p:nvSpPr>
              <p:spPr>
                <a:xfrm>
                  <a:off x="867126" y="4214638"/>
                  <a:ext cx="16974" cy="17626"/>
                </a:xfrm>
                <a:custGeom>
                  <a:avLst/>
                  <a:gdLst>
                    <a:gd name="connsiteX0" fmla="*/ 13622 w 16974"/>
                    <a:gd name="connsiteY0" fmla="*/ 2947 h 17626"/>
                    <a:gd name="connsiteX1" fmla="*/ 13373 w 16974"/>
                    <a:gd name="connsiteY1" fmla="*/ 2574 h 17626"/>
                    <a:gd name="connsiteX2" fmla="*/ 13995 w 16974"/>
                    <a:gd name="connsiteY2" fmla="*/ 4004 h 17626"/>
                    <a:gd name="connsiteX3" fmla="*/ 16857 w 16974"/>
                    <a:gd name="connsiteY3" fmla="*/ 4315 h 17626"/>
                    <a:gd name="connsiteX4" fmla="*/ 16857 w 16974"/>
                    <a:gd name="connsiteY4" fmla="*/ 3382 h 17626"/>
                    <a:gd name="connsiteX5" fmla="*/ 13622 w 16974"/>
                    <a:gd name="connsiteY5" fmla="*/ 2947 h 17626"/>
                    <a:gd name="connsiteX6" fmla="*/ 9330 w 16974"/>
                    <a:gd name="connsiteY6" fmla="*/ 1579 h 17626"/>
                    <a:gd name="connsiteX7" fmla="*/ 6469 w 16974"/>
                    <a:gd name="connsiteY7" fmla="*/ 24 h 17626"/>
                    <a:gd name="connsiteX8" fmla="*/ 5038 w 16974"/>
                    <a:gd name="connsiteY8" fmla="*/ 2947 h 17626"/>
                    <a:gd name="connsiteX9" fmla="*/ 1804 w 16974"/>
                    <a:gd name="connsiteY9" fmla="*/ 3382 h 17626"/>
                    <a:gd name="connsiteX10" fmla="*/ 2364 w 16974"/>
                    <a:gd name="connsiteY10" fmla="*/ 6555 h 17626"/>
                    <a:gd name="connsiteX11" fmla="*/ 0 w 16974"/>
                    <a:gd name="connsiteY11" fmla="*/ 8794 h 17626"/>
                    <a:gd name="connsiteX12" fmla="*/ 2364 w 16974"/>
                    <a:gd name="connsiteY12" fmla="*/ 11033 h 17626"/>
                    <a:gd name="connsiteX13" fmla="*/ 1804 w 16974"/>
                    <a:gd name="connsiteY13" fmla="*/ 14206 h 17626"/>
                    <a:gd name="connsiteX14" fmla="*/ 2799 w 16974"/>
                    <a:gd name="connsiteY14" fmla="*/ 14517 h 17626"/>
                    <a:gd name="connsiteX15" fmla="*/ 3359 w 16974"/>
                    <a:gd name="connsiteY15" fmla="*/ 11655 h 17626"/>
                    <a:gd name="connsiteX16" fmla="*/ 1182 w 16974"/>
                    <a:gd name="connsiteY16" fmla="*/ 9540 h 17626"/>
                    <a:gd name="connsiteX17" fmla="*/ 3421 w 16974"/>
                    <a:gd name="connsiteY17" fmla="*/ 7426 h 17626"/>
                    <a:gd name="connsiteX18" fmla="*/ 2861 w 16974"/>
                    <a:gd name="connsiteY18" fmla="*/ 4440 h 17626"/>
                    <a:gd name="connsiteX19" fmla="*/ 5909 w 16974"/>
                    <a:gd name="connsiteY19" fmla="*/ 4004 h 17626"/>
                    <a:gd name="connsiteX20" fmla="*/ 7215 w 16974"/>
                    <a:gd name="connsiteY20" fmla="*/ 1268 h 17626"/>
                    <a:gd name="connsiteX21" fmla="*/ 9890 w 16974"/>
                    <a:gd name="connsiteY21" fmla="*/ 2698 h 17626"/>
                    <a:gd name="connsiteX22" fmla="*/ 12565 w 16974"/>
                    <a:gd name="connsiteY22" fmla="*/ 1268 h 17626"/>
                    <a:gd name="connsiteX23" fmla="*/ 12938 w 16974"/>
                    <a:gd name="connsiteY23" fmla="*/ 1641 h 17626"/>
                    <a:gd name="connsiteX24" fmla="*/ 12129 w 16974"/>
                    <a:gd name="connsiteY24" fmla="*/ 24 h 17626"/>
                    <a:gd name="connsiteX25" fmla="*/ 9268 w 16974"/>
                    <a:gd name="connsiteY25" fmla="*/ 1579 h 17626"/>
                    <a:gd name="connsiteX26" fmla="*/ 5225 w 16974"/>
                    <a:gd name="connsiteY26" fmla="*/ 14952 h 17626"/>
                    <a:gd name="connsiteX27" fmla="*/ 6469 w 16974"/>
                    <a:gd name="connsiteY27" fmla="*/ 17627 h 17626"/>
                    <a:gd name="connsiteX28" fmla="*/ 6904 w 16974"/>
                    <a:gd name="connsiteY28" fmla="*/ 17564 h 17626"/>
                    <a:gd name="connsiteX29" fmla="*/ 5909 w 16974"/>
                    <a:gd name="connsiteY29" fmla="*/ 15139 h 17626"/>
                    <a:gd name="connsiteX30" fmla="*/ 5225 w 16974"/>
                    <a:gd name="connsiteY30" fmla="*/ 14952 h 1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974" h="17626">
                      <a:moveTo>
                        <a:pt x="13622" y="2947"/>
                      </a:moveTo>
                      <a:cubicBezTo>
                        <a:pt x="13622" y="2947"/>
                        <a:pt x="13436" y="2698"/>
                        <a:pt x="13373" y="2574"/>
                      </a:cubicBezTo>
                      <a:cubicBezTo>
                        <a:pt x="13498" y="3196"/>
                        <a:pt x="13684" y="3818"/>
                        <a:pt x="13995" y="4004"/>
                      </a:cubicBezTo>
                      <a:cubicBezTo>
                        <a:pt x="14617" y="4440"/>
                        <a:pt x="16172" y="3942"/>
                        <a:pt x="16857" y="4315"/>
                      </a:cubicBezTo>
                      <a:cubicBezTo>
                        <a:pt x="16981" y="3942"/>
                        <a:pt x="17043" y="3569"/>
                        <a:pt x="16857" y="3382"/>
                      </a:cubicBezTo>
                      <a:cubicBezTo>
                        <a:pt x="16359" y="2698"/>
                        <a:pt x="14369" y="3445"/>
                        <a:pt x="13622" y="2947"/>
                      </a:cubicBezTo>
                      <a:close/>
                      <a:moveTo>
                        <a:pt x="9330" y="1579"/>
                      </a:moveTo>
                      <a:cubicBezTo>
                        <a:pt x="8459" y="1579"/>
                        <a:pt x="7278" y="-225"/>
                        <a:pt x="6469" y="24"/>
                      </a:cubicBezTo>
                      <a:cubicBezTo>
                        <a:pt x="5660" y="272"/>
                        <a:pt x="5723" y="2449"/>
                        <a:pt x="5038" y="2947"/>
                      </a:cubicBezTo>
                      <a:cubicBezTo>
                        <a:pt x="4354" y="3445"/>
                        <a:pt x="2364" y="2698"/>
                        <a:pt x="1804" y="3382"/>
                      </a:cubicBezTo>
                      <a:cubicBezTo>
                        <a:pt x="1306" y="4067"/>
                        <a:pt x="2675" y="5746"/>
                        <a:pt x="2364" y="6555"/>
                      </a:cubicBezTo>
                      <a:cubicBezTo>
                        <a:pt x="2115" y="7363"/>
                        <a:pt x="0" y="7923"/>
                        <a:pt x="0" y="8794"/>
                      </a:cubicBezTo>
                      <a:cubicBezTo>
                        <a:pt x="0" y="9665"/>
                        <a:pt x="2053" y="10225"/>
                        <a:pt x="2364" y="11033"/>
                      </a:cubicBezTo>
                      <a:cubicBezTo>
                        <a:pt x="2612" y="11842"/>
                        <a:pt x="1306" y="13521"/>
                        <a:pt x="1804" y="14206"/>
                      </a:cubicBezTo>
                      <a:cubicBezTo>
                        <a:pt x="1990" y="14454"/>
                        <a:pt x="2364" y="14517"/>
                        <a:pt x="2799" y="14517"/>
                      </a:cubicBezTo>
                      <a:cubicBezTo>
                        <a:pt x="2488" y="13832"/>
                        <a:pt x="3608" y="12402"/>
                        <a:pt x="3359" y="11655"/>
                      </a:cubicBezTo>
                      <a:cubicBezTo>
                        <a:pt x="3110" y="10909"/>
                        <a:pt x="1182" y="10349"/>
                        <a:pt x="1182" y="9540"/>
                      </a:cubicBezTo>
                      <a:cubicBezTo>
                        <a:pt x="1182" y="8732"/>
                        <a:pt x="3172" y="8172"/>
                        <a:pt x="3421" y="7426"/>
                      </a:cubicBezTo>
                      <a:cubicBezTo>
                        <a:pt x="3670" y="6617"/>
                        <a:pt x="2426" y="5062"/>
                        <a:pt x="2861" y="4440"/>
                      </a:cubicBezTo>
                      <a:cubicBezTo>
                        <a:pt x="3359" y="3756"/>
                        <a:pt x="5225" y="4502"/>
                        <a:pt x="5909" y="4004"/>
                      </a:cubicBezTo>
                      <a:cubicBezTo>
                        <a:pt x="6593" y="3507"/>
                        <a:pt x="6469" y="1516"/>
                        <a:pt x="7215" y="1268"/>
                      </a:cubicBezTo>
                      <a:cubicBezTo>
                        <a:pt x="7962" y="1019"/>
                        <a:pt x="9081" y="2698"/>
                        <a:pt x="9890" y="2698"/>
                      </a:cubicBezTo>
                      <a:cubicBezTo>
                        <a:pt x="10699" y="2698"/>
                        <a:pt x="11818" y="1019"/>
                        <a:pt x="12565" y="1268"/>
                      </a:cubicBezTo>
                      <a:cubicBezTo>
                        <a:pt x="12751" y="1268"/>
                        <a:pt x="12814" y="1516"/>
                        <a:pt x="12938" y="1641"/>
                      </a:cubicBezTo>
                      <a:cubicBezTo>
                        <a:pt x="12751" y="894"/>
                        <a:pt x="12565" y="148"/>
                        <a:pt x="12129" y="24"/>
                      </a:cubicBezTo>
                      <a:cubicBezTo>
                        <a:pt x="11321" y="-225"/>
                        <a:pt x="10139" y="1579"/>
                        <a:pt x="9268" y="1579"/>
                      </a:cubicBezTo>
                      <a:close/>
                      <a:moveTo>
                        <a:pt x="5225" y="14952"/>
                      </a:moveTo>
                      <a:cubicBezTo>
                        <a:pt x="5723" y="15636"/>
                        <a:pt x="5723" y="17378"/>
                        <a:pt x="6469" y="17627"/>
                      </a:cubicBezTo>
                      <a:cubicBezTo>
                        <a:pt x="6593" y="17627"/>
                        <a:pt x="6780" y="17627"/>
                        <a:pt x="6904" y="17564"/>
                      </a:cubicBezTo>
                      <a:cubicBezTo>
                        <a:pt x="6469" y="16942"/>
                        <a:pt x="6407" y="15512"/>
                        <a:pt x="5909" y="15139"/>
                      </a:cubicBezTo>
                      <a:cubicBezTo>
                        <a:pt x="5723" y="15014"/>
                        <a:pt x="5474" y="14952"/>
                        <a:pt x="5225" y="14952"/>
                      </a:cubicBezTo>
                      <a:close/>
                    </a:path>
                  </a:pathLst>
                </a:custGeom>
                <a:solidFill>
                  <a:srgbClr val="FAFAFA"/>
                </a:solidFill>
                <a:ln w="6130" cap="flat">
                  <a:noFill/>
                  <a:prstDash val="solid"/>
                  <a:miter/>
                </a:ln>
              </p:spPr>
              <p:txBody>
                <a:bodyPr rtlCol="0" anchor="ctr"/>
                <a:lstStyle/>
                <a:p>
                  <a:pPr algn="l" rtl="0"/>
                  <a:endParaRPr lang="en-US" dirty="0"/>
                </a:p>
              </p:txBody>
            </p:sp>
          </p:grpSp>
        </p:grpSp>
        <p:sp>
          <p:nvSpPr>
            <p:cNvPr id="586" name="Freeform: Shape 585">
              <a:extLst>
                <a:ext uri="{FF2B5EF4-FFF2-40B4-BE49-F238E27FC236}">
                  <a16:creationId xmlns:a16="http://schemas.microsoft.com/office/drawing/2014/main" id="{D33AA2A9-74C6-422D-9636-DFA0EC33FED6}"/>
                </a:ext>
              </a:extLst>
            </p:cNvPr>
            <p:cNvSpPr/>
            <p:nvPr/>
          </p:nvSpPr>
          <p:spPr>
            <a:xfrm>
              <a:off x="634928" y="4135727"/>
              <a:ext cx="31100" cy="175408"/>
            </a:xfrm>
            <a:custGeom>
              <a:avLst/>
              <a:gdLst>
                <a:gd name="connsiteX0" fmla="*/ 0 w 31100"/>
                <a:gd name="connsiteY0" fmla="*/ 175408 h 175408"/>
                <a:gd name="connsiteX1" fmla="*/ 20589 w 31100"/>
                <a:gd name="connsiteY1" fmla="*/ 175408 h 175408"/>
                <a:gd name="connsiteX2" fmla="*/ 31101 w 31100"/>
                <a:gd name="connsiteY2" fmla="*/ 164896 h 175408"/>
                <a:gd name="connsiteX3" fmla="*/ 31101 w 31100"/>
                <a:gd name="connsiteY3" fmla="*/ 10512 h 175408"/>
                <a:gd name="connsiteX4" fmla="*/ 20589 w 31100"/>
                <a:gd name="connsiteY4" fmla="*/ 0 h 175408"/>
                <a:gd name="connsiteX5" fmla="*/ 0 w 31100"/>
                <a:gd name="connsiteY5" fmla="*/ 0 h 175408"/>
                <a:gd name="connsiteX6" fmla="*/ 0 w 31100"/>
                <a:gd name="connsiteY6" fmla="*/ 175408 h 17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00" h="175408">
                  <a:moveTo>
                    <a:pt x="0" y="175408"/>
                  </a:moveTo>
                  <a:lnTo>
                    <a:pt x="20589" y="175408"/>
                  </a:lnTo>
                  <a:cubicBezTo>
                    <a:pt x="26373" y="175408"/>
                    <a:pt x="31101" y="170681"/>
                    <a:pt x="31101" y="164896"/>
                  </a:cubicBezTo>
                  <a:lnTo>
                    <a:pt x="31101" y="10512"/>
                  </a:lnTo>
                  <a:cubicBezTo>
                    <a:pt x="31101" y="4727"/>
                    <a:pt x="26373" y="0"/>
                    <a:pt x="20589" y="0"/>
                  </a:cubicBezTo>
                  <a:lnTo>
                    <a:pt x="0" y="0"/>
                  </a:lnTo>
                  <a:lnTo>
                    <a:pt x="0" y="175408"/>
                  </a:lnTo>
                  <a:close/>
                </a:path>
              </a:pathLst>
            </a:custGeom>
            <a:solidFill>
              <a:schemeClr val="accent3"/>
            </a:solidFill>
            <a:ln w="6130" cap="flat">
              <a:noFill/>
              <a:prstDash val="solid"/>
              <a:miter/>
            </a:ln>
          </p:spPr>
          <p:txBody>
            <a:bodyPr rtlCol="0" anchor="ctr"/>
            <a:lstStyle/>
            <a:p>
              <a:pPr algn="l" rtl="0"/>
              <a:endParaRPr lang="en-US" dirty="0"/>
            </a:p>
          </p:txBody>
        </p:sp>
        <p:sp>
          <p:nvSpPr>
            <p:cNvPr id="587" name="Freeform: Shape 586">
              <a:extLst>
                <a:ext uri="{FF2B5EF4-FFF2-40B4-BE49-F238E27FC236}">
                  <a16:creationId xmlns:a16="http://schemas.microsoft.com/office/drawing/2014/main" id="{AF01884C-8123-47C3-9AFA-3C9C0874A280}"/>
                </a:ext>
              </a:extLst>
            </p:cNvPr>
            <p:cNvSpPr/>
            <p:nvPr/>
          </p:nvSpPr>
          <p:spPr>
            <a:xfrm>
              <a:off x="634928" y="4137531"/>
              <a:ext cx="31100" cy="173666"/>
            </a:xfrm>
            <a:custGeom>
              <a:avLst/>
              <a:gdLst>
                <a:gd name="connsiteX0" fmla="*/ 26373 w 31100"/>
                <a:gd name="connsiteY0" fmla="*/ 0 h 173666"/>
                <a:gd name="connsiteX1" fmla="*/ 27555 w 31100"/>
                <a:gd name="connsiteY1" fmla="*/ 4727 h 173666"/>
                <a:gd name="connsiteX2" fmla="*/ 27555 w 31100"/>
                <a:gd name="connsiteY2" fmla="*/ 159112 h 173666"/>
                <a:gd name="connsiteX3" fmla="*/ 17043 w 31100"/>
                <a:gd name="connsiteY3" fmla="*/ 169624 h 173666"/>
                <a:gd name="connsiteX4" fmla="*/ 0 w 31100"/>
                <a:gd name="connsiteY4" fmla="*/ 169624 h 173666"/>
                <a:gd name="connsiteX5" fmla="*/ 0 w 31100"/>
                <a:gd name="connsiteY5" fmla="*/ 173667 h 173666"/>
                <a:gd name="connsiteX6" fmla="*/ 20589 w 31100"/>
                <a:gd name="connsiteY6" fmla="*/ 173667 h 173666"/>
                <a:gd name="connsiteX7" fmla="*/ 31101 w 31100"/>
                <a:gd name="connsiteY7" fmla="*/ 163155 h 173666"/>
                <a:gd name="connsiteX8" fmla="*/ 31101 w 31100"/>
                <a:gd name="connsiteY8" fmla="*/ 8770 h 173666"/>
                <a:gd name="connsiteX9" fmla="*/ 26436 w 31100"/>
                <a:gd name="connsiteY9" fmla="*/ 62 h 1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00" h="173666">
                  <a:moveTo>
                    <a:pt x="26373" y="0"/>
                  </a:moveTo>
                  <a:cubicBezTo>
                    <a:pt x="27120" y="1431"/>
                    <a:pt x="27555" y="2986"/>
                    <a:pt x="27555" y="4727"/>
                  </a:cubicBezTo>
                  <a:lnTo>
                    <a:pt x="27555" y="159112"/>
                  </a:lnTo>
                  <a:cubicBezTo>
                    <a:pt x="27555" y="164896"/>
                    <a:pt x="22828" y="169624"/>
                    <a:pt x="17043" y="169624"/>
                  </a:cubicBezTo>
                  <a:lnTo>
                    <a:pt x="0" y="169624"/>
                  </a:lnTo>
                  <a:lnTo>
                    <a:pt x="0" y="173667"/>
                  </a:lnTo>
                  <a:lnTo>
                    <a:pt x="20589" y="173667"/>
                  </a:lnTo>
                  <a:cubicBezTo>
                    <a:pt x="26373" y="173667"/>
                    <a:pt x="31101" y="168939"/>
                    <a:pt x="31101" y="163155"/>
                  </a:cubicBezTo>
                  <a:lnTo>
                    <a:pt x="31101" y="8770"/>
                  </a:lnTo>
                  <a:cubicBezTo>
                    <a:pt x="31101" y="5101"/>
                    <a:pt x="29235" y="1928"/>
                    <a:pt x="26436" y="62"/>
                  </a:cubicBezTo>
                  <a:close/>
                </a:path>
              </a:pathLst>
            </a:custGeom>
            <a:solidFill>
              <a:schemeClr val="accent2">
                <a:lumMod val="75000"/>
              </a:schemeClr>
            </a:solidFill>
            <a:ln w="6130" cap="flat">
              <a:noFill/>
              <a:prstDash val="solid"/>
              <a:miter/>
            </a:ln>
          </p:spPr>
          <p:txBody>
            <a:bodyPr rtlCol="0" anchor="ctr"/>
            <a:lstStyle/>
            <a:p>
              <a:pPr algn="l" rtl="0"/>
              <a:endParaRPr lang="en-US" dirty="0"/>
            </a:p>
          </p:txBody>
        </p:sp>
        <p:sp>
          <p:nvSpPr>
            <p:cNvPr id="588" name="Freeform: Shape 587">
              <a:extLst>
                <a:ext uri="{FF2B5EF4-FFF2-40B4-BE49-F238E27FC236}">
                  <a16:creationId xmlns:a16="http://schemas.microsoft.com/office/drawing/2014/main" id="{A642B88A-FAD8-427A-B76D-CE16EDDDFD7F}"/>
                </a:ext>
              </a:extLst>
            </p:cNvPr>
            <p:cNvSpPr/>
            <p:nvPr/>
          </p:nvSpPr>
          <p:spPr>
            <a:xfrm>
              <a:off x="634928" y="4135727"/>
              <a:ext cx="29421" cy="175408"/>
            </a:xfrm>
            <a:custGeom>
              <a:avLst/>
              <a:gdLst>
                <a:gd name="connsiteX0" fmla="*/ 4292 w 29421"/>
                <a:gd name="connsiteY0" fmla="*/ 3794 h 175408"/>
                <a:gd name="connsiteX1" fmla="*/ 24881 w 29421"/>
                <a:gd name="connsiteY1" fmla="*/ 3794 h 175408"/>
                <a:gd name="connsiteX2" fmla="*/ 29421 w 29421"/>
                <a:gd name="connsiteY2" fmla="*/ 4852 h 175408"/>
                <a:gd name="connsiteX3" fmla="*/ 20589 w 29421"/>
                <a:gd name="connsiteY3" fmla="*/ 0 h 175408"/>
                <a:gd name="connsiteX4" fmla="*/ 0 w 29421"/>
                <a:gd name="connsiteY4" fmla="*/ 0 h 175408"/>
                <a:gd name="connsiteX5" fmla="*/ 0 w 29421"/>
                <a:gd name="connsiteY5" fmla="*/ 175408 h 175408"/>
                <a:gd name="connsiteX6" fmla="*/ 4292 w 29421"/>
                <a:gd name="connsiteY6" fmla="*/ 171365 h 175408"/>
                <a:gd name="connsiteX7" fmla="*/ 4292 w 29421"/>
                <a:gd name="connsiteY7" fmla="*/ 3794 h 17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21" h="175408">
                  <a:moveTo>
                    <a:pt x="4292" y="3794"/>
                  </a:moveTo>
                  <a:lnTo>
                    <a:pt x="24881" y="3794"/>
                  </a:lnTo>
                  <a:cubicBezTo>
                    <a:pt x="26498" y="3794"/>
                    <a:pt x="28053" y="4230"/>
                    <a:pt x="29421" y="4852"/>
                  </a:cubicBezTo>
                  <a:cubicBezTo>
                    <a:pt x="27555" y="1928"/>
                    <a:pt x="24321" y="0"/>
                    <a:pt x="20589" y="0"/>
                  </a:cubicBezTo>
                  <a:lnTo>
                    <a:pt x="0" y="0"/>
                  </a:lnTo>
                  <a:lnTo>
                    <a:pt x="0" y="175408"/>
                  </a:lnTo>
                  <a:lnTo>
                    <a:pt x="4292" y="171365"/>
                  </a:lnTo>
                  <a:lnTo>
                    <a:pt x="4292" y="3794"/>
                  </a:lnTo>
                  <a:close/>
                </a:path>
              </a:pathLst>
            </a:custGeom>
            <a:solidFill>
              <a:srgbClr val="FAFAFA"/>
            </a:solidFill>
            <a:ln w="6130" cap="flat">
              <a:noFill/>
              <a:prstDash val="solid"/>
              <a:miter/>
            </a:ln>
          </p:spPr>
          <p:txBody>
            <a:bodyPr rtlCol="0" anchor="ctr"/>
            <a:lstStyle/>
            <a:p>
              <a:pPr algn="l" rtl="0"/>
              <a:endParaRPr lang="en-US" dirty="0"/>
            </a:p>
          </p:txBody>
        </p:sp>
      </p:grpSp>
      <p:sp>
        <p:nvSpPr>
          <p:cNvPr id="621" name="TextBox 620">
            <a:extLst>
              <a:ext uri="{FF2B5EF4-FFF2-40B4-BE49-F238E27FC236}">
                <a16:creationId xmlns:a16="http://schemas.microsoft.com/office/drawing/2014/main" id="{9FF84707-7773-476B-AD5F-09309F58DCFE}"/>
              </a:ext>
            </a:extLst>
          </p:cNvPr>
          <p:cNvSpPr txBox="1">
            <a:spLocks/>
          </p:cNvSpPr>
          <p:nvPr/>
        </p:nvSpPr>
        <p:spPr>
          <a:xfrm>
            <a:off x="8732926" y="4109171"/>
            <a:ext cx="1070917"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mref</a:t>
            </a:r>
          </a:p>
        </p:txBody>
      </p:sp>
      <p:sp>
        <p:nvSpPr>
          <p:cNvPr id="622" name="TrackerNumBlue 23">
            <a:extLst>
              <a:ext uri="{FF2B5EF4-FFF2-40B4-BE49-F238E27FC236}">
                <a16:creationId xmlns:a16="http://schemas.microsoft.com/office/drawing/2014/main" id="{61C19AC7-FF0B-4999-B41D-440A5A42DF97}"/>
              </a:ext>
            </a:extLst>
          </p:cNvPr>
          <p:cNvSpPr/>
          <p:nvPr>
            <p:custDataLst>
              <p:tags r:id="rId29"/>
            </p:custDataLst>
          </p:nvPr>
        </p:nvSpPr>
        <p:spPr>
          <a:xfrm>
            <a:off x="8410473" y="4086075"/>
            <a:ext cx="230859" cy="23085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2</a:t>
            </a:r>
          </a:p>
        </p:txBody>
      </p:sp>
      <p:sp>
        <p:nvSpPr>
          <p:cNvPr id="623" name="TextBox 622">
            <a:extLst>
              <a:ext uri="{FF2B5EF4-FFF2-40B4-BE49-F238E27FC236}">
                <a16:creationId xmlns:a16="http://schemas.microsoft.com/office/drawing/2014/main" id="{5FE27B62-C113-4543-A934-CCF798B4D139}"/>
              </a:ext>
            </a:extLst>
          </p:cNvPr>
          <p:cNvSpPr txBox="1">
            <a:spLocks/>
          </p:cNvSpPr>
          <p:nvPr/>
        </p:nvSpPr>
        <p:spPr>
          <a:xfrm>
            <a:off x="3290320" y="4483170"/>
            <a:ext cx="1134785" cy="169277"/>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00000"/>
              </a:buClr>
              <a:buSzPct val="100000"/>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LM</a:t>
            </a:r>
          </a:p>
        </p:txBody>
      </p:sp>
      <p:sp>
        <p:nvSpPr>
          <p:cNvPr id="624" name="TrackerNumBlue 23">
            <a:extLst>
              <a:ext uri="{FF2B5EF4-FFF2-40B4-BE49-F238E27FC236}">
                <a16:creationId xmlns:a16="http://schemas.microsoft.com/office/drawing/2014/main" id="{35013EF8-1BA5-4A5A-B5EC-43D789B28A6C}"/>
              </a:ext>
            </a:extLst>
          </p:cNvPr>
          <p:cNvSpPr/>
          <p:nvPr>
            <p:custDataLst>
              <p:tags r:id="rId30"/>
            </p:custDataLst>
          </p:nvPr>
        </p:nvSpPr>
        <p:spPr>
          <a:xfrm>
            <a:off x="2910204" y="4452379"/>
            <a:ext cx="230859" cy="2308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1</a:t>
            </a:r>
          </a:p>
        </p:txBody>
      </p:sp>
      <p:sp>
        <p:nvSpPr>
          <p:cNvPr id="627" name="TextBox 626">
            <a:extLst>
              <a:ext uri="{FF2B5EF4-FFF2-40B4-BE49-F238E27FC236}">
                <a16:creationId xmlns:a16="http://schemas.microsoft.com/office/drawing/2014/main" id="{34B4D2FC-EB61-4CCB-834B-868C62D95121}"/>
              </a:ext>
            </a:extLst>
          </p:cNvPr>
          <p:cNvSpPr txBox="1">
            <a:spLocks/>
          </p:cNvSpPr>
          <p:nvPr/>
        </p:nvSpPr>
        <p:spPr>
          <a:xfrm>
            <a:off x="6930118" y="4483170"/>
            <a:ext cx="1134785" cy="169277"/>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00000"/>
              </a:buClr>
              <a:buSzPct val="100000"/>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LM</a:t>
            </a:r>
          </a:p>
        </p:txBody>
      </p:sp>
      <p:sp>
        <p:nvSpPr>
          <p:cNvPr id="628" name="TrackerNumBlue 23">
            <a:extLst>
              <a:ext uri="{FF2B5EF4-FFF2-40B4-BE49-F238E27FC236}">
                <a16:creationId xmlns:a16="http://schemas.microsoft.com/office/drawing/2014/main" id="{4DDAFB34-946B-411E-BF88-D61CE3902708}"/>
              </a:ext>
            </a:extLst>
          </p:cNvPr>
          <p:cNvSpPr/>
          <p:nvPr>
            <p:custDataLst>
              <p:tags r:id="rId31"/>
            </p:custDataLst>
          </p:nvPr>
        </p:nvSpPr>
        <p:spPr>
          <a:xfrm>
            <a:off x="6577050" y="4452379"/>
            <a:ext cx="230859" cy="2308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1</a:t>
            </a:r>
          </a:p>
        </p:txBody>
      </p:sp>
      <p:sp>
        <p:nvSpPr>
          <p:cNvPr id="629" name="TextBox 628">
            <a:extLst>
              <a:ext uri="{FF2B5EF4-FFF2-40B4-BE49-F238E27FC236}">
                <a16:creationId xmlns:a16="http://schemas.microsoft.com/office/drawing/2014/main" id="{A6CDBD1E-313D-4AC5-8F8A-2857646F0599}"/>
              </a:ext>
            </a:extLst>
          </p:cNvPr>
          <p:cNvSpPr txBox="1">
            <a:spLocks/>
          </p:cNvSpPr>
          <p:nvPr/>
        </p:nvSpPr>
        <p:spPr>
          <a:xfrm>
            <a:off x="8750530" y="4483170"/>
            <a:ext cx="1134785" cy="169277"/>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00000"/>
              </a:buClr>
              <a:buSzPct val="100000"/>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LM</a:t>
            </a:r>
          </a:p>
        </p:txBody>
      </p:sp>
      <p:sp>
        <p:nvSpPr>
          <p:cNvPr id="630" name="TrackerNumBlue 23">
            <a:extLst>
              <a:ext uri="{FF2B5EF4-FFF2-40B4-BE49-F238E27FC236}">
                <a16:creationId xmlns:a16="http://schemas.microsoft.com/office/drawing/2014/main" id="{69A40B89-B17B-4823-AE83-0C349A14D370}"/>
              </a:ext>
            </a:extLst>
          </p:cNvPr>
          <p:cNvSpPr/>
          <p:nvPr>
            <p:custDataLst>
              <p:tags r:id="rId32"/>
            </p:custDataLst>
          </p:nvPr>
        </p:nvSpPr>
        <p:spPr>
          <a:xfrm>
            <a:off x="8410473" y="4452379"/>
            <a:ext cx="230859" cy="2308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en-US" sz="1050" dirty="0">
                <a:solidFill>
                  <a:schemeClr val="bg1"/>
                </a:solidFill>
              </a:rPr>
              <a:t>L1</a:t>
            </a:r>
          </a:p>
        </p:txBody>
      </p:sp>
      <p:sp>
        <p:nvSpPr>
          <p:cNvPr id="5" name="Rectangle 4">
            <a:extLst>
              <a:ext uri="{FF2B5EF4-FFF2-40B4-BE49-F238E27FC236}">
                <a16:creationId xmlns:a16="http://schemas.microsoft.com/office/drawing/2014/main" id="{0F7FD91F-2DC8-F3FD-8610-C2AAA9A31A94}"/>
              </a:ext>
            </a:extLst>
          </p:cNvPr>
          <p:cNvSpPr/>
          <p:nvPr/>
        </p:nvSpPr>
        <p:spPr>
          <a:xfrm>
            <a:off x="1268056" y="6187035"/>
            <a:ext cx="9655889" cy="2177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r>
              <a:rPr lang="en-US" sz="1200" b="1" dirty="0">
                <a:solidFill>
                  <a:schemeClr val="bg1"/>
                </a:solidFill>
              </a:rPr>
              <a:t>La liste des partenaires pourrait être révisée après l'achèvement de l'audit financier</a:t>
            </a:r>
          </a:p>
        </p:txBody>
      </p:sp>
    </p:spTree>
    <p:extLst>
      <p:ext uri="{BB962C8B-B14F-4D97-AF65-F5344CB8AC3E}">
        <p14:creationId xmlns:p14="http://schemas.microsoft.com/office/powerpoint/2010/main" val="29692410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53DBAACA-BF8D-4749-ADDE-C4F20AAAFF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8" name="Object 6" hidden="1">
                        <a:extLst>
                          <a:ext uri="{FF2B5EF4-FFF2-40B4-BE49-F238E27FC236}">
                            <a16:creationId xmlns:a16="http://schemas.microsoft.com/office/drawing/2014/main" id="{53DBAACA-BF8D-4749-ADDE-C4F20AAAFF6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8DE0CD03-04B1-450E-BE9B-F7EEF3B5B555}"/>
              </a:ext>
            </a:extLst>
          </p:cNvPr>
          <p:cNvSpPr/>
          <p:nvPr/>
        </p:nvSpPr>
        <p:spPr>
          <a:xfrm>
            <a:off x="4781894" y="3781053"/>
            <a:ext cx="2628213" cy="2628213"/>
          </a:xfrm>
          <a:prstGeom prst="ellipse">
            <a:avLst/>
          </a:prstGeom>
          <a:solidFill>
            <a:schemeClr val="accent1">
              <a:lumMod val="20000"/>
              <a:lumOff val="80000"/>
            </a:schemeClr>
          </a:solidFill>
          <a:ln w="571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rtl="0">
              <a:spcBef>
                <a:spcPts val="300"/>
              </a:spcBef>
              <a:spcAft>
                <a:spcPts val="300"/>
              </a:spcAft>
              <a:buClr>
                <a:srgbClr val="000000"/>
              </a:buClr>
            </a:pPr>
            <a:r>
              <a:rPr lang="en-US" sz="1600" b="1" dirty="0">
                <a:solidFill>
                  <a:schemeClr val="accent1"/>
                </a:solidFill>
              </a:rPr>
              <a:t>Union africaine</a:t>
            </a:r>
          </a:p>
        </p:txBody>
      </p:sp>
      <p:sp>
        <p:nvSpPr>
          <p:cNvPr id="2" name="3. Subtitle">
            <a:extLst>
              <a:ext uri="{FF2B5EF4-FFF2-40B4-BE49-F238E27FC236}">
                <a16:creationId xmlns:a16="http://schemas.microsoft.com/office/drawing/2014/main" id="{A88FF323-3DFA-4765-B8E7-55930C39DEE2}"/>
              </a:ext>
            </a:extLst>
          </p:cNvPr>
          <p:cNvSpPr>
            <a:spLocks noGrp="1"/>
          </p:cNvSpPr>
          <p:nvPr>
            <p:ph type="subTitle" idx="1"/>
            <p:custDataLst>
              <p:tags r:id="rId2"/>
            </p:custDataLst>
          </p:nvPr>
        </p:nvSpPr>
        <p:spPr/>
        <p:txBody>
          <a:bodyPr/>
          <a:lstStyle/>
          <a:p>
            <a:pPr algn="l" rtl="0"/>
            <a:endParaRPr lang="en-GB"/>
          </a:p>
        </p:txBody>
      </p:sp>
      <p:sp>
        <p:nvSpPr>
          <p:cNvPr id="4" name="2. Slide Title">
            <a:extLst>
              <a:ext uri="{FF2B5EF4-FFF2-40B4-BE49-F238E27FC236}">
                <a16:creationId xmlns:a16="http://schemas.microsoft.com/office/drawing/2014/main" id="{13ACCC8A-9C1F-4506-8382-668268ECDCA4}"/>
              </a:ext>
            </a:extLst>
          </p:cNvPr>
          <p:cNvSpPr>
            <a:spLocks noGrp="1"/>
          </p:cNvSpPr>
          <p:nvPr>
            <p:ph type="title"/>
            <p:custDataLst>
              <p:tags r:id="rId3"/>
            </p:custDataLst>
          </p:nvPr>
        </p:nvSpPr>
        <p:spPr>
          <a:xfrm>
            <a:off x="554736" y="519011"/>
            <a:ext cx="11082528" cy="384721"/>
          </a:xfrm>
        </p:spPr>
        <p:txBody>
          <a:bodyPr vert="horz"/>
          <a:lstStyle/>
          <a:p>
            <a:pPr algn="l" rtl="0"/>
            <a:r>
              <a:rPr lang="en-GB" dirty="0"/>
              <a:t>Dynamique des acteurs du programme SLL</a:t>
            </a:r>
          </a:p>
        </p:txBody>
      </p:sp>
      <p:sp>
        <p:nvSpPr>
          <p:cNvPr id="5" name="Oval 4">
            <a:extLst>
              <a:ext uri="{FF2B5EF4-FFF2-40B4-BE49-F238E27FC236}">
                <a16:creationId xmlns:a16="http://schemas.microsoft.com/office/drawing/2014/main" id="{BE19C270-DB5F-46A4-A031-60917EAFE701}"/>
              </a:ext>
            </a:extLst>
          </p:cNvPr>
          <p:cNvSpPr/>
          <p:nvPr/>
        </p:nvSpPr>
        <p:spPr>
          <a:xfrm>
            <a:off x="554736" y="1478120"/>
            <a:ext cx="1888067" cy="1888067"/>
          </a:xfrm>
          <a:prstGeom prst="ellipse">
            <a:avLst/>
          </a:prstGeom>
          <a:solidFill>
            <a:schemeClr val="accent5"/>
          </a:solidFill>
          <a:ln w="571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US" sz="1600" b="1" dirty="0">
                <a:solidFill>
                  <a:schemeClr val="bg1"/>
                </a:solidFill>
              </a:rPr>
              <a:t>Fondation Mastercard</a:t>
            </a:r>
          </a:p>
        </p:txBody>
      </p:sp>
      <p:sp>
        <p:nvSpPr>
          <p:cNvPr id="6" name="Oval 5">
            <a:extLst>
              <a:ext uri="{FF2B5EF4-FFF2-40B4-BE49-F238E27FC236}">
                <a16:creationId xmlns:a16="http://schemas.microsoft.com/office/drawing/2014/main" id="{B3F7F7DE-05DF-4D16-B521-9E538A6108FF}"/>
              </a:ext>
            </a:extLst>
          </p:cNvPr>
          <p:cNvSpPr/>
          <p:nvPr/>
        </p:nvSpPr>
        <p:spPr>
          <a:xfrm>
            <a:off x="5151967" y="1478120"/>
            <a:ext cx="1888067" cy="1888067"/>
          </a:xfrm>
          <a:prstGeom prst="ellipse">
            <a:avLst/>
          </a:prstGeom>
          <a:solidFill>
            <a:schemeClr val="accent2"/>
          </a:solidFill>
          <a:ln w="571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US" sz="1600" b="1" dirty="0">
                <a:solidFill>
                  <a:schemeClr val="bg1"/>
                </a:solidFill>
              </a:rPr>
              <a:t>Partenaires de mise en œuvre</a:t>
            </a:r>
          </a:p>
        </p:txBody>
      </p:sp>
      <p:sp>
        <p:nvSpPr>
          <p:cNvPr id="7" name="Oval 6">
            <a:extLst>
              <a:ext uri="{FF2B5EF4-FFF2-40B4-BE49-F238E27FC236}">
                <a16:creationId xmlns:a16="http://schemas.microsoft.com/office/drawing/2014/main" id="{EF7497BE-0FBD-4CB2-B08E-F8E921F2B210}"/>
              </a:ext>
            </a:extLst>
          </p:cNvPr>
          <p:cNvSpPr/>
          <p:nvPr/>
        </p:nvSpPr>
        <p:spPr>
          <a:xfrm>
            <a:off x="9749197" y="1478120"/>
            <a:ext cx="1888067" cy="1888067"/>
          </a:xfrm>
          <a:prstGeom prst="ellipse">
            <a:avLst/>
          </a:prstGeom>
          <a:solidFill>
            <a:schemeClr val="accent3"/>
          </a:solidFill>
          <a:ln w="571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US" sz="1600" b="1" dirty="0">
                <a:solidFill>
                  <a:schemeClr val="bg1"/>
                </a:solidFill>
              </a:rPr>
              <a:t>États membres</a:t>
            </a:r>
          </a:p>
        </p:txBody>
      </p:sp>
      <p:sp>
        <p:nvSpPr>
          <p:cNvPr id="9" name="Oval 8">
            <a:extLst>
              <a:ext uri="{FF2B5EF4-FFF2-40B4-BE49-F238E27FC236}">
                <a16:creationId xmlns:a16="http://schemas.microsoft.com/office/drawing/2014/main" id="{0F1F3C4B-FDA8-4428-A95A-4129AE07CFB1}"/>
              </a:ext>
            </a:extLst>
          </p:cNvPr>
          <p:cNvSpPr/>
          <p:nvPr/>
        </p:nvSpPr>
        <p:spPr>
          <a:xfrm>
            <a:off x="5151966" y="3781053"/>
            <a:ext cx="1888067" cy="1888067"/>
          </a:xfrm>
          <a:prstGeom prst="ellipse">
            <a:avLst/>
          </a:prstGeom>
          <a:solidFill>
            <a:schemeClr val="accent1"/>
          </a:solidFill>
          <a:ln w="571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r>
              <a:rPr lang="en-US" sz="1600" b="1" dirty="0">
                <a:solidFill>
                  <a:schemeClr val="bg1"/>
                </a:solidFill>
              </a:rPr>
              <a:t>Centre de contrôle et de prévention des maladies d'Afrique</a:t>
            </a:r>
          </a:p>
        </p:txBody>
      </p:sp>
      <p:cxnSp>
        <p:nvCxnSpPr>
          <p:cNvPr id="16" name="Straight Arrow Connector 15">
            <a:extLst>
              <a:ext uri="{FF2B5EF4-FFF2-40B4-BE49-F238E27FC236}">
                <a16:creationId xmlns:a16="http://schemas.microsoft.com/office/drawing/2014/main" id="{A4585EBE-08F2-4EEC-819C-74C1E36F9F9A}"/>
              </a:ext>
            </a:extLst>
          </p:cNvPr>
          <p:cNvCxnSpPr>
            <a:cxnSpLocks/>
            <a:stCxn id="10" idx="0"/>
            <a:endCxn id="6" idx="4"/>
          </p:cNvCxnSpPr>
          <p:nvPr/>
        </p:nvCxnSpPr>
        <p:spPr>
          <a:xfrm flipV="1">
            <a:off x="6096001" y="3366187"/>
            <a:ext cx="0" cy="414866"/>
          </a:xfrm>
          <a:prstGeom prst="straightConnector1">
            <a:avLst/>
          </a:prstGeom>
          <a:ln w="38100" cap="flat">
            <a:solidFill>
              <a:schemeClr val="bg1">
                <a:lumMod val="85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3" name="CustomIcon">
            <a:extLst>
              <a:ext uri="{FF2B5EF4-FFF2-40B4-BE49-F238E27FC236}">
                <a16:creationId xmlns:a16="http://schemas.microsoft.com/office/drawing/2014/main" id="{D3D06AAC-1DDF-40EA-9B25-8192F9043CE0}"/>
              </a:ext>
            </a:extLst>
          </p:cNvPr>
          <p:cNvGrpSpPr>
            <a:grpSpLocks/>
          </p:cNvGrpSpPr>
          <p:nvPr>
            <p:custDataLst>
              <p:tags r:id="rId4"/>
            </p:custDataLst>
          </p:nvPr>
        </p:nvGrpSpPr>
        <p:grpSpPr>
          <a:xfrm>
            <a:off x="554736" y="4747451"/>
            <a:ext cx="357437" cy="357437"/>
            <a:chOff x="-205105" y="-205105"/>
            <a:chExt cx="1019810" cy="1019810"/>
          </a:xfrm>
        </p:grpSpPr>
        <p:sp>
          <p:nvSpPr>
            <p:cNvPr id="64" name="Oval 63">
              <a:extLst>
                <a:ext uri="{FF2B5EF4-FFF2-40B4-BE49-F238E27FC236}">
                  <a16:creationId xmlns:a16="http://schemas.microsoft.com/office/drawing/2014/main" id="{B514D38D-DE81-49FA-AE78-92AC5297756A}"/>
                </a:ext>
              </a:extLst>
            </p:cNvPr>
            <p:cNvSpPr>
              <a:spLocks noChangeAspect="1"/>
            </p:cNvSpPr>
            <p:nvPr/>
          </p:nvSpPr>
          <p:spPr>
            <a:xfrm>
              <a:off x="-205105" y="-205105"/>
              <a:ext cx="1019810" cy="1019810"/>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pic>
          <p:nvPicPr>
            <p:cNvPr id="65" name="Graphic 64">
              <a:extLst>
                <a:ext uri="{FF2B5EF4-FFF2-40B4-BE49-F238E27FC236}">
                  <a16:creationId xmlns:a16="http://schemas.microsoft.com/office/drawing/2014/main" id="{B00CB6D9-3CEE-43DF-8237-9EFB79B374D6}"/>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pSp>
        <p:nvGrpSpPr>
          <p:cNvPr id="66" name="CustomIcon">
            <a:extLst>
              <a:ext uri="{FF2B5EF4-FFF2-40B4-BE49-F238E27FC236}">
                <a16:creationId xmlns:a16="http://schemas.microsoft.com/office/drawing/2014/main" id="{24C09DB7-F768-459C-BDC2-8049DAB5A42A}"/>
              </a:ext>
            </a:extLst>
          </p:cNvPr>
          <p:cNvGrpSpPr>
            <a:grpSpLocks/>
          </p:cNvGrpSpPr>
          <p:nvPr>
            <p:custDataLst>
              <p:tags r:id="rId5"/>
            </p:custDataLst>
          </p:nvPr>
        </p:nvGrpSpPr>
        <p:grpSpPr>
          <a:xfrm>
            <a:off x="554736" y="5253464"/>
            <a:ext cx="357437" cy="357437"/>
            <a:chOff x="-205105" y="-205105"/>
            <a:chExt cx="1019810" cy="1019810"/>
          </a:xfrm>
        </p:grpSpPr>
        <p:sp>
          <p:nvSpPr>
            <p:cNvPr id="67" name="Oval 66">
              <a:extLst>
                <a:ext uri="{FF2B5EF4-FFF2-40B4-BE49-F238E27FC236}">
                  <a16:creationId xmlns:a16="http://schemas.microsoft.com/office/drawing/2014/main" id="{C1682ECE-5D89-4773-BD4A-AE87F7CEF9C6}"/>
                </a:ext>
              </a:extLst>
            </p:cNvPr>
            <p:cNvSpPr>
              <a:spLocks noChangeAspect="1"/>
            </p:cNvSpPr>
            <p:nvPr/>
          </p:nvSpPr>
          <p:spPr>
            <a:xfrm>
              <a:off x="-205105" y="-205105"/>
              <a:ext cx="1019810" cy="1019810"/>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pic>
          <p:nvPicPr>
            <p:cNvPr id="68" name="Graphic 67">
              <a:extLst>
                <a:ext uri="{FF2B5EF4-FFF2-40B4-BE49-F238E27FC236}">
                  <a16:creationId xmlns:a16="http://schemas.microsoft.com/office/drawing/2014/main" id="{A460C0B9-E7D6-47A9-B5E4-91A1C75666FF}"/>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grpSp>
        <p:nvGrpSpPr>
          <p:cNvPr id="69" name="CustomIcon">
            <a:extLst>
              <a:ext uri="{FF2B5EF4-FFF2-40B4-BE49-F238E27FC236}">
                <a16:creationId xmlns:a16="http://schemas.microsoft.com/office/drawing/2014/main" id="{5D947D88-4845-4319-A0F1-A5517812318D}"/>
              </a:ext>
            </a:extLst>
          </p:cNvPr>
          <p:cNvGrpSpPr>
            <a:grpSpLocks/>
          </p:cNvGrpSpPr>
          <p:nvPr>
            <p:custDataLst>
              <p:tags r:id="rId6"/>
            </p:custDataLst>
          </p:nvPr>
        </p:nvGrpSpPr>
        <p:grpSpPr>
          <a:xfrm>
            <a:off x="554736" y="5759477"/>
            <a:ext cx="357437" cy="357437"/>
            <a:chOff x="-205105" y="-205105"/>
            <a:chExt cx="1019810" cy="1019810"/>
          </a:xfrm>
        </p:grpSpPr>
        <p:sp>
          <p:nvSpPr>
            <p:cNvPr id="70" name="Oval 69">
              <a:extLst>
                <a:ext uri="{FF2B5EF4-FFF2-40B4-BE49-F238E27FC236}">
                  <a16:creationId xmlns:a16="http://schemas.microsoft.com/office/drawing/2014/main" id="{F18514DF-EE28-46DA-B0F7-40E3CE477D4E}"/>
                </a:ext>
              </a:extLst>
            </p:cNvPr>
            <p:cNvSpPr>
              <a:spLocks noChangeAspect="1"/>
            </p:cNvSpPr>
            <p:nvPr/>
          </p:nvSpPr>
          <p:spPr>
            <a:xfrm>
              <a:off x="-205105" y="-205105"/>
              <a:ext cx="1019810" cy="1019810"/>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pic>
          <p:nvPicPr>
            <p:cNvPr id="71" name="Graphic 70">
              <a:extLst>
                <a:ext uri="{FF2B5EF4-FFF2-40B4-BE49-F238E27FC236}">
                  <a16:creationId xmlns:a16="http://schemas.microsoft.com/office/drawing/2014/main" id="{1B2E7715-7D44-436F-BE56-6405ECA2B0EB}"/>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sp>
        <p:nvSpPr>
          <p:cNvPr id="76" name="TextBox 75">
            <a:extLst>
              <a:ext uri="{FF2B5EF4-FFF2-40B4-BE49-F238E27FC236}">
                <a16:creationId xmlns:a16="http://schemas.microsoft.com/office/drawing/2014/main" id="{39B79CDE-FA3B-4C50-9DE1-8CEC1EAF0AFE}"/>
              </a:ext>
            </a:extLst>
          </p:cNvPr>
          <p:cNvSpPr txBox="1">
            <a:spLocks/>
          </p:cNvSpPr>
          <p:nvPr/>
        </p:nvSpPr>
        <p:spPr>
          <a:xfrm>
            <a:off x="1037164" y="4747451"/>
            <a:ext cx="1816103" cy="357437"/>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en-US" sz="1400" dirty="0"/>
              <a:t>Financement</a:t>
            </a:r>
          </a:p>
        </p:txBody>
      </p:sp>
      <p:sp>
        <p:nvSpPr>
          <p:cNvPr id="77" name="TextBox 76">
            <a:extLst>
              <a:ext uri="{FF2B5EF4-FFF2-40B4-BE49-F238E27FC236}">
                <a16:creationId xmlns:a16="http://schemas.microsoft.com/office/drawing/2014/main" id="{0356F96B-A636-4968-A874-85EF89004AA5}"/>
              </a:ext>
            </a:extLst>
          </p:cNvPr>
          <p:cNvSpPr txBox="1">
            <a:spLocks/>
          </p:cNvSpPr>
          <p:nvPr/>
        </p:nvSpPr>
        <p:spPr>
          <a:xfrm>
            <a:off x="1037164" y="5253464"/>
            <a:ext cx="1816103" cy="357437"/>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en-US" sz="1400" dirty="0"/>
              <a:t>Coordination</a:t>
            </a:r>
          </a:p>
        </p:txBody>
      </p:sp>
      <p:sp>
        <p:nvSpPr>
          <p:cNvPr id="78" name="TextBox 77">
            <a:extLst>
              <a:ext uri="{FF2B5EF4-FFF2-40B4-BE49-F238E27FC236}">
                <a16:creationId xmlns:a16="http://schemas.microsoft.com/office/drawing/2014/main" id="{520A7E0F-19DC-4108-9F1C-8302EF194664}"/>
              </a:ext>
            </a:extLst>
          </p:cNvPr>
          <p:cNvSpPr txBox="1">
            <a:spLocks/>
          </p:cNvSpPr>
          <p:nvPr/>
        </p:nvSpPr>
        <p:spPr>
          <a:xfrm>
            <a:off x="1037164" y="5759477"/>
            <a:ext cx="1816103" cy="357437"/>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en-US" sz="1400" dirty="0"/>
              <a:t>Mise en œuvre</a:t>
            </a:r>
          </a:p>
        </p:txBody>
      </p:sp>
      <p:cxnSp>
        <p:nvCxnSpPr>
          <p:cNvPr id="12" name="Straight Arrow Connector 11">
            <a:extLst>
              <a:ext uri="{FF2B5EF4-FFF2-40B4-BE49-F238E27FC236}">
                <a16:creationId xmlns:a16="http://schemas.microsoft.com/office/drawing/2014/main" id="{F2608D71-771A-4AB6-B6FB-9FC2BCC85677}"/>
              </a:ext>
            </a:extLst>
          </p:cNvPr>
          <p:cNvCxnSpPr>
            <a:stCxn id="5" idx="6"/>
            <a:endCxn id="6" idx="2"/>
          </p:cNvCxnSpPr>
          <p:nvPr/>
        </p:nvCxnSpPr>
        <p:spPr>
          <a:xfrm>
            <a:off x="2442803" y="2422154"/>
            <a:ext cx="2709164" cy="0"/>
          </a:xfrm>
          <a:prstGeom prst="straightConnector1">
            <a:avLst/>
          </a:prstGeom>
          <a:ln w="38100" cap="flat">
            <a:solidFill>
              <a:schemeClr val="bg1">
                <a:lumMod val="85000"/>
              </a:schemeClr>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38BE33DF-3EE5-4BD6-99D9-EDF1B0323C52}"/>
              </a:ext>
            </a:extLst>
          </p:cNvPr>
          <p:cNvGrpSpPr/>
          <p:nvPr/>
        </p:nvGrpSpPr>
        <p:grpSpPr>
          <a:xfrm>
            <a:off x="3622188" y="2246957"/>
            <a:ext cx="350395" cy="350395"/>
            <a:chOff x="3509557" y="2134326"/>
            <a:chExt cx="575656" cy="575656"/>
          </a:xfrm>
        </p:grpSpPr>
        <p:sp>
          <p:nvSpPr>
            <p:cNvPr id="35" name="Oval 34">
              <a:extLst>
                <a:ext uri="{FF2B5EF4-FFF2-40B4-BE49-F238E27FC236}">
                  <a16:creationId xmlns:a16="http://schemas.microsoft.com/office/drawing/2014/main" id="{61E9B337-8BE4-41F4-99D5-D0B038C25E67}"/>
                </a:ext>
              </a:extLst>
            </p:cNvPr>
            <p:cNvSpPr>
              <a:spLocks noChangeAspect="1"/>
            </p:cNvSpPr>
            <p:nvPr/>
          </p:nvSpPr>
          <p:spPr>
            <a:xfrm>
              <a:off x="3509557" y="2134326"/>
              <a:ext cx="575656" cy="575656"/>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pic>
          <p:nvPicPr>
            <p:cNvPr id="37" name="Graphic 36">
              <a:extLst>
                <a:ext uri="{FF2B5EF4-FFF2-40B4-BE49-F238E27FC236}">
                  <a16:creationId xmlns:a16="http://schemas.microsoft.com/office/drawing/2014/main" id="{97209FDD-D0C9-42F9-99AF-F44857058500}"/>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625333" y="2250102"/>
              <a:ext cx="344103" cy="344103"/>
            </a:xfrm>
            <a:prstGeom prst="rect">
              <a:avLst/>
            </a:prstGeom>
          </p:spPr>
        </p:pic>
      </p:grpSp>
      <p:sp>
        <p:nvSpPr>
          <p:cNvPr id="80" name="TextBox 79">
            <a:extLst>
              <a:ext uri="{FF2B5EF4-FFF2-40B4-BE49-F238E27FC236}">
                <a16:creationId xmlns:a16="http://schemas.microsoft.com/office/drawing/2014/main" id="{DA44E675-65C0-4F65-A264-EEC22CF41E95}"/>
              </a:ext>
            </a:extLst>
          </p:cNvPr>
          <p:cNvSpPr txBox="1">
            <a:spLocks/>
          </p:cNvSpPr>
          <p:nvPr/>
        </p:nvSpPr>
        <p:spPr>
          <a:xfrm>
            <a:off x="3284813" y="2040706"/>
            <a:ext cx="1025143" cy="15388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1000" dirty="0"/>
              <a:t>Budget</a:t>
            </a:r>
          </a:p>
        </p:txBody>
      </p:sp>
      <p:cxnSp>
        <p:nvCxnSpPr>
          <p:cNvPr id="22" name="Straight Arrow Connector 21">
            <a:extLst>
              <a:ext uri="{FF2B5EF4-FFF2-40B4-BE49-F238E27FC236}">
                <a16:creationId xmlns:a16="http://schemas.microsoft.com/office/drawing/2014/main" id="{0F09892C-FECD-4672-AF8F-2E6ABE7F350F}"/>
              </a:ext>
            </a:extLst>
          </p:cNvPr>
          <p:cNvCxnSpPr>
            <a:cxnSpLocks/>
            <a:stCxn id="9" idx="2"/>
            <a:endCxn id="5" idx="5"/>
          </p:cNvCxnSpPr>
          <p:nvPr/>
        </p:nvCxnSpPr>
        <p:spPr>
          <a:xfrm flipH="1" flipV="1">
            <a:off x="2166302" y="3089686"/>
            <a:ext cx="2985664" cy="1635401"/>
          </a:xfrm>
          <a:prstGeom prst="straightConnector1">
            <a:avLst/>
          </a:prstGeom>
          <a:ln w="38100" cap="flat">
            <a:solidFill>
              <a:schemeClr val="accent5">
                <a:lumMod val="60000"/>
                <a:lumOff val="4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AA7D2FAF-69CF-4B16-9051-9DB4ED9C0F51}"/>
              </a:ext>
            </a:extLst>
          </p:cNvPr>
          <p:cNvGrpSpPr/>
          <p:nvPr/>
        </p:nvGrpSpPr>
        <p:grpSpPr>
          <a:xfrm>
            <a:off x="3622188" y="3797740"/>
            <a:ext cx="350395" cy="350395"/>
            <a:chOff x="3509557" y="3685109"/>
            <a:chExt cx="575656" cy="575656"/>
          </a:xfrm>
        </p:grpSpPr>
        <p:sp>
          <p:nvSpPr>
            <p:cNvPr id="39" name="Oval 38">
              <a:extLst>
                <a:ext uri="{FF2B5EF4-FFF2-40B4-BE49-F238E27FC236}">
                  <a16:creationId xmlns:a16="http://schemas.microsoft.com/office/drawing/2014/main" id="{53FD7979-F088-4D19-AE61-349AB93D5E97}"/>
                </a:ext>
              </a:extLst>
            </p:cNvPr>
            <p:cNvSpPr>
              <a:spLocks noChangeAspect="1"/>
            </p:cNvSpPr>
            <p:nvPr/>
          </p:nvSpPr>
          <p:spPr>
            <a:xfrm>
              <a:off x="3509557" y="3685109"/>
              <a:ext cx="575656" cy="575656"/>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pic>
          <p:nvPicPr>
            <p:cNvPr id="41" name="Graphic 40">
              <a:extLst>
                <a:ext uri="{FF2B5EF4-FFF2-40B4-BE49-F238E27FC236}">
                  <a16:creationId xmlns:a16="http://schemas.microsoft.com/office/drawing/2014/main" id="{259FD795-428F-423D-853A-5F644642E01B}"/>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625333" y="3800885"/>
              <a:ext cx="344103" cy="344103"/>
            </a:xfrm>
            <a:prstGeom prst="rect">
              <a:avLst/>
            </a:prstGeom>
          </p:spPr>
        </p:pic>
      </p:grpSp>
      <p:sp>
        <p:nvSpPr>
          <p:cNvPr id="81" name="TextBox 80">
            <a:extLst>
              <a:ext uri="{FF2B5EF4-FFF2-40B4-BE49-F238E27FC236}">
                <a16:creationId xmlns:a16="http://schemas.microsoft.com/office/drawing/2014/main" id="{0BEE713A-E01F-45D1-B407-F5651B164D25}"/>
              </a:ext>
            </a:extLst>
          </p:cNvPr>
          <p:cNvSpPr txBox="1">
            <a:spLocks/>
          </p:cNvSpPr>
          <p:nvPr/>
        </p:nvSpPr>
        <p:spPr>
          <a:xfrm>
            <a:off x="3227815" y="4203664"/>
            <a:ext cx="1025143"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1000" dirty="0"/>
              <a:t>Stratégie du programme</a:t>
            </a:r>
          </a:p>
        </p:txBody>
      </p:sp>
      <p:cxnSp>
        <p:nvCxnSpPr>
          <p:cNvPr id="31" name="Straight Arrow Connector 30">
            <a:extLst>
              <a:ext uri="{FF2B5EF4-FFF2-40B4-BE49-F238E27FC236}">
                <a16:creationId xmlns:a16="http://schemas.microsoft.com/office/drawing/2014/main" id="{4D6357CE-3A5A-460A-8C86-D28C413CA7FD}"/>
              </a:ext>
            </a:extLst>
          </p:cNvPr>
          <p:cNvCxnSpPr>
            <a:cxnSpLocks/>
          </p:cNvCxnSpPr>
          <p:nvPr/>
        </p:nvCxnSpPr>
        <p:spPr>
          <a:xfrm flipV="1">
            <a:off x="7090835" y="3223814"/>
            <a:ext cx="2985665" cy="1635401"/>
          </a:xfrm>
          <a:prstGeom prst="straightConnector1">
            <a:avLst/>
          </a:prstGeom>
          <a:ln w="38100" cap="flat">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53" name="CustomIcon">
            <a:extLst>
              <a:ext uri="{FF2B5EF4-FFF2-40B4-BE49-F238E27FC236}">
                <a16:creationId xmlns:a16="http://schemas.microsoft.com/office/drawing/2014/main" id="{9DCE4F5F-37F3-4261-9243-9BF77D11A8EB}"/>
              </a:ext>
            </a:extLst>
          </p:cNvPr>
          <p:cNvGrpSpPr>
            <a:grpSpLocks/>
          </p:cNvGrpSpPr>
          <p:nvPr>
            <p:custDataLst>
              <p:tags r:id="rId7"/>
            </p:custDataLst>
          </p:nvPr>
        </p:nvGrpSpPr>
        <p:grpSpPr>
          <a:xfrm>
            <a:off x="8499341" y="3953447"/>
            <a:ext cx="350395" cy="350395"/>
            <a:chOff x="-205105" y="-205105"/>
            <a:chExt cx="1019810" cy="1019810"/>
          </a:xfrm>
        </p:grpSpPr>
        <p:sp>
          <p:nvSpPr>
            <p:cNvPr id="54" name="Oval 53">
              <a:extLst>
                <a:ext uri="{FF2B5EF4-FFF2-40B4-BE49-F238E27FC236}">
                  <a16:creationId xmlns:a16="http://schemas.microsoft.com/office/drawing/2014/main" id="{79B71054-A238-4EB3-BACF-27F55FCE3993}"/>
                </a:ext>
              </a:extLst>
            </p:cNvPr>
            <p:cNvSpPr>
              <a:spLocks noChangeAspect="1"/>
            </p:cNvSpPr>
            <p:nvPr/>
          </p:nvSpPr>
          <p:spPr>
            <a:xfrm>
              <a:off x="-205105" y="-205105"/>
              <a:ext cx="1019810" cy="1019810"/>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pic>
          <p:nvPicPr>
            <p:cNvPr id="55" name="Graphic 54">
              <a:extLst>
                <a:ext uri="{FF2B5EF4-FFF2-40B4-BE49-F238E27FC236}">
                  <a16:creationId xmlns:a16="http://schemas.microsoft.com/office/drawing/2014/main" id="{BCBFE909-E17C-41E9-8693-353C3F4EB9C3}"/>
                </a:ext>
              </a:extLst>
            </p:cNvPr>
            <p:cNvPicPr>
              <a:picLocks noChangeAspect="1"/>
            </p:cNvPicPr>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0" y="0"/>
              <a:ext cx="609600" cy="609600"/>
            </a:xfrm>
            <a:prstGeom prst="rect">
              <a:avLst/>
            </a:prstGeom>
          </p:spPr>
        </p:pic>
      </p:grpSp>
      <p:sp>
        <p:nvSpPr>
          <p:cNvPr id="82" name="TextBox 81">
            <a:extLst>
              <a:ext uri="{FF2B5EF4-FFF2-40B4-BE49-F238E27FC236}">
                <a16:creationId xmlns:a16="http://schemas.microsoft.com/office/drawing/2014/main" id="{36AA6731-D89E-4691-AEE7-05E40C45A42D}"/>
              </a:ext>
            </a:extLst>
          </p:cNvPr>
          <p:cNvSpPr txBox="1">
            <a:spLocks/>
          </p:cNvSpPr>
          <p:nvPr/>
        </p:nvSpPr>
        <p:spPr>
          <a:xfrm>
            <a:off x="8201551" y="4360292"/>
            <a:ext cx="1025143"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1000" dirty="0"/>
              <a:t>Assistance technique</a:t>
            </a:r>
          </a:p>
        </p:txBody>
      </p:sp>
      <p:cxnSp>
        <p:nvCxnSpPr>
          <p:cNvPr id="33" name="Straight Arrow Connector 32">
            <a:extLst>
              <a:ext uri="{FF2B5EF4-FFF2-40B4-BE49-F238E27FC236}">
                <a16:creationId xmlns:a16="http://schemas.microsoft.com/office/drawing/2014/main" id="{AFC17AC3-753F-4CA5-B7EF-0FB3A6682268}"/>
              </a:ext>
            </a:extLst>
          </p:cNvPr>
          <p:cNvCxnSpPr>
            <a:cxnSpLocks/>
          </p:cNvCxnSpPr>
          <p:nvPr/>
        </p:nvCxnSpPr>
        <p:spPr>
          <a:xfrm>
            <a:off x="7040034" y="2350187"/>
            <a:ext cx="2709163" cy="0"/>
          </a:xfrm>
          <a:prstGeom prst="straightConnector1">
            <a:avLst/>
          </a:prstGeom>
          <a:ln w="38100" cap="flat">
            <a:solidFill>
              <a:schemeClr val="accent5">
                <a:lumMod val="60000"/>
                <a:lumOff val="4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25E4B153-F844-41FA-8BD3-ACB20D1DFDFA}"/>
              </a:ext>
            </a:extLst>
          </p:cNvPr>
          <p:cNvGrpSpPr/>
          <p:nvPr/>
        </p:nvGrpSpPr>
        <p:grpSpPr>
          <a:xfrm>
            <a:off x="8219419" y="2068567"/>
            <a:ext cx="350395" cy="350395"/>
            <a:chOff x="8106788" y="1828045"/>
            <a:chExt cx="575656" cy="575656"/>
          </a:xfrm>
        </p:grpSpPr>
        <p:sp>
          <p:nvSpPr>
            <p:cNvPr id="51" name="Oval 50">
              <a:extLst>
                <a:ext uri="{FF2B5EF4-FFF2-40B4-BE49-F238E27FC236}">
                  <a16:creationId xmlns:a16="http://schemas.microsoft.com/office/drawing/2014/main" id="{330A7F9F-DF4B-40AF-845C-92E85C8B6CDD}"/>
                </a:ext>
              </a:extLst>
            </p:cNvPr>
            <p:cNvSpPr>
              <a:spLocks noChangeAspect="1"/>
            </p:cNvSpPr>
            <p:nvPr/>
          </p:nvSpPr>
          <p:spPr>
            <a:xfrm>
              <a:off x="8106788" y="1828045"/>
              <a:ext cx="575656" cy="575656"/>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pic>
          <p:nvPicPr>
            <p:cNvPr id="52" name="Graphic 51">
              <a:extLst>
                <a:ext uri="{FF2B5EF4-FFF2-40B4-BE49-F238E27FC236}">
                  <a16:creationId xmlns:a16="http://schemas.microsoft.com/office/drawing/2014/main" id="{73C19BB6-2791-4B00-B19C-6EEAFCF94208}"/>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8222564" y="1943821"/>
              <a:ext cx="344103" cy="344103"/>
            </a:xfrm>
            <a:prstGeom prst="rect">
              <a:avLst/>
            </a:prstGeom>
          </p:spPr>
        </p:pic>
      </p:grpSp>
      <p:sp>
        <p:nvSpPr>
          <p:cNvPr id="83" name="TextBox 82">
            <a:extLst>
              <a:ext uri="{FF2B5EF4-FFF2-40B4-BE49-F238E27FC236}">
                <a16:creationId xmlns:a16="http://schemas.microsoft.com/office/drawing/2014/main" id="{1AC0AB11-CBF0-429F-81B4-D3EBC90092BB}"/>
              </a:ext>
            </a:extLst>
          </p:cNvPr>
          <p:cNvSpPr txBox="1">
            <a:spLocks/>
          </p:cNvSpPr>
          <p:nvPr/>
        </p:nvSpPr>
        <p:spPr>
          <a:xfrm>
            <a:off x="7830787" y="1864753"/>
            <a:ext cx="1127657"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1000" dirty="0"/>
              <a:t>Microplanification</a:t>
            </a:r>
          </a:p>
        </p:txBody>
      </p:sp>
      <p:cxnSp>
        <p:nvCxnSpPr>
          <p:cNvPr id="13" name="Straight Arrow Connector 12">
            <a:extLst>
              <a:ext uri="{FF2B5EF4-FFF2-40B4-BE49-F238E27FC236}">
                <a16:creationId xmlns:a16="http://schemas.microsoft.com/office/drawing/2014/main" id="{281B4A15-5EFC-41F2-8F33-0D9DC6904667}"/>
              </a:ext>
            </a:extLst>
          </p:cNvPr>
          <p:cNvCxnSpPr>
            <a:cxnSpLocks/>
            <a:stCxn id="6" idx="6"/>
            <a:endCxn id="7" idx="2"/>
          </p:cNvCxnSpPr>
          <p:nvPr/>
        </p:nvCxnSpPr>
        <p:spPr>
          <a:xfrm>
            <a:off x="7040034" y="2494119"/>
            <a:ext cx="2709163" cy="0"/>
          </a:xfrm>
          <a:prstGeom prst="straightConnector1">
            <a:avLst/>
          </a:prstGeom>
          <a:ln w="38100" cap="flat">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46" name="CustomIcon">
            <a:extLst>
              <a:ext uri="{FF2B5EF4-FFF2-40B4-BE49-F238E27FC236}">
                <a16:creationId xmlns:a16="http://schemas.microsoft.com/office/drawing/2014/main" id="{132F228B-B496-4E81-B43B-60390B772F58}"/>
              </a:ext>
            </a:extLst>
          </p:cNvPr>
          <p:cNvGrpSpPr>
            <a:grpSpLocks/>
          </p:cNvGrpSpPr>
          <p:nvPr>
            <p:custDataLst>
              <p:tags r:id="rId8"/>
            </p:custDataLst>
          </p:nvPr>
        </p:nvGrpSpPr>
        <p:grpSpPr>
          <a:xfrm>
            <a:off x="8219419" y="2459050"/>
            <a:ext cx="350395" cy="350395"/>
            <a:chOff x="-205105" y="-205105"/>
            <a:chExt cx="1019810" cy="1019810"/>
          </a:xfrm>
        </p:grpSpPr>
        <p:sp>
          <p:nvSpPr>
            <p:cNvPr id="43" name="Oval 42">
              <a:extLst>
                <a:ext uri="{FF2B5EF4-FFF2-40B4-BE49-F238E27FC236}">
                  <a16:creationId xmlns:a16="http://schemas.microsoft.com/office/drawing/2014/main" id="{D725F589-03E2-4553-8E29-00AE29BA1C08}"/>
                </a:ext>
              </a:extLst>
            </p:cNvPr>
            <p:cNvSpPr>
              <a:spLocks noChangeAspect="1"/>
            </p:cNvSpPr>
            <p:nvPr/>
          </p:nvSpPr>
          <p:spPr>
            <a:xfrm>
              <a:off x="-205105" y="-205105"/>
              <a:ext cx="1019810" cy="1019810"/>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pic>
          <p:nvPicPr>
            <p:cNvPr id="45" name="Graphic 44">
              <a:extLst>
                <a:ext uri="{FF2B5EF4-FFF2-40B4-BE49-F238E27FC236}">
                  <a16:creationId xmlns:a16="http://schemas.microsoft.com/office/drawing/2014/main" id="{95C914FC-2793-40FD-890A-37C1264D08CA}"/>
                </a:ext>
              </a:extLst>
            </p:cNvPr>
            <p:cNvPicPr>
              <a:picLocks noChangeAspect="1"/>
            </p:cNvPicPr>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0" y="0"/>
              <a:ext cx="609600" cy="609600"/>
            </a:xfrm>
            <a:prstGeom prst="rect">
              <a:avLst/>
            </a:prstGeom>
          </p:spPr>
        </p:pic>
      </p:grpSp>
      <p:sp>
        <p:nvSpPr>
          <p:cNvPr id="84" name="TextBox 83">
            <a:extLst>
              <a:ext uri="{FF2B5EF4-FFF2-40B4-BE49-F238E27FC236}">
                <a16:creationId xmlns:a16="http://schemas.microsoft.com/office/drawing/2014/main" id="{64D13D94-127F-4473-A991-17DCDF0A1FD1}"/>
              </a:ext>
            </a:extLst>
          </p:cNvPr>
          <p:cNvSpPr txBox="1">
            <a:spLocks/>
          </p:cNvSpPr>
          <p:nvPr/>
        </p:nvSpPr>
        <p:spPr>
          <a:xfrm>
            <a:off x="7774404" y="2848892"/>
            <a:ext cx="1240423"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1000" dirty="0"/>
              <a:t>Mise en œuvre</a:t>
            </a:r>
          </a:p>
        </p:txBody>
      </p:sp>
      <p:cxnSp>
        <p:nvCxnSpPr>
          <p:cNvPr id="26" name="Straight Arrow Connector 25">
            <a:extLst>
              <a:ext uri="{FF2B5EF4-FFF2-40B4-BE49-F238E27FC236}">
                <a16:creationId xmlns:a16="http://schemas.microsoft.com/office/drawing/2014/main" id="{61A17DA2-0CA8-4E11-AD90-5F076E6FA9EB}"/>
              </a:ext>
            </a:extLst>
          </p:cNvPr>
          <p:cNvCxnSpPr>
            <a:cxnSpLocks/>
            <a:stCxn id="9" idx="6"/>
            <a:endCxn id="7" idx="3"/>
          </p:cNvCxnSpPr>
          <p:nvPr/>
        </p:nvCxnSpPr>
        <p:spPr>
          <a:xfrm flipV="1">
            <a:off x="7040033" y="3089686"/>
            <a:ext cx="2985665" cy="1635401"/>
          </a:xfrm>
          <a:prstGeom prst="straightConnector1">
            <a:avLst/>
          </a:prstGeom>
          <a:ln w="38100" cap="flat">
            <a:solidFill>
              <a:schemeClr val="accent5">
                <a:lumMod val="60000"/>
                <a:lumOff val="4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2" name="Group 121">
            <a:extLst>
              <a:ext uri="{FF2B5EF4-FFF2-40B4-BE49-F238E27FC236}">
                <a16:creationId xmlns:a16="http://schemas.microsoft.com/office/drawing/2014/main" id="{4A3221F5-111A-4126-AA4C-396CA3F83558}"/>
              </a:ext>
            </a:extLst>
          </p:cNvPr>
          <p:cNvGrpSpPr/>
          <p:nvPr/>
        </p:nvGrpSpPr>
        <p:grpSpPr>
          <a:xfrm>
            <a:off x="8277106" y="3629731"/>
            <a:ext cx="350395" cy="350395"/>
            <a:chOff x="8071539" y="3450175"/>
            <a:chExt cx="575656" cy="575656"/>
          </a:xfrm>
        </p:grpSpPr>
        <p:sp>
          <p:nvSpPr>
            <p:cNvPr id="57" name="Oval 56">
              <a:extLst>
                <a:ext uri="{FF2B5EF4-FFF2-40B4-BE49-F238E27FC236}">
                  <a16:creationId xmlns:a16="http://schemas.microsoft.com/office/drawing/2014/main" id="{68FA83E8-306E-438B-B79C-7728408A2D52}"/>
                </a:ext>
              </a:extLst>
            </p:cNvPr>
            <p:cNvSpPr>
              <a:spLocks noChangeAspect="1"/>
            </p:cNvSpPr>
            <p:nvPr/>
          </p:nvSpPr>
          <p:spPr>
            <a:xfrm>
              <a:off x="8071539" y="3450175"/>
              <a:ext cx="575656" cy="575656"/>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pic>
          <p:nvPicPr>
            <p:cNvPr id="58" name="Graphic 57">
              <a:extLst>
                <a:ext uri="{FF2B5EF4-FFF2-40B4-BE49-F238E27FC236}">
                  <a16:creationId xmlns:a16="http://schemas.microsoft.com/office/drawing/2014/main" id="{F8B2AFD3-A7AF-4B77-9197-4ADDE2C8150D}"/>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8187315" y="3565951"/>
              <a:ext cx="344103" cy="344103"/>
            </a:xfrm>
            <a:prstGeom prst="rect">
              <a:avLst/>
            </a:prstGeom>
          </p:spPr>
        </p:pic>
      </p:grpSp>
      <p:sp>
        <p:nvSpPr>
          <p:cNvPr id="85" name="TextBox 84">
            <a:extLst>
              <a:ext uri="{FF2B5EF4-FFF2-40B4-BE49-F238E27FC236}">
                <a16:creationId xmlns:a16="http://schemas.microsoft.com/office/drawing/2014/main" id="{525CD417-6689-4F98-9D9C-B1152F72A790}"/>
              </a:ext>
            </a:extLst>
          </p:cNvPr>
          <p:cNvSpPr txBox="1">
            <a:spLocks/>
          </p:cNvSpPr>
          <p:nvPr/>
        </p:nvSpPr>
        <p:spPr>
          <a:xfrm>
            <a:off x="7939730" y="3267047"/>
            <a:ext cx="1025143"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1000" dirty="0"/>
              <a:t>Engagement des pays</a:t>
            </a:r>
          </a:p>
        </p:txBody>
      </p:sp>
      <p:grpSp>
        <p:nvGrpSpPr>
          <p:cNvPr id="90" name="CustomIcon">
            <a:extLst>
              <a:ext uri="{FF2B5EF4-FFF2-40B4-BE49-F238E27FC236}">
                <a16:creationId xmlns:a16="http://schemas.microsoft.com/office/drawing/2014/main" id="{DF470E8D-0AF9-4D57-BED1-DF57638C8224}"/>
              </a:ext>
            </a:extLst>
          </p:cNvPr>
          <p:cNvGrpSpPr>
            <a:grpSpLocks/>
          </p:cNvGrpSpPr>
          <p:nvPr>
            <p:custDataLst>
              <p:tags r:id="rId9"/>
            </p:custDataLst>
          </p:nvPr>
        </p:nvGrpSpPr>
        <p:grpSpPr>
          <a:xfrm>
            <a:off x="554736" y="4241438"/>
            <a:ext cx="357437" cy="357437"/>
            <a:chOff x="-205105" y="-205105"/>
            <a:chExt cx="1019810" cy="1019810"/>
          </a:xfrm>
        </p:grpSpPr>
        <p:sp>
          <p:nvSpPr>
            <p:cNvPr id="91" name="Oval 90">
              <a:extLst>
                <a:ext uri="{FF2B5EF4-FFF2-40B4-BE49-F238E27FC236}">
                  <a16:creationId xmlns:a16="http://schemas.microsoft.com/office/drawing/2014/main" id="{A08AE88C-7E76-4264-9268-5D32A56B24C5}"/>
                </a:ext>
              </a:extLst>
            </p:cNvPr>
            <p:cNvSpPr>
              <a:spLocks noChangeAspect="1"/>
            </p:cNvSpPr>
            <p:nvPr/>
          </p:nvSpPr>
          <p:spPr>
            <a:xfrm>
              <a:off x="-205105" y="-205105"/>
              <a:ext cx="1019810" cy="1019810"/>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pic>
          <p:nvPicPr>
            <p:cNvPr id="92" name="Graphic 91">
              <a:extLst>
                <a:ext uri="{FF2B5EF4-FFF2-40B4-BE49-F238E27FC236}">
                  <a16:creationId xmlns:a16="http://schemas.microsoft.com/office/drawing/2014/main" id="{71239C23-40EE-4286-B635-B8722B6D3BC1}"/>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sp>
        <p:nvSpPr>
          <p:cNvPr id="93" name="TextBox 92">
            <a:extLst>
              <a:ext uri="{FF2B5EF4-FFF2-40B4-BE49-F238E27FC236}">
                <a16:creationId xmlns:a16="http://schemas.microsoft.com/office/drawing/2014/main" id="{CFC68E54-1DF1-46D8-A80F-43314F1B22A8}"/>
              </a:ext>
            </a:extLst>
          </p:cNvPr>
          <p:cNvSpPr txBox="1">
            <a:spLocks/>
          </p:cNvSpPr>
          <p:nvPr/>
        </p:nvSpPr>
        <p:spPr>
          <a:xfrm>
            <a:off x="1037164" y="4241438"/>
            <a:ext cx="1816103" cy="357437"/>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en-US" sz="1400" dirty="0"/>
              <a:t>Contractualisation</a:t>
            </a:r>
          </a:p>
        </p:txBody>
      </p:sp>
      <p:grpSp>
        <p:nvGrpSpPr>
          <p:cNvPr id="124" name="Group 123">
            <a:extLst>
              <a:ext uri="{FF2B5EF4-FFF2-40B4-BE49-F238E27FC236}">
                <a16:creationId xmlns:a16="http://schemas.microsoft.com/office/drawing/2014/main" id="{62576F7D-F568-4D14-BA2E-49A51F531BD1}"/>
              </a:ext>
            </a:extLst>
          </p:cNvPr>
          <p:cNvGrpSpPr/>
          <p:nvPr/>
        </p:nvGrpSpPr>
        <p:grpSpPr>
          <a:xfrm>
            <a:off x="4062397" y="3279336"/>
            <a:ext cx="350395" cy="350395"/>
            <a:chOff x="3949766" y="3166705"/>
            <a:chExt cx="575656" cy="575656"/>
          </a:xfrm>
        </p:grpSpPr>
        <p:sp>
          <p:nvSpPr>
            <p:cNvPr id="86" name="Oval 85">
              <a:extLst>
                <a:ext uri="{FF2B5EF4-FFF2-40B4-BE49-F238E27FC236}">
                  <a16:creationId xmlns:a16="http://schemas.microsoft.com/office/drawing/2014/main" id="{6648369F-6E11-4D22-8BC2-11659F25E3DF}"/>
                </a:ext>
              </a:extLst>
            </p:cNvPr>
            <p:cNvSpPr>
              <a:spLocks noChangeAspect="1"/>
            </p:cNvSpPr>
            <p:nvPr/>
          </p:nvSpPr>
          <p:spPr>
            <a:xfrm>
              <a:off x="3949766" y="3166705"/>
              <a:ext cx="575656" cy="575656"/>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pic>
          <p:nvPicPr>
            <p:cNvPr id="88" name="Graphic 87">
              <a:extLst>
                <a:ext uri="{FF2B5EF4-FFF2-40B4-BE49-F238E27FC236}">
                  <a16:creationId xmlns:a16="http://schemas.microsoft.com/office/drawing/2014/main" id="{52797330-9156-4F9F-8B4B-2F760709D49B}"/>
                </a:ext>
              </a:extLst>
            </p:cNvPr>
            <p:cNvPicPr>
              <a:picLocks noChangeAspect="1"/>
            </p:cNvPicPr>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4065542" y="3282481"/>
              <a:ext cx="344103" cy="344103"/>
            </a:xfrm>
            <a:prstGeom prst="rect">
              <a:avLst/>
            </a:prstGeom>
          </p:spPr>
        </p:pic>
      </p:grpSp>
      <p:cxnSp>
        <p:nvCxnSpPr>
          <p:cNvPr id="94" name="Straight Arrow Connector 93">
            <a:extLst>
              <a:ext uri="{FF2B5EF4-FFF2-40B4-BE49-F238E27FC236}">
                <a16:creationId xmlns:a16="http://schemas.microsoft.com/office/drawing/2014/main" id="{1AAE6E41-4191-4DDD-ABA5-4FCEEB75B7C1}"/>
              </a:ext>
            </a:extLst>
          </p:cNvPr>
          <p:cNvCxnSpPr>
            <a:cxnSpLocks/>
            <a:stCxn id="86" idx="6"/>
            <a:endCxn id="6" idx="3"/>
          </p:cNvCxnSpPr>
          <p:nvPr/>
        </p:nvCxnSpPr>
        <p:spPr>
          <a:xfrm flipV="1">
            <a:off x="4412792" y="3089686"/>
            <a:ext cx="1015676" cy="364848"/>
          </a:xfrm>
          <a:prstGeom prst="straightConnector1">
            <a:avLst/>
          </a:prstGeom>
          <a:ln w="38100" cap="flat">
            <a:solidFill>
              <a:schemeClr val="bg1">
                <a:lumMod val="85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C81E7FFA-451F-4141-A47D-BEC530C6388B}"/>
              </a:ext>
            </a:extLst>
          </p:cNvPr>
          <p:cNvCxnSpPr>
            <a:cxnSpLocks/>
            <a:stCxn id="86" idx="5"/>
            <a:endCxn id="10" idx="1"/>
          </p:cNvCxnSpPr>
          <p:nvPr/>
        </p:nvCxnSpPr>
        <p:spPr>
          <a:xfrm>
            <a:off x="4361478" y="3578417"/>
            <a:ext cx="805309" cy="587529"/>
          </a:xfrm>
          <a:prstGeom prst="straightConnector1">
            <a:avLst/>
          </a:prstGeom>
          <a:ln w="38100" cap="flat">
            <a:solidFill>
              <a:schemeClr val="bg1">
                <a:lumMod val="85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3E9A8C16-1C04-4E14-8F19-3259709F869A}"/>
              </a:ext>
            </a:extLst>
          </p:cNvPr>
          <p:cNvCxnSpPr>
            <a:cxnSpLocks/>
            <a:stCxn id="86" idx="2"/>
          </p:cNvCxnSpPr>
          <p:nvPr/>
        </p:nvCxnSpPr>
        <p:spPr>
          <a:xfrm flipH="1" flipV="1">
            <a:off x="2385663" y="2761091"/>
            <a:ext cx="1676734" cy="693443"/>
          </a:xfrm>
          <a:prstGeom prst="straightConnector1">
            <a:avLst/>
          </a:prstGeom>
          <a:ln w="38100" cap="flat">
            <a:solidFill>
              <a:schemeClr val="bg1">
                <a:lumMod val="85000"/>
              </a:schemeClr>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75539BAD-D368-4C1F-9E83-254FDD186827}"/>
              </a:ext>
            </a:extLst>
          </p:cNvPr>
          <p:cNvSpPr txBox="1">
            <a:spLocks/>
          </p:cNvSpPr>
          <p:nvPr/>
        </p:nvSpPr>
        <p:spPr>
          <a:xfrm>
            <a:off x="3757236" y="3077647"/>
            <a:ext cx="1025143" cy="15388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1000" dirty="0"/>
              <a:t>Contractualisation</a:t>
            </a:r>
          </a:p>
        </p:txBody>
      </p:sp>
      <p:grpSp>
        <p:nvGrpSpPr>
          <p:cNvPr id="117" name="CustomIcon">
            <a:extLst>
              <a:ext uri="{FF2B5EF4-FFF2-40B4-BE49-F238E27FC236}">
                <a16:creationId xmlns:a16="http://schemas.microsoft.com/office/drawing/2014/main" id="{E788ED40-BABC-4750-B0BE-DCA1565A7734}"/>
              </a:ext>
            </a:extLst>
          </p:cNvPr>
          <p:cNvGrpSpPr>
            <a:grpSpLocks/>
          </p:cNvGrpSpPr>
          <p:nvPr>
            <p:custDataLst>
              <p:tags r:id="rId10"/>
            </p:custDataLst>
          </p:nvPr>
        </p:nvGrpSpPr>
        <p:grpSpPr>
          <a:xfrm>
            <a:off x="5634703" y="3402330"/>
            <a:ext cx="350395" cy="350395"/>
            <a:chOff x="-205105" y="-205105"/>
            <a:chExt cx="1019810" cy="1019810"/>
          </a:xfrm>
        </p:grpSpPr>
        <p:sp>
          <p:nvSpPr>
            <p:cNvPr id="118" name="Oval 117">
              <a:extLst>
                <a:ext uri="{FF2B5EF4-FFF2-40B4-BE49-F238E27FC236}">
                  <a16:creationId xmlns:a16="http://schemas.microsoft.com/office/drawing/2014/main" id="{C41D1346-BF46-47FC-8328-44B8E8C58A9C}"/>
                </a:ext>
              </a:extLst>
            </p:cNvPr>
            <p:cNvSpPr>
              <a:spLocks noChangeAspect="1"/>
            </p:cNvSpPr>
            <p:nvPr/>
          </p:nvSpPr>
          <p:spPr>
            <a:xfrm>
              <a:off x="-205105" y="-205105"/>
              <a:ext cx="1019810" cy="1019810"/>
            </a:xfrm>
            <a:prstGeom prst="ellipse">
              <a:avLst/>
            </a:prstGeom>
            <a:solidFill>
              <a:schemeClr val="l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bg1"/>
                </a:solidFill>
              </a:endParaRPr>
            </a:p>
          </p:txBody>
        </p:sp>
        <p:pic>
          <p:nvPicPr>
            <p:cNvPr id="119" name="Graphic 118">
              <a:extLst>
                <a:ext uri="{FF2B5EF4-FFF2-40B4-BE49-F238E27FC236}">
                  <a16:creationId xmlns:a16="http://schemas.microsoft.com/office/drawing/2014/main" id="{6C05A7C8-1AA7-4B1D-83DF-18421223C9FF}"/>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0" y="0"/>
              <a:ext cx="609600" cy="609600"/>
            </a:xfrm>
            <a:prstGeom prst="rect">
              <a:avLst/>
            </a:prstGeom>
          </p:spPr>
        </p:pic>
      </p:grpSp>
      <p:sp>
        <p:nvSpPr>
          <p:cNvPr id="120" name="TextBox 119">
            <a:extLst>
              <a:ext uri="{FF2B5EF4-FFF2-40B4-BE49-F238E27FC236}">
                <a16:creationId xmlns:a16="http://schemas.microsoft.com/office/drawing/2014/main" id="{59740C94-D4E5-4F21-AD88-D2FD9F1112CC}"/>
              </a:ext>
            </a:extLst>
          </p:cNvPr>
          <p:cNvSpPr txBox="1">
            <a:spLocks/>
          </p:cNvSpPr>
          <p:nvPr/>
        </p:nvSpPr>
        <p:spPr>
          <a:xfrm>
            <a:off x="6082626" y="3420935"/>
            <a:ext cx="1025143" cy="307777"/>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1000" dirty="0"/>
              <a:t>Gestion des partenaires</a:t>
            </a:r>
          </a:p>
        </p:txBody>
      </p:sp>
      <p:sp>
        <p:nvSpPr>
          <p:cNvPr id="3" name="1. On-page tracker">
            <a:extLst>
              <a:ext uri="{FF2B5EF4-FFF2-40B4-BE49-F238E27FC236}">
                <a16:creationId xmlns:a16="http://schemas.microsoft.com/office/drawing/2014/main" id="{2BC1478C-4323-48DD-83C4-5D7D08A16371}"/>
              </a:ext>
            </a:extLst>
          </p:cNvPr>
          <p:cNvSpPr>
            <a:spLocks noGrp="1"/>
          </p:cNvSpPr>
          <p:nvPr>
            <p:ph type="body" sz="quarter" idx="10"/>
            <p:custDataLst>
              <p:tags r:id="rId11"/>
            </p:custDataLst>
          </p:nvPr>
        </p:nvSpPr>
        <p:spPr/>
        <p:txBody>
          <a:bodyPr/>
          <a:lstStyle/>
          <a:p>
            <a:pPr algn="l" rtl="0"/>
            <a:endParaRPr lang="en-US"/>
          </a:p>
        </p:txBody>
      </p:sp>
    </p:spTree>
    <p:extLst>
      <p:ext uri="{BB962C8B-B14F-4D97-AF65-F5344CB8AC3E}">
        <p14:creationId xmlns:p14="http://schemas.microsoft.com/office/powerpoint/2010/main" val="33267998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6" hidden="1">
            <a:extLst>
              <a:ext uri="{FF2B5EF4-FFF2-40B4-BE49-F238E27FC236}">
                <a16:creationId xmlns:a16="http://schemas.microsoft.com/office/drawing/2014/main" id="{5DEDEF6B-B8CF-47AE-A9C9-9573E7B489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96" name="Object 6" hidden="1">
                        <a:extLst>
                          <a:ext uri="{FF2B5EF4-FFF2-40B4-BE49-F238E27FC236}">
                            <a16:creationId xmlns:a16="http://schemas.microsoft.com/office/drawing/2014/main" id="{5DEDEF6B-B8CF-47AE-A9C9-9573E7B489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4F7ACB2C-644E-475A-8CD1-0A924B5AF4F5}"/>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lgn="l" rtl="0"/>
            <a:r>
              <a:rPr lang="en-ZA" dirty="0"/>
              <a:t>Le programme SLL est composé des 4 équipes suivantes</a:t>
            </a:r>
            <a:endParaRPr lang="en-GB" dirty="0"/>
          </a:p>
        </p:txBody>
      </p:sp>
      <p:sp>
        <p:nvSpPr>
          <p:cNvPr id="24" name="5. Source">
            <a:extLst>
              <a:ext uri="{FF2B5EF4-FFF2-40B4-BE49-F238E27FC236}">
                <a16:creationId xmlns:a16="http://schemas.microsoft.com/office/drawing/2014/main" id="{0F77095C-36C9-43CD-AF2D-F8B6A15D92C1}"/>
              </a:ext>
            </a:extLst>
          </p:cNvPr>
          <p:cNvSpPr txBox="1">
            <a:spLocks/>
          </p:cNvSpPr>
          <p:nvPr>
            <p:custDataLst>
              <p:tags r:id="rId3"/>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 Documents de la session d'intégration des partenaires (octobre 2021),</a:t>
            </a:r>
            <a:r>
              <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tructure organisationnelle et gouvernance (2021),</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p>
        </p:txBody>
      </p:sp>
      <p:sp>
        <p:nvSpPr>
          <p:cNvPr id="26" name="Rectangle: Rounded Corners 25">
            <a:extLst>
              <a:ext uri="{FF2B5EF4-FFF2-40B4-BE49-F238E27FC236}">
                <a16:creationId xmlns:a16="http://schemas.microsoft.com/office/drawing/2014/main" id="{86CD3AB6-FA88-49EF-B92A-47397CFF7F6E}"/>
              </a:ext>
            </a:extLst>
          </p:cNvPr>
          <p:cNvSpPr>
            <a:spLocks/>
          </p:cNvSpPr>
          <p:nvPr/>
        </p:nvSpPr>
        <p:spPr>
          <a:xfrm>
            <a:off x="554738" y="5759778"/>
            <a:ext cx="11082512" cy="377925"/>
          </a:xfrm>
          <a:prstGeom prst="roundRect">
            <a:avLst>
              <a:gd name="adj" fmla="val 0"/>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Fonctions de support :</a:t>
            </a:r>
            <a:r>
              <a:rPr kumimoji="0" lang="en-GB" sz="1600" b="0" i="0" u="none" strike="noStrike" kern="1200" cap="none" spc="0" normalizeH="0" baseline="0" noProof="0" dirty="0">
                <a:ln>
                  <a:noFill/>
                </a:ln>
                <a:solidFill>
                  <a:srgbClr val="FFFFFF"/>
                </a:solidFill>
                <a:effectLst/>
                <a:uLnTx/>
                <a:uFillTx/>
                <a:latin typeface="Arial"/>
                <a:ea typeface="+mn-ea"/>
                <a:cs typeface="+mn-cs"/>
              </a:rPr>
              <a:t>Les RH, les finances et les risques contribuent au succès opérationnel global du programme SLL</a:t>
            </a:r>
            <a:endParaRPr kumimoji="0" lang="en-GB"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ounded Rectangle 4">
            <a:extLst>
              <a:ext uri="{FF2B5EF4-FFF2-40B4-BE49-F238E27FC236}">
                <a16:creationId xmlns:a16="http://schemas.microsoft.com/office/drawing/2014/main" id="{3CC71D20-FD64-45F7-8EEA-4F584121F708}"/>
              </a:ext>
            </a:extLst>
          </p:cNvPr>
          <p:cNvSpPr/>
          <p:nvPr/>
        </p:nvSpPr>
        <p:spPr>
          <a:xfrm>
            <a:off x="750074" y="1323691"/>
            <a:ext cx="2529448" cy="4386921"/>
          </a:xfrm>
          <a:prstGeom prst="roundRect">
            <a:avLst>
              <a:gd name="adj" fmla="val 6279"/>
            </a:avLst>
          </a:prstGeom>
          <a:solidFill>
            <a:schemeClr val="accent2">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27"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Pentagon 3">
            <a:extLst>
              <a:ext uri="{FF2B5EF4-FFF2-40B4-BE49-F238E27FC236}">
                <a16:creationId xmlns:a16="http://schemas.microsoft.com/office/drawing/2014/main" id="{8F2FB406-B2B0-4F52-A45F-8F49DE54A481}"/>
              </a:ext>
            </a:extLst>
          </p:cNvPr>
          <p:cNvSpPr/>
          <p:nvPr/>
        </p:nvSpPr>
        <p:spPr>
          <a:xfrm rot="5400000">
            <a:off x="1545396" y="778143"/>
            <a:ext cx="938798" cy="2215469"/>
          </a:xfrm>
          <a:prstGeom prst="homePlate">
            <a:avLst>
              <a:gd name="adj" fmla="val 370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27" b="0" i="0" u="none" strike="noStrike" kern="1200" cap="none" spc="0" normalizeH="0" baseline="0" noProof="0" dirty="0">
              <a:ln>
                <a:noFill/>
              </a:ln>
              <a:solidFill>
                <a:srgbClr val="FFFFFF"/>
              </a:solidFill>
              <a:effectLst/>
              <a:uLnTx/>
              <a:uFillTx/>
              <a:latin typeface="Arial"/>
              <a:ea typeface="+mn-ea"/>
              <a:cs typeface="+mn-cs"/>
            </a:endParaRPr>
          </a:p>
        </p:txBody>
      </p:sp>
      <p:sp>
        <p:nvSpPr>
          <p:cNvPr id="33" name="Rounded Rectangle 10">
            <a:extLst>
              <a:ext uri="{FF2B5EF4-FFF2-40B4-BE49-F238E27FC236}">
                <a16:creationId xmlns:a16="http://schemas.microsoft.com/office/drawing/2014/main" id="{C62B5FD3-FF19-4210-AB09-804FFBD09E93}"/>
              </a:ext>
            </a:extLst>
          </p:cNvPr>
          <p:cNvSpPr/>
          <p:nvPr/>
        </p:nvSpPr>
        <p:spPr>
          <a:xfrm>
            <a:off x="3455031" y="1323691"/>
            <a:ext cx="2529448" cy="4386921"/>
          </a:xfrm>
          <a:prstGeom prst="roundRect">
            <a:avLst>
              <a:gd name="adj" fmla="val 6279"/>
            </a:avLst>
          </a:prstGeom>
          <a:solidFill>
            <a:schemeClr val="accent3">
              <a:alpha val="1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27"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Pentagon 11">
            <a:extLst>
              <a:ext uri="{FF2B5EF4-FFF2-40B4-BE49-F238E27FC236}">
                <a16:creationId xmlns:a16="http://schemas.microsoft.com/office/drawing/2014/main" id="{E9610626-3EA6-4891-92DD-874E40593C79}"/>
              </a:ext>
            </a:extLst>
          </p:cNvPr>
          <p:cNvSpPr/>
          <p:nvPr/>
        </p:nvSpPr>
        <p:spPr>
          <a:xfrm rot="5400000">
            <a:off x="4250353" y="778143"/>
            <a:ext cx="938798" cy="2215469"/>
          </a:xfrm>
          <a:prstGeom prst="homePlate">
            <a:avLst>
              <a:gd name="adj" fmla="val 370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27" b="0" i="0" u="none" strike="noStrike" kern="1200" cap="none" spc="0" normalizeH="0" baseline="0" noProof="0" dirty="0">
              <a:ln>
                <a:noFill/>
              </a:ln>
              <a:solidFill>
                <a:srgbClr val="FFFFFF"/>
              </a:solidFill>
              <a:effectLst/>
              <a:uLnTx/>
              <a:uFillTx/>
              <a:latin typeface="Arial"/>
              <a:ea typeface="+mn-ea"/>
              <a:cs typeface="+mn-cs"/>
            </a:endParaRPr>
          </a:p>
        </p:txBody>
      </p:sp>
      <p:sp>
        <p:nvSpPr>
          <p:cNvPr id="37" name="Rounded Rectangle 16">
            <a:extLst>
              <a:ext uri="{FF2B5EF4-FFF2-40B4-BE49-F238E27FC236}">
                <a16:creationId xmlns:a16="http://schemas.microsoft.com/office/drawing/2014/main" id="{196278B3-E27A-4070-830D-5595D81D2F57}"/>
              </a:ext>
            </a:extLst>
          </p:cNvPr>
          <p:cNvSpPr/>
          <p:nvPr/>
        </p:nvSpPr>
        <p:spPr>
          <a:xfrm>
            <a:off x="6159990" y="1323691"/>
            <a:ext cx="2529448" cy="4386921"/>
          </a:xfrm>
          <a:prstGeom prst="roundRect">
            <a:avLst>
              <a:gd name="adj" fmla="val 6279"/>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Pentagon 17">
            <a:extLst>
              <a:ext uri="{FF2B5EF4-FFF2-40B4-BE49-F238E27FC236}">
                <a16:creationId xmlns:a16="http://schemas.microsoft.com/office/drawing/2014/main" id="{2B9337A1-6324-495F-9453-EB29FE122C8A}"/>
              </a:ext>
            </a:extLst>
          </p:cNvPr>
          <p:cNvSpPr/>
          <p:nvPr/>
        </p:nvSpPr>
        <p:spPr>
          <a:xfrm rot="5400000">
            <a:off x="6955313" y="778143"/>
            <a:ext cx="938798" cy="2215469"/>
          </a:xfrm>
          <a:prstGeom prst="homePlate">
            <a:avLst>
              <a:gd name="adj" fmla="val 370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27"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Rounded Rectangle 22">
            <a:extLst>
              <a:ext uri="{FF2B5EF4-FFF2-40B4-BE49-F238E27FC236}">
                <a16:creationId xmlns:a16="http://schemas.microsoft.com/office/drawing/2014/main" id="{4EEDE5DE-D13A-4C30-B143-C4574837D3EB}"/>
              </a:ext>
            </a:extLst>
          </p:cNvPr>
          <p:cNvSpPr/>
          <p:nvPr/>
        </p:nvSpPr>
        <p:spPr>
          <a:xfrm>
            <a:off x="8864947" y="1323691"/>
            <a:ext cx="2529448" cy="4386921"/>
          </a:xfrm>
          <a:prstGeom prst="roundRect">
            <a:avLst>
              <a:gd name="adj" fmla="val 6279"/>
            </a:avLst>
          </a:prstGeom>
          <a:solidFill>
            <a:schemeClr val="accent4">
              <a:lumMod val="75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27"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Pentagon 23">
            <a:extLst>
              <a:ext uri="{FF2B5EF4-FFF2-40B4-BE49-F238E27FC236}">
                <a16:creationId xmlns:a16="http://schemas.microsoft.com/office/drawing/2014/main" id="{D30940FB-CB77-49DF-AEEB-AE03E293F79E}"/>
              </a:ext>
            </a:extLst>
          </p:cNvPr>
          <p:cNvSpPr/>
          <p:nvPr/>
        </p:nvSpPr>
        <p:spPr>
          <a:xfrm rot="5400000">
            <a:off x="9660271" y="778143"/>
            <a:ext cx="938797" cy="2215469"/>
          </a:xfrm>
          <a:prstGeom prst="homePlate">
            <a:avLst>
              <a:gd name="adj" fmla="val 370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27" b="0" i="0" u="none" strike="noStrike" kern="1200" cap="none" spc="0" normalizeH="0" baseline="0" noProof="0" dirty="0">
              <a:ln>
                <a:noFill/>
              </a:ln>
              <a:solidFill>
                <a:srgbClr val="FFFFFF"/>
              </a:solidFill>
              <a:effectLst/>
              <a:uLnTx/>
              <a:uFillTx/>
              <a:latin typeface="Arial"/>
              <a:ea typeface="+mn-ea"/>
              <a:cs typeface="+mn-cs"/>
            </a:endParaRPr>
          </a:p>
        </p:txBody>
      </p:sp>
      <p:sp>
        <p:nvSpPr>
          <p:cNvPr id="52" name="TextBox 51">
            <a:extLst>
              <a:ext uri="{FF2B5EF4-FFF2-40B4-BE49-F238E27FC236}">
                <a16:creationId xmlns:a16="http://schemas.microsoft.com/office/drawing/2014/main" id="{9AA1D3C7-FB91-4EC7-A4CB-8FE807D7018B}"/>
              </a:ext>
            </a:extLst>
          </p:cNvPr>
          <p:cNvSpPr txBox="1">
            <a:spLocks/>
          </p:cNvSpPr>
          <p:nvPr/>
        </p:nvSpPr>
        <p:spPr>
          <a:xfrm>
            <a:off x="9096822" y="1508813"/>
            <a:ext cx="2065696" cy="43088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1" i="0" u="none" strike="noStrike" kern="1200" cap="none" spc="0" normalizeH="0" baseline="0" noProof="0" dirty="0">
                <a:ln>
                  <a:noFill/>
                </a:ln>
                <a:solidFill>
                  <a:srgbClr val="54595F"/>
                </a:solidFill>
                <a:effectLst/>
                <a:uLnTx/>
                <a:uFillTx/>
                <a:latin typeface="Arial"/>
                <a:ea typeface="+mn-ea"/>
                <a:cs typeface="Arial" panose="020B0604020202020204" pitchFamily="34" charset="0"/>
              </a:rPr>
              <a:t>Équipe du programme régional</a:t>
            </a:r>
          </a:p>
        </p:txBody>
      </p:sp>
      <p:sp>
        <p:nvSpPr>
          <p:cNvPr id="47" name="TextBox 46">
            <a:extLst>
              <a:ext uri="{FF2B5EF4-FFF2-40B4-BE49-F238E27FC236}">
                <a16:creationId xmlns:a16="http://schemas.microsoft.com/office/drawing/2014/main" id="{F260C645-74DF-4164-9533-037A49EECD72}"/>
              </a:ext>
            </a:extLst>
          </p:cNvPr>
          <p:cNvSpPr txBox="1">
            <a:spLocks/>
          </p:cNvSpPr>
          <p:nvPr/>
        </p:nvSpPr>
        <p:spPr>
          <a:xfrm>
            <a:off x="6391865" y="1508813"/>
            <a:ext cx="2065696" cy="43088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Équipe d'engagement des partenaires (PE)</a:t>
            </a:r>
          </a:p>
        </p:txBody>
      </p:sp>
      <p:sp>
        <p:nvSpPr>
          <p:cNvPr id="48" name="TextBox 47">
            <a:extLst>
              <a:ext uri="{FF2B5EF4-FFF2-40B4-BE49-F238E27FC236}">
                <a16:creationId xmlns:a16="http://schemas.microsoft.com/office/drawing/2014/main" id="{896164AF-F090-4BB5-851E-2CFF2F3FFC06}"/>
              </a:ext>
            </a:extLst>
          </p:cNvPr>
          <p:cNvSpPr txBox="1">
            <a:spLocks/>
          </p:cNvSpPr>
          <p:nvPr/>
        </p:nvSpPr>
        <p:spPr>
          <a:xfrm>
            <a:off x="3686905" y="1508813"/>
            <a:ext cx="2065696" cy="43088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Equipe d'engagement des pays (CE)</a:t>
            </a:r>
            <a:endParaRPr kumimoji="0" lang="en-GB" sz="14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49" name="TextBox 48">
            <a:extLst>
              <a:ext uri="{FF2B5EF4-FFF2-40B4-BE49-F238E27FC236}">
                <a16:creationId xmlns:a16="http://schemas.microsoft.com/office/drawing/2014/main" id="{D0E25046-A28E-4575-9C18-81394FACABDA}"/>
              </a:ext>
            </a:extLst>
          </p:cNvPr>
          <p:cNvSpPr txBox="1">
            <a:spLocks/>
          </p:cNvSpPr>
          <p:nvPr/>
        </p:nvSpPr>
        <p:spPr>
          <a:xfrm>
            <a:off x="954595" y="1508813"/>
            <a:ext cx="2065696" cy="43088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Unité de gestion du programme (UGP)</a:t>
            </a:r>
          </a:p>
        </p:txBody>
      </p:sp>
      <p:sp>
        <p:nvSpPr>
          <p:cNvPr id="53" name="TextBox 52">
            <a:extLst>
              <a:ext uri="{FF2B5EF4-FFF2-40B4-BE49-F238E27FC236}">
                <a16:creationId xmlns:a16="http://schemas.microsoft.com/office/drawing/2014/main" id="{40216FE9-6123-4C50-B9C9-C79DEDA9A40E}"/>
              </a:ext>
            </a:extLst>
          </p:cNvPr>
          <p:cNvSpPr txBox="1">
            <a:spLocks/>
          </p:cNvSpPr>
          <p:nvPr/>
        </p:nvSpPr>
        <p:spPr>
          <a:xfrm>
            <a:off x="6218144" y="2404442"/>
            <a:ext cx="2390147"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quipe en charge de</a:t>
            </a: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ise en place d'accords de partenariat et accompagnement des partenaires</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larifier les questions liées au contrat pendant la mise en œuvre. Les activités spécifiques comprennent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Sélection des partenaires</a:t>
            </a:r>
            <a:r>
              <a:rPr kumimoji="0" lang="en-US" sz="1100" b="0" i="0" u="none" strike="noStrike" kern="1200" cap="none" spc="0" normalizeH="0" baseline="0" noProof="0" dirty="0">
                <a:ln>
                  <a:noFill/>
                </a:ln>
                <a:solidFill>
                  <a:srgbClr val="000000"/>
                </a:solidFill>
                <a:effectLst/>
                <a:uLnTx/>
                <a:uFillTx/>
                <a:latin typeface="Arial"/>
                <a:ea typeface="+mn-ea"/>
                <a:cs typeface="+mn-cs"/>
              </a:rPr>
              <a:t>et mettre en place des accords de partenariat</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outenir les partenaires pour</a:t>
            </a:r>
            <a:r>
              <a:rPr kumimoji="0" lang="en-US" sz="1100" b="1" i="0" u="none" strike="noStrike" kern="1200" cap="none" spc="0" normalizeH="0" baseline="0" noProof="0" dirty="0">
                <a:ln>
                  <a:noFill/>
                </a:ln>
                <a:solidFill>
                  <a:srgbClr val="000000"/>
                </a:solidFill>
                <a:effectLst/>
                <a:uLnTx/>
                <a:uFillTx/>
                <a:latin typeface="Arial"/>
                <a:ea typeface="+mn-ea"/>
                <a:cs typeface="+mn-cs"/>
              </a:rPr>
              <a:t>définir leur périmètre de travail de haut niveau et leur modèle d'interacti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urveillance</a:t>
            </a:r>
            <a:r>
              <a:rPr kumimoji="0" lang="en-US" sz="1100" b="1" i="0" u="none" strike="noStrike" kern="1200" cap="none" spc="0" normalizeH="0" baseline="0" noProof="0" dirty="0">
                <a:ln>
                  <a:noFill/>
                </a:ln>
                <a:solidFill>
                  <a:srgbClr val="000000"/>
                </a:solidFill>
                <a:effectLst/>
                <a:uLnTx/>
                <a:uFillTx/>
                <a:latin typeface="Arial"/>
                <a:ea typeface="+mn-ea"/>
                <a:cs typeface="+mn-cs"/>
              </a:rPr>
              <a:t>problèmes liés à la conformité ou au contrat</a:t>
            </a:r>
            <a:r>
              <a:rPr kumimoji="0" lang="en-US" sz="1100" b="0" i="0" u="none" strike="noStrike" kern="1200" cap="none" spc="0" normalizeH="0" baseline="0" noProof="0" dirty="0">
                <a:ln>
                  <a:noFill/>
                </a:ln>
                <a:solidFill>
                  <a:srgbClr val="000000"/>
                </a:solidFill>
                <a:effectLst/>
                <a:uLnTx/>
                <a:uFillTx/>
                <a:latin typeface="Arial"/>
                <a:ea typeface="+mn-ea"/>
                <a:cs typeface="+mn-cs"/>
              </a:rPr>
              <a:t>rencontrés par les partenaires lors de la mise en œuvr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urveillance</a:t>
            </a:r>
            <a:r>
              <a:rPr kumimoji="0" lang="en-US" sz="1100" b="1" i="0" u="none" strike="noStrike" kern="1200" cap="none" spc="0" normalizeH="0" baseline="0" noProof="0" dirty="0">
                <a:ln>
                  <a:noFill/>
                </a:ln>
                <a:solidFill>
                  <a:srgbClr val="000000"/>
                </a:solidFill>
                <a:effectLst/>
                <a:uLnTx/>
                <a:uFillTx/>
                <a:latin typeface="Arial"/>
                <a:ea typeface="+mn-ea"/>
                <a:cs typeface="+mn-cs"/>
              </a:rPr>
              <a:t>approvisionnement et approvisionnement</a:t>
            </a:r>
            <a:r>
              <a:rPr kumimoji="0" lang="en-US" sz="1100" b="0" i="0" u="none" strike="noStrike" kern="1200" cap="none" spc="0" normalizeH="0" baseline="0" noProof="0" dirty="0">
                <a:ln>
                  <a:noFill/>
                </a:ln>
                <a:solidFill>
                  <a:srgbClr val="000000"/>
                </a:solidFill>
                <a:effectLst/>
                <a:uLnTx/>
                <a:uFillTx/>
                <a:latin typeface="Arial"/>
                <a:ea typeface="+mn-ea"/>
                <a:cs typeface="+mn-cs"/>
              </a:rPr>
              <a:t>par les partenaires</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TextBox 53">
            <a:extLst>
              <a:ext uri="{FF2B5EF4-FFF2-40B4-BE49-F238E27FC236}">
                <a16:creationId xmlns:a16="http://schemas.microsoft.com/office/drawing/2014/main" id="{B373E684-1861-474A-9DC2-0607A33F957B}"/>
              </a:ext>
            </a:extLst>
          </p:cNvPr>
          <p:cNvSpPr txBox="1">
            <a:spLocks/>
          </p:cNvSpPr>
          <p:nvPr/>
        </p:nvSpPr>
        <p:spPr>
          <a:xfrm>
            <a:off x="3512915" y="2404442"/>
            <a:ext cx="2389121" cy="320087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ne équipe d'experts qui</a:t>
            </a: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urnit un soutien aux États membres</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 effectuant des activités telles que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onduite</a:t>
            </a:r>
            <a:r>
              <a:rPr kumimoji="0" lang="en-US" sz="1100" b="1" i="0" u="none" strike="noStrike" kern="1200" cap="none" spc="0" normalizeH="0" baseline="0" noProof="0" dirty="0">
                <a:ln>
                  <a:noFill/>
                </a:ln>
                <a:solidFill>
                  <a:srgbClr val="000000"/>
                </a:solidFill>
                <a:effectLst/>
                <a:uLnTx/>
                <a:uFillTx/>
                <a:latin typeface="Arial"/>
                <a:ea typeface="+mn-ea"/>
                <a:cs typeface="+mn-cs"/>
              </a:rPr>
              <a:t>évaluations des besoins et consultations techniques nationales</a:t>
            </a:r>
          </a:p>
          <a:p>
            <a:pPr lvl="1" algn="l" rtl="0">
              <a:buClr>
                <a:srgbClr val="000000"/>
              </a:buClr>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Développement</a:t>
            </a:r>
            <a:r>
              <a:rPr kumimoji="0" lang="en-US" sz="1100" b="1" i="0" u="none" strike="noStrike" kern="1200" cap="none" spc="0" normalizeH="0" baseline="0" noProof="0" dirty="0">
                <a:ln>
                  <a:noFill/>
                </a:ln>
                <a:solidFill>
                  <a:srgbClr val="000000"/>
                </a:solidFill>
                <a:effectLst/>
                <a:uLnTx/>
                <a:uFillTx/>
                <a:latin typeface="Arial"/>
                <a:ea typeface="+mn-ea"/>
                <a:cs typeface="+mn-cs"/>
              </a:rPr>
              <a:t>CSP</a:t>
            </a:r>
            <a:r>
              <a:rPr kumimoji="0" lang="en-US" sz="1100" b="0" i="0" u="none" strike="noStrike" kern="1200" cap="none" spc="0" normalizeH="0" baseline="0" noProof="0" dirty="0">
                <a:ln>
                  <a:noFill/>
                </a:ln>
                <a:solidFill>
                  <a:srgbClr val="000000"/>
                </a:solidFill>
                <a:effectLst/>
                <a:uLnTx/>
                <a:uFillTx/>
                <a:latin typeface="Arial"/>
                <a:ea typeface="+mn-ea"/>
                <a:cs typeface="+mn-cs"/>
              </a:rPr>
              <a:t>(Plans de soutien aux pays)</a:t>
            </a:r>
            <a:r>
              <a:rPr lang="en-US" sz="1100" dirty="0">
                <a:solidFill>
                  <a:srgbClr val="000000"/>
                </a:solidFill>
                <a:latin typeface="Arial"/>
              </a:rPr>
              <a:t> </a:t>
            </a:r>
            <a:r>
              <a:rPr kumimoji="0" lang="en-US" sz="1100" b="0" i="0" u="none" strike="noStrike" kern="1200" cap="none" spc="0" normalizeH="0" baseline="0" noProof="0" dirty="0">
                <a:ln>
                  <a:noFill/>
                </a:ln>
                <a:solidFill>
                  <a:srgbClr val="000000"/>
                </a:solidFill>
                <a:effectLst/>
                <a:uLnTx/>
                <a:uFillTx/>
                <a:latin typeface="Arial"/>
                <a:ea typeface="+mn-ea"/>
                <a:cs typeface="+mn-cs"/>
              </a:rPr>
              <a:t>et</a:t>
            </a:r>
            <a:r>
              <a:rPr kumimoji="0" lang="en-US" sz="1100" b="1" i="0" u="none" strike="noStrike" kern="1200" cap="none" spc="0" normalizeH="0" baseline="0" noProof="0" dirty="0" err="1">
                <a:ln>
                  <a:noFill/>
                </a:ln>
                <a:solidFill>
                  <a:srgbClr val="000000"/>
                </a:solidFill>
                <a:effectLst/>
                <a:uLnTx/>
                <a:uFillTx/>
                <a:latin typeface="Arial"/>
                <a:ea typeface="+mn-ea"/>
                <a:cs typeface="+mn-cs"/>
              </a:rPr>
              <a:t>Microplans</a:t>
            </a:r>
            <a:r>
              <a:rPr lang="en-US" sz="1100" b="1" dirty="0">
                <a:solidFill>
                  <a:srgbClr val="000000"/>
                </a:solidFill>
                <a:latin typeface="Arial"/>
              </a:rPr>
              <a:t> </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Fournir</a:t>
            </a:r>
            <a:r>
              <a:rPr kumimoji="0" lang="en-US" sz="1100" b="1" i="0" u="none" strike="noStrike" kern="1200" cap="none" spc="0" normalizeH="0" baseline="0" noProof="0" dirty="0">
                <a:ln>
                  <a:noFill/>
                </a:ln>
                <a:solidFill>
                  <a:srgbClr val="000000"/>
                </a:solidFill>
                <a:effectLst/>
                <a:uLnTx/>
                <a:uFillTx/>
                <a:latin typeface="Arial"/>
                <a:ea typeface="+mn-ea"/>
                <a:cs typeface="+mn-cs"/>
              </a:rPr>
              <a:t>soutien programmatique quotidien et conseils techniques aux partenaires</a:t>
            </a:r>
            <a:r>
              <a:rPr kumimoji="0" lang="en-US" sz="1100" b="0" i="0" u="none" strike="noStrike" kern="1200" cap="none" spc="0" normalizeH="0" baseline="0" noProof="0" dirty="0">
                <a:ln>
                  <a:noFill/>
                </a:ln>
                <a:solidFill>
                  <a:srgbClr val="000000"/>
                </a:solidFill>
                <a:effectLst/>
                <a:uLnTx/>
                <a:uFillTx/>
                <a:latin typeface="Arial"/>
                <a:ea typeface="+mn-ea"/>
                <a:cs typeface="+mn-cs"/>
              </a:rPr>
              <a:t>en s'appuyant sur l'expertise technique de l'équipe CE et sur ses relations dans le pays</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uivi régional et national</a:t>
            </a:r>
            <a:r>
              <a:rPr kumimoji="0" lang="en-US" sz="1100" b="1" i="0" u="none" strike="noStrike" kern="1200" cap="none" spc="0" normalizeH="0" baseline="0" noProof="0" dirty="0">
                <a:ln>
                  <a:noFill/>
                </a:ln>
                <a:solidFill>
                  <a:srgbClr val="000000"/>
                </a:solidFill>
                <a:effectLst/>
                <a:uLnTx/>
                <a:uFillTx/>
                <a:latin typeface="Arial"/>
                <a:ea typeface="+mn-ea"/>
                <a:cs typeface="+mn-cs"/>
              </a:rPr>
              <a:t>partenaires'</a:t>
            </a:r>
            <a:r>
              <a:rPr kumimoji="0" lang="en-US" sz="1100" b="0" i="0" u="none" strike="noStrike" kern="1200" cap="none" spc="0" normalizeH="0" baseline="0" noProof="0" dirty="0">
                <a:ln>
                  <a:noFill/>
                </a:ln>
                <a:solidFill>
                  <a:srgbClr val="000000"/>
                </a:solidFill>
                <a:effectLst/>
                <a:uLnTx/>
                <a:uFillTx/>
                <a:latin typeface="Arial"/>
                <a:ea typeface="+mn-ea"/>
                <a:cs typeface="+mn-cs"/>
              </a:rPr>
              <a:t> </a:t>
            </a:r>
            <a:r>
              <a:rPr kumimoji="0" lang="en-US" sz="1100" b="1" i="0" u="none" strike="noStrike" kern="1200" cap="none" spc="0" normalizeH="0" baseline="0" noProof="0" dirty="0">
                <a:ln>
                  <a:noFill/>
                </a:ln>
                <a:solidFill>
                  <a:srgbClr val="000000"/>
                </a:solidFill>
                <a:effectLst/>
                <a:uLnTx/>
                <a:uFillTx/>
                <a:latin typeface="Arial"/>
                <a:ea typeface="+mn-ea"/>
                <a:cs typeface="+mn-cs"/>
              </a:rPr>
              <a:t>performances par rapport aux KPI et aux cibles définis</a:t>
            </a:r>
            <a:r>
              <a:rPr kumimoji="0" lang="en-US" sz="1100" b="0" i="0" u="none" strike="noStrike" kern="1200" cap="none" spc="0" normalizeH="0" baseline="0" noProof="0" dirty="0">
                <a:ln>
                  <a:noFill/>
                </a:ln>
                <a:solidFill>
                  <a:srgbClr val="000000"/>
                </a:solidFill>
                <a:effectLst/>
                <a:uLnTx/>
                <a:uFillTx/>
                <a:latin typeface="Arial"/>
                <a:ea typeface="+mn-ea"/>
                <a:cs typeface="+mn-cs"/>
              </a:rPr>
              <a:t>et transmettre à l'équipe PE</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TextBox 54">
            <a:extLst>
              <a:ext uri="{FF2B5EF4-FFF2-40B4-BE49-F238E27FC236}">
                <a16:creationId xmlns:a16="http://schemas.microsoft.com/office/drawing/2014/main" id="{7DC18C80-E31D-46BB-940A-5ABDD57845CD}"/>
              </a:ext>
            </a:extLst>
          </p:cNvPr>
          <p:cNvSpPr txBox="1">
            <a:spLocks/>
          </p:cNvSpPr>
          <p:nvPr/>
        </p:nvSpPr>
        <p:spPr>
          <a:xfrm>
            <a:off x="807956" y="2404442"/>
            <a:ext cx="2406300" cy="340862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teur de livraison de performances,</a:t>
            </a: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ordonne les équipes du Programme, suit les performances et rend compte aux instances dirigeantes.</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s activités comprennent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Fournir</a:t>
            </a:r>
            <a:r>
              <a:rPr kumimoji="0" lang="en-US" sz="1100" b="1" i="0" u="none" strike="noStrike" kern="1200" cap="none" spc="0" normalizeH="0" baseline="0" noProof="0" dirty="0">
                <a:ln>
                  <a:noFill/>
                </a:ln>
                <a:solidFill>
                  <a:srgbClr val="000000"/>
                </a:solidFill>
                <a:effectLst/>
                <a:uLnTx/>
                <a:uFillTx/>
                <a:latin typeface="Arial"/>
                <a:ea typeface="+mn-ea"/>
                <a:cs typeface="+mn-cs"/>
              </a:rPr>
              <a:t>réunion cohérente et escalade</a:t>
            </a:r>
            <a:r>
              <a:rPr kumimoji="0" lang="en-US" sz="1100" b="0" i="0" u="none" strike="noStrike" kern="1200" cap="none" spc="0" normalizeH="0" baseline="0" noProof="0" dirty="0">
                <a:ln>
                  <a:noFill/>
                </a:ln>
                <a:solidFill>
                  <a:srgbClr val="000000"/>
                </a:solidFill>
                <a:effectLst/>
                <a:uLnTx/>
                <a:uFillTx/>
                <a:latin typeface="Arial"/>
                <a:ea typeface="+mn-ea"/>
                <a:cs typeface="+mn-cs"/>
              </a:rPr>
              <a:t>structur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Co-développement de plans</a:t>
            </a:r>
            <a:r>
              <a:rPr kumimoji="0" lang="en-US" sz="1100" b="0" i="0" u="none" strike="noStrike" kern="1200" cap="none" spc="0" normalizeH="0" baseline="0" noProof="0" dirty="0">
                <a:ln>
                  <a:noFill/>
                </a:ln>
                <a:solidFill>
                  <a:srgbClr val="000000"/>
                </a:solidFill>
                <a:effectLst/>
                <a:uLnTx/>
                <a:uFillTx/>
                <a:latin typeface="Arial"/>
                <a:ea typeface="+mn-ea"/>
                <a:cs typeface="+mn-cs"/>
              </a:rPr>
              <a:t>avec les équipes et les parties prenantes pour coordonner leurs efforts de déploiement du vacci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Gérer les relations </a:t>
            </a:r>
            <a:r>
              <a:rPr kumimoji="0" lang="en-US" sz="1100" b="0" i="0" u="none" strike="noStrike" kern="1200" cap="none" spc="0" normalizeH="0" baseline="0" noProof="0" dirty="0">
                <a:ln>
                  <a:noFill/>
                </a:ln>
                <a:solidFill>
                  <a:srgbClr val="000000"/>
                </a:solidFill>
                <a:effectLst/>
                <a:uLnTx/>
                <a:uFillTx/>
                <a:latin typeface="Arial"/>
                <a:ea typeface="+mn-ea"/>
                <a:cs typeface="+mn-cs"/>
              </a:rPr>
              <a:t>avec la Fondation Mastercar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Accompagner les équipes pour</a:t>
            </a:r>
            <a:r>
              <a:rPr kumimoji="0" lang="en-US" sz="1100" b="1" i="0" u="none" strike="noStrike" kern="1200" cap="none" spc="0" normalizeH="0" baseline="0" noProof="0" dirty="0">
                <a:ln>
                  <a:noFill/>
                </a:ln>
                <a:solidFill>
                  <a:srgbClr val="000000"/>
                </a:solidFill>
                <a:effectLst/>
                <a:uLnTx/>
                <a:uFillTx/>
                <a:latin typeface="Arial"/>
                <a:ea typeface="+mn-ea"/>
                <a:cs typeface="+mn-cs"/>
              </a:rPr>
              <a:t>identifier et résoudre les problèmes</a:t>
            </a:r>
            <a:r>
              <a:rPr kumimoji="0" lang="en-US" sz="1100" b="0" i="0" u="none" strike="noStrike" kern="1200" cap="none" spc="0" normalizeH="0" baseline="0" noProof="0" dirty="0">
                <a:ln>
                  <a:noFill/>
                </a:ln>
                <a:solidFill>
                  <a:srgbClr val="000000"/>
                </a:solidFill>
                <a:effectLst/>
                <a:uLnTx/>
                <a:uFillTx/>
                <a:latin typeface="Arial"/>
                <a:ea typeface="+mn-ea"/>
                <a:cs typeface="+mn-cs"/>
              </a:rPr>
              <a:t>et les goulots d'étranglement</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Être le</a:t>
            </a:r>
            <a:r>
              <a:rPr kumimoji="0" lang="en-US" sz="1100" b="1" i="0" u="none" strike="noStrike" kern="1200" cap="none" spc="0" normalizeH="0" baseline="0" noProof="0" dirty="0">
                <a:ln>
                  <a:noFill/>
                </a:ln>
                <a:solidFill>
                  <a:srgbClr val="000000"/>
                </a:solidFill>
                <a:effectLst/>
                <a:uLnTx/>
                <a:uFillTx/>
                <a:latin typeface="Arial"/>
                <a:ea typeface="+mn-ea"/>
                <a:cs typeface="+mn-cs"/>
              </a:rPr>
              <a:t>source unique de vérité</a:t>
            </a:r>
            <a:endParaRPr kumimoji="0" lang="en-GB" sz="1100" b="1" i="0" u="none" strike="noStrike" kern="1200" cap="none" spc="0" normalizeH="0" baseline="0" noProof="0" dirty="0">
              <a:ln>
                <a:noFill/>
              </a:ln>
              <a:solidFill>
                <a:srgbClr val="000000"/>
              </a:solidFill>
              <a:effectLst/>
              <a:uLnTx/>
              <a:uFillTx/>
              <a:latin typeface="Arial"/>
              <a:ea typeface="+mn-ea"/>
              <a:cs typeface="+mn-cs"/>
            </a:endParaRPr>
          </a:p>
        </p:txBody>
      </p:sp>
      <p:sp>
        <p:nvSpPr>
          <p:cNvPr id="56" name="TextBox 55">
            <a:extLst>
              <a:ext uri="{FF2B5EF4-FFF2-40B4-BE49-F238E27FC236}">
                <a16:creationId xmlns:a16="http://schemas.microsoft.com/office/drawing/2014/main" id="{7FE3D11B-57FC-4ECF-8DF1-E7378F803F9F}"/>
              </a:ext>
            </a:extLst>
          </p:cNvPr>
          <p:cNvSpPr txBox="1">
            <a:spLocks/>
          </p:cNvSpPr>
          <p:nvPr/>
        </p:nvSpPr>
        <p:spPr>
          <a:xfrm>
            <a:off x="8922835" y="2404442"/>
            <a:ext cx="2391710" cy="299312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Équipe à</a:t>
            </a: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perviser l'exécution du vaccin</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éploiement du programme dans les États membres. Les activités comprennent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Superviser toutes les opérations visant à sauver des vies et des moyens de subsistance</a:t>
            </a:r>
            <a:r>
              <a:rPr kumimoji="0" lang="en-US" sz="1100" b="0" i="0" u="none" strike="noStrike" kern="1200" cap="none" spc="0" normalizeH="0" baseline="0" noProof="0" dirty="0">
                <a:ln>
                  <a:noFill/>
                </a:ln>
                <a:solidFill>
                  <a:srgbClr val="000000"/>
                </a:solidFill>
                <a:effectLst/>
                <a:uLnTx/>
                <a:uFillTx/>
                <a:latin typeface="Arial"/>
                <a:ea typeface="+mn-ea"/>
                <a:cs typeface="+mn-cs"/>
              </a:rPr>
              <a:t>Mise en œuvre du programme au niveau régional et dans les pays membr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Collaborer avec des organisations partenaires</a:t>
            </a:r>
            <a:r>
              <a:rPr kumimoji="0" lang="en-US" sz="1100" b="0" i="0" u="none" strike="noStrike" kern="1200" cap="none" spc="0" normalizeH="0" baseline="0" noProof="0" dirty="0">
                <a:ln>
                  <a:noFill/>
                </a:ln>
                <a:solidFill>
                  <a:srgbClr val="000000"/>
                </a:solidFill>
                <a:effectLst/>
                <a:uLnTx/>
                <a:uFillTx/>
                <a:latin typeface="Arial"/>
                <a:ea typeface="+mn-ea"/>
                <a:cs typeface="+mn-cs"/>
              </a:rPr>
              <a:t>au niveau régional et national pour assurer la collaboration et l'alignement entre les différents efforts pour le déploiement des vaccins contre la COVID-19</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Suivre et valider les progrès</a:t>
            </a:r>
            <a:r>
              <a:rPr kumimoji="0" lang="en-US" sz="1100" b="0" i="0" u="none" strike="noStrike" kern="1200" cap="none" spc="0" normalizeH="0" baseline="0" noProof="0" dirty="0">
                <a:ln>
                  <a:noFill/>
                </a:ln>
                <a:solidFill>
                  <a:srgbClr val="000000"/>
                </a:solidFill>
                <a:effectLst/>
                <a:uLnTx/>
                <a:uFillTx/>
                <a:latin typeface="Arial"/>
                <a:ea typeface="+mn-ea"/>
                <a:cs typeface="+mn-cs"/>
              </a:rPr>
              <a:t>des partenaires régionaux de mise en œuvre et rendre compte des performances à l'UGP</a:t>
            </a:r>
          </a:p>
        </p:txBody>
      </p:sp>
    </p:spTree>
    <p:extLst>
      <p:ext uri="{BB962C8B-B14F-4D97-AF65-F5344CB8AC3E}">
        <p14:creationId xmlns:p14="http://schemas.microsoft.com/office/powerpoint/2010/main" val="14640214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5412" name="Rectangle 3" hidden="1"/>
          <p:cNvGraphicFramePr>
            <a:graphicFrameLocks/>
          </p:cNvGraphicFramePr>
          <p:nvPr>
            <p:custDataLst>
              <p:tags r:id="rId1"/>
            </p:custDataLst>
          </p:nvPr>
        </p:nvGraphicFramePr>
        <p:xfrm>
          <a:off x="1524270" y="1"/>
          <a:ext cx="161974" cy="161974"/>
        </p:xfrm>
        <a:graphic>
          <a:graphicData uri="http://schemas.openxmlformats.org/presentationml/2006/ole">
            <mc:AlternateContent xmlns:mc="http://schemas.openxmlformats.org/markup-compatibility/2006">
              <mc:Choice xmlns:v="urn:schemas-microsoft-com:vml" Requires="v">
                <p:oleObj name="think-cell Slide" r:id="rId61" imgW="0" imgH="0" progId="TCLayout.ActiveDocument.1">
                  <p:embed/>
                </p:oleObj>
              </mc:Choice>
              <mc:Fallback>
                <p:oleObj name="think-cell Slide" r:id="rId61" imgW="0" imgH="0" progId="TCLayout.ActiveDocument.1">
                  <p:embed/>
                  <p:pic>
                    <p:nvPicPr>
                      <p:cNvPr id="145412"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2" name="Group 21">
            <a:extLst>
              <a:ext uri="{FF2B5EF4-FFF2-40B4-BE49-F238E27FC236}">
                <a16:creationId xmlns:a16="http://schemas.microsoft.com/office/drawing/2014/main" id="{B17B4D88-636B-43AF-9782-19798C1037DE}"/>
              </a:ext>
            </a:extLst>
          </p:cNvPr>
          <p:cNvGrpSpPr/>
          <p:nvPr/>
        </p:nvGrpSpPr>
        <p:grpSpPr>
          <a:xfrm>
            <a:off x="554738" y="1420628"/>
            <a:ext cx="11084411" cy="748721"/>
            <a:chOff x="550379" y="1497293"/>
            <a:chExt cx="11084411" cy="909235"/>
          </a:xfrm>
        </p:grpSpPr>
        <p:sp>
          <p:nvSpPr>
            <p:cNvPr id="254" name="Trapezoid 253">
              <a:extLst>
                <a:ext uri="{FF2B5EF4-FFF2-40B4-BE49-F238E27FC236}">
                  <a16:creationId xmlns:a16="http://schemas.microsoft.com/office/drawing/2014/main" id="{DFE839F0-1284-403E-82E0-DA3A77001953}"/>
                </a:ext>
              </a:extLst>
            </p:cNvPr>
            <p:cNvSpPr>
              <a:spLocks/>
            </p:cNvSpPr>
            <p:nvPr/>
          </p:nvSpPr>
          <p:spPr>
            <a:xfrm rot="5400000">
              <a:off x="5637967" y="-3590295"/>
              <a:ext cx="909235" cy="11084411"/>
            </a:xfrm>
            <a:prstGeom prst="trapezoid">
              <a:avLst>
                <a:gd name="adj" fmla="val 28911"/>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333" name="Straight Connector 332">
              <a:extLst>
                <a:ext uri="{FF2B5EF4-FFF2-40B4-BE49-F238E27FC236}">
                  <a16:creationId xmlns:a16="http://schemas.microsoft.com/office/drawing/2014/main" id="{69B3F3AB-5417-4825-82E8-C3B63648DD0B}"/>
                </a:ext>
              </a:extLst>
            </p:cNvPr>
            <p:cNvCxnSpPr>
              <a:cxnSpLocks/>
            </p:cNvCxnSpPr>
            <p:nvPr/>
          </p:nvCxnSpPr>
          <p:spPr>
            <a:xfrm>
              <a:off x="10475566" y="1730048"/>
              <a:ext cx="0" cy="443723"/>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AAF4E58F-3845-4E38-BF0C-A7119E666300}"/>
                </a:ext>
              </a:extLst>
            </p:cNvPr>
            <p:cNvCxnSpPr>
              <a:cxnSpLocks/>
            </p:cNvCxnSpPr>
            <p:nvPr/>
          </p:nvCxnSpPr>
          <p:spPr>
            <a:xfrm>
              <a:off x="1709459" y="1538743"/>
              <a:ext cx="0" cy="838458"/>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64FAB137-41F3-4C85-953C-EC4286BC7AE5}"/>
                </a:ext>
              </a:extLst>
            </p:cNvPr>
            <p:cNvCxnSpPr>
              <a:cxnSpLocks/>
            </p:cNvCxnSpPr>
            <p:nvPr/>
          </p:nvCxnSpPr>
          <p:spPr>
            <a:xfrm>
              <a:off x="6752325" y="1623736"/>
              <a:ext cx="0" cy="633681"/>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D8D6C134-B65B-4F28-AF33-D912AC41A94A}"/>
                </a:ext>
              </a:extLst>
            </p:cNvPr>
            <p:cNvCxnSpPr>
              <a:cxnSpLocks/>
            </p:cNvCxnSpPr>
            <p:nvPr/>
          </p:nvCxnSpPr>
          <p:spPr>
            <a:xfrm>
              <a:off x="5506670" y="1543089"/>
              <a:ext cx="0" cy="74642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EAA31870-71C5-405A-B10B-961D63E61F53}"/>
                </a:ext>
              </a:extLst>
            </p:cNvPr>
            <p:cNvCxnSpPr>
              <a:cxnSpLocks/>
            </p:cNvCxnSpPr>
            <p:nvPr/>
          </p:nvCxnSpPr>
          <p:spPr>
            <a:xfrm>
              <a:off x="4232514" y="1543089"/>
              <a:ext cx="0" cy="774324"/>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B55DB988-028F-45B9-B497-C930C1B47F92}"/>
                </a:ext>
              </a:extLst>
            </p:cNvPr>
            <p:cNvCxnSpPr>
              <a:cxnSpLocks/>
            </p:cNvCxnSpPr>
            <p:nvPr/>
          </p:nvCxnSpPr>
          <p:spPr>
            <a:xfrm>
              <a:off x="3024724" y="1543089"/>
              <a:ext cx="0" cy="806208"/>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C3384600-E980-484A-80F3-0FECDD01719B}"/>
                </a:ext>
              </a:extLst>
            </p:cNvPr>
            <p:cNvCxnSpPr>
              <a:cxnSpLocks/>
            </p:cNvCxnSpPr>
            <p:nvPr/>
          </p:nvCxnSpPr>
          <p:spPr>
            <a:xfrm>
              <a:off x="9238609" y="1632614"/>
              <a:ext cx="0" cy="560827"/>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77B605E9-56F5-426B-B31B-7768D5F6A442}"/>
                </a:ext>
              </a:extLst>
            </p:cNvPr>
            <p:cNvCxnSpPr>
              <a:cxnSpLocks/>
            </p:cNvCxnSpPr>
            <p:nvPr/>
          </p:nvCxnSpPr>
          <p:spPr>
            <a:xfrm>
              <a:off x="7994798" y="1623736"/>
              <a:ext cx="0" cy="597609"/>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58" name="TextBox 257">
            <a:extLst>
              <a:ext uri="{FF2B5EF4-FFF2-40B4-BE49-F238E27FC236}">
                <a16:creationId xmlns:a16="http://schemas.microsoft.com/office/drawing/2014/main" id="{556B0E07-9642-4BF1-9CB0-06B0CE404F3A}"/>
              </a:ext>
            </a:extLst>
          </p:cNvPr>
          <p:cNvSpPr txBox="1">
            <a:spLocks/>
          </p:cNvSpPr>
          <p:nvPr>
            <p:custDataLst>
              <p:tags r:id="rId2"/>
            </p:custDataLst>
          </p:nvPr>
        </p:nvSpPr>
        <p:spPr>
          <a:xfrm>
            <a:off x="1799065" y="1656490"/>
            <a:ext cx="1144771" cy="276999"/>
          </a:xfrm>
          <a:prstGeom prst="rect">
            <a:avLst/>
          </a:prstGeom>
          <a:no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ocuments SLL soumis</a:t>
            </a:r>
          </a:p>
        </p:txBody>
      </p:sp>
      <p:sp>
        <p:nvSpPr>
          <p:cNvPr id="318" name="TextBox 317">
            <a:extLst>
              <a:ext uri="{FF2B5EF4-FFF2-40B4-BE49-F238E27FC236}">
                <a16:creationId xmlns:a16="http://schemas.microsoft.com/office/drawing/2014/main" id="{3B317D9F-07C2-4710-AA48-6C8E6503A0D7}"/>
              </a:ext>
            </a:extLst>
          </p:cNvPr>
          <p:cNvSpPr txBox="1">
            <a:spLocks/>
          </p:cNvSpPr>
          <p:nvPr>
            <p:custDataLst>
              <p:tags r:id="rId3"/>
            </p:custDataLst>
          </p:nvPr>
        </p:nvSpPr>
        <p:spPr>
          <a:xfrm>
            <a:off x="5596276" y="1656490"/>
            <a:ext cx="1072603" cy="276999"/>
          </a:xfrm>
          <a:prstGeom prst="rect">
            <a:avLst/>
          </a:prstGeom>
          <a:no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pprobation du plan de soutien au pays</a:t>
            </a:r>
          </a:p>
        </p:txBody>
      </p:sp>
      <p:sp>
        <p:nvSpPr>
          <p:cNvPr id="319" name="TextBox 318">
            <a:extLst>
              <a:ext uri="{FF2B5EF4-FFF2-40B4-BE49-F238E27FC236}">
                <a16:creationId xmlns:a16="http://schemas.microsoft.com/office/drawing/2014/main" id="{7DE151D8-2DC4-4632-9646-09EE28F7E390}"/>
              </a:ext>
            </a:extLst>
          </p:cNvPr>
          <p:cNvSpPr txBox="1">
            <a:spLocks/>
          </p:cNvSpPr>
          <p:nvPr>
            <p:custDataLst>
              <p:tags r:id="rId4"/>
            </p:custDataLst>
          </p:nvPr>
        </p:nvSpPr>
        <p:spPr>
          <a:xfrm>
            <a:off x="6841931" y="1656490"/>
            <a:ext cx="1071979" cy="276999"/>
          </a:xfrm>
          <a:prstGeom prst="rect">
            <a:avLst/>
          </a:prstGeom>
          <a:no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planification terminée</a:t>
            </a:r>
          </a:p>
        </p:txBody>
      </p:sp>
      <p:sp>
        <p:nvSpPr>
          <p:cNvPr id="320" name="TextBox 319">
            <a:extLst>
              <a:ext uri="{FF2B5EF4-FFF2-40B4-BE49-F238E27FC236}">
                <a16:creationId xmlns:a16="http://schemas.microsoft.com/office/drawing/2014/main" id="{E64EBF32-F281-4C0F-A55E-6003FE83C275}"/>
              </a:ext>
            </a:extLst>
          </p:cNvPr>
          <p:cNvSpPr txBox="1">
            <a:spLocks/>
          </p:cNvSpPr>
          <p:nvPr>
            <p:custDataLst>
              <p:tags r:id="rId5"/>
            </p:custDataLst>
          </p:nvPr>
        </p:nvSpPr>
        <p:spPr>
          <a:xfrm>
            <a:off x="3114330" y="1656490"/>
            <a:ext cx="1072603" cy="276999"/>
          </a:xfrm>
          <a:prstGeom prst="rect">
            <a:avLst/>
          </a:prstGeom>
          <a:no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lan de soutien au pays élaboré</a:t>
            </a:r>
          </a:p>
        </p:txBody>
      </p:sp>
      <p:sp>
        <p:nvSpPr>
          <p:cNvPr id="321" name="TextBox 320">
            <a:extLst>
              <a:ext uri="{FF2B5EF4-FFF2-40B4-BE49-F238E27FC236}">
                <a16:creationId xmlns:a16="http://schemas.microsoft.com/office/drawing/2014/main" id="{867D7789-2B9B-4A21-AB46-42206B9484B4}"/>
              </a:ext>
            </a:extLst>
          </p:cNvPr>
          <p:cNvSpPr txBox="1">
            <a:spLocks/>
          </p:cNvSpPr>
          <p:nvPr>
            <p:custDataLst>
              <p:tags r:id="rId6"/>
            </p:custDataLst>
          </p:nvPr>
        </p:nvSpPr>
        <p:spPr>
          <a:xfrm>
            <a:off x="4357427" y="1656490"/>
            <a:ext cx="1066463" cy="276999"/>
          </a:xfrm>
          <a:prstGeom prst="rect">
            <a:avLst/>
          </a:prstGeom>
          <a:no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lan de soutien au pays achevé</a:t>
            </a:r>
          </a:p>
        </p:txBody>
      </p:sp>
      <p:sp>
        <p:nvSpPr>
          <p:cNvPr id="322" name="TextBox 321">
            <a:extLst>
              <a:ext uri="{FF2B5EF4-FFF2-40B4-BE49-F238E27FC236}">
                <a16:creationId xmlns:a16="http://schemas.microsoft.com/office/drawing/2014/main" id="{DC488D48-805A-43EB-BAB2-73A97D23F8C1}"/>
              </a:ext>
            </a:extLst>
          </p:cNvPr>
          <p:cNvSpPr txBox="1">
            <a:spLocks/>
          </p:cNvSpPr>
          <p:nvPr>
            <p:custDataLst>
              <p:tags r:id="rId7"/>
            </p:custDataLst>
          </p:nvPr>
        </p:nvSpPr>
        <p:spPr>
          <a:xfrm>
            <a:off x="616503" y="1656490"/>
            <a:ext cx="1012068" cy="276999"/>
          </a:xfrm>
          <a:prstGeom prst="rect">
            <a:avLst/>
          </a:prstGeom>
          <a:no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ombre total d'États membres de l'UA</a:t>
            </a:r>
          </a:p>
        </p:txBody>
      </p:sp>
      <p:sp>
        <p:nvSpPr>
          <p:cNvPr id="328" name="TextBox 327">
            <a:extLst>
              <a:ext uri="{FF2B5EF4-FFF2-40B4-BE49-F238E27FC236}">
                <a16:creationId xmlns:a16="http://schemas.microsoft.com/office/drawing/2014/main" id="{FC7E7E23-B983-4D86-A9E0-3F0B3627AA87}"/>
              </a:ext>
            </a:extLst>
          </p:cNvPr>
          <p:cNvSpPr txBox="1">
            <a:spLocks/>
          </p:cNvSpPr>
          <p:nvPr>
            <p:custDataLst>
              <p:tags r:id="rId8"/>
            </p:custDataLst>
          </p:nvPr>
        </p:nvSpPr>
        <p:spPr>
          <a:xfrm>
            <a:off x="8089519" y="1587240"/>
            <a:ext cx="1066463" cy="415498"/>
          </a:xfrm>
          <a:prstGeom prst="rect">
            <a:avLst/>
          </a:prstGeom>
          <a:no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plan</a:t>
            </a:r>
            <a:br>
              <a:rPr kumimoji="0" lang="en-GB"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pprouvé par la Fondation</a:t>
            </a:r>
          </a:p>
        </p:txBody>
      </p:sp>
      <p:sp>
        <p:nvSpPr>
          <p:cNvPr id="331" name="TextBox 330">
            <a:extLst>
              <a:ext uri="{FF2B5EF4-FFF2-40B4-BE49-F238E27FC236}">
                <a16:creationId xmlns:a16="http://schemas.microsoft.com/office/drawing/2014/main" id="{9CF9F388-6397-4D8B-9C32-C5ADDAD1EDA3}"/>
              </a:ext>
            </a:extLst>
          </p:cNvPr>
          <p:cNvSpPr txBox="1">
            <a:spLocks/>
          </p:cNvSpPr>
          <p:nvPr>
            <p:custDataLst>
              <p:tags r:id="rId9"/>
            </p:custDataLst>
          </p:nvPr>
        </p:nvSpPr>
        <p:spPr>
          <a:xfrm>
            <a:off x="9328215" y="1656490"/>
            <a:ext cx="1066463" cy="276999"/>
          </a:xfrm>
          <a:prstGeom prst="rect">
            <a:avLst/>
          </a:prstGeom>
          <a:no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pprouvé par la direction de l'Africa CDC</a:t>
            </a:r>
          </a:p>
        </p:txBody>
      </p:sp>
      <p:sp>
        <p:nvSpPr>
          <p:cNvPr id="332" name="TextBox 331">
            <a:extLst>
              <a:ext uri="{FF2B5EF4-FFF2-40B4-BE49-F238E27FC236}">
                <a16:creationId xmlns:a16="http://schemas.microsoft.com/office/drawing/2014/main" id="{6A41ABD4-E23C-4953-90CD-C1EED444CE0B}"/>
              </a:ext>
            </a:extLst>
          </p:cNvPr>
          <p:cNvSpPr txBox="1">
            <a:spLocks/>
          </p:cNvSpPr>
          <p:nvPr>
            <p:custDataLst>
              <p:tags r:id="rId10"/>
            </p:custDataLst>
          </p:nvPr>
        </p:nvSpPr>
        <p:spPr>
          <a:xfrm>
            <a:off x="10566506" y="1656490"/>
            <a:ext cx="1075118" cy="276999"/>
          </a:xfrm>
          <a:prstGeom prst="rect">
            <a:avLst/>
          </a:prstGeom>
          <a:no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se en œuvre commencée</a:t>
            </a:r>
          </a:p>
        </p:txBody>
      </p:sp>
      <p:sp>
        <p:nvSpPr>
          <p:cNvPr id="15" name="Rectangle 1" hidden="1">
            <a:extLst>
              <a:ext uri="{FF2B5EF4-FFF2-40B4-BE49-F238E27FC236}">
                <a16:creationId xmlns:a16="http://schemas.microsoft.com/office/drawing/2014/main" id="{BC41E785-E933-43F3-B994-5A8B08E4C69A}"/>
              </a:ext>
            </a:extLst>
          </p:cNvPr>
          <p:cNvSpPr/>
          <p:nvPr>
            <p:custDataLst>
              <p:tags r:id="rId1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28" name="1. On-page tracker">
            <a:extLst>
              <a:ext uri="{FF2B5EF4-FFF2-40B4-BE49-F238E27FC236}">
                <a16:creationId xmlns:a16="http://schemas.microsoft.com/office/drawing/2014/main" id="{D9CFBAD9-C192-403B-8231-211DF510EA0F}"/>
              </a:ext>
            </a:extLst>
          </p:cNvPr>
          <p:cNvSpPr>
            <a:spLocks noGrp="1"/>
          </p:cNvSpPr>
          <p:nvPr>
            <p:ph type="body" sz="quarter" idx="10" hasCustomPrompt="1"/>
            <p:custDataLst>
              <p:tags r:id="rId12"/>
            </p:custDataLst>
          </p:nvPr>
        </p:nvSpPr>
        <p:spPr/>
        <p:txBody>
          <a:bodyPr/>
          <a:lstStyle>
            <a:lvl1pPr rtl="0">
              <a:defRPr lang="en-US" sz="800" b="0" dirty="0">
                <a:cs typeface="+mn-cs"/>
              </a:defRPr>
            </a:lvl1pPr>
          </a:lstStyle>
          <a:p>
            <a:pPr lvl="0" algn="l" rtl="0"/>
            <a:r>
              <a:rPr lang="en-US" dirty="0"/>
              <a:t>1 | APERÇU DU PROGRAMME</a:t>
            </a:r>
          </a:p>
        </p:txBody>
      </p:sp>
      <p:sp>
        <p:nvSpPr>
          <p:cNvPr id="145411" name="2. Slide Title"/>
          <p:cNvSpPr>
            <a:spLocks noGrp="1" noChangeArrowheads="1"/>
          </p:cNvSpPr>
          <p:nvPr>
            <p:ph type="title"/>
            <p:custDataLst>
              <p:tags r:id="rId13"/>
            </p:custDataLst>
          </p:nvPr>
        </p:nvSpPr>
        <p:spPr>
          <a:xfrm>
            <a:off x="554736" y="491303"/>
            <a:ext cx="11082528" cy="384721"/>
          </a:xfrm>
        </p:spPr>
        <p:txBody>
          <a:bodyPr vert="horz"/>
          <a:lstStyle/>
          <a:p>
            <a:pPr algn="l" rtl="0"/>
            <a:r>
              <a:rPr lang="en-US" dirty="0"/>
              <a:t>Aperçu : Mise à jour des progrès du pays</a:t>
            </a:r>
          </a:p>
        </p:txBody>
      </p:sp>
      <p:sp>
        <p:nvSpPr>
          <p:cNvPr id="161" name="Sticker">
            <a:extLst>
              <a:ext uri="{FF2B5EF4-FFF2-40B4-BE49-F238E27FC236}">
                <a16:creationId xmlns:a16="http://schemas.microsoft.com/office/drawing/2014/main" id="{CA4BD42B-2B35-4EB4-9D59-0F4438029135}"/>
              </a:ext>
            </a:extLst>
          </p:cNvPr>
          <p:cNvSpPr txBox="1"/>
          <p:nvPr/>
        </p:nvSpPr>
        <p:spPr>
          <a:xfrm>
            <a:off x="554736" y="1033644"/>
            <a:ext cx="862416" cy="123111"/>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dirty="0">
                <a:solidFill>
                  <a:srgbClr val="000000"/>
                </a:solidFill>
                <a:latin typeface="Arial"/>
              </a:rPr>
              <a:t>En date du 21/07</a:t>
            </a:r>
            <a:r>
              <a:rPr kumimoji="0" lang="en-US" sz="800" b="1" i="0" u="none" strike="noStrike" kern="1200" cap="all" spc="0" normalizeH="0" baseline="0" noProof="0" dirty="0">
                <a:ln>
                  <a:noFill/>
                </a:ln>
                <a:solidFill>
                  <a:srgbClr val="000000"/>
                </a:solidFill>
                <a:effectLst/>
                <a:uLnTx/>
                <a:uFillTx/>
                <a:latin typeface="Arial"/>
                <a:ea typeface="+mn-ea"/>
                <a:cs typeface="+mn-cs"/>
              </a:rPr>
              <a:t>/2023</a:t>
            </a:r>
          </a:p>
        </p:txBody>
      </p:sp>
      <p:cxnSp>
        <p:nvCxnSpPr>
          <p:cNvPr id="261" name="Straight Connector 260">
            <a:extLst>
              <a:ext uri="{FF2B5EF4-FFF2-40B4-BE49-F238E27FC236}">
                <a16:creationId xmlns:a16="http://schemas.microsoft.com/office/drawing/2014/main" id="{191CDE72-2C78-4B09-A2F2-930A03054BA5}"/>
              </a:ext>
            </a:extLst>
          </p:cNvPr>
          <p:cNvCxnSpPr>
            <a:cxnSpLocks/>
          </p:cNvCxnSpPr>
          <p:nvPr/>
        </p:nvCxnSpPr>
        <p:spPr>
          <a:xfrm>
            <a:off x="10476895" y="2043529"/>
            <a:ext cx="0" cy="4371003"/>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ADD47354-EFF9-4EFB-988A-3355A1A817A1}"/>
              </a:ext>
            </a:extLst>
          </p:cNvPr>
          <p:cNvCxnSpPr>
            <a:cxnSpLocks/>
          </p:cNvCxnSpPr>
          <p:nvPr/>
        </p:nvCxnSpPr>
        <p:spPr>
          <a:xfrm>
            <a:off x="1709459" y="2106468"/>
            <a:ext cx="0" cy="4245125"/>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FA5B5918-D10C-4FE9-B3EE-F5F46F6A553A}"/>
              </a:ext>
            </a:extLst>
          </p:cNvPr>
          <p:cNvCxnSpPr>
            <a:cxnSpLocks/>
          </p:cNvCxnSpPr>
          <p:nvPr/>
        </p:nvCxnSpPr>
        <p:spPr>
          <a:xfrm>
            <a:off x="6758645" y="2101080"/>
            <a:ext cx="0" cy="425590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FCC1ACD4-F65D-44B3-9313-37965E74F5EF}"/>
              </a:ext>
            </a:extLst>
          </p:cNvPr>
          <p:cNvCxnSpPr>
            <a:cxnSpLocks/>
          </p:cNvCxnSpPr>
          <p:nvPr/>
        </p:nvCxnSpPr>
        <p:spPr>
          <a:xfrm>
            <a:off x="5504778" y="2090630"/>
            <a:ext cx="0" cy="4276801"/>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7030ECC7-65EC-4B77-A415-40B9FFBD7162}"/>
              </a:ext>
            </a:extLst>
          </p:cNvPr>
          <p:cNvCxnSpPr>
            <a:cxnSpLocks/>
          </p:cNvCxnSpPr>
          <p:nvPr/>
        </p:nvCxnSpPr>
        <p:spPr>
          <a:xfrm>
            <a:off x="4232514" y="2106468"/>
            <a:ext cx="0" cy="4245125"/>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8F8D3642-A7F0-463E-970F-BDFA62D99280}"/>
              </a:ext>
            </a:extLst>
          </p:cNvPr>
          <p:cNvCxnSpPr>
            <a:cxnSpLocks/>
          </p:cNvCxnSpPr>
          <p:nvPr/>
        </p:nvCxnSpPr>
        <p:spPr>
          <a:xfrm>
            <a:off x="3024724" y="2106468"/>
            <a:ext cx="0" cy="4245125"/>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463E3E84-08AA-4AB0-80F6-D3F8341EBE15}"/>
              </a:ext>
            </a:extLst>
          </p:cNvPr>
          <p:cNvCxnSpPr>
            <a:cxnSpLocks/>
          </p:cNvCxnSpPr>
          <p:nvPr/>
        </p:nvCxnSpPr>
        <p:spPr>
          <a:xfrm>
            <a:off x="9231640" y="2043529"/>
            <a:ext cx="0" cy="4371003"/>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811B1357-6655-46DE-BD48-9F3A2BBB8D40}"/>
              </a:ext>
            </a:extLst>
          </p:cNvPr>
          <p:cNvCxnSpPr>
            <a:cxnSpLocks/>
          </p:cNvCxnSpPr>
          <p:nvPr/>
        </p:nvCxnSpPr>
        <p:spPr>
          <a:xfrm>
            <a:off x="7999913" y="2047958"/>
            <a:ext cx="0" cy="4362145"/>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6" name="TextBox 195">
            <a:extLst>
              <a:ext uri="{FF2B5EF4-FFF2-40B4-BE49-F238E27FC236}">
                <a16:creationId xmlns:a16="http://schemas.microsoft.com/office/drawing/2014/main" id="{6C8D6B5B-D93E-456E-A756-D71D4E031ECF}"/>
              </a:ext>
            </a:extLst>
          </p:cNvPr>
          <p:cNvSpPr txBox="1">
            <a:spLocks/>
          </p:cNvSpPr>
          <p:nvPr/>
        </p:nvSpPr>
        <p:spPr>
          <a:xfrm>
            <a:off x="8049630" y="1233546"/>
            <a:ext cx="155863" cy="155448"/>
          </a:xfrm>
          <a:prstGeom prst="rect">
            <a:avLst/>
          </a:prstGeom>
          <a:solidFill>
            <a:schemeClr val="accent2"/>
          </a:solidFill>
        </p:spPr>
        <p:txBody>
          <a:bodyPr vert="horz" wrap="square" lIns="18288" tIns="18288" rIns="18288" bIns="18288" rtlCol="0">
            <a:no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9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endParaRPr>
          </a:p>
        </p:txBody>
      </p:sp>
      <p:sp>
        <p:nvSpPr>
          <p:cNvPr id="202" name="TextBox 201">
            <a:extLst>
              <a:ext uri="{FF2B5EF4-FFF2-40B4-BE49-F238E27FC236}">
                <a16:creationId xmlns:a16="http://schemas.microsoft.com/office/drawing/2014/main" id="{DDD8FC80-872D-4FAF-BD89-6CFC9088C2BD}"/>
              </a:ext>
            </a:extLst>
          </p:cNvPr>
          <p:cNvSpPr txBox="1"/>
          <p:nvPr/>
        </p:nvSpPr>
        <p:spPr>
          <a:xfrm>
            <a:off x="8239434" y="1234326"/>
            <a:ext cx="1417055" cy="153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p 5 des États membres les plus peuplés</a:t>
            </a:r>
          </a:p>
        </p:txBody>
      </p:sp>
      <p:sp>
        <p:nvSpPr>
          <p:cNvPr id="198" name="TextBox 197">
            <a:extLst>
              <a:ext uri="{FF2B5EF4-FFF2-40B4-BE49-F238E27FC236}">
                <a16:creationId xmlns:a16="http://schemas.microsoft.com/office/drawing/2014/main" id="{AFC3E07B-4E66-4104-812E-B2141992CC4A}"/>
              </a:ext>
            </a:extLst>
          </p:cNvPr>
          <p:cNvSpPr txBox="1">
            <a:spLocks/>
          </p:cNvSpPr>
          <p:nvPr/>
        </p:nvSpPr>
        <p:spPr>
          <a:xfrm>
            <a:off x="9856688" y="1233546"/>
            <a:ext cx="155863" cy="155448"/>
          </a:xfrm>
          <a:prstGeom prst="rect">
            <a:avLst/>
          </a:prstGeom>
          <a:solidFill>
            <a:srgbClr val="D0D0D0"/>
          </a:solidFill>
        </p:spPr>
        <p:txBody>
          <a:bodyPr vert="horz" wrap="square" lIns="0" tIns="0" rIns="0" bIns="0" rtlCol="0">
            <a:no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9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endParaRPr>
          </a:p>
        </p:txBody>
      </p:sp>
      <p:sp>
        <p:nvSpPr>
          <p:cNvPr id="204" name="TextBox 203">
            <a:extLst>
              <a:ext uri="{FF2B5EF4-FFF2-40B4-BE49-F238E27FC236}">
                <a16:creationId xmlns:a16="http://schemas.microsoft.com/office/drawing/2014/main" id="{66DC0CCE-60C9-4845-96D0-50573790BC6D}"/>
              </a:ext>
            </a:extLst>
          </p:cNvPr>
          <p:cNvSpPr txBox="1"/>
          <p:nvPr/>
        </p:nvSpPr>
        <p:spPr>
          <a:xfrm>
            <a:off x="10046492" y="1234326"/>
            <a:ext cx="1590772" cy="153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S avec couverture Vx &lt; 10 %</a:t>
            </a:r>
          </a:p>
        </p:txBody>
      </p:sp>
      <p:sp>
        <p:nvSpPr>
          <p:cNvPr id="334" name="TextBox 333">
            <a:extLst>
              <a:ext uri="{FF2B5EF4-FFF2-40B4-BE49-F238E27FC236}">
                <a16:creationId xmlns:a16="http://schemas.microsoft.com/office/drawing/2014/main" id="{D277A529-25AF-4ED0-BF99-4D0EAE6FC77A}"/>
              </a:ext>
            </a:extLst>
          </p:cNvPr>
          <p:cNvSpPr txBox="1">
            <a:spLocks/>
          </p:cNvSpPr>
          <p:nvPr/>
        </p:nvSpPr>
        <p:spPr>
          <a:xfrm>
            <a:off x="554736" y="1259726"/>
            <a:ext cx="11082528"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mbre total d’États membres de l’UA ayant franchi chaque étape</a:t>
            </a:r>
          </a:p>
        </p:txBody>
      </p:sp>
      <p:sp>
        <p:nvSpPr>
          <p:cNvPr id="242" name="TextBox 241">
            <a:extLst>
              <a:ext uri="{FF2B5EF4-FFF2-40B4-BE49-F238E27FC236}">
                <a16:creationId xmlns:a16="http://schemas.microsoft.com/office/drawing/2014/main" id="{C92FBD77-63D2-401D-84B9-D36B7EACEAB7}"/>
              </a:ext>
            </a:extLst>
          </p:cNvPr>
          <p:cNvSpPr txBox="1">
            <a:spLocks/>
          </p:cNvSpPr>
          <p:nvPr>
            <p:custDataLst>
              <p:tags r:id="rId14"/>
            </p:custDataLst>
          </p:nvPr>
        </p:nvSpPr>
        <p:spPr>
          <a:xfrm>
            <a:off x="667445" y="4602865"/>
            <a:ext cx="848417" cy="48474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S n'est pas encore engagé avec SLL</a:t>
            </a:r>
          </a:p>
        </p:txBody>
      </p:sp>
      <p:cxnSp>
        <p:nvCxnSpPr>
          <p:cNvPr id="62" name="Straight Connector 61">
            <a:extLst>
              <a:ext uri="{FF2B5EF4-FFF2-40B4-BE49-F238E27FC236}">
                <a16:creationId xmlns:a16="http://schemas.microsoft.com/office/drawing/2014/main" id="{C4272F6D-DBFE-42A3-93C2-4EC0A00AB932}"/>
              </a:ext>
            </a:extLst>
          </p:cNvPr>
          <p:cNvCxnSpPr>
            <a:cxnSpLocks/>
          </p:cNvCxnSpPr>
          <p:nvPr/>
        </p:nvCxnSpPr>
        <p:spPr>
          <a:xfrm>
            <a:off x="554736" y="4429092"/>
            <a:ext cx="1073835"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9A47702-A689-4949-8A49-478C30D952F8}"/>
              </a:ext>
            </a:extLst>
          </p:cNvPr>
          <p:cNvGrpSpPr/>
          <p:nvPr/>
        </p:nvGrpSpPr>
        <p:grpSpPr>
          <a:xfrm>
            <a:off x="975571" y="4313010"/>
            <a:ext cx="232164" cy="232164"/>
            <a:chOff x="1034647" y="4361697"/>
            <a:chExt cx="232164" cy="232164"/>
          </a:xfrm>
        </p:grpSpPr>
        <p:sp>
          <p:nvSpPr>
            <p:cNvPr id="64" name="Oval 63">
              <a:extLst>
                <a:ext uri="{FF2B5EF4-FFF2-40B4-BE49-F238E27FC236}">
                  <a16:creationId xmlns:a16="http://schemas.microsoft.com/office/drawing/2014/main" id="{FF1E0AAE-1AC5-4941-B709-ACE2E9A3359C}"/>
                </a:ext>
              </a:extLst>
            </p:cNvPr>
            <p:cNvSpPr/>
            <p:nvPr/>
          </p:nvSpPr>
          <p:spPr>
            <a:xfrm rot="5400000">
              <a:off x="1034647" y="4361697"/>
              <a:ext cx="232164" cy="23216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67" name="Graphic 66">
              <a:extLst>
                <a:ext uri="{FF2B5EF4-FFF2-40B4-BE49-F238E27FC236}">
                  <a16:creationId xmlns:a16="http://schemas.microsoft.com/office/drawing/2014/main" id="{81C36312-CEA7-4EDC-A42A-BE3CF77F5291}"/>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rot="5400000">
              <a:off x="1036814" y="4366158"/>
              <a:ext cx="223241" cy="223241"/>
            </a:xfrm>
            <a:prstGeom prst="rect">
              <a:avLst/>
            </a:prstGeom>
          </p:spPr>
        </p:pic>
      </p:grpSp>
      <p:grpSp>
        <p:nvGrpSpPr>
          <p:cNvPr id="36" name="Group 35">
            <a:extLst>
              <a:ext uri="{FF2B5EF4-FFF2-40B4-BE49-F238E27FC236}">
                <a16:creationId xmlns:a16="http://schemas.microsoft.com/office/drawing/2014/main" id="{5415C22D-5492-736A-1199-D221F88BA9EA}"/>
              </a:ext>
            </a:extLst>
          </p:cNvPr>
          <p:cNvGrpSpPr/>
          <p:nvPr/>
        </p:nvGrpSpPr>
        <p:grpSpPr>
          <a:xfrm>
            <a:off x="4353068" y="2153404"/>
            <a:ext cx="651797" cy="315736"/>
            <a:chOff x="4337214" y="2749076"/>
            <a:chExt cx="651797" cy="315736"/>
          </a:xfrm>
        </p:grpSpPr>
        <p:sp>
          <p:nvSpPr>
            <p:cNvPr id="270" name="TextBox 269">
              <a:extLst>
                <a:ext uri="{FF2B5EF4-FFF2-40B4-BE49-F238E27FC236}">
                  <a16:creationId xmlns:a16="http://schemas.microsoft.com/office/drawing/2014/main" id="{5FAF30D2-FDE6-494E-9880-1E408244B404}"/>
                </a:ext>
              </a:extLst>
            </p:cNvPr>
            <p:cNvSpPr txBox="1">
              <a:spLocks/>
            </p:cNvSpPr>
            <p:nvPr>
              <p:custDataLst>
                <p:tags r:id="rId57"/>
              </p:custDataLst>
            </p:nvPr>
          </p:nvSpPr>
          <p:spPr>
            <a:xfrm>
              <a:off x="4703675" y="2753056"/>
              <a:ext cx="285336" cy="307777"/>
            </a:xfrm>
            <a:prstGeom prst="rect">
              <a:avLst/>
            </a:prstGeom>
            <a:ln>
              <a:noFill/>
            </a:ln>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p>
          </p:txBody>
        </p:sp>
        <p:pic>
          <p:nvPicPr>
            <p:cNvPr id="271" name="CustomIcon">
              <a:extLst>
                <a:ext uri="{FF2B5EF4-FFF2-40B4-BE49-F238E27FC236}">
                  <a16:creationId xmlns:a16="http://schemas.microsoft.com/office/drawing/2014/main" id="{E43A2D33-C088-4693-B9A9-440334143652}"/>
                </a:ext>
              </a:extLst>
            </p:cNvPr>
            <p:cNvPicPr>
              <a:picLocks/>
            </p:cNvPicPr>
            <p:nvPr>
              <p:custDataLst>
                <p:tags r:id="rId58"/>
              </p:custDataLst>
            </p:nvPr>
          </p:nvPicPr>
          <p:blipFill>
            <a:blip r:embed="rId64" cstate="email">
              <a:extLst>
                <a:ext uri="{28A0092B-C50C-407E-A947-70E740481C1C}">
                  <a14:useLocalDpi xmlns:a14="http://schemas.microsoft.com/office/drawing/2010/main"/>
                </a:ext>
                <a:ext uri="{96DAC541-7B7A-43D3-8B79-37D633B846F1}">
                  <asvg:svgBlip xmlns:asvg="http://schemas.microsoft.com/office/drawing/2016/SVG/main" r:embed="rId65"/>
                </a:ext>
              </a:extLst>
            </a:blip>
            <a:stretch>
              <a:fillRect/>
            </a:stretch>
          </p:blipFill>
          <p:spPr>
            <a:xfrm>
              <a:off x="4337214" y="2749076"/>
              <a:ext cx="305887" cy="315736"/>
            </a:xfrm>
            <a:prstGeom prst="rect">
              <a:avLst/>
            </a:prstGeom>
          </p:spPr>
        </p:pic>
      </p:grpSp>
      <p:grpSp>
        <p:nvGrpSpPr>
          <p:cNvPr id="40" name="Group 39">
            <a:extLst>
              <a:ext uri="{FF2B5EF4-FFF2-40B4-BE49-F238E27FC236}">
                <a16:creationId xmlns:a16="http://schemas.microsoft.com/office/drawing/2014/main" id="{7823AD8B-25D9-6BC5-2D70-687A8E52A271}"/>
              </a:ext>
            </a:extLst>
          </p:cNvPr>
          <p:cNvGrpSpPr/>
          <p:nvPr/>
        </p:nvGrpSpPr>
        <p:grpSpPr>
          <a:xfrm>
            <a:off x="1794706" y="2209212"/>
            <a:ext cx="651796" cy="315736"/>
            <a:chOff x="1848196" y="2749076"/>
            <a:chExt cx="651796" cy="315736"/>
          </a:xfrm>
        </p:grpSpPr>
        <p:pic>
          <p:nvPicPr>
            <p:cNvPr id="273" name="CustomIcon">
              <a:extLst>
                <a:ext uri="{FF2B5EF4-FFF2-40B4-BE49-F238E27FC236}">
                  <a16:creationId xmlns:a16="http://schemas.microsoft.com/office/drawing/2014/main" id="{0F3FE879-6753-44E2-824B-46BE2DFB6715}"/>
                </a:ext>
              </a:extLst>
            </p:cNvPr>
            <p:cNvPicPr>
              <a:picLocks/>
            </p:cNvPicPr>
            <p:nvPr>
              <p:custDataLst>
                <p:tags r:id="rId55"/>
              </p:custDataLst>
            </p:nvPr>
          </p:nvPicPr>
          <p:blipFill>
            <a:blip r:embed="rId66" cstate="email">
              <a:extLst>
                <a:ext uri="{28A0092B-C50C-407E-A947-70E740481C1C}">
                  <a14:useLocalDpi xmlns:a14="http://schemas.microsoft.com/office/drawing/2010/main"/>
                </a:ext>
                <a:ext uri="{96DAC541-7B7A-43D3-8B79-37D633B846F1}">
                  <asvg:svgBlip xmlns:asvg="http://schemas.microsoft.com/office/drawing/2016/SVG/main" r:embed="rId67"/>
                </a:ext>
              </a:extLst>
            </a:blip>
            <a:stretch>
              <a:fillRect/>
            </a:stretch>
          </p:blipFill>
          <p:spPr>
            <a:xfrm>
              <a:off x="1848196" y="2749076"/>
              <a:ext cx="305887" cy="315736"/>
            </a:xfrm>
            <a:prstGeom prst="rect">
              <a:avLst/>
            </a:prstGeom>
          </p:spPr>
        </p:pic>
        <p:sp>
          <p:nvSpPr>
            <p:cNvPr id="274" name="TextBox 273">
              <a:extLst>
                <a:ext uri="{FF2B5EF4-FFF2-40B4-BE49-F238E27FC236}">
                  <a16:creationId xmlns:a16="http://schemas.microsoft.com/office/drawing/2014/main" id="{661FA740-231A-4633-B553-F3E5362BD2F2}"/>
                </a:ext>
              </a:extLst>
            </p:cNvPr>
            <p:cNvSpPr txBox="1">
              <a:spLocks/>
            </p:cNvSpPr>
            <p:nvPr>
              <p:custDataLst>
                <p:tags r:id="rId56"/>
              </p:custDataLst>
            </p:nvPr>
          </p:nvSpPr>
          <p:spPr>
            <a:xfrm>
              <a:off x="2214656" y="2753056"/>
              <a:ext cx="285336" cy="307777"/>
            </a:xfrm>
            <a:prstGeom prst="rect">
              <a:avLst/>
            </a:prstGeom>
            <a:ln>
              <a:noFill/>
            </a:ln>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4</a:t>
              </a:r>
            </a:p>
          </p:txBody>
        </p:sp>
      </p:grpSp>
      <p:grpSp>
        <p:nvGrpSpPr>
          <p:cNvPr id="38" name="Group 37">
            <a:extLst>
              <a:ext uri="{FF2B5EF4-FFF2-40B4-BE49-F238E27FC236}">
                <a16:creationId xmlns:a16="http://schemas.microsoft.com/office/drawing/2014/main" id="{A143A9FF-51A2-3D9A-2713-8D62E73B81F2}"/>
              </a:ext>
            </a:extLst>
          </p:cNvPr>
          <p:cNvGrpSpPr/>
          <p:nvPr/>
        </p:nvGrpSpPr>
        <p:grpSpPr>
          <a:xfrm>
            <a:off x="3109971" y="2181308"/>
            <a:ext cx="651795" cy="315736"/>
            <a:chOff x="3091226" y="2749076"/>
            <a:chExt cx="651795" cy="315736"/>
          </a:xfrm>
        </p:grpSpPr>
        <p:sp>
          <p:nvSpPr>
            <p:cNvPr id="276" name="TextBox 275">
              <a:extLst>
                <a:ext uri="{FF2B5EF4-FFF2-40B4-BE49-F238E27FC236}">
                  <a16:creationId xmlns:a16="http://schemas.microsoft.com/office/drawing/2014/main" id="{5D4494F4-EB37-4F9B-BD6A-6176760E0FB7}"/>
                </a:ext>
              </a:extLst>
            </p:cNvPr>
            <p:cNvSpPr txBox="1">
              <a:spLocks/>
            </p:cNvSpPr>
            <p:nvPr>
              <p:custDataLst>
                <p:tags r:id="rId53"/>
              </p:custDataLst>
            </p:nvPr>
          </p:nvSpPr>
          <p:spPr>
            <a:xfrm>
              <a:off x="3457685" y="2753056"/>
              <a:ext cx="285336" cy="307777"/>
            </a:xfrm>
            <a:prstGeom prst="rect">
              <a:avLst/>
            </a:prstGeom>
            <a:ln>
              <a:noFill/>
            </a:ln>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2000" b="1" dirty="0">
                  <a:solidFill>
                    <a:srgbClr val="000000"/>
                  </a:solidFill>
                  <a:latin typeface="Arial" panose="020B0604020202020204" pitchFamily="34" charset="0"/>
                </a:rPr>
                <a:t>50</a:t>
              </a:r>
              <a:endPar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77" name="CustomIcon">
              <a:extLst>
                <a:ext uri="{FF2B5EF4-FFF2-40B4-BE49-F238E27FC236}">
                  <a16:creationId xmlns:a16="http://schemas.microsoft.com/office/drawing/2014/main" id="{6F083907-DD0D-454B-B925-74021D867219}"/>
                </a:ext>
              </a:extLst>
            </p:cNvPr>
            <p:cNvPicPr>
              <a:picLocks/>
            </p:cNvPicPr>
            <p:nvPr>
              <p:custDataLst>
                <p:tags r:id="rId54"/>
              </p:custDataLst>
            </p:nvPr>
          </p:nvPicPr>
          <p:blipFill>
            <a:blip r:embed="rId68" cstate="email">
              <a:extLst>
                <a:ext uri="{28A0092B-C50C-407E-A947-70E740481C1C}">
                  <a14:useLocalDpi xmlns:a14="http://schemas.microsoft.com/office/drawing/2010/main"/>
                </a:ext>
                <a:ext uri="{96DAC541-7B7A-43D3-8B79-37D633B846F1}">
                  <asvg:svgBlip xmlns:asvg="http://schemas.microsoft.com/office/drawing/2016/SVG/main" r:embed="rId69"/>
                </a:ext>
              </a:extLst>
            </a:blip>
            <a:stretch>
              <a:fillRect/>
            </a:stretch>
          </p:blipFill>
          <p:spPr>
            <a:xfrm>
              <a:off x="3091226" y="2749076"/>
              <a:ext cx="305886" cy="315736"/>
            </a:xfrm>
            <a:prstGeom prst="rect">
              <a:avLst/>
            </a:prstGeom>
          </p:spPr>
        </p:pic>
      </p:grpSp>
      <p:grpSp>
        <p:nvGrpSpPr>
          <p:cNvPr id="43" name="Group 42">
            <a:extLst>
              <a:ext uri="{FF2B5EF4-FFF2-40B4-BE49-F238E27FC236}">
                <a16:creationId xmlns:a16="http://schemas.microsoft.com/office/drawing/2014/main" id="{4B2F29DD-5D36-5D07-F24F-B8813273E8AD}"/>
              </a:ext>
            </a:extLst>
          </p:cNvPr>
          <p:cNvGrpSpPr/>
          <p:nvPr/>
        </p:nvGrpSpPr>
        <p:grpSpPr>
          <a:xfrm>
            <a:off x="554736" y="2237116"/>
            <a:ext cx="651795" cy="315736"/>
            <a:chOff x="605896" y="2749076"/>
            <a:chExt cx="651795" cy="315736"/>
          </a:xfrm>
        </p:grpSpPr>
        <p:sp>
          <p:nvSpPr>
            <p:cNvPr id="283" name="TextBox 282">
              <a:extLst>
                <a:ext uri="{FF2B5EF4-FFF2-40B4-BE49-F238E27FC236}">
                  <a16:creationId xmlns:a16="http://schemas.microsoft.com/office/drawing/2014/main" id="{29317518-E37B-4966-9217-E00521EE3C44}"/>
                </a:ext>
              </a:extLst>
            </p:cNvPr>
            <p:cNvSpPr txBox="1">
              <a:spLocks/>
            </p:cNvSpPr>
            <p:nvPr>
              <p:custDataLst>
                <p:tags r:id="rId52"/>
              </p:custDataLst>
            </p:nvPr>
          </p:nvSpPr>
          <p:spPr>
            <a:xfrm>
              <a:off x="972356" y="2753056"/>
              <a:ext cx="285335" cy="307777"/>
            </a:xfrm>
            <a:prstGeom prst="rect">
              <a:avLst/>
            </a:prstGeom>
            <a:ln>
              <a:noFill/>
            </a:ln>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5</a:t>
              </a:r>
            </a:p>
          </p:txBody>
        </p:sp>
        <p:pic>
          <p:nvPicPr>
            <p:cNvPr id="284" name="Graphic 283">
              <a:extLst>
                <a:ext uri="{FF2B5EF4-FFF2-40B4-BE49-F238E27FC236}">
                  <a16:creationId xmlns:a16="http://schemas.microsoft.com/office/drawing/2014/main" id="{550A9E31-1BB7-4FE1-9327-18063DC4F2E9}"/>
                </a:ext>
              </a:extLst>
            </p:cNvPr>
            <p:cNvPicPr>
              <a:picLocks/>
            </p:cNvPicPr>
            <p:nvPr/>
          </p:nvPicPr>
          <p:blipFill>
            <a:blip r:embed="rId70">
              <a:extLst>
                <a:ext uri="{96DAC541-7B7A-43D3-8B79-37D633B846F1}">
                  <asvg:svgBlip xmlns:asvg="http://schemas.microsoft.com/office/drawing/2016/SVG/main" r:embed="rId71"/>
                </a:ext>
              </a:extLst>
            </a:blip>
            <a:stretch>
              <a:fillRect/>
            </a:stretch>
          </p:blipFill>
          <p:spPr>
            <a:xfrm>
              <a:off x="605896" y="2749076"/>
              <a:ext cx="305886" cy="315736"/>
            </a:xfrm>
            <a:prstGeom prst="rect">
              <a:avLst/>
            </a:prstGeom>
          </p:spPr>
        </p:pic>
      </p:grpSp>
      <p:grpSp>
        <p:nvGrpSpPr>
          <p:cNvPr id="29" name="Group 28">
            <a:extLst>
              <a:ext uri="{FF2B5EF4-FFF2-40B4-BE49-F238E27FC236}">
                <a16:creationId xmlns:a16="http://schemas.microsoft.com/office/drawing/2014/main" id="{F82C6A65-4603-D67C-6207-09ABB4E537C0}"/>
              </a:ext>
            </a:extLst>
          </p:cNvPr>
          <p:cNvGrpSpPr/>
          <p:nvPr/>
        </p:nvGrpSpPr>
        <p:grpSpPr>
          <a:xfrm>
            <a:off x="9323856" y="2048030"/>
            <a:ext cx="677309" cy="315736"/>
            <a:chOff x="9309333" y="2591848"/>
            <a:chExt cx="677309" cy="315736"/>
          </a:xfrm>
        </p:grpSpPr>
        <p:pic>
          <p:nvPicPr>
            <p:cNvPr id="286" name="CustomIcon">
              <a:extLst>
                <a:ext uri="{FF2B5EF4-FFF2-40B4-BE49-F238E27FC236}">
                  <a16:creationId xmlns:a16="http://schemas.microsoft.com/office/drawing/2014/main" id="{173D59CA-E21C-456A-A369-1835C89AC71A}"/>
                </a:ext>
              </a:extLst>
            </p:cNvPr>
            <p:cNvPicPr>
              <a:picLocks/>
            </p:cNvPicPr>
            <p:nvPr>
              <p:custDataLst>
                <p:tags r:id="rId50"/>
              </p:custDataLst>
            </p:nvPr>
          </p:nvPicPr>
          <p:blipFill>
            <a:blip r:embed="rId72" cstate="email">
              <a:extLst>
                <a:ext uri="{28A0092B-C50C-407E-A947-70E740481C1C}">
                  <a14:useLocalDpi xmlns:a14="http://schemas.microsoft.com/office/drawing/2010/main"/>
                </a:ext>
                <a:ext uri="{96DAC541-7B7A-43D3-8B79-37D633B846F1}">
                  <asvg:svgBlip xmlns:asvg="http://schemas.microsoft.com/office/drawing/2016/SVG/main" r:embed="rId73"/>
                </a:ext>
              </a:extLst>
            </a:blip>
            <a:stretch>
              <a:fillRect/>
            </a:stretch>
          </p:blipFill>
          <p:spPr>
            <a:xfrm>
              <a:off x="9309333" y="2591848"/>
              <a:ext cx="331401" cy="315736"/>
            </a:xfrm>
            <a:prstGeom prst="rect">
              <a:avLst/>
            </a:prstGeom>
          </p:spPr>
        </p:pic>
        <p:sp>
          <p:nvSpPr>
            <p:cNvPr id="287" name="TextBox 286">
              <a:extLst>
                <a:ext uri="{FF2B5EF4-FFF2-40B4-BE49-F238E27FC236}">
                  <a16:creationId xmlns:a16="http://schemas.microsoft.com/office/drawing/2014/main" id="{55B142E8-CFC7-4398-BF64-78729E57A319}"/>
                </a:ext>
              </a:extLst>
            </p:cNvPr>
            <p:cNvSpPr txBox="1">
              <a:spLocks/>
            </p:cNvSpPr>
            <p:nvPr>
              <p:custDataLst>
                <p:tags r:id="rId51"/>
              </p:custDataLst>
            </p:nvPr>
          </p:nvSpPr>
          <p:spPr>
            <a:xfrm>
              <a:off x="9701307" y="2595828"/>
              <a:ext cx="285335" cy="307777"/>
            </a:xfrm>
            <a:prstGeom prst="rect">
              <a:avLst/>
            </a:prstGeom>
            <a:ln>
              <a:noFill/>
            </a:ln>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1</a:t>
              </a:r>
            </a:p>
          </p:txBody>
        </p:sp>
      </p:grpSp>
      <p:grpSp>
        <p:nvGrpSpPr>
          <p:cNvPr id="31" name="Group 30">
            <a:extLst>
              <a:ext uri="{FF2B5EF4-FFF2-40B4-BE49-F238E27FC236}">
                <a16:creationId xmlns:a16="http://schemas.microsoft.com/office/drawing/2014/main" id="{FC001880-311F-7197-FF7D-4AAD0E8E7422}"/>
              </a:ext>
            </a:extLst>
          </p:cNvPr>
          <p:cNvGrpSpPr/>
          <p:nvPr/>
        </p:nvGrpSpPr>
        <p:grpSpPr>
          <a:xfrm>
            <a:off x="8085160" y="2075934"/>
            <a:ext cx="651796" cy="332072"/>
            <a:chOff x="8063344" y="2658361"/>
            <a:chExt cx="651796" cy="332072"/>
          </a:xfrm>
        </p:grpSpPr>
        <p:pic>
          <p:nvPicPr>
            <p:cNvPr id="292" name="CustomIcon">
              <a:extLst>
                <a:ext uri="{FF2B5EF4-FFF2-40B4-BE49-F238E27FC236}">
                  <a16:creationId xmlns:a16="http://schemas.microsoft.com/office/drawing/2014/main" id="{6FE1F82D-9573-4F8F-84D2-56D5D255D11B}"/>
                </a:ext>
              </a:extLst>
            </p:cNvPr>
            <p:cNvPicPr>
              <a:picLocks/>
            </p:cNvPicPr>
            <p:nvPr>
              <p:custDataLst>
                <p:tags r:id="rId48"/>
              </p:custDataLst>
            </p:nvPr>
          </p:nvPicPr>
          <p:blipFill>
            <a:blip r:embed="rId74" cstate="email">
              <a:extLst>
                <a:ext uri="{28A0092B-C50C-407E-A947-70E740481C1C}">
                  <a14:useLocalDpi xmlns:a14="http://schemas.microsoft.com/office/drawing/2010/main"/>
                </a:ext>
                <a:ext uri="{96DAC541-7B7A-43D3-8B79-37D633B846F1}">
                  <asvg:svgBlip xmlns:asvg="http://schemas.microsoft.com/office/drawing/2016/SVG/main" r:embed="rId75"/>
                </a:ext>
              </a:extLst>
            </a:blip>
            <a:stretch>
              <a:fillRect/>
            </a:stretch>
          </p:blipFill>
          <p:spPr>
            <a:xfrm>
              <a:off x="8063344" y="2658361"/>
              <a:ext cx="305886" cy="332072"/>
            </a:xfrm>
            <a:prstGeom prst="rect">
              <a:avLst/>
            </a:prstGeom>
          </p:spPr>
        </p:pic>
        <p:sp>
          <p:nvSpPr>
            <p:cNvPr id="293" name="TextBox 292">
              <a:extLst>
                <a:ext uri="{FF2B5EF4-FFF2-40B4-BE49-F238E27FC236}">
                  <a16:creationId xmlns:a16="http://schemas.microsoft.com/office/drawing/2014/main" id="{5A014EC8-4BD0-47F2-9CC7-C1F185060774}"/>
                </a:ext>
              </a:extLst>
            </p:cNvPr>
            <p:cNvSpPr txBox="1">
              <a:spLocks/>
            </p:cNvSpPr>
            <p:nvPr>
              <p:custDataLst>
                <p:tags r:id="rId49"/>
              </p:custDataLst>
            </p:nvPr>
          </p:nvSpPr>
          <p:spPr>
            <a:xfrm>
              <a:off x="8429804" y="2670509"/>
              <a:ext cx="285336" cy="307777"/>
            </a:xfrm>
            <a:prstGeom prst="rect">
              <a:avLst/>
            </a:prstGeom>
            <a:ln>
              <a:noFill/>
            </a:ln>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p>
          </p:txBody>
        </p:sp>
      </p:grpSp>
      <p:grpSp>
        <p:nvGrpSpPr>
          <p:cNvPr id="35" name="Group 34">
            <a:extLst>
              <a:ext uri="{FF2B5EF4-FFF2-40B4-BE49-F238E27FC236}">
                <a16:creationId xmlns:a16="http://schemas.microsoft.com/office/drawing/2014/main" id="{5D845138-4861-45EE-4915-77D753FFA0EE}"/>
              </a:ext>
            </a:extLst>
          </p:cNvPr>
          <p:cNvGrpSpPr/>
          <p:nvPr/>
        </p:nvGrpSpPr>
        <p:grpSpPr>
          <a:xfrm>
            <a:off x="5591917" y="2125500"/>
            <a:ext cx="651796" cy="315736"/>
            <a:chOff x="5577285" y="2674783"/>
            <a:chExt cx="651796" cy="315736"/>
          </a:xfrm>
        </p:grpSpPr>
        <p:pic>
          <p:nvPicPr>
            <p:cNvPr id="301" name="CustomIcon">
              <a:extLst>
                <a:ext uri="{FF2B5EF4-FFF2-40B4-BE49-F238E27FC236}">
                  <a16:creationId xmlns:a16="http://schemas.microsoft.com/office/drawing/2014/main" id="{532F21F0-69C6-4EBE-9C6C-B97822DD09CF}"/>
                </a:ext>
              </a:extLst>
            </p:cNvPr>
            <p:cNvPicPr>
              <a:picLocks/>
            </p:cNvPicPr>
            <p:nvPr>
              <p:custDataLst>
                <p:tags r:id="rId46"/>
              </p:custDataLst>
            </p:nvPr>
          </p:nvPicPr>
          <p:blipFill>
            <a:blip r:embed="rId74" cstate="email">
              <a:extLst>
                <a:ext uri="{28A0092B-C50C-407E-A947-70E740481C1C}">
                  <a14:useLocalDpi xmlns:a14="http://schemas.microsoft.com/office/drawing/2010/main"/>
                </a:ext>
                <a:ext uri="{96DAC541-7B7A-43D3-8B79-37D633B846F1}">
                  <asvg:svgBlip xmlns:asvg="http://schemas.microsoft.com/office/drawing/2016/SVG/main" r:embed="rId75"/>
                </a:ext>
              </a:extLst>
            </a:blip>
            <a:stretch>
              <a:fillRect/>
            </a:stretch>
          </p:blipFill>
          <p:spPr>
            <a:xfrm>
              <a:off x="5577285" y="2674783"/>
              <a:ext cx="305886" cy="315736"/>
            </a:xfrm>
            <a:prstGeom prst="rect">
              <a:avLst/>
            </a:prstGeom>
          </p:spPr>
        </p:pic>
        <p:sp>
          <p:nvSpPr>
            <p:cNvPr id="302" name="TextBox 301">
              <a:extLst>
                <a:ext uri="{FF2B5EF4-FFF2-40B4-BE49-F238E27FC236}">
                  <a16:creationId xmlns:a16="http://schemas.microsoft.com/office/drawing/2014/main" id="{FE0010C9-3B7E-4D2C-91F5-8ECFA25803BA}"/>
                </a:ext>
              </a:extLst>
            </p:cNvPr>
            <p:cNvSpPr txBox="1">
              <a:spLocks/>
            </p:cNvSpPr>
            <p:nvPr>
              <p:custDataLst>
                <p:tags r:id="rId47"/>
              </p:custDataLst>
            </p:nvPr>
          </p:nvSpPr>
          <p:spPr>
            <a:xfrm>
              <a:off x="5943745" y="2678763"/>
              <a:ext cx="285336" cy="307777"/>
            </a:xfrm>
            <a:prstGeom prst="rect">
              <a:avLst/>
            </a:prstGeom>
            <a:ln>
              <a:noFill/>
            </a:ln>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p>
          </p:txBody>
        </p:sp>
      </p:grpSp>
      <p:sp>
        <p:nvSpPr>
          <p:cNvPr id="37" name="TextBox 36">
            <a:extLst>
              <a:ext uri="{FF2B5EF4-FFF2-40B4-BE49-F238E27FC236}">
                <a16:creationId xmlns:a16="http://schemas.microsoft.com/office/drawing/2014/main" id="{CC49BD19-E928-4DE4-B8C2-64141AAFE25E}"/>
              </a:ext>
            </a:extLst>
          </p:cNvPr>
          <p:cNvSpPr txBox="1">
            <a:spLocks/>
          </p:cNvSpPr>
          <p:nvPr/>
        </p:nvSpPr>
        <p:spPr>
          <a:xfrm>
            <a:off x="763871" y="2660234"/>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Érythrée</a:t>
            </a:r>
          </a:p>
        </p:txBody>
      </p:sp>
      <p:sp>
        <p:nvSpPr>
          <p:cNvPr id="42" name="TextBox 41">
            <a:extLst>
              <a:ext uri="{FF2B5EF4-FFF2-40B4-BE49-F238E27FC236}">
                <a16:creationId xmlns:a16="http://schemas.microsoft.com/office/drawing/2014/main" id="{FF9DE0FA-DEDF-4377-B25A-D40F70240447}"/>
              </a:ext>
            </a:extLst>
          </p:cNvPr>
          <p:cNvSpPr txBox="1">
            <a:spLocks/>
          </p:cNvSpPr>
          <p:nvPr/>
        </p:nvSpPr>
        <p:spPr>
          <a:xfrm>
            <a:off x="2047253" y="2797680"/>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Libye</a:t>
            </a:r>
          </a:p>
        </p:txBody>
      </p:sp>
      <p:sp>
        <p:nvSpPr>
          <p:cNvPr id="46" name="TextBox 45">
            <a:extLst>
              <a:ext uri="{FF2B5EF4-FFF2-40B4-BE49-F238E27FC236}">
                <a16:creationId xmlns:a16="http://schemas.microsoft.com/office/drawing/2014/main" id="{C2049E8B-AFE7-44CE-9749-6D5340F73F33}"/>
              </a:ext>
            </a:extLst>
          </p:cNvPr>
          <p:cNvSpPr txBox="1">
            <a:spLocks/>
          </p:cNvSpPr>
          <p:nvPr/>
        </p:nvSpPr>
        <p:spPr>
          <a:xfrm>
            <a:off x="3309231" y="3224948"/>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Tunisie</a:t>
            </a:r>
          </a:p>
        </p:txBody>
      </p:sp>
      <p:sp>
        <p:nvSpPr>
          <p:cNvPr id="32" name="TextBox 31">
            <a:extLst>
              <a:ext uri="{FF2B5EF4-FFF2-40B4-BE49-F238E27FC236}">
                <a16:creationId xmlns:a16="http://schemas.microsoft.com/office/drawing/2014/main" id="{B07E6CB1-9178-41A3-999D-A63BDB610E4D}"/>
              </a:ext>
            </a:extLst>
          </p:cNvPr>
          <p:cNvSpPr txBox="1">
            <a:spLocks/>
          </p:cNvSpPr>
          <p:nvPr/>
        </p:nvSpPr>
        <p:spPr>
          <a:xfrm>
            <a:off x="2018005" y="2641251"/>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Algérie</a:t>
            </a:r>
          </a:p>
        </p:txBody>
      </p:sp>
      <p:pic>
        <p:nvPicPr>
          <p:cNvPr id="68" name="Picture 67">
            <a:extLst>
              <a:ext uri="{FF2B5EF4-FFF2-40B4-BE49-F238E27FC236}">
                <a16:creationId xmlns:a16="http://schemas.microsoft.com/office/drawing/2014/main" id="{CE477753-BDD7-48D1-A619-923A690B8727}"/>
              </a:ext>
            </a:extLst>
          </p:cNvPr>
          <p:cNvPicPr>
            <a:picLocks/>
          </p:cNvPicPr>
          <p:nvPr/>
        </p:nvPicPr>
        <p:blipFill>
          <a:blip r:embed="rId76"/>
          <a:stretch>
            <a:fillRect/>
          </a:stretch>
        </p:blipFill>
        <p:spPr>
          <a:xfrm>
            <a:off x="553867" y="2660234"/>
            <a:ext cx="144780" cy="96520"/>
          </a:xfrm>
          <a:prstGeom prst="rect">
            <a:avLst/>
          </a:prstGeom>
          <a:noFill/>
          <a:ln w="6350">
            <a:solidFill>
              <a:srgbClr val="D0D0D0"/>
            </a:solidFill>
          </a:ln>
        </p:spPr>
      </p:pic>
      <p:pic>
        <p:nvPicPr>
          <p:cNvPr id="77" name="Picture 76">
            <a:extLst>
              <a:ext uri="{FF2B5EF4-FFF2-40B4-BE49-F238E27FC236}">
                <a16:creationId xmlns:a16="http://schemas.microsoft.com/office/drawing/2014/main" id="{541DF95B-7CFC-4B29-9879-36DBD6A5B9DE}"/>
              </a:ext>
            </a:extLst>
          </p:cNvPr>
          <p:cNvPicPr>
            <a:picLocks/>
          </p:cNvPicPr>
          <p:nvPr/>
        </p:nvPicPr>
        <p:blipFill>
          <a:blip r:embed="rId77"/>
          <a:stretch>
            <a:fillRect/>
          </a:stretch>
        </p:blipFill>
        <p:spPr>
          <a:xfrm>
            <a:off x="1807425" y="2810975"/>
            <a:ext cx="144780" cy="96520"/>
          </a:xfrm>
          <a:prstGeom prst="rect">
            <a:avLst/>
          </a:prstGeom>
          <a:noFill/>
          <a:ln w="6350">
            <a:solidFill>
              <a:srgbClr val="D0D0D0"/>
            </a:solidFill>
          </a:ln>
        </p:spPr>
      </p:pic>
      <p:pic>
        <p:nvPicPr>
          <p:cNvPr id="81" name="Picture 80">
            <a:extLst>
              <a:ext uri="{FF2B5EF4-FFF2-40B4-BE49-F238E27FC236}">
                <a16:creationId xmlns:a16="http://schemas.microsoft.com/office/drawing/2014/main" id="{C00A539C-0090-4307-B2F3-A87621996A87}"/>
              </a:ext>
            </a:extLst>
          </p:cNvPr>
          <p:cNvPicPr>
            <a:picLocks/>
          </p:cNvPicPr>
          <p:nvPr/>
        </p:nvPicPr>
        <p:blipFill>
          <a:blip r:embed="rId78"/>
          <a:stretch>
            <a:fillRect/>
          </a:stretch>
        </p:blipFill>
        <p:spPr>
          <a:xfrm>
            <a:off x="3101951" y="3242054"/>
            <a:ext cx="144780" cy="96520"/>
          </a:xfrm>
          <a:prstGeom prst="rect">
            <a:avLst/>
          </a:prstGeom>
          <a:noFill/>
          <a:ln w="6350">
            <a:solidFill>
              <a:srgbClr val="D0D0D0"/>
            </a:solidFill>
          </a:ln>
        </p:spPr>
      </p:pic>
      <p:pic>
        <p:nvPicPr>
          <p:cNvPr id="48" name="Picture 47">
            <a:extLst>
              <a:ext uri="{FF2B5EF4-FFF2-40B4-BE49-F238E27FC236}">
                <a16:creationId xmlns:a16="http://schemas.microsoft.com/office/drawing/2014/main" id="{FC0BBFCB-DF7A-42BD-A594-FB65C53FF99B}"/>
              </a:ext>
            </a:extLst>
          </p:cNvPr>
          <p:cNvPicPr>
            <a:picLocks/>
          </p:cNvPicPr>
          <p:nvPr/>
        </p:nvPicPr>
        <p:blipFill>
          <a:blip r:embed="rId79"/>
          <a:stretch>
            <a:fillRect/>
          </a:stretch>
        </p:blipFill>
        <p:spPr>
          <a:xfrm>
            <a:off x="1810338" y="2654546"/>
            <a:ext cx="144780" cy="96520"/>
          </a:xfrm>
          <a:prstGeom prst="rect">
            <a:avLst/>
          </a:prstGeom>
          <a:noFill/>
          <a:ln w="6350">
            <a:solidFill>
              <a:srgbClr val="D0D0D0"/>
            </a:solidFill>
          </a:ln>
        </p:spPr>
      </p:pic>
      <p:sp>
        <p:nvSpPr>
          <p:cNvPr id="45" name="TextBox 44">
            <a:extLst>
              <a:ext uri="{FF2B5EF4-FFF2-40B4-BE49-F238E27FC236}">
                <a16:creationId xmlns:a16="http://schemas.microsoft.com/office/drawing/2014/main" id="{80A06C95-BF8D-4460-9C1B-2DFFD2E9092B}"/>
              </a:ext>
            </a:extLst>
          </p:cNvPr>
          <p:cNvSpPr txBox="1">
            <a:spLocks/>
          </p:cNvSpPr>
          <p:nvPr/>
        </p:nvSpPr>
        <p:spPr>
          <a:xfrm>
            <a:off x="3309231" y="3040776"/>
            <a:ext cx="936000"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3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São Tomé et Príncipe</a:t>
            </a:r>
          </a:p>
        </p:txBody>
      </p:sp>
      <p:sp>
        <p:nvSpPr>
          <p:cNvPr id="44" name="TextBox 43">
            <a:extLst>
              <a:ext uri="{FF2B5EF4-FFF2-40B4-BE49-F238E27FC236}">
                <a16:creationId xmlns:a16="http://schemas.microsoft.com/office/drawing/2014/main" id="{DED562AC-F015-46A6-8834-1EA1B8AC20E4}"/>
              </a:ext>
            </a:extLst>
          </p:cNvPr>
          <p:cNvSpPr txBox="1">
            <a:spLocks/>
          </p:cNvSpPr>
          <p:nvPr/>
        </p:nvSpPr>
        <p:spPr>
          <a:xfrm>
            <a:off x="3309230" y="2649203"/>
            <a:ext cx="936000" cy="123111"/>
          </a:xfrm>
          <a:prstGeom prst="rect">
            <a:avLst/>
          </a:prstGeom>
          <a:solidFill>
            <a:srgbClr val="D0D0D0"/>
          </a:solidFill>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Niger</a:t>
            </a:r>
          </a:p>
        </p:txBody>
      </p:sp>
      <p:pic>
        <p:nvPicPr>
          <p:cNvPr id="82" name="Picture 81">
            <a:extLst>
              <a:ext uri="{FF2B5EF4-FFF2-40B4-BE49-F238E27FC236}">
                <a16:creationId xmlns:a16="http://schemas.microsoft.com/office/drawing/2014/main" id="{FE5A955E-C02C-400A-A924-A1915874CF92}"/>
              </a:ext>
            </a:extLst>
          </p:cNvPr>
          <p:cNvPicPr>
            <a:picLocks/>
          </p:cNvPicPr>
          <p:nvPr/>
        </p:nvPicPr>
        <p:blipFill>
          <a:blip r:embed="rId80"/>
          <a:stretch>
            <a:fillRect/>
          </a:stretch>
        </p:blipFill>
        <p:spPr>
          <a:xfrm>
            <a:off x="3101951" y="3050836"/>
            <a:ext cx="144780" cy="96520"/>
          </a:xfrm>
          <a:prstGeom prst="rect">
            <a:avLst/>
          </a:prstGeom>
          <a:noFill/>
          <a:ln w="6350">
            <a:solidFill>
              <a:srgbClr val="D0D0D0"/>
            </a:solidFill>
          </a:ln>
        </p:spPr>
      </p:pic>
      <p:pic>
        <p:nvPicPr>
          <p:cNvPr id="79" name="Picture 78">
            <a:extLst>
              <a:ext uri="{FF2B5EF4-FFF2-40B4-BE49-F238E27FC236}">
                <a16:creationId xmlns:a16="http://schemas.microsoft.com/office/drawing/2014/main" id="{EACBA834-984A-4DAD-B169-C21B47823400}"/>
              </a:ext>
            </a:extLst>
          </p:cNvPr>
          <p:cNvPicPr>
            <a:picLocks/>
          </p:cNvPicPr>
          <p:nvPr/>
        </p:nvPicPr>
        <p:blipFill>
          <a:blip r:embed="rId81"/>
          <a:stretch>
            <a:fillRect/>
          </a:stretch>
        </p:blipFill>
        <p:spPr>
          <a:xfrm>
            <a:off x="3101951" y="2673362"/>
            <a:ext cx="144780" cy="96520"/>
          </a:xfrm>
          <a:prstGeom prst="rect">
            <a:avLst/>
          </a:prstGeom>
          <a:solidFill>
            <a:srgbClr val="7F7F7F"/>
          </a:solidFill>
          <a:ln w="6350">
            <a:solidFill>
              <a:srgbClr val="D0D0D0"/>
            </a:solidFill>
          </a:ln>
        </p:spPr>
      </p:pic>
      <p:sp>
        <p:nvSpPr>
          <p:cNvPr id="185" name="TextBox 184">
            <a:extLst>
              <a:ext uri="{FF2B5EF4-FFF2-40B4-BE49-F238E27FC236}">
                <a16:creationId xmlns:a16="http://schemas.microsoft.com/office/drawing/2014/main" id="{A9EA5337-0BD6-47B5-8FBB-96E78E913D63}"/>
              </a:ext>
            </a:extLst>
          </p:cNvPr>
          <p:cNvSpPr txBox="1">
            <a:spLocks/>
          </p:cNvSpPr>
          <p:nvPr>
            <p:custDataLst>
              <p:tags r:id="rId15"/>
            </p:custDataLst>
          </p:nvPr>
        </p:nvSpPr>
        <p:spPr>
          <a:xfrm>
            <a:off x="3309231" y="2855535"/>
            <a:ext cx="936000" cy="123111"/>
          </a:xfrm>
          <a:prstGeom prst="rect">
            <a:avLst/>
          </a:prstGeom>
          <a:solidFill>
            <a:srgbClr val="D0D0D0"/>
          </a:solidFill>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dan</a:t>
            </a:r>
          </a:p>
        </p:txBody>
      </p:sp>
      <p:pic>
        <p:nvPicPr>
          <p:cNvPr id="189" name="Picture 188">
            <a:extLst>
              <a:ext uri="{FF2B5EF4-FFF2-40B4-BE49-F238E27FC236}">
                <a16:creationId xmlns:a16="http://schemas.microsoft.com/office/drawing/2014/main" id="{0E915DB2-380C-4496-9CEB-91E990BC2FF8}"/>
              </a:ext>
            </a:extLst>
          </p:cNvPr>
          <p:cNvPicPr>
            <a:picLocks/>
          </p:cNvPicPr>
          <p:nvPr/>
        </p:nvPicPr>
        <p:blipFill>
          <a:blip r:embed="rId82"/>
          <a:stretch>
            <a:fillRect/>
          </a:stretch>
        </p:blipFill>
        <p:spPr>
          <a:xfrm>
            <a:off x="3101951" y="2855535"/>
            <a:ext cx="144780" cy="96520"/>
          </a:xfrm>
          <a:prstGeom prst="rect">
            <a:avLst/>
          </a:prstGeom>
          <a:noFill/>
          <a:ln w="6350">
            <a:solidFill>
              <a:srgbClr val="D0D0D0"/>
            </a:solidFill>
          </a:ln>
        </p:spPr>
      </p:pic>
      <p:pic>
        <p:nvPicPr>
          <p:cNvPr id="192" name="Picture 191">
            <a:extLst>
              <a:ext uri="{FF2B5EF4-FFF2-40B4-BE49-F238E27FC236}">
                <a16:creationId xmlns:a16="http://schemas.microsoft.com/office/drawing/2014/main" id="{726BB400-25A8-45AF-A3F9-A15648FF7CDE}"/>
              </a:ext>
            </a:extLst>
          </p:cNvPr>
          <p:cNvPicPr>
            <a:picLocks/>
          </p:cNvPicPr>
          <p:nvPr/>
        </p:nvPicPr>
        <p:blipFill>
          <a:blip r:embed="rId83"/>
          <a:stretch>
            <a:fillRect/>
          </a:stretch>
        </p:blipFill>
        <p:spPr>
          <a:xfrm>
            <a:off x="6855891" y="3886016"/>
            <a:ext cx="144780" cy="96520"/>
          </a:xfrm>
          <a:prstGeom prst="rect">
            <a:avLst/>
          </a:prstGeom>
          <a:noFill/>
          <a:ln w="6350">
            <a:solidFill>
              <a:srgbClr val="D0D0D0"/>
            </a:solidFill>
          </a:ln>
        </p:spPr>
      </p:pic>
      <p:sp>
        <p:nvSpPr>
          <p:cNvPr id="195" name="TextBox 194">
            <a:extLst>
              <a:ext uri="{FF2B5EF4-FFF2-40B4-BE49-F238E27FC236}">
                <a16:creationId xmlns:a16="http://schemas.microsoft.com/office/drawing/2014/main" id="{92872EE4-BF0B-4DD6-803E-3E6973B8D0E6}"/>
              </a:ext>
            </a:extLst>
          </p:cNvPr>
          <p:cNvSpPr txBox="1">
            <a:spLocks/>
          </p:cNvSpPr>
          <p:nvPr>
            <p:custDataLst>
              <p:tags r:id="rId16"/>
            </p:custDataLst>
          </p:nvPr>
        </p:nvSpPr>
        <p:spPr>
          <a:xfrm>
            <a:off x="7082549" y="3891726"/>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uinée</a:t>
            </a:r>
          </a:p>
        </p:txBody>
      </p:sp>
      <p:grpSp>
        <p:nvGrpSpPr>
          <p:cNvPr id="34" name="Group 33">
            <a:extLst>
              <a:ext uri="{FF2B5EF4-FFF2-40B4-BE49-F238E27FC236}">
                <a16:creationId xmlns:a16="http://schemas.microsoft.com/office/drawing/2014/main" id="{54C5E5E0-8623-F879-E010-BC133D4F71B5}"/>
              </a:ext>
            </a:extLst>
          </p:cNvPr>
          <p:cNvGrpSpPr/>
          <p:nvPr/>
        </p:nvGrpSpPr>
        <p:grpSpPr>
          <a:xfrm>
            <a:off x="6837503" y="2096806"/>
            <a:ext cx="651795" cy="315736"/>
            <a:chOff x="6820584" y="2675412"/>
            <a:chExt cx="651795" cy="315736"/>
          </a:xfrm>
        </p:grpSpPr>
        <p:sp>
          <p:nvSpPr>
            <p:cNvPr id="306" name="TextBox 305">
              <a:extLst>
                <a:ext uri="{FF2B5EF4-FFF2-40B4-BE49-F238E27FC236}">
                  <a16:creationId xmlns:a16="http://schemas.microsoft.com/office/drawing/2014/main" id="{F082175F-68E7-478A-B50E-0EA6180D1680}"/>
                </a:ext>
              </a:extLst>
            </p:cNvPr>
            <p:cNvSpPr txBox="1">
              <a:spLocks/>
            </p:cNvSpPr>
            <p:nvPr>
              <p:custDataLst>
                <p:tags r:id="rId44"/>
              </p:custDataLst>
            </p:nvPr>
          </p:nvSpPr>
          <p:spPr>
            <a:xfrm>
              <a:off x="7187044" y="2679392"/>
              <a:ext cx="285335" cy="307777"/>
            </a:xfrm>
            <a:prstGeom prst="rect">
              <a:avLst/>
            </a:prstGeom>
            <a:ln>
              <a:noFill/>
            </a:ln>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4</a:t>
              </a:r>
            </a:p>
          </p:txBody>
        </p:sp>
        <p:pic>
          <p:nvPicPr>
            <p:cNvPr id="307" name="CustomIcon">
              <a:extLst>
                <a:ext uri="{FF2B5EF4-FFF2-40B4-BE49-F238E27FC236}">
                  <a16:creationId xmlns:a16="http://schemas.microsoft.com/office/drawing/2014/main" id="{B6C4DEE9-E9C4-4C07-9CA5-8B15116DD25F}"/>
                </a:ext>
              </a:extLst>
            </p:cNvPr>
            <p:cNvPicPr>
              <a:picLocks/>
            </p:cNvPicPr>
            <p:nvPr>
              <p:custDataLst>
                <p:tags r:id="rId45"/>
              </p:custDataLst>
            </p:nvPr>
          </p:nvPicPr>
          <p:blipFill>
            <a:blip r:embed="rId84" cstate="email">
              <a:extLst>
                <a:ext uri="{28A0092B-C50C-407E-A947-70E740481C1C}">
                  <a14:useLocalDpi xmlns:a14="http://schemas.microsoft.com/office/drawing/2010/main"/>
                </a:ext>
                <a:ext uri="{96DAC541-7B7A-43D3-8B79-37D633B846F1}">
                  <asvg:svgBlip xmlns:asvg="http://schemas.microsoft.com/office/drawing/2016/SVG/main" r:embed="rId85"/>
                </a:ext>
              </a:extLst>
            </a:blip>
            <a:stretch>
              <a:fillRect/>
            </a:stretch>
          </p:blipFill>
          <p:spPr>
            <a:xfrm>
              <a:off x="6820584" y="2675412"/>
              <a:ext cx="305886" cy="315736"/>
            </a:xfrm>
            <a:prstGeom prst="rect">
              <a:avLst/>
            </a:prstGeom>
          </p:spPr>
        </p:pic>
      </p:grpSp>
      <p:grpSp>
        <p:nvGrpSpPr>
          <p:cNvPr id="5" name="Group 4">
            <a:extLst>
              <a:ext uri="{FF2B5EF4-FFF2-40B4-BE49-F238E27FC236}">
                <a16:creationId xmlns:a16="http://schemas.microsoft.com/office/drawing/2014/main" id="{2A807517-7B84-7A87-A948-EFCE335F8090}"/>
              </a:ext>
            </a:extLst>
          </p:cNvPr>
          <p:cNvGrpSpPr/>
          <p:nvPr/>
        </p:nvGrpSpPr>
        <p:grpSpPr>
          <a:xfrm>
            <a:off x="10562147" y="2008837"/>
            <a:ext cx="677310" cy="315736"/>
            <a:chOff x="10553407" y="2520475"/>
            <a:chExt cx="677310" cy="315736"/>
          </a:xfrm>
        </p:grpSpPr>
        <p:sp>
          <p:nvSpPr>
            <p:cNvPr id="309" name="TextBox 308">
              <a:extLst>
                <a:ext uri="{FF2B5EF4-FFF2-40B4-BE49-F238E27FC236}">
                  <a16:creationId xmlns:a16="http://schemas.microsoft.com/office/drawing/2014/main" id="{806622CC-C0C2-4964-A1A6-48F6E09D3727}"/>
                </a:ext>
              </a:extLst>
            </p:cNvPr>
            <p:cNvSpPr txBox="1">
              <a:spLocks/>
            </p:cNvSpPr>
            <p:nvPr>
              <p:custDataLst>
                <p:tags r:id="rId42"/>
              </p:custDataLst>
            </p:nvPr>
          </p:nvSpPr>
          <p:spPr>
            <a:xfrm>
              <a:off x="10945382" y="2524455"/>
              <a:ext cx="285335" cy="307777"/>
            </a:xfrm>
            <a:prstGeom prst="rect">
              <a:avLst/>
            </a:prstGeom>
            <a:ln>
              <a:noFill/>
            </a:ln>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a:t>
              </a:r>
            </a:p>
          </p:txBody>
        </p:sp>
        <p:pic>
          <p:nvPicPr>
            <p:cNvPr id="310" name="CustomIcon">
              <a:extLst>
                <a:ext uri="{FF2B5EF4-FFF2-40B4-BE49-F238E27FC236}">
                  <a16:creationId xmlns:a16="http://schemas.microsoft.com/office/drawing/2014/main" id="{CB785C4D-1F28-49FE-BB1C-A1CBCE884DDE}"/>
                </a:ext>
              </a:extLst>
            </p:cNvPr>
            <p:cNvPicPr>
              <a:picLocks/>
            </p:cNvPicPr>
            <p:nvPr>
              <p:custDataLst>
                <p:tags r:id="rId43"/>
              </p:custDataLst>
            </p:nvPr>
          </p:nvPicPr>
          <p:blipFill>
            <a:blip r:embed="rId86">
              <a:extLst>
                <a:ext uri="{96DAC541-7B7A-43D3-8B79-37D633B846F1}">
                  <asvg:svgBlip xmlns:asvg="http://schemas.microsoft.com/office/drawing/2016/SVG/main" r:embed="rId87"/>
                </a:ext>
              </a:extLst>
            </a:blip>
            <a:stretch>
              <a:fillRect/>
            </a:stretch>
          </p:blipFill>
          <p:spPr>
            <a:xfrm>
              <a:off x="10553407" y="2520475"/>
              <a:ext cx="331401" cy="315736"/>
            </a:xfrm>
            <a:prstGeom prst="rect">
              <a:avLst/>
            </a:prstGeom>
          </p:spPr>
        </p:pic>
      </p:grpSp>
      <p:sp>
        <p:nvSpPr>
          <p:cNvPr id="26" name="TextBox 25">
            <a:extLst>
              <a:ext uri="{FF2B5EF4-FFF2-40B4-BE49-F238E27FC236}">
                <a16:creationId xmlns:a16="http://schemas.microsoft.com/office/drawing/2014/main" id="{31E6C0A3-0DA1-4C8A-9D5E-9B82374AF97F}"/>
              </a:ext>
            </a:extLst>
          </p:cNvPr>
          <p:cNvSpPr txBox="1">
            <a:spLocks/>
          </p:cNvSpPr>
          <p:nvPr/>
        </p:nvSpPr>
        <p:spPr>
          <a:xfrm>
            <a:off x="5811404" y="2555405"/>
            <a:ext cx="863831" cy="123111"/>
          </a:xfrm>
          <a:prstGeom prst="rect">
            <a:avLst/>
          </a:prstGeom>
          <a:solidFill>
            <a:schemeClr val="accent2"/>
          </a:solid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Egypte</a:t>
            </a:r>
          </a:p>
        </p:txBody>
      </p:sp>
      <p:sp>
        <p:nvSpPr>
          <p:cNvPr id="107" name="TextBox 106">
            <a:extLst>
              <a:ext uri="{FF2B5EF4-FFF2-40B4-BE49-F238E27FC236}">
                <a16:creationId xmlns:a16="http://schemas.microsoft.com/office/drawing/2014/main" id="{AD8E7F29-26BD-4D34-B888-A44DD1327B50}"/>
              </a:ext>
            </a:extLst>
          </p:cNvPr>
          <p:cNvSpPr txBox="1">
            <a:spLocks/>
          </p:cNvSpPr>
          <p:nvPr>
            <p:custDataLst>
              <p:tags r:id="rId17"/>
            </p:custDataLst>
          </p:nvPr>
        </p:nvSpPr>
        <p:spPr>
          <a:xfrm>
            <a:off x="7082549" y="3307052"/>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zambique</a:t>
            </a:r>
          </a:p>
        </p:txBody>
      </p:sp>
      <p:pic>
        <p:nvPicPr>
          <p:cNvPr id="51" name="Picture 50">
            <a:extLst>
              <a:ext uri="{FF2B5EF4-FFF2-40B4-BE49-F238E27FC236}">
                <a16:creationId xmlns:a16="http://schemas.microsoft.com/office/drawing/2014/main" id="{BBF4F3A9-6117-426B-92E6-1EBA181D95BD}"/>
              </a:ext>
            </a:extLst>
          </p:cNvPr>
          <p:cNvPicPr>
            <a:picLocks/>
          </p:cNvPicPr>
          <p:nvPr/>
        </p:nvPicPr>
        <p:blipFill>
          <a:blip r:embed="rId88"/>
          <a:stretch>
            <a:fillRect/>
          </a:stretch>
        </p:blipFill>
        <p:spPr>
          <a:xfrm>
            <a:off x="6855891" y="3307052"/>
            <a:ext cx="144780" cy="96520"/>
          </a:xfrm>
          <a:prstGeom prst="rect">
            <a:avLst/>
          </a:prstGeom>
          <a:ln>
            <a:solidFill>
              <a:srgbClr val="D0D0D0"/>
            </a:solidFill>
          </a:ln>
        </p:spPr>
      </p:pic>
      <p:grpSp>
        <p:nvGrpSpPr>
          <p:cNvPr id="7" name="Group 6">
            <a:extLst>
              <a:ext uri="{FF2B5EF4-FFF2-40B4-BE49-F238E27FC236}">
                <a16:creationId xmlns:a16="http://schemas.microsoft.com/office/drawing/2014/main" id="{D899B90B-9C24-481C-8C70-70A2F8D8BB01}"/>
              </a:ext>
            </a:extLst>
          </p:cNvPr>
          <p:cNvGrpSpPr/>
          <p:nvPr/>
        </p:nvGrpSpPr>
        <p:grpSpPr>
          <a:xfrm>
            <a:off x="5590424" y="3093755"/>
            <a:ext cx="1084811" cy="123111"/>
            <a:chOff x="5647574" y="2917486"/>
            <a:chExt cx="1084811" cy="123111"/>
          </a:xfrm>
        </p:grpSpPr>
        <p:sp>
          <p:nvSpPr>
            <p:cNvPr id="96" name="TextBox 95">
              <a:extLst>
                <a:ext uri="{FF2B5EF4-FFF2-40B4-BE49-F238E27FC236}">
                  <a16:creationId xmlns:a16="http://schemas.microsoft.com/office/drawing/2014/main" id="{0B0D1810-E687-41A1-96B4-E1106C70FF62}"/>
                </a:ext>
              </a:extLst>
            </p:cNvPr>
            <p:cNvSpPr txBox="1">
              <a:spLocks/>
            </p:cNvSpPr>
            <p:nvPr>
              <p:custDataLst>
                <p:tags r:id="rId41"/>
              </p:custDataLst>
            </p:nvPr>
          </p:nvSpPr>
          <p:spPr>
            <a:xfrm>
              <a:off x="5868554" y="2917486"/>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ychelles</a:t>
              </a:r>
            </a:p>
          </p:txBody>
        </p:sp>
        <p:pic>
          <p:nvPicPr>
            <p:cNvPr id="53" name="Picture 52">
              <a:extLst>
                <a:ext uri="{FF2B5EF4-FFF2-40B4-BE49-F238E27FC236}">
                  <a16:creationId xmlns:a16="http://schemas.microsoft.com/office/drawing/2014/main" id="{F1BB7A52-23F2-4461-9899-D9D582842632}"/>
                </a:ext>
              </a:extLst>
            </p:cNvPr>
            <p:cNvPicPr>
              <a:picLocks/>
            </p:cNvPicPr>
            <p:nvPr/>
          </p:nvPicPr>
          <p:blipFill>
            <a:blip r:embed="rId89"/>
            <a:stretch>
              <a:fillRect/>
            </a:stretch>
          </p:blipFill>
          <p:spPr>
            <a:xfrm>
              <a:off x="5647574" y="2917486"/>
              <a:ext cx="144780" cy="96520"/>
            </a:xfrm>
            <a:prstGeom prst="rect">
              <a:avLst/>
            </a:prstGeom>
            <a:ln>
              <a:solidFill>
                <a:srgbClr val="D0D0D0"/>
              </a:solidFill>
            </a:ln>
          </p:spPr>
        </p:pic>
      </p:grpSp>
      <p:sp>
        <p:nvSpPr>
          <p:cNvPr id="41" name="TextBox 40">
            <a:extLst>
              <a:ext uri="{FF2B5EF4-FFF2-40B4-BE49-F238E27FC236}">
                <a16:creationId xmlns:a16="http://schemas.microsoft.com/office/drawing/2014/main" id="{0D6D7A68-C3D5-4654-BB89-1C6CF422CBF2}"/>
              </a:ext>
            </a:extLst>
          </p:cNvPr>
          <p:cNvSpPr txBox="1">
            <a:spLocks/>
          </p:cNvSpPr>
          <p:nvPr/>
        </p:nvSpPr>
        <p:spPr>
          <a:xfrm>
            <a:off x="5811404" y="2908706"/>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Afrique du Sud</a:t>
            </a:r>
          </a:p>
        </p:txBody>
      </p:sp>
      <p:pic>
        <p:nvPicPr>
          <p:cNvPr id="56" name="Picture 55">
            <a:extLst>
              <a:ext uri="{FF2B5EF4-FFF2-40B4-BE49-F238E27FC236}">
                <a16:creationId xmlns:a16="http://schemas.microsoft.com/office/drawing/2014/main" id="{E791F3E6-3DFE-4BEA-B0F9-0943A73BFE91}"/>
              </a:ext>
            </a:extLst>
          </p:cNvPr>
          <p:cNvPicPr>
            <a:picLocks/>
          </p:cNvPicPr>
          <p:nvPr/>
        </p:nvPicPr>
        <p:blipFill>
          <a:blip r:embed="rId90"/>
          <a:stretch>
            <a:fillRect/>
          </a:stretch>
        </p:blipFill>
        <p:spPr>
          <a:xfrm>
            <a:off x="5590424" y="2908706"/>
            <a:ext cx="144780" cy="96520"/>
          </a:xfrm>
          <a:prstGeom prst="rect">
            <a:avLst/>
          </a:prstGeom>
          <a:ln>
            <a:solidFill>
              <a:srgbClr val="D0D0D0"/>
            </a:solidFill>
          </a:ln>
        </p:spPr>
      </p:pic>
      <p:sp>
        <p:nvSpPr>
          <p:cNvPr id="92" name="TextBox 91">
            <a:extLst>
              <a:ext uri="{FF2B5EF4-FFF2-40B4-BE49-F238E27FC236}">
                <a16:creationId xmlns:a16="http://schemas.microsoft.com/office/drawing/2014/main" id="{A6CEE84B-21AD-44B4-8A6D-314D37D65F43}"/>
              </a:ext>
            </a:extLst>
          </p:cNvPr>
          <p:cNvSpPr txBox="1">
            <a:spLocks/>
          </p:cNvSpPr>
          <p:nvPr>
            <p:custDataLst>
              <p:tags r:id="rId18"/>
            </p:custDataLst>
          </p:nvPr>
        </p:nvSpPr>
        <p:spPr>
          <a:xfrm>
            <a:off x="7082549" y="3681069"/>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le Maurice</a:t>
            </a:r>
          </a:p>
        </p:txBody>
      </p:sp>
      <p:pic>
        <p:nvPicPr>
          <p:cNvPr id="58" name="Picture 57">
            <a:extLst>
              <a:ext uri="{FF2B5EF4-FFF2-40B4-BE49-F238E27FC236}">
                <a16:creationId xmlns:a16="http://schemas.microsoft.com/office/drawing/2014/main" id="{7871F185-4D1C-4B8F-9974-8D991393B25F}"/>
              </a:ext>
            </a:extLst>
          </p:cNvPr>
          <p:cNvPicPr>
            <a:picLocks/>
          </p:cNvPicPr>
          <p:nvPr/>
        </p:nvPicPr>
        <p:blipFill>
          <a:blip r:embed="rId91"/>
          <a:stretch>
            <a:fillRect/>
          </a:stretch>
        </p:blipFill>
        <p:spPr>
          <a:xfrm>
            <a:off x="6855891" y="3694364"/>
            <a:ext cx="144780" cy="96520"/>
          </a:xfrm>
          <a:prstGeom prst="rect">
            <a:avLst/>
          </a:prstGeom>
          <a:ln>
            <a:solidFill>
              <a:srgbClr val="D0D0D0"/>
            </a:solidFill>
          </a:ln>
        </p:spPr>
      </p:pic>
      <p:sp>
        <p:nvSpPr>
          <p:cNvPr id="6" name="TextBox 5">
            <a:extLst>
              <a:ext uri="{FF2B5EF4-FFF2-40B4-BE49-F238E27FC236}">
                <a16:creationId xmlns:a16="http://schemas.microsoft.com/office/drawing/2014/main" id="{003DDBA5-2848-4B26-8F8F-6461AAA997DD}"/>
              </a:ext>
            </a:extLst>
          </p:cNvPr>
          <p:cNvSpPr txBox="1">
            <a:spLocks/>
          </p:cNvSpPr>
          <p:nvPr/>
        </p:nvSpPr>
        <p:spPr>
          <a:xfrm>
            <a:off x="7082549" y="3489417"/>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Mauritanie</a:t>
            </a:r>
          </a:p>
        </p:txBody>
      </p:sp>
      <p:pic>
        <p:nvPicPr>
          <p:cNvPr id="66" name="Picture 65">
            <a:extLst>
              <a:ext uri="{FF2B5EF4-FFF2-40B4-BE49-F238E27FC236}">
                <a16:creationId xmlns:a16="http://schemas.microsoft.com/office/drawing/2014/main" id="{3DB3E4C2-5289-42A9-BB97-9EA135C876C2}"/>
              </a:ext>
            </a:extLst>
          </p:cNvPr>
          <p:cNvPicPr>
            <a:picLocks/>
          </p:cNvPicPr>
          <p:nvPr/>
        </p:nvPicPr>
        <p:blipFill>
          <a:blip r:embed="rId92"/>
          <a:stretch>
            <a:fillRect/>
          </a:stretch>
        </p:blipFill>
        <p:spPr>
          <a:xfrm>
            <a:off x="6855891" y="3502712"/>
            <a:ext cx="144780" cy="96520"/>
          </a:xfrm>
          <a:prstGeom prst="rect">
            <a:avLst/>
          </a:prstGeom>
          <a:ln>
            <a:solidFill>
              <a:srgbClr val="D0D0D0"/>
            </a:solidFill>
          </a:ln>
        </p:spPr>
      </p:pic>
      <p:sp>
        <p:nvSpPr>
          <p:cNvPr id="225" name="TextBox 224">
            <a:extLst>
              <a:ext uri="{FF2B5EF4-FFF2-40B4-BE49-F238E27FC236}">
                <a16:creationId xmlns:a16="http://schemas.microsoft.com/office/drawing/2014/main" id="{EC8F12E4-1CD6-482E-9A70-30DB3C58ABDA}"/>
              </a:ext>
            </a:extLst>
          </p:cNvPr>
          <p:cNvSpPr txBox="1">
            <a:spLocks/>
          </p:cNvSpPr>
          <p:nvPr/>
        </p:nvSpPr>
        <p:spPr>
          <a:xfrm>
            <a:off x="5811404" y="2722158"/>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Angola</a:t>
            </a:r>
          </a:p>
        </p:txBody>
      </p:sp>
      <p:pic>
        <p:nvPicPr>
          <p:cNvPr id="70" name="Picture 69">
            <a:extLst>
              <a:ext uri="{FF2B5EF4-FFF2-40B4-BE49-F238E27FC236}">
                <a16:creationId xmlns:a16="http://schemas.microsoft.com/office/drawing/2014/main" id="{323983D7-9E8D-48C4-9053-C8BC85F23E6D}"/>
              </a:ext>
            </a:extLst>
          </p:cNvPr>
          <p:cNvPicPr>
            <a:picLocks/>
          </p:cNvPicPr>
          <p:nvPr/>
        </p:nvPicPr>
        <p:blipFill>
          <a:blip r:embed="rId93"/>
          <a:stretch>
            <a:fillRect/>
          </a:stretch>
        </p:blipFill>
        <p:spPr>
          <a:xfrm>
            <a:off x="5590424" y="2722158"/>
            <a:ext cx="144780" cy="96520"/>
          </a:xfrm>
          <a:prstGeom prst="rect">
            <a:avLst/>
          </a:prstGeom>
          <a:ln>
            <a:solidFill>
              <a:srgbClr val="D0D0D0"/>
            </a:solidFill>
          </a:ln>
        </p:spPr>
      </p:pic>
      <p:pic>
        <p:nvPicPr>
          <p:cNvPr id="72" name="Picture 71">
            <a:extLst>
              <a:ext uri="{FF2B5EF4-FFF2-40B4-BE49-F238E27FC236}">
                <a16:creationId xmlns:a16="http://schemas.microsoft.com/office/drawing/2014/main" id="{77ECF7A0-18EB-48A7-9838-4490C97DA3F6}"/>
              </a:ext>
            </a:extLst>
          </p:cNvPr>
          <p:cNvPicPr>
            <a:picLocks/>
          </p:cNvPicPr>
          <p:nvPr/>
        </p:nvPicPr>
        <p:blipFill>
          <a:blip r:embed="rId94"/>
          <a:stretch>
            <a:fillRect/>
          </a:stretch>
        </p:blipFill>
        <p:spPr>
          <a:xfrm>
            <a:off x="5590424" y="2555405"/>
            <a:ext cx="144780" cy="96520"/>
          </a:xfrm>
          <a:prstGeom prst="rect">
            <a:avLst/>
          </a:prstGeom>
          <a:ln>
            <a:solidFill>
              <a:srgbClr val="D0D0D0"/>
            </a:solidFill>
          </a:ln>
        </p:spPr>
      </p:pic>
      <p:sp>
        <p:nvSpPr>
          <p:cNvPr id="183" name="TextBox 182">
            <a:extLst>
              <a:ext uri="{FF2B5EF4-FFF2-40B4-BE49-F238E27FC236}">
                <a16:creationId xmlns:a16="http://schemas.microsoft.com/office/drawing/2014/main" id="{27A0E097-B769-4368-B61C-EE69871EC4B2}"/>
              </a:ext>
            </a:extLst>
          </p:cNvPr>
          <p:cNvSpPr txBox="1">
            <a:spLocks/>
          </p:cNvSpPr>
          <p:nvPr/>
        </p:nvSpPr>
        <p:spPr>
          <a:xfrm>
            <a:off x="8279148" y="2993067"/>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Bénin</a:t>
            </a:r>
          </a:p>
        </p:txBody>
      </p:sp>
      <p:pic>
        <p:nvPicPr>
          <p:cNvPr id="74" name="Picture 73">
            <a:extLst>
              <a:ext uri="{FF2B5EF4-FFF2-40B4-BE49-F238E27FC236}">
                <a16:creationId xmlns:a16="http://schemas.microsoft.com/office/drawing/2014/main" id="{B9BF1FD6-5F53-458C-9E39-6E8C0C1E2CC1}"/>
              </a:ext>
            </a:extLst>
          </p:cNvPr>
          <p:cNvPicPr>
            <a:picLocks/>
          </p:cNvPicPr>
          <p:nvPr/>
        </p:nvPicPr>
        <p:blipFill>
          <a:blip r:embed="rId95"/>
          <a:stretch>
            <a:fillRect/>
          </a:stretch>
        </p:blipFill>
        <p:spPr>
          <a:xfrm>
            <a:off x="8082465" y="3021334"/>
            <a:ext cx="144780" cy="96520"/>
          </a:xfrm>
          <a:prstGeom prst="rect">
            <a:avLst/>
          </a:prstGeom>
          <a:ln>
            <a:solidFill>
              <a:srgbClr val="D0D0D0"/>
            </a:solidFill>
          </a:ln>
        </p:spPr>
      </p:pic>
      <p:sp>
        <p:nvSpPr>
          <p:cNvPr id="39" name="TextBox 38">
            <a:extLst>
              <a:ext uri="{FF2B5EF4-FFF2-40B4-BE49-F238E27FC236}">
                <a16:creationId xmlns:a16="http://schemas.microsoft.com/office/drawing/2014/main" id="{A6CB03F6-4AE0-47DD-988A-C92A66C4E79E}"/>
              </a:ext>
            </a:extLst>
          </p:cNvPr>
          <p:cNvSpPr txBox="1">
            <a:spLocks/>
          </p:cNvSpPr>
          <p:nvPr/>
        </p:nvSpPr>
        <p:spPr>
          <a:xfrm>
            <a:off x="7082549" y="3127271"/>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Gambie</a:t>
            </a:r>
          </a:p>
        </p:txBody>
      </p:sp>
      <p:pic>
        <p:nvPicPr>
          <p:cNvPr id="76" name="Picture 75">
            <a:extLst>
              <a:ext uri="{FF2B5EF4-FFF2-40B4-BE49-F238E27FC236}">
                <a16:creationId xmlns:a16="http://schemas.microsoft.com/office/drawing/2014/main" id="{CF8C1A49-9CBE-4A40-8468-849E983BA5A7}"/>
              </a:ext>
            </a:extLst>
          </p:cNvPr>
          <p:cNvPicPr>
            <a:picLocks/>
          </p:cNvPicPr>
          <p:nvPr/>
        </p:nvPicPr>
        <p:blipFill>
          <a:blip r:embed="rId96"/>
          <a:stretch>
            <a:fillRect/>
          </a:stretch>
        </p:blipFill>
        <p:spPr>
          <a:xfrm>
            <a:off x="6855891" y="3154676"/>
            <a:ext cx="144780" cy="96520"/>
          </a:xfrm>
          <a:prstGeom prst="rect">
            <a:avLst/>
          </a:prstGeom>
          <a:ln>
            <a:solidFill>
              <a:srgbClr val="D0D0D0"/>
            </a:solidFill>
          </a:ln>
        </p:spPr>
      </p:pic>
      <p:sp>
        <p:nvSpPr>
          <p:cNvPr id="109" name="TextBox 108">
            <a:extLst>
              <a:ext uri="{FF2B5EF4-FFF2-40B4-BE49-F238E27FC236}">
                <a16:creationId xmlns:a16="http://schemas.microsoft.com/office/drawing/2014/main" id="{BAEC7E32-E315-4107-9C60-FE474A1AD870}"/>
              </a:ext>
            </a:extLst>
          </p:cNvPr>
          <p:cNvSpPr txBox="1">
            <a:spLocks/>
          </p:cNvSpPr>
          <p:nvPr/>
        </p:nvSpPr>
        <p:spPr>
          <a:xfrm>
            <a:off x="7082549" y="2778718"/>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Côte d'Ivoire</a:t>
            </a:r>
          </a:p>
        </p:txBody>
      </p:sp>
      <p:pic>
        <p:nvPicPr>
          <p:cNvPr id="80" name="Picture 79">
            <a:extLst>
              <a:ext uri="{FF2B5EF4-FFF2-40B4-BE49-F238E27FC236}">
                <a16:creationId xmlns:a16="http://schemas.microsoft.com/office/drawing/2014/main" id="{E7146DFD-DD9F-42F6-BA54-6A12CEF290B5}"/>
              </a:ext>
            </a:extLst>
          </p:cNvPr>
          <p:cNvPicPr>
            <a:picLocks/>
          </p:cNvPicPr>
          <p:nvPr/>
        </p:nvPicPr>
        <p:blipFill>
          <a:blip r:embed="rId97"/>
          <a:stretch>
            <a:fillRect/>
          </a:stretch>
        </p:blipFill>
        <p:spPr>
          <a:xfrm>
            <a:off x="6855891" y="2793702"/>
            <a:ext cx="144780" cy="96520"/>
          </a:xfrm>
          <a:prstGeom prst="rect">
            <a:avLst/>
          </a:prstGeom>
          <a:ln>
            <a:solidFill>
              <a:srgbClr val="D0D0D0"/>
            </a:solidFill>
          </a:ln>
        </p:spPr>
      </p:pic>
      <p:sp>
        <p:nvSpPr>
          <p:cNvPr id="177" name="TextBox 176">
            <a:extLst>
              <a:ext uri="{FF2B5EF4-FFF2-40B4-BE49-F238E27FC236}">
                <a16:creationId xmlns:a16="http://schemas.microsoft.com/office/drawing/2014/main" id="{580C9514-29F8-4C0F-9307-54F9F6E953E2}"/>
              </a:ext>
            </a:extLst>
          </p:cNvPr>
          <p:cNvSpPr txBox="1">
            <a:spLocks/>
          </p:cNvSpPr>
          <p:nvPr>
            <p:custDataLst>
              <p:tags r:id="rId19"/>
            </p:custDataLst>
          </p:nvPr>
        </p:nvSpPr>
        <p:spPr>
          <a:xfrm>
            <a:off x="8279148" y="2841286"/>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chad</a:t>
            </a:r>
          </a:p>
        </p:txBody>
      </p:sp>
      <p:pic>
        <p:nvPicPr>
          <p:cNvPr id="84" name="Picture 83">
            <a:extLst>
              <a:ext uri="{FF2B5EF4-FFF2-40B4-BE49-F238E27FC236}">
                <a16:creationId xmlns:a16="http://schemas.microsoft.com/office/drawing/2014/main" id="{50B0FA22-1949-434E-A4F4-02C559994D86}"/>
              </a:ext>
            </a:extLst>
          </p:cNvPr>
          <p:cNvPicPr>
            <a:picLocks/>
          </p:cNvPicPr>
          <p:nvPr/>
        </p:nvPicPr>
        <p:blipFill>
          <a:blip r:embed="rId98"/>
          <a:stretch>
            <a:fillRect/>
          </a:stretch>
        </p:blipFill>
        <p:spPr>
          <a:xfrm>
            <a:off x="8082465" y="2841286"/>
            <a:ext cx="144780" cy="96520"/>
          </a:xfrm>
          <a:prstGeom prst="rect">
            <a:avLst/>
          </a:prstGeom>
          <a:ln>
            <a:solidFill>
              <a:srgbClr val="D0D0D0"/>
            </a:solidFill>
          </a:ln>
        </p:spPr>
      </p:pic>
      <p:sp>
        <p:nvSpPr>
          <p:cNvPr id="94" name="TextBox 93">
            <a:extLst>
              <a:ext uri="{FF2B5EF4-FFF2-40B4-BE49-F238E27FC236}">
                <a16:creationId xmlns:a16="http://schemas.microsoft.com/office/drawing/2014/main" id="{081A3B95-DF82-4008-BD09-A86F266F50A4}"/>
              </a:ext>
            </a:extLst>
          </p:cNvPr>
          <p:cNvSpPr txBox="1">
            <a:spLocks/>
          </p:cNvSpPr>
          <p:nvPr/>
        </p:nvSpPr>
        <p:spPr>
          <a:xfrm>
            <a:off x="8279148" y="3160887"/>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Guinée équatoriale</a:t>
            </a:r>
          </a:p>
        </p:txBody>
      </p:sp>
      <p:pic>
        <p:nvPicPr>
          <p:cNvPr id="86" name="Picture 85">
            <a:extLst>
              <a:ext uri="{FF2B5EF4-FFF2-40B4-BE49-F238E27FC236}">
                <a16:creationId xmlns:a16="http://schemas.microsoft.com/office/drawing/2014/main" id="{520251BE-D1F8-4EE0-AE0B-20E2DA0E3B34}"/>
              </a:ext>
            </a:extLst>
          </p:cNvPr>
          <p:cNvPicPr>
            <a:picLocks/>
          </p:cNvPicPr>
          <p:nvPr/>
        </p:nvPicPr>
        <p:blipFill>
          <a:blip r:embed="rId99"/>
          <a:stretch>
            <a:fillRect/>
          </a:stretch>
        </p:blipFill>
        <p:spPr>
          <a:xfrm>
            <a:off x="8082465" y="3174182"/>
            <a:ext cx="144780" cy="96520"/>
          </a:xfrm>
          <a:prstGeom prst="rect">
            <a:avLst/>
          </a:prstGeom>
          <a:ln>
            <a:solidFill>
              <a:srgbClr val="D0D0D0"/>
            </a:solidFill>
          </a:ln>
        </p:spPr>
      </p:pic>
      <p:sp>
        <p:nvSpPr>
          <p:cNvPr id="98" name="TextBox 97">
            <a:extLst>
              <a:ext uri="{FF2B5EF4-FFF2-40B4-BE49-F238E27FC236}">
                <a16:creationId xmlns:a16="http://schemas.microsoft.com/office/drawing/2014/main" id="{A5168292-38F6-4F21-A742-0E97F2D51D21}"/>
              </a:ext>
            </a:extLst>
          </p:cNvPr>
          <p:cNvSpPr txBox="1">
            <a:spLocks/>
          </p:cNvSpPr>
          <p:nvPr/>
        </p:nvSpPr>
        <p:spPr>
          <a:xfrm>
            <a:off x="7082549" y="2583980"/>
            <a:ext cx="863831" cy="123111"/>
          </a:xfrm>
          <a:prstGeom prst="rect">
            <a:avLst/>
          </a:prstGeom>
          <a:solidFill>
            <a:srgbClr val="D0D0D0"/>
          </a:solid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Madagascar</a:t>
            </a:r>
          </a:p>
        </p:txBody>
      </p:sp>
      <p:pic>
        <p:nvPicPr>
          <p:cNvPr id="89" name="Picture 88">
            <a:extLst>
              <a:ext uri="{FF2B5EF4-FFF2-40B4-BE49-F238E27FC236}">
                <a16:creationId xmlns:a16="http://schemas.microsoft.com/office/drawing/2014/main" id="{1533503F-A653-4C72-A6EF-C1F76F88E94A}"/>
              </a:ext>
            </a:extLst>
          </p:cNvPr>
          <p:cNvPicPr>
            <a:picLocks/>
          </p:cNvPicPr>
          <p:nvPr/>
        </p:nvPicPr>
        <p:blipFill>
          <a:blip r:embed="rId100"/>
          <a:stretch>
            <a:fillRect/>
          </a:stretch>
        </p:blipFill>
        <p:spPr>
          <a:xfrm>
            <a:off x="6855891" y="2583980"/>
            <a:ext cx="144780" cy="96520"/>
          </a:xfrm>
          <a:prstGeom prst="rect">
            <a:avLst/>
          </a:prstGeom>
          <a:ln>
            <a:solidFill>
              <a:srgbClr val="D0D0D0"/>
            </a:solidFill>
          </a:ln>
        </p:spPr>
      </p:pic>
      <p:sp>
        <p:nvSpPr>
          <p:cNvPr id="4" name="TextBox 3">
            <a:extLst>
              <a:ext uri="{FF2B5EF4-FFF2-40B4-BE49-F238E27FC236}">
                <a16:creationId xmlns:a16="http://schemas.microsoft.com/office/drawing/2014/main" id="{DC01764D-B674-4D3C-8EE3-8FD4A166CB9C}"/>
              </a:ext>
            </a:extLst>
          </p:cNvPr>
          <p:cNvSpPr txBox="1">
            <a:spLocks/>
          </p:cNvSpPr>
          <p:nvPr/>
        </p:nvSpPr>
        <p:spPr>
          <a:xfrm>
            <a:off x="7082549" y="2959180"/>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Eswatini</a:t>
            </a:r>
          </a:p>
        </p:txBody>
      </p:sp>
      <p:pic>
        <p:nvPicPr>
          <p:cNvPr id="91" name="Picture 90">
            <a:extLst>
              <a:ext uri="{FF2B5EF4-FFF2-40B4-BE49-F238E27FC236}">
                <a16:creationId xmlns:a16="http://schemas.microsoft.com/office/drawing/2014/main" id="{5783F5EF-D45E-4A19-8EBA-1FD9352A3789}"/>
              </a:ext>
            </a:extLst>
          </p:cNvPr>
          <p:cNvPicPr>
            <a:picLocks/>
          </p:cNvPicPr>
          <p:nvPr/>
        </p:nvPicPr>
        <p:blipFill>
          <a:blip r:embed="rId101"/>
          <a:stretch>
            <a:fillRect/>
          </a:stretch>
        </p:blipFill>
        <p:spPr>
          <a:xfrm>
            <a:off x="6855891" y="2973750"/>
            <a:ext cx="144780" cy="96520"/>
          </a:xfrm>
          <a:prstGeom prst="rect">
            <a:avLst/>
          </a:prstGeom>
          <a:ln w="6350">
            <a:solidFill>
              <a:srgbClr val="D0D0D0"/>
            </a:solidFill>
          </a:ln>
        </p:spPr>
      </p:pic>
      <p:sp>
        <p:nvSpPr>
          <p:cNvPr id="21" name="TextBox 20">
            <a:extLst>
              <a:ext uri="{FF2B5EF4-FFF2-40B4-BE49-F238E27FC236}">
                <a16:creationId xmlns:a16="http://schemas.microsoft.com/office/drawing/2014/main" id="{E4DC63B2-8354-46BB-9661-32DB7278B0FF}"/>
              </a:ext>
            </a:extLst>
          </p:cNvPr>
          <p:cNvSpPr txBox="1">
            <a:spLocks/>
          </p:cNvSpPr>
          <p:nvPr/>
        </p:nvSpPr>
        <p:spPr>
          <a:xfrm>
            <a:off x="8279148" y="2507780"/>
            <a:ext cx="863831" cy="123111"/>
          </a:xfrm>
          <a:prstGeom prst="rect">
            <a:avLst/>
          </a:prstGeom>
          <a:solidFill>
            <a:srgbClr val="D0D0D0"/>
          </a:solid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Sénégal</a:t>
            </a:r>
          </a:p>
        </p:txBody>
      </p:sp>
      <p:pic>
        <p:nvPicPr>
          <p:cNvPr id="97" name="Picture 96">
            <a:extLst>
              <a:ext uri="{FF2B5EF4-FFF2-40B4-BE49-F238E27FC236}">
                <a16:creationId xmlns:a16="http://schemas.microsoft.com/office/drawing/2014/main" id="{8F6074A6-540D-44C2-AFDF-9AE356087C86}"/>
              </a:ext>
            </a:extLst>
          </p:cNvPr>
          <p:cNvPicPr>
            <a:picLocks/>
          </p:cNvPicPr>
          <p:nvPr/>
        </p:nvPicPr>
        <p:blipFill>
          <a:blip r:embed="rId102"/>
          <a:stretch>
            <a:fillRect/>
          </a:stretch>
        </p:blipFill>
        <p:spPr>
          <a:xfrm>
            <a:off x="8082465" y="2507780"/>
            <a:ext cx="144780" cy="96520"/>
          </a:xfrm>
          <a:prstGeom prst="rect">
            <a:avLst/>
          </a:prstGeom>
          <a:ln>
            <a:solidFill>
              <a:srgbClr val="D0D0D0"/>
            </a:solidFill>
          </a:ln>
        </p:spPr>
      </p:pic>
      <p:sp>
        <p:nvSpPr>
          <p:cNvPr id="160" name="TextBox 159">
            <a:extLst>
              <a:ext uri="{FF2B5EF4-FFF2-40B4-BE49-F238E27FC236}">
                <a16:creationId xmlns:a16="http://schemas.microsoft.com/office/drawing/2014/main" id="{4565E8E9-4A79-4251-B3EA-ECB0A55022D9}"/>
              </a:ext>
            </a:extLst>
          </p:cNvPr>
          <p:cNvSpPr txBox="1">
            <a:spLocks/>
          </p:cNvSpPr>
          <p:nvPr>
            <p:custDataLst>
              <p:tags r:id="rId20"/>
            </p:custDataLst>
          </p:nvPr>
        </p:nvSpPr>
        <p:spPr>
          <a:xfrm>
            <a:off x="9551427" y="3090190"/>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ler</a:t>
            </a:r>
          </a:p>
        </p:txBody>
      </p:sp>
      <p:pic>
        <p:nvPicPr>
          <p:cNvPr id="102" name="Picture 101">
            <a:extLst>
              <a:ext uri="{FF2B5EF4-FFF2-40B4-BE49-F238E27FC236}">
                <a16:creationId xmlns:a16="http://schemas.microsoft.com/office/drawing/2014/main" id="{1150E6FD-0892-4DF6-A576-7F70D97B33EF}"/>
              </a:ext>
            </a:extLst>
          </p:cNvPr>
          <p:cNvPicPr>
            <a:picLocks/>
          </p:cNvPicPr>
          <p:nvPr/>
        </p:nvPicPr>
        <p:blipFill>
          <a:blip r:embed="rId103"/>
          <a:stretch>
            <a:fillRect/>
          </a:stretch>
        </p:blipFill>
        <p:spPr>
          <a:xfrm>
            <a:off x="9336909" y="3089822"/>
            <a:ext cx="144780" cy="96520"/>
          </a:xfrm>
          <a:prstGeom prst="rect">
            <a:avLst/>
          </a:prstGeom>
          <a:ln>
            <a:solidFill>
              <a:srgbClr val="D0D0D0"/>
            </a:solidFill>
          </a:ln>
        </p:spPr>
      </p:pic>
      <p:sp>
        <p:nvSpPr>
          <p:cNvPr id="208" name="TextBox 207">
            <a:extLst>
              <a:ext uri="{FF2B5EF4-FFF2-40B4-BE49-F238E27FC236}">
                <a16:creationId xmlns:a16="http://schemas.microsoft.com/office/drawing/2014/main" id="{800D9B58-13DF-4CBB-9098-0B705A2840E3}"/>
              </a:ext>
            </a:extLst>
          </p:cNvPr>
          <p:cNvSpPr txBox="1">
            <a:spLocks/>
          </p:cNvSpPr>
          <p:nvPr/>
        </p:nvSpPr>
        <p:spPr>
          <a:xfrm>
            <a:off x="8279148" y="2679478"/>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Maroc</a:t>
            </a:r>
          </a:p>
        </p:txBody>
      </p:sp>
      <p:pic>
        <p:nvPicPr>
          <p:cNvPr id="104" name="Picture 103">
            <a:extLst>
              <a:ext uri="{FF2B5EF4-FFF2-40B4-BE49-F238E27FC236}">
                <a16:creationId xmlns:a16="http://schemas.microsoft.com/office/drawing/2014/main" id="{8450832B-3878-49D3-9117-82158A39262A}"/>
              </a:ext>
            </a:extLst>
          </p:cNvPr>
          <p:cNvPicPr>
            <a:picLocks/>
          </p:cNvPicPr>
          <p:nvPr/>
        </p:nvPicPr>
        <p:blipFill>
          <a:blip r:embed="rId104"/>
          <a:stretch>
            <a:fillRect/>
          </a:stretch>
        </p:blipFill>
        <p:spPr>
          <a:xfrm>
            <a:off x="8082465" y="2674533"/>
            <a:ext cx="144780" cy="96520"/>
          </a:xfrm>
          <a:prstGeom prst="rect">
            <a:avLst/>
          </a:prstGeom>
          <a:ln>
            <a:solidFill>
              <a:srgbClr val="D0D0D0"/>
            </a:solidFill>
          </a:ln>
        </p:spPr>
      </p:pic>
      <p:sp>
        <p:nvSpPr>
          <p:cNvPr id="87" name="TextBox 86">
            <a:extLst>
              <a:ext uri="{FF2B5EF4-FFF2-40B4-BE49-F238E27FC236}">
                <a16:creationId xmlns:a16="http://schemas.microsoft.com/office/drawing/2014/main" id="{DB1A0CD6-D3FA-4205-B65D-5F348AA46338}"/>
              </a:ext>
            </a:extLst>
          </p:cNvPr>
          <p:cNvSpPr txBox="1">
            <a:spLocks/>
          </p:cNvSpPr>
          <p:nvPr/>
        </p:nvSpPr>
        <p:spPr>
          <a:xfrm>
            <a:off x="10736312" y="4813642"/>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Libéria</a:t>
            </a:r>
          </a:p>
        </p:txBody>
      </p:sp>
      <p:pic>
        <p:nvPicPr>
          <p:cNvPr id="106" name="Picture 105">
            <a:extLst>
              <a:ext uri="{FF2B5EF4-FFF2-40B4-BE49-F238E27FC236}">
                <a16:creationId xmlns:a16="http://schemas.microsoft.com/office/drawing/2014/main" id="{43B6A6BF-733F-4405-BA84-F99745243F07}"/>
              </a:ext>
            </a:extLst>
          </p:cNvPr>
          <p:cNvPicPr>
            <a:picLocks/>
          </p:cNvPicPr>
          <p:nvPr/>
        </p:nvPicPr>
        <p:blipFill>
          <a:blip r:embed="rId105"/>
          <a:stretch>
            <a:fillRect/>
          </a:stretch>
        </p:blipFill>
        <p:spPr>
          <a:xfrm>
            <a:off x="10558027" y="4824071"/>
            <a:ext cx="144780" cy="96520"/>
          </a:xfrm>
          <a:prstGeom prst="rect">
            <a:avLst/>
          </a:prstGeom>
          <a:ln>
            <a:solidFill>
              <a:srgbClr val="D0D0D0"/>
            </a:solidFill>
          </a:ln>
        </p:spPr>
      </p:pic>
      <p:sp>
        <p:nvSpPr>
          <p:cNvPr id="237" name="TextBox 236">
            <a:extLst>
              <a:ext uri="{FF2B5EF4-FFF2-40B4-BE49-F238E27FC236}">
                <a16:creationId xmlns:a16="http://schemas.microsoft.com/office/drawing/2014/main" id="{CDAB4FB7-6671-4131-8BDA-BE95187B0CD7}"/>
              </a:ext>
            </a:extLst>
          </p:cNvPr>
          <p:cNvSpPr txBox="1">
            <a:spLocks/>
          </p:cNvSpPr>
          <p:nvPr/>
        </p:nvSpPr>
        <p:spPr>
          <a:xfrm>
            <a:off x="9551427" y="2922762"/>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Guinée-Bissau</a:t>
            </a:r>
          </a:p>
        </p:txBody>
      </p:sp>
      <p:pic>
        <p:nvPicPr>
          <p:cNvPr id="110" name="Picture 109">
            <a:extLst>
              <a:ext uri="{FF2B5EF4-FFF2-40B4-BE49-F238E27FC236}">
                <a16:creationId xmlns:a16="http://schemas.microsoft.com/office/drawing/2014/main" id="{A7D57D4D-88E8-4AEE-A4F9-AD47285E5AFD}"/>
              </a:ext>
            </a:extLst>
          </p:cNvPr>
          <p:cNvPicPr>
            <a:picLocks/>
          </p:cNvPicPr>
          <p:nvPr/>
        </p:nvPicPr>
        <p:blipFill>
          <a:blip r:embed="rId106"/>
          <a:stretch>
            <a:fillRect/>
          </a:stretch>
        </p:blipFill>
        <p:spPr>
          <a:xfrm>
            <a:off x="9336909" y="2925787"/>
            <a:ext cx="144780" cy="96520"/>
          </a:xfrm>
          <a:prstGeom prst="rect">
            <a:avLst/>
          </a:prstGeom>
          <a:ln>
            <a:solidFill>
              <a:srgbClr val="D0D0D0"/>
            </a:solidFill>
          </a:ln>
        </p:spPr>
      </p:pic>
      <p:sp>
        <p:nvSpPr>
          <p:cNvPr id="11" name="TextBox 10">
            <a:extLst>
              <a:ext uri="{FF2B5EF4-FFF2-40B4-BE49-F238E27FC236}">
                <a16:creationId xmlns:a16="http://schemas.microsoft.com/office/drawing/2014/main" id="{1D453151-4B9A-47BE-97A5-0A54291E614C}"/>
              </a:ext>
            </a:extLst>
          </p:cNvPr>
          <p:cNvSpPr txBox="1">
            <a:spLocks/>
          </p:cNvSpPr>
          <p:nvPr/>
        </p:nvSpPr>
        <p:spPr>
          <a:xfrm>
            <a:off x="10736312" y="4334359"/>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Ghana</a:t>
            </a:r>
          </a:p>
        </p:txBody>
      </p:sp>
      <p:pic>
        <p:nvPicPr>
          <p:cNvPr id="112" name="Picture 111">
            <a:extLst>
              <a:ext uri="{FF2B5EF4-FFF2-40B4-BE49-F238E27FC236}">
                <a16:creationId xmlns:a16="http://schemas.microsoft.com/office/drawing/2014/main" id="{FC2A27FC-DF79-42DD-9FDA-90EAC40CFEC9}"/>
              </a:ext>
            </a:extLst>
          </p:cNvPr>
          <p:cNvPicPr>
            <a:picLocks/>
          </p:cNvPicPr>
          <p:nvPr/>
        </p:nvPicPr>
        <p:blipFill>
          <a:blip r:embed="rId107"/>
          <a:stretch>
            <a:fillRect/>
          </a:stretch>
        </p:blipFill>
        <p:spPr>
          <a:xfrm>
            <a:off x="10558027" y="4342637"/>
            <a:ext cx="144780" cy="96520"/>
          </a:xfrm>
          <a:prstGeom prst="rect">
            <a:avLst/>
          </a:prstGeom>
          <a:ln>
            <a:solidFill>
              <a:srgbClr val="D0D0D0"/>
            </a:solidFill>
          </a:ln>
        </p:spPr>
      </p:pic>
      <p:sp>
        <p:nvSpPr>
          <p:cNvPr id="249" name="TextBox 248">
            <a:extLst>
              <a:ext uri="{FF2B5EF4-FFF2-40B4-BE49-F238E27FC236}">
                <a16:creationId xmlns:a16="http://schemas.microsoft.com/office/drawing/2014/main" id="{08E3714A-9014-468F-AB41-28ABC8C17604}"/>
              </a:ext>
            </a:extLst>
          </p:cNvPr>
          <p:cNvSpPr txBox="1">
            <a:spLocks/>
          </p:cNvSpPr>
          <p:nvPr>
            <p:custDataLst>
              <p:tags r:id="rId21"/>
            </p:custDataLst>
          </p:nvPr>
        </p:nvSpPr>
        <p:spPr>
          <a:xfrm>
            <a:off x="9551427" y="2769914"/>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abon</a:t>
            </a:r>
          </a:p>
        </p:txBody>
      </p:sp>
      <p:pic>
        <p:nvPicPr>
          <p:cNvPr id="114" name="Picture 113">
            <a:extLst>
              <a:ext uri="{FF2B5EF4-FFF2-40B4-BE49-F238E27FC236}">
                <a16:creationId xmlns:a16="http://schemas.microsoft.com/office/drawing/2014/main" id="{5C2F19F1-EE56-4F0B-817E-C46BABD45A64}"/>
              </a:ext>
            </a:extLst>
          </p:cNvPr>
          <p:cNvPicPr>
            <a:picLocks/>
          </p:cNvPicPr>
          <p:nvPr/>
        </p:nvPicPr>
        <p:blipFill>
          <a:blip r:embed="rId108"/>
          <a:stretch>
            <a:fillRect/>
          </a:stretch>
        </p:blipFill>
        <p:spPr>
          <a:xfrm>
            <a:off x="9336909" y="2761754"/>
            <a:ext cx="144780" cy="96520"/>
          </a:xfrm>
          <a:prstGeom prst="rect">
            <a:avLst/>
          </a:prstGeom>
          <a:ln>
            <a:solidFill>
              <a:srgbClr val="D0D0D0"/>
            </a:solidFill>
          </a:ln>
        </p:spPr>
      </p:pic>
      <p:sp>
        <p:nvSpPr>
          <p:cNvPr id="231" name="TextBox 230">
            <a:extLst>
              <a:ext uri="{FF2B5EF4-FFF2-40B4-BE49-F238E27FC236}">
                <a16:creationId xmlns:a16="http://schemas.microsoft.com/office/drawing/2014/main" id="{087B231A-BAE4-42BE-919E-77B32179A298}"/>
              </a:ext>
            </a:extLst>
          </p:cNvPr>
          <p:cNvSpPr txBox="1">
            <a:spLocks/>
          </p:cNvSpPr>
          <p:nvPr/>
        </p:nvSpPr>
        <p:spPr>
          <a:xfrm>
            <a:off x="10736312" y="4939373"/>
            <a:ext cx="863831" cy="123111"/>
          </a:xfrm>
          <a:prstGeom prst="rect">
            <a:avLst/>
          </a:prstGeom>
          <a:solidFill>
            <a:srgbClr val="D0D0D0"/>
          </a:solid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Mali</a:t>
            </a:r>
          </a:p>
        </p:txBody>
      </p:sp>
      <p:pic>
        <p:nvPicPr>
          <p:cNvPr id="116" name="Picture 115">
            <a:extLst>
              <a:ext uri="{FF2B5EF4-FFF2-40B4-BE49-F238E27FC236}">
                <a16:creationId xmlns:a16="http://schemas.microsoft.com/office/drawing/2014/main" id="{31977052-57CD-483C-B75F-7157185A1924}"/>
              </a:ext>
            </a:extLst>
          </p:cNvPr>
          <p:cNvPicPr>
            <a:picLocks/>
          </p:cNvPicPr>
          <p:nvPr/>
        </p:nvPicPr>
        <p:blipFill>
          <a:blip r:embed="rId109"/>
          <a:stretch>
            <a:fillRect/>
          </a:stretch>
        </p:blipFill>
        <p:spPr>
          <a:xfrm>
            <a:off x="10558027" y="4980152"/>
            <a:ext cx="144780" cy="96520"/>
          </a:xfrm>
          <a:prstGeom prst="rect">
            <a:avLst/>
          </a:prstGeom>
          <a:ln>
            <a:solidFill>
              <a:srgbClr val="D0D0D0"/>
            </a:solidFill>
          </a:ln>
        </p:spPr>
      </p:pic>
      <p:sp>
        <p:nvSpPr>
          <p:cNvPr id="18" name="TextBox 17">
            <a:extLst>
              <a:ext uri="{FF2B5EF4-FFF2-40B4-BE49-F238E27FC236}">
                <a16:creationId xmlns:a16="http://schemas.microsoft.com/office/drawing/2014/main" id="{2B2A8693-DAE7-F126-F48E-70A35E9064BC}"/>
              </a:ext>
            </a:extLst>
          </p:cNvPr>
          <p:cNvSpPr txBox="1">
            <a:spLocks/>
          </p:cNvSpPr>
          <p:nvPr>
            <p:custDataLst>
              <p:tags r:id="rId22"/>
            </p:custDataLst>
          </p:nvPr>
        </p:nvSpPr>
        <p:spPr>
          <a:xfrm>
            <a:off x="9551427" y="2436408"/>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p-Vert</a:t>
            </a:r>
          </a:p>
        </p:txBody>
      </p:sp>
      <p:pic>
        <p:nvPicPr>
          <p:cNvPr id="118" name="Picture 117">
            <a:extLst>
              <a:ext uri="{FF2B5EF4-FFF2-40B4-BE49-F238E27FC236}">
                <a16:creationId xmlns:a16="http://schemas.microsoft.com/office/drawing/2014/main" id="{49D4E42C-D50F-4C56-9C14-DA1FC546D421}"/>
              </a:ext>
            </a:extLst>
          </p:cNvPr>
          <p:cNvPicPr>
            <a:picLocks/>
          </p:cNvPicPr>
          <p:nvPr/>
        </p:nvPicPr>
        <p:blipFill>
          <a:blip r:embed="rId110"/>
          <a:stretch>
            <a:fillRect/>
          </a:stretch>
        </p:blipFill>
        <p:spPr>
          <a:xfrm>
            <a:off x="9336909" y="2433688"/>
            <a:ext cx="144780" cy="96520"/>
          </a:xfrm>
          <a:prstGeom prst="rect">
            <a:avLst/>
          </a:prstGeom>
          <a:ln>
            <a:solidFill>
              <a:srgbClr val="D0D0D0"/>
            </a:solidFill>
          </a:ln>
        </p:spPr>
      </p:pic>
      <p:sp>
        <p:nvSpPr>
          <p:cNvPr id="99" name="TextBox 98">
            <a:extLst>
              <a:ext uri="{FF2B5EF4-FFF2-40B4-BE49-F238E27FC236}">
                <a16:creationId xmlns:a16="http://schemas.microsoft.com/office/drawing/2014/main" id="{03C8FF89-2591-45DE-93F5-C35D6B562F63}"/>
              </a:ext>
            </a:extLst>
          </p:cNvPr>
          <p:cNvSpPr txBox="1">
            <a:spLocks/>
          </p:cNvSpPr>
          <p:nvPr/>
        </p:nvSpPr>
        <p:spPr>
          <a:xfrm>
            <a:off x="9551427" y="2603161"/>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VOITURE</a:t>
            </a:r>
          </a:p>
        </p:txBody>
      </p:sp>
      <p:pic>
        <p:nvPicPr>
          <p:cNvPr id="120" name="Picture 119">
            <a:extLst>
              <a:ext uri="{FF2B5EF4-FFF2-40B4-BE49-F238E27FC236}">
                <a16:creationId xmlns:a16="http://schemas.microsoft.com/office/drawing/2014/main" id="{97FA8ED3-1EE6-4403-8896-D1E17670A7BE}"/>
              </a:ext>
            </a:extLst>
          </p:cNvPr>
          <p:cNvPicPr>
            <a:picLocks/>
          </p:cNvPicPr>
          <p:nvPr/>
        </p:nvPicPr>
        <p:blipFill>
          <a:blip r:embed="rId111"/>
          <a:stretch>
            <a:fillRect/>
          </a:stretch>
        </p:blipFill>
        <p:spPr>
          <a:xfrm>
            <a:off x="9336909" y="2597721"/>
            <a:ext cx="144780" cy="96520"/>
          </a:xfrm>
          <a:prstGeom prst="rect">
            <a:avLst/>
          </a:prstGeom>
          <a:ln w="6350">
            <a:solidFill>
              <a:srgbClr val="D0D0D0"/>
            </a:solidFill>
          </a:ln>
        </p:spPr>
      </p:pic>
      <p:sp>
        <p:nvSpPr>
          <p:cNvPr id="100" name="TextBox 99">
            <a:extLst>
              <a:ext uri="{FF2B5EF4-FFF2-40B4-BE49-F238E27FC236}">
                <a16:creationId xmlns:a16="http://schemas.microsoft.com/office/drawing/2014/main" id="{B9B16AFB-BDEB-435E-8364-21CB86C52A6F}"/>
              </a:ext>
            </a:extLst>
          </p:cNvPr>
          <p:cNvSpPr txBox="1">
            <a:spLocks/>
          </p:cNvSpPr>
          <p:nvPr/>
        </p:nvSpPr>
        <p:spPr>
          <a:xfrm>
            <a:off x="10736312" y="3216032"/>
            <a:ext cx="863831" cy="123111"/>
          </a:xfrm>
          <a:prstGeom prst="rect">
            <a:avLst/>
          </a:prstGeom>
          <a:solidFill>
            <a:srgbClr val="D0D0D0"/>
          </a:solid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République sahraouie</a:t>
            </a:r>
          </a:p>
        </p:txBody>
      </p:sp>
      <p:pic>
        <p:nvPicPr>
          <p:cNvPr id="257" name="Picture 256">
            <a:extLst>
              <a:ext uri="{FF2B5EF4-FFF2-40B4-BE49-F238E27FC236}">
                <a16:creationId xmlns:a16="http://schemas.microsoft.com/office/drawing/2014/main" id="{A454FD24-5165-4E56-B81A-D917677BB8AB}"/>
              </a:ext>
            </a:extLst>
          </p:cNvPr>
          <p:cNvPicPr>
            <a:picLocks/>
          </p:cNvPicPr>
          <p:nvPr/>
        </p:nvPicPr>
        <p:blipFill>
          <a:blip r:embed="rId112"/>
          <a:stretch>
            <a:fillRect/>
          </a:stretch>
        </p:blipFill>
        <p:spPr>
          <a:xfrm>
            <a:off x="10558027" y="3219291"/>
            <a:ext cx="144780" cy="96520"/>
          </a:xfrm>
          <a:prstGeom prst="rect">
            <a:avLst/>
          </a:prstGeom>
          <a:ln>
            <a:solidFill>
              <a:srgbClr val="D0D0D0"/>
            </a:solidFill>
          </a:ln>
        </p:spPr>
      </p:pic>
      <p:sp>
        <p:nvSpPr>
          <p:cNvPr id="278" name="TextBox 277">
            <a:extLst>
              <a:ext uri="{FF2B5EF4-FFF2-40B4-BE49-F238E27FC236}">
                <a16:creationId xmlns:a16="http://schemas.microsoft.com/office/drawing/2014/main" id="{8D8B7A88-5977-410E-91D2-5850ED050874}"/>
              </a:ext>
            </a:extLst>
          </p:cNvPr>
          <p:cNvSpPr txBox="1">
            <a:spLocks/>
          </p:cNvSpPr>
          <p:nvPr/>
        </p:nvSpPr>
        <p:spPr>
          <a:xfrm>
            <a:off x="10736312" y="6316623"/>
            <a:ext cx="863831" cy="123111"/>
          </a:xfrm>
          <a:prstGeom prst="rect">
            <a:avLst/>
          </a:prstGeom>
          <a:noFill/>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Zimbabwe</a:t>
            </a:r>
          </a:p>
        </p:txBody>
      </p:sp>
      <p:pic>
        <p:nvPicPr>
          <p:cNvPr id="212" name="Picture 211">
            <a:extLst>
              <a:ext uri="{FF2B5EF4-FFF2-40B4-BE49-F238E27FC236}">
                <a16:creationId xmlns:a16="http://schemas.microsoft.com/office/drawing/2014/main" id="{F4D713D6-D087-4D58-AED1-2C67C333985B}"/>
              </a:ext>
            </a:extLst>
          </p:cNvPr>
          <p:cNvPicPr>
            <a:picLocks/>
          </p:cNvPicPr>
          <p:nvPr/>
        </p:nvPicPr>
        <p:blipFill>
          <a:blip r:embed="rId113"/>
          <a:stretch>
            <a:fillRect/>
          </a:stretch>
        </p:blipFill>
        <p:spPr>
          <a:xfrm>
            <a:off x="10558027" y="6329918"/>
            <a:ext cx="144780" cy="96520"/>
          </a:xfrm>
          <a:prstGeom prst="rect">
            <a:avLst/>
          </a:prstGeom>
          <a:ln>
            <a:solidFill>
              <a:srgbClr val="D0D0D0"/>
            </a:solidFill>
          </a:ln>
        </p:spPr>
      </p:pic>
      <p:sp>
        <p:nvSpPr>
          <p:cNvPr id="3" name="TextBox 2">
            <a:extLst>
              <a:ext uri="{FF2B5EF4-FFF2-40B4-BE49-F238E27FC236}">
                <a16:creationId xmlns:a16="http://schemas.microsoft.com/office/drawing/2014/main" id="{D4923702-9EFF-FB53-FA1A-861CBF1886C3}"/>
              </a:ext>
            </a:extLst>
          </p:cNvPr>
          <p:cNvSpPr txBox="1">
            <a:spLocks/>
          </p:cNvSpPr>
          <p:nvPr>
            <p:custDataLst>
              <p:tags r:id="rId23"/>
            </p:custDataLst>
          </p:nvPr>
        </p:nvSpPr>
        <p:spPr>
          <a:xfrm>
            <a:off x="10736312" y="3056271"/>
            <a:ext cx="863831" cy="123111"/>
          </a:xfrm>
          <a:prstGeom prst="rect">
            <a:avLst/>
          </a:prstGeom>
          <a:solidFill>
            <a:srgbClr val="D0D0D0"/>
          </a:solidFill>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900" b="0" i="0" u="none" strike="noStrike" cap="none" spc="-3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3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rundi</a:t>
            </a:r>
          </a:p>
        </p:txBody>
      </p:sp>
      <p:pic>
        <p:nvPicPr>
          <p:cNvPr id="235" name="Picture 234">
            <a:extLst>
              <a:ext uri="{FF2B5EF4-FFF2-40B4-BE49-F238E27FC236}">
                <a16:creationId xmlns:a16="http://schemas.microsoft.com/office/drawing/2014/main" id="{DC22DF0A-10FF-4986-BCB4-875062AA2C27}"/>
              </a:ext>
            </a:extLst>
          </p:cNvPr>
          <p:cNvPicPr>
            <a:picLocks/>
          </p:cNvPicPr>
          <p:nvPr/>
        </p:nvPicPr>
        <p:blipFill>
          <a:blip r:embed="rId114"/>
          <a:stretch>
            <a:fillRect/>
          </a:stretch>
        </p:blipFill>
        <p:spPr>
          <a:xfrm>
            <a:off x="10558027" y="3058813"/>
            <a:ext cx="144780" cy="96520"/>
          </a:xfrm>
          <a:prstGeom prst="rect">
            <a:avLst/>
          </a:prstGeom>
          <a:ln>
            <a:solidFill>
              <a:srgbClr val="D0D0D0"/>
            </a:solidFill>
          </a:ln>
        </p:spPr>
      </p:pic>
      <p:sp>
        <p:nvSpPr>
          <p:cNvPr id="16" name="TextBox 15">
            <a:extLst>
              <a:ext uri="{FF2B5EF4-FFF2-40B4-BE49-F238E27FC236}">
                <a16:creationId xmlns:a16="http://schemas.microsoft.com/office/drawing/2014/main" id="{FBEFD138-FDF4-B461-F8A2-8789545145C1}"/>
              </a:ext>
            </a:extLst>
          </p:cNvPr>
          <p:cNvSpPr txBox="1">
            <a:spLocks/>
          </p:cNvSpPr>
          <p:nvPr>
            <p:custDataLst>
              <p:tags r:id="rId24"/>
            </p:custDataLst>
          </p:nvPr>
        </p:nvSpPr>
        <p:spPr>
          <a:xfrm>
            <a:off x="10736312" y="3375793"/>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rkina Faso</a:t>
            </a:r>
          </a:p>
        </p:txBody>
      </p:sp>
      <p:pic>
        <p:nvPicPr>
          <p:cNvPr id="238" name="Picture 237">
            <a:extLst>
              <a:ext uri="{FF2B5EF4-FFF2-40B4-BE49-F238E27FC236}">
                <a16:creationId xmlns:a16="http://schemas.microsoft.com/office/drawing/2014/main" id="{5EE09888-903A-484B-A260-C50CB1B828AB}"/>
              </a:ext>
            </a:extLst>
          </p:cNvPr>
          <p:cNvPicPr>
            <a:picLocks/>
          </p:cNvPicPr>
          <p:nvPr/>
        </p:nvPicPr>
        <p:blipFill>
          <a:blip r:embed="rId115"/>
          <a:stretch>
            <a:fillRect/>
          </a:stretch>
        </p:blipFill>
        <p:spPr>
          <a:xfrm>
            <a:off x="10558027" y="3379769"/>
            <a:ext cx="144780" cy="96520"/>
          </a:xfrm>
          <a:prstGeom prst="rect">
            <a:avLst/>
          </a:prstGeom>
          <a:ln>
            <a:solidFill>
              <a:srgbClr val="D0D0D0"/>
            </a:solidFill>
          </a:ln>
        </p:spPr>
      </p:pic>
      <p:sp>
        <p:nvSpPr>
          <p:cNvPr id="280" name="TextBox 279">
            <a:extLst>
              <a:ext uri="{FF2B5EF4-FFF2-40B4-BE49-F238E27FC236}">
                <a16:creationId xmlns:a16="http://schemas.microsoft.com/office/drawing/2014/main" id="{1BC554DF-A065-48C5-BE34-9389E9A997E0}"/>
              </a:ext>
            </a:extLst>
          </p:cNvPr>
          <p:cNvSpPr txBox="1">
            <a:spLocks/>
          </p:cNvSpPr>
          <p:nvPr>
            <p:custDataLst>
              <p:tags r:id="rId25"/>
            </p:custDataLst>
          </p:nvPr>
        </p:nvSpPr>
        <p:spPr>
          <a:xfrm>
            <a:off x="10736312" y="4174598"/>
            <a:ext cx="863831" cy="123111"/>
          </a:xfrm>
          <a:prstGeom prst="rect">
            <a:avLst/>
          </a:prstGeom>
          <a:noFill/>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jibouti</a:t>
            </a:r>
          </a:p>
        </p:txBody>
      </p:sp>
      <p:pic>
        <p:nvPicPr>
          <p:cNvPr id="145410" name="Picture 145409">
            <a:extLst>
              <a:ext uri="{FF2B5EF4-FFF2-40B4-BE49-F238E27FC236}">
                <a16:creationId xmlns:a16="http://schemas.microsoft.com/office/drawing/2014/main" id="{657923EC-7EAF-41DC-B48B-5F8AB5D71A03}"/>
              </a:ext>
            </a:extLst>
          </p:cNvPr>
          <p:cNvPicPr>
            <a:picLocks/>
          </p:cNvPicPr>
          <p:nvPr/>
        </p:nvPicPr>
        <p:blipFill>
          <a:blip r:embed="rId116"/>
          <a:stretch>
            <a:fillRect/>
          </a:stretch>
        </p:blipFill>
        <p:spPr>
          <a:xfrm>
            <a:off x="10558027" y="4182159"/>
            <a:ext cx="144780" cy="96520"/>
          </a:xfrm>
          <a:prstGeom prst="rect">
            <a:avLst/>
          </a:prstGeom>
          <a:ln>
            <a:solidFill>
              <a:srgbClr val="D0D0D0"/>
            </a:solidFill>
          </a:ln>
        </p:spPr>
      </p:pic>
      <p:sp>
        <p:nvSpPr>
          <p:cNvPr id="303" name="TextBox 302">
            <a:extLst>
              <a:ext uri="{FF2B5EF4-FFF2-40B4-BE49-F238E27FC236}">
                <a16:creationId xmlns:a16="http://schemas.microsoft.com/office/drawing/2014/main" id="{97E702F9-71E8-4870-805B-0C34D0F8197D}"/>
              </a:ext>
            </a:extLst>
          </p:cNvPr>
          <p:cNvSpPr txBox="1">
            <a:spLocks/>
          </p:cNvSpPr>
          <p:nvPr>
            <p:custDataLst>
              <p:tags r:id="rId26"/>
            </p:custDataLst>
          </p:nvPr>
        </p:nvSpPr>
        <p:spPr>
          <a:xfrm>
            <a:off x="10736312" y="5112326"/>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lawi</a:t>
            </a:r>
          </a:p>
        </p:txBody>
      </p:sp>
      <p:pic>
        <p:nvPicPr>
          <p:cNvPr id="145414" name="Picture 145413">
            <a:extLst>
              <a:ext uri="{FF2B5EF4-FFF2-40B4-BE49-F238E27FC236}">
                <a16:creationId xmlns:a16="http://schemas.microsoft.com/office/drawing/2014/main" id="{6A998B7D-26A7-42D3-BAD2-AA7FFB872167}"/>
              </a:ext>
            </a:extLst>
          </p:cNvPr>
          <p:cNvPicPr>
            <a:picLocks/>
          </p:cNvPicPr>
          <p:nvPr/>
        </p:nvPicPr>
        <p:blipFill>
          <a:blip r:embed="rId117"/>
          <a:stretch>
            <a:fillRect/>
          </a:stretch>
        </p:blipFill>
        <p:spPr>
          <a:xfrm>
            <a:off x="10558027" y="5108977"/>
            <a:ext cx="144780" cy="96520"/>
          </a:xfrm>
          <a:prstGeom prst="rect">
            <a:avLst/>
          </a:prstGeom>
          <a:ln>
            <a:solidFill>
              <a:srgbClr val="D0D0D0"/>
            </a:solidFill>
          </a:ln>
        </p:spPr>
      </p:pic>
      <p:sp>
        <p:nvSpPr>
          <p:cNvPr id="299" name="TextBox 298">
            <a:extLst>
              <a:ext uri="{FF2B5EF4-FFF2-40B4-BE49-F238E27FC236}">
                <a16:creationId xmlns:a16="http://schemas.microsoft.com/office/drawing/2014/main" id="{9B2BD3F0-AA18-416E-90FB-5D0661986D74}"/>
              </a:ext>
            </a:extLst>
          </p:cNvPr>
          <p:cNvSpPr txBox="1">
            <a:spLocks/>
          </p:cNvSpPr>
          <p:nvPr>
            <p:custDataLst>
              <p:tags r:id="rId27"/>
            </p:custDataLst>
          </p:nvPr>
        </p:nvSpPr>
        <p:spPr>
          <a:xfrm>
            <a:off x="10736312" y="6163075"/>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Zambie</a:t>
            </a:r>
          </a:p>
        </p:txBody>
      </p:sp>
      <p:pic>
        <p:nvPicPr>
          <p:cNvPr id="145416" name="Picture 145415">
            <a:extLst>
              <a:ext uri="{FF2B5EF4-FFF2-40B4-BE49-F238E27FC236}">
                <a16:creationId xmlns:a16="http://schemas.microsoft.com/office/drawing/2014/main" id="{5BAE0A7F-2C36-450A-A76F-B228EE0B9A23}"/>
              </a:ext>
            </a:extLst>
          </p:cNvPr>
          <p:cNvPicPr>
            <a:picLocks/>
          </p:cNvPicPr>
          <p:nvPr/>
        </p:nvPicPr>
        <p:blipFill>
          <a:blip r:embed="rId118"/>
          <a:stretch>
            <a:fillRect/>
          </a:stretch>
        </p:blipFill>
        <p:spPr>
          <a:xfrm>
            <a:off x="10558027" y="6191019"/>
            <a:ext cx="144780" cy="96520"/>
          </a:xfrm>
          <a:prstGeom prst="rect">
            <a:avLst/>
          </a:prstGeom>
          <a:ln>
            <a:solidFill>
              <a:srgbClr val="D0D0D0"/>
            </a:solidFill>
          </a:ln>
        </p:spPr>
      </p:pic>
      <p:sp>
        <p:nvSpPr>
          <p:cNvPr id="223" name="TextBox 222">
            <a:extLst>
              <a:ext uri="{FF2B5EF4-FFF2-40B4-BE49-F238E27FC236}">
                <a16:creationId xmlns:a16="http://schemas.microsoft.com/office/drawing/2014/main" id="{2BDCBC2E-7C0B-42F5-ABCA-359F56B34FA0}"/>
              </a:ext>
            </a:extLst>
          </p:cNvPr>
          <p:cNvSpPr txBox="1">
            <a:spLocks/>
          </p:cNvSpPr>
          <p:nvPr>
            <p:custDataLst>
              <p:tags r:id="rId28"/>
            </p:custDataLst>
          </p:nvPr>
        </p:nvSpPr>
        <p:spPr>
          <a:xfrm>
            <a:off x="10736312" y="5880203"/>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dan du Sud</a:t>
            </a:r>
          </a:p>
        </p:txBody>
      </p:sp>
      <p:pic>
        <p:nvPicPr>
          <p:cNvPr id="145418" name="Picture 145417">
            <a:extLst>
              <a:ext uri="{FF2B5EF4-FFF2-40B4-BE49-F238E27FC236}">
                <a16:creationId xmlns:a16="http://schemas.microsoft.com/office/drawing/2014/main" id="{8097C24E-74B1-4962-AA5C-19DBB02A2952}"/>
              </a:ext>
            </a:extLst>
          </p:cNvPr>
          <p:cNvPicPr>
            <a:picLocks/>
          </p:cNvPicPr>
          <p:nvPr/>
        </p:nvPicPr>
        <p:blipFill>
          <a:blip r:embed="rId119"/>
          <a:stretch>
            <a:fillRect/>
          </a:stretch>
        </p:blipFill>
        <p:spPr>
          <a:xfrm>
            <a:off x="10558027" y="5870063"/>
            <a:ext cx="144780" cy="96520"/>
          </a:xfrm>
          <a:prstGeom prst="rect">
            <a:avLst/>
          </a:prstGeom>
          <a:ln>
            <a:solidFill>
              <a:srgbClr val="D0D0D0"/>
            </a:solidFill>
          </a:ln>
        </p:spPr>
      </p:pic>
      <p:sp>
        <p:nvSpPr>
          <p:cNvPr id="295" name="TextBox 294">
            <a:extLst>
              <a:ext uri="{FF2B5EF4-FFF2-40B4-BE49-F238E27FC236}">
                <a16:creationId xmlns:a16="http://schemas.microsoft.com/office/drawing/2014/main" id="{731382D7-223F-4E12-A74F-E0E96E9685D8}"/>
              </a:ext>
            </a:extLst>
          </p:cNvPr>
          <p:cNvSpPr txBox="1">
            <a:spLocks/>
          </p:cNvSpPr>
          <p:nvPr>
            <p:custDataLst>
              <p:tags r:id="rId29"/>
            </p:custDataLst>
          </p:nvPr>
        </p:nvSpPr>
        <p:spPr>
          <a:xfrm>
            <a:off x="10736312" y="6024745"/>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uganda</a:t>
            </a:r>
          </a:p>
        </p:txBody>
      </p:sp>
      <p:pic>
        <p:nvPicPr>
          <p:cNvPr id="145420" name="Picture 145419">
            <a:extLst>
              <a:ext uri="{FF2B5EF4-FFF2-40B4-BE49-F238E27FC236}">
                <a16:creationId xmlns:a16="http://schemas.microsoft.com/office/drawing/2014/main" id="{73EAB5E8-109F-47B9-8B8C-CB2938C34492}"/>
              </a:ext>
            </a:extLst>
          </p:cNvPr>
          <p:cNvPicPr>
            <a:picLocks/>
          </p:cNvPicPr>
          <p:nvPr/>
        </p:nvPicPr>
        <p:blipFill>
          <a:blip r:embed="rId120"/>
          <a:stretch>
            <a:fillRect/>
          </a:stretch>
        </p:blipFill>
        <p:spPr>
          <a:xfrm>
            <a:off x="10558027" y="6035795"/>
            <a:ext cx="144780" cy="96520"/>
          </a:xfrm>
          <a:prstGeom prst="rect">
            <a:avLst/>
          </a:prstGeom>
          <a:ln>
            <a:solidFill>
              <a:srgbClr val="D0D0D0"/>
            </a:solidFill>
          </a:ln>
        </p:spPr>
      </p:pic>
      <p:sp>
        <p:nvSpPr>
          <p:cNvPr id="169" name="TextBox 168">
            <a:extLst>
              <a:ext uri="{FF2B5EF4-FFF2-40B4-BE49-F238E27FC236}">
                <a16:creationId xmlns:a16="http://schemas.microsoft.com/office/drawing/2014/main" id="{7F05DB0A-226E-42BA-8988-E966ADBB335E}"/>
              </a:ext>
            </a:extLst>
          </p:cNvPr>
          <p:cNvSpPr txBox="1">
            <a:spLocks/>
          </p:cNvSpPr>
          <p:nvPr>
            <p:custDataLst>
              <p:tags r:id="rId30"/>
            </p:custDataLst>
          </p:nvPr>
        </p:nvSpPr>
        <p:spPr>
          <a:xfrm>
            <a:off x="10736312" y="5425996"/>
            <a:ext cx="10250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wanda</a:t>
            </a:r>
          </a:p>
        </p:txBody>
      </p:sp>
      <p:pic>
        <p:nvPicPr>
          <p:cNvPr id="145422" name="Picture 145421">
            <a:extLst>
              <a:ext uri="{FF2B5EF4-FFF2-40B4-BE49-F238E27FC236}">
                <a16:creationId xmlns:a16="http://schemas.microsoft.com/office/drawing/2014/main" id="{0411A1CA-F88E-4097-B930-56A90796C803}"/>
              </a:ext>
            </a:extLst>
          </p:cNvPr>
          <p:cNvPicPr>
            <a:picLocks/>
          </p:cNvPicPr>
          <p:nvPr/>
        </p:nvPicPr>
        <p:blipFill>
          <a:blip r:embed="rId121"/>
          <a:stretch>
            <a:fillRect/>
          </a:stretch>
        </p:blipFill>
        <p:spPr>
          <a:xfrm>
            <a:off x="10558027" y="5444440"/>
            <a:ext cx="144780" cy="96520"/>
          </a:xfrm>
          <a:prstGeom prst="rect">
            <a:avLst/>
          </a:prstGeom>
          <a:ln>
            <a:solidFill>
              <a:srgbClr val="D0D0D0"/>
            </a:solidFill>
          </a:ln>
        </p:spPr>
      </p:pic>
      <p:sp>
        <p:nvSpPr>
          <p:cNvPr id="174" name="TextBox 173">
            <a:extLst>
              <a:ext uri="{FF2B5EF4-FFF2-40B4-BE49-F238E27FC236}">
                <a16:creationId xmlns:a16="http://schemas.microsoft.com/office/drawing/2014/main" id="{D6E7DB26-4EDA-46FE-8508-856DE9D0B8A0}"/>
              </a:ext>
            </a:extLst>
          </p:cNvPr>
          <p:cNvSpPr txBox="1">
            <a:spLocks/>
          </p:cNvSpPr>
          <p:nvPr>
            <p:custDataLst>
              <p:tags r:id="rId31"/>
            </p:custDataLst>
          </p:nvPr>
        </p:nvSpPr>
        <p:spPr>
          <a:xfrm>
            <a:off x="10736312" y="5255270"/>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mibie</a:t>
            </a:r>
          </a:p>
        </p:txBody>
      </p:sp>
      <p:pic>
        <p:nvPicPr>
          <p:cNvPr id="145424" name="Picture 145423">
            <a:extLst>
              <a:ext uri="{FF2B5EF4-FFF2-40B4-BE49-F238E27FC236}">
                <a16:creationId xmlns:a16="http://schemas.microsoft.com/office/drawing/2014/main" id="{B01B3CA2-51BC-45A8-BB14-BCDB1BE2B7A8}"/>
              </a:ext>
            </a:extLst>
          </p:cNvPr>
          <p:cNvPicPr>
            <a:picLocks/>
          </p:cNvPicPr>
          <p:nvPr/>
        </p:nvPicPr>
        <p:blipFill>
          <a:blip r:embed="rId122"/>
          <a:stretch>
            <a:fillRect/>
          </a:stretch>
        </p:blipFill>
        <p:spPr>
          <a:xfrm>
            <a:off x="10558027" y="5270107"/>
            <a:ext cx="144780" cy="96520"/>
          </a:xfrm>
          <a:prstGeom prst="rect">
            <a:avLst/>
          </a:prstGeom>
          <a:ln>
            <a:solidFill>
              <a:srgbClr val="D0D0D0"/>
            </a:solidFill>
          </a:ln>
        </p:spPr>
      </p:pic>
      <p:sp>
        <p:nvSpPr>
          <p:cNvPr id="206" name="TextBox 205">
            <a:extLst>
              <a:ext uri="{FF2B5EF4-FFF2-40B4-BE49-F238E27FC236}">
                <a16:creationId xmlns:a16="http://schemas.microsoft.com/office/drawing/2014/main" id="{8E01AB3B-4C08-408C-BCA2-E51FDBF4970E}"/>
              </a:ext>
            </a:extLst>
          </p:cNvPr>
          <p:cNvSpPr txBox="1">
            <a:spLocks/>
          </p:cNvSpPr>
          <p:nvPr>
            <p:custDataLst>
              <p:tags r:id="rId32"/>
            </p:custDataLst>
          </p:nvPr>
        </p:nvSpPr>
        <p:spPr>
          <a:xfrm>
            <a:off x="10736312" y="5621620"/>
            <a:ext cx="863831" cy="1233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ierra Leone</a:t>
            </a:r>
          </a:p>
        </p:txBody>
      </p:sp>
      <p:pic>
        <p:nvPicPr>
          <p:cNvPr id="145426" name="Picture 145425">
            <a:extLst>
              <a:ext uri="{FF2B5EF4-FFF2-40B4-BE49-F238E27FC236}">
                <a16:creationId xmlns:a16="http://schemas.microsoft.com/office/drawing/2014/main" id="{D5C467D8-1F25-479B-B2BE-F387B9C90E24}"/>
              </a:ext>
            </a:extLst>
          </p:cNvPr>
          <p:cNvPicPr>
            <a:picLocks/>
          </p:cNvPicPr>
          <p:nvPr/>
        </p:nvPicPr>
        <p:blipFill>
          <a:blip r:embed="rId123"/>
          <a:stretch>
            <a:fillRect/>
          </a:stretch>
        </p:blipFill>
        <p:spPr>
          <a:xfrm>
            <a:off x="10558027" y="5591063"/>
            <a:ext cx="144780" cy="96520"/>
          </a:xfrm>
          <a:prstGeom prst="rect">
            <a:avLst/>
          </a:prstGeom>
          <a:ln>
            <a:solidFill>
              <a:srgbClr val="D0D0D0"/>
            </a:solidFill>
          </a:ln>
        </p:spPr>
      </p:pic>
      <p:sp>
        <p:nvSpPr>
          <p:cNvPr id="178" name="TextBox 177">
            <a:extLst>
              <a:ext uri="{FF2B5EF4-FFF2-40B4-BE49-F238E27FC236}">
                <a16:creationId xmlns:a16="http://schemas.microsoft.com/office/drawing/2014/main" id="{730221FA-FE2D-48A0-8359-CD77C99CF966}"/>
              </a:ext>
            </a:extLst>
          </p:cNvPr>
          <p:cNvSpPr txBox="1">
            <a:spLocks/>
          </p:cNvSpPr>
          <p:nvPr>
            <p:custDataLst>
              <p:tags r:id="rId33"/>
            </p:custDataLst>
          </p:nvPr>
        </p:nvSpPr>
        <p:spPr>
          <a:xfrm>
            <a:off x="10736312" y="4653881"/>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esotho</a:t>
            </a:r>
          </a:p>
        </p:txBody>
      </p:sp>
      <p:pic>
        <p:nvPicPr>
          <p:cNvPr id="145428" name="Picture 145427">
            <a:extLst>
              <a:ext uri="{FF2B5EF4-FFF2-40B4-BE49-F238E27FC236}">
                <a16:creationId xmlns:a16="http://schemas.microsoft.com/office/drawing/2014/main" id="{B458A120-DF9E-47C5-B0FB-A492E22012E1}"/>
              </a:ext>
            </a:extLst>
          </p:cNvPr>
          <p:cNvPicPr>
            <a:picLocks/>
          </p:cNvPicPr>
          <p:nvPr/>
        </p:nvPicPr>
        <p:blipFill>
          <a:blip r:embed="rId124"/>
          <a:stretch>
            <a:fillRect/>
          </a:stretch>
        </p:blipFill>
        <p:spPr>
          <a:xfrm>
            <a:off x="10558027" y="4663593"/>
            <a:ext cx="144780" cy="96520"/>
          </a:xfrm>
          <a:prstGeom prst="rect">
            <a:avLst/>
          </a:prstGeom>
          <a:ln>
            <a:solidFill>
              <a:srgbClr val="D0D0D0"/>
            </a:solidFill>
          </a:ln>
        </p:spPr>
      </p:pic>
      <p:sp>
        <p:nvSpPr>
          <p:cNvPr id="217" name="TextBox 216">
            <a:extLst>
              <a:ext uri="{FF2B5EF4-FFF2-40B4-BE49-F238E27FC236}">
                <a16:creationId xmlns:a16="http://schemas.microsoft.com/office/drawing/2014/main" id="{D4ED5B21-654D-47B9-A541-C548A2DA60C0}"/>
              </a:ext>
            </a:extLst>
          </p:cNvPr>
          <p:cNvSpPr txBox="1">
            <a:spLocks/>
          </p:cNvSpPr>
          <p:nvPr>
            <p:custDataLst>
              <p:tags r:id="rId34"/>
            </p:custDataLst>
          </p:nvPr>
        </p:nvSpPr>
        <p:spPr>
          <a:xfrm>
            <a:off x="10736312" y="3855076"/>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ores</a:t>
            </a:r>
          </a:p>
        </p:txBody>
      </p:sp>
      <p:pic>
        <p:nvPicPr>
          <p:cNvPr id="145430" name="Picture 145429">
            <a:extLst>
              <a:ext uri="{FF2B5EF4-FFF2-40B4-BE49-F238E27FC236}">
                <a16:creationId xmlns:a16="http://schemas.microsoft.com/office/drawing/2014/main" id="{7CF2BB00-C3E7-4627-A9A4-C0473EA7A837}"/>
              </a:ext>
            </a:extLst>
          </p:cNvPr>
          <p:cNvPicPr>
            <a:picLocks/>
          </p:cNvPicPr>
          <p:nvPr/>
        </p:nvPicPr>
        <p:blipFill>
          <a:blip r:embed="rId125"/>
          <a:stretch>
            <a:fillRect/>
          </a:stretch>
        </p:blipFill>
        <p:spPr>
          <a:xfrm>
            <a:off x="10558027" y="3861203"/>
            <a:ext cx="144780" cy="96520"/>
          </a:xfrm>
          <a:prstGeom prst="rect">
            <a:avLst/>
          </a:prstGeom>
          <a:ln>
            <a:solidFill>
              <a:srgbClr val="D0D0D0"/>
            </a:solidFill>
          </a:ln>
        </p:spPr>
      </p:pic>
      <p:sp>
        <p:nvSpPr>
          <p:cNvPr id="297" name="TextBox 296">
            <a:extLst>
              <a:ext uri="{FF2B5EF4-FFF2-40B4-BE49-F238E27FC236}">
                <a16:creationId xmlns:a16="http://schemas.microsoft.com/office/drawing/2014/main" id="{B255B92C-C4FC-420F-9729-2F6C3BE8F090}"/>
              </a:ext>
            </a:extLst>
          </p:cNvPr>
          <p:cNvSpPr txBox="1">
            <a:spLocks/>
          </p:cNvSpPr>
          <p:nvPr>
            <p:custDataLst>
              <p:tags r:id="rId35"/>
            </p:custDataLst>
          </p:nvPr>
        </p:nvSpPr>
        <p:spPr>
          <a:xfrm>
            <a:off x="10736312" y="3535554"/>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otswana</a:t>
            </a:r>
          </a:p>
        </p:txBody>
      </p:sp>
      <p:pic>
        <p:nvPicPr>
          <p:cNvPr id="145432" name="Picture 145431">
            <a:extLst>
              <a:ext uri="{FF2B5EF4-FFF2-40B4-BE49-F238E27FC236}">
                <a16:creationId xmlns:a16="http://schemas.microsoft.com/office/drawing/2014/main" id="{A7D2A1D2-800E-4E11-AB52-B932F47C6A7F}"/>
              </a:ext>
            </a:extLst>
          </p:cNvPr>
          <p:cNvPicPr>
            <a:picLocks/>
          </p:cNvPicPr>
          <p:nvPr/>
        </p:nvPicPr>
        <p:blipFill>
          <a:blip r:embed="rId126"/>
          <a:stretch>
            <a:fillRect/>
          </a:stretch>
        </p:blipFill>
        <p:spPr>
          <a:xfrm>
            <a:off x="10558027" y="3540247"/>
            <a:ext cx="144780" cy="96520"/>
          </a:xfrm>
          <a:prstGeom prst="rect">
            <a:avLst/>
          </a:prstGeom>
          <a:ln>
            <a:solidFill>
              <a:srgbClr val="D0D0D0"/>
            </a:solidFill>
          </a:ln>
        </p:spPr>
      </p:pic>
      <p:sp>
        <p:nvSpPr>
          <p:cNvPr id="290" name="TextBox 289">
            <a:extLst>
              <a:ext uri="{FF2B5EF4-FFF2-40B4-BE49-F238E27FC236}">
                <a16:creationId xmlns:a16="http://schemas.microsoft.com/office/drawing/2014/main" id="{4349F204-98DC-4E38-911D-8D9E9F6AB2B6}"/>
              </a:ext>
            </a:extLst>
          </p:cNvPr>
          <p:cNvSpPr txBox="1">
            <a:spLocks/>
          </p:cNvSpPr>
          <p:nvPr>
            <p:custDataLst>
              <p:tags r:id="rId36"/>
            </p:custDataLst>
          </p:nvPr>
        </p:nvSpPr>
        <p:spPr>
          <a:xfrm>
            <a:off x="10736312" y="4494120"/>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enya</a:t>
            </a:r>
          </a:p>
        </p:txBody>
      </p:sp>
      <p:pic>
        <p:nvPicPr>
          <p:cNvPr id="145434" name="Picture 145433">
            <a:extLst>
              <a:ext uri="{FF2B5EF4-FFF2-40B4-BE49-F238E27FC236}">
                <a16:creationId xmlns:a16="http://schemas.microsoft.com/office/drawing/2014/main" id="{577717D3-FB19-4561-A53D-F386B3F2A7CA}"/>
              </a:ext>
            </a:extLst>
          </p:cNvPr>
          <p:cNvPicPr>
            <a:picLocks/>
          </p:cNvPicPr>
          <p:nvPr/>
        </p:nvPicPr>
        <p:blipFill>
          <a:blip r:embed="rId127"/>
          <a:stretch>
            <a:fillRect/>
          </a:stretch>
        </p:blipFill>
        <p:spPr>
          <a:xfrm>
            <a:off x="10558027" y="4503115"/>
            <a:ext cx="144780" cy="96520"/>
          </a:xfrm>
          <a:prstGeom prst="rect">
            <a:avLst/>
          </a:prstGeom>
          <a:ln>
            <a:solidFill>
              <a:srgbClr val="D0D0D0"/>
            </a:solidFill>
          </a:ln>
        </p:spPr>
      </p:pic>
      <p:sp>
        <p:nvSpPr>
          <p:cNvPr id="168" name="TextBox 167">
            <a:extLst>
              <a:ext uri="{FF2B5EF4-FFF2-40B4-BE49-F238E27FC236}">
                <a16:creationId xmlns:a16="http://schemas.microsoft.com/office/drawing/2014/main" id="{AF85EBE0-C259-459B-A51B-49171E179074}"/>
              </a:ext>
            </a:extLst>
          </p:cNvPr>
          <p:cNvSpPr txBox="1">
            <a:spLocks/>
          </p:cNvSpPr>
          <p:nvPr>
            <p:custDataLst>
              <p:tags r:id="rId37"/>
            </p:custDataLst>
          </p:nvPr>
        </p:nvSpPr>
        <p:spPr>
          <a:xfrm>
            <a:off x="10736312" y="2736749"/>
            <a:ext cx="863831" cy="123111"/>
          </a:xfrm>
          <a:prstGeom prst="rect">
            <a:avLst/>
          </a:prstGeom>
          <a:solidFill>
            <a:schemeClr val="accent2"/>
          </a:solidFill>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None/>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igeria</a:t>
            </a:r>
          </a:p>
        </p:txBody>
      </p:sp>
      <p:pic>
        <p:nvPicPr>
          <p:cNvPr id="145436" name="Picture 145435">
            <a:extLst>
              <a:ext uri="{FF2B5EF4-FFF2-40B4-BE49-F238E27FC236}">
                <a16:creationId xmlns:a16="http://schemas.microsoft.com/office/drawing/2014/main" id="{201D50EE-B2BE-4A2E-B498-78E689011AFB}"/>
              </a:ext>
            </a:extLst>
          </p:cNvPr>
          <p:cNvPicPr>
            <a:picLocks/>
          </p:cNvPicPr>
          <p:nvPr/>
        </p:nvPicPr>
        <p:blipFill>
          <a:blip r:embed="rId128"/>
          <a:stretch>
            <a:fillRect/>
          </a:stretch>
        </p:blipFill>
        <p:spPr>
          <a:xfrm>
            <a:off x="10558027" y="2737857"/>
            <a:ext cx="144780" cy="96520"/>
          </a:xfrm>
          <a:prstGeom prst="rect">
            <a:avLst/>
          </a:prstGeom>
          <a:ln>
            <a:solidFill>
              <a:srgbClr val="D0D0D0"/>
            </a:solidFill>
          </a:ln>
        </p:spPr>
      </p:pic>
      <p:sp>
        <p:nvSpPr>
          <p:cNvPr id="199" name="TextBox 198">
            <a:extLst>
              <a:ext uri="{FF2B5EF4-FFF2-40B4-BE49-F238E27FC236}">
                <a16:creationId xmlns:a16="http://schemas.microsoft.com/office/drawing/2014/main" id="{04546CAD-ABE1-4946-B926-9B26E75A14A9}"/>
              </a:ext>
            </a:extLst>
          </p:cNvPr>
          <p:cNvSpPr txBox="1">
            <a:spLocks/>
          </p:cNvSpPr>
          <p:nvPr/>
        </p:nvSpPr>
        <p:spPr>
          <a:xfrm>
            <a:off x="10736312" y="2896510"/>
            <a:ext cx="863831" cy="123111"/>
          </a:xfrm>
          <a:prstGeom prst="rect">
            <a:avLst/>
          </a:prstGeom>
          <a:solidFill>
            <a:schemeClr val="accent2"/>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Tanzanie</a:t>
            </a:r>
          </a:p>
        </p:txBody>
      </p:sp>
      <p:pic>
        <p:nvPicPr>
          <p:cNvPr id="145438" name="Picture 145437">
            <a:extLst>
              <a:ext uri="{FF2B5EF4-FFF2-40B4-BE49-F238E27FC236}">
                <a16:creationId xmlns:a16="http://schemas.microsoft.com/office/drawing/2014/main" id="{1641F554-95E9-46CA-BF4C-8556B7880A7D}"/>
              </a:ext>
            </a:extLst>
          </p:cNvPr>
          <p:cNvPicPr>
            <a:picLocks/>
          </p:cNvPicPr>
          <p:nvPr/>
        </p:nvPicPr>
        <p:blipFill>
          <a:blip r:embed="rId129"/>
          <a:stretch>
            <a:fillRect/>
          </a:stretch>
        </p:blipFill>
        <p:spPr>
          <a:xfrm>
            <a:off x="10558027" y="2898335"/>
            <a:ext cx="144780" cy="96520"/>
          </a:xfrm>
          <a:prstGeom prst="rect">
            <a:avLst/>
          </a:prstGeom>
          <a:ln>
            <a:solidFill>
              <a:srgbClr val="D0D0D0"/>
            </a:solidFill>
          </a:ln>
        </p:spPr>
      </p:pic>
      <p:sp>
        <p:nvSpPr>
          <p:cNvPr id="49" name="TextBox 48">
            <a:extLst>
              <a:ext uri="{FF2B5EF4-FFF2-40B4-BE49-F238E27FC236}">
                <a16:creationId xmlns:a16="http://schemas.microsoft.com/office/drawing/2014/main" id="{AD9BC286-1E41-4506-0959-A5FC9AEF91E7}"/>
              </a:ext>
            </a:extLst>
          </p:cNvPr>
          <p:cNvSpPr txBox="1">
            <a:spLocks/>
          </p:cNvSpPr>
          <p:nvPr/>
        </p:nvSpPr>
        <p:spPr>
          <a:xfrm>
            <a:off x="10736312" y="5752593"/>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Somalie</a:t>
            </a:r>
          </a:p>
        </p:txBody>
      </p:sp>
      <p:pic>
        <p:nvPicPr>
          <p:cNvPr id="145442" name="Picture 145441">
            <a:extLst>
              <a:ext uri="{FF2B5EF4-FFF2-40B4-BE49-F238E27FC236}">
                <a16:creationId xmlns:a16="http://schemas.microsoft.com/office/drawing/2014/main" id="{57D1174F-C396-4F68-ABF5-B04E04362D9C}"/>
              </a:ext>
            </a:extLst>
          </p:cNvPr>
          <p:cNvPicPr>
            <a:picLocks/>
          </p:cNvPicPr>
          <p:nvPr/>
        </p:nvPicPr>
        <p:blipFill>
          <a:blip r:embed="rId130"/>
          <a:stretch>
            <a:fillRect/>
          </a:stretch>
        </p:blipFill>
        <p:spPr>
          <a:xfrm>
            <a:off x="10558027" y="5751675"/>
            <a:ext cx="144780" cy="96520"/>
          </a:xfrm>
          <a:prstGeom prst="rect">
            <a:avLst/>
          </a:prstGeom>
          <a:ln>
            <a:solidFill>
              <a:srgbClr val="D0D0D0"/>
            </a:solidFill>
          </a:ln>
        </p:spPr>
      </p:pic>
      <p:sp>
        <p:nvSpPr>
          <p:cNvPr id="260" name="TextBox 259">
            <a:extLst>
              <a:ext uri="{FF2B5EF4-FFF2-40B4-BE49-F238E27FC236}">
                <a16:creationId xmlns:a16="http://schemas.microsoft.com/office/drawing/2014/main" id="{EC00E666-EBBF-4F62-ACFF-54CECCF8E539}"/>
              </a:ext>
            </a:extLst>
          </p:cNvPr>
          <p:cNvSpPr txBox="1">
            <a:spLocks/>
          </p:cNvSpPr>
          <p:nvPr>
            <p:custDataLst>
              <p:tags r:id="rId38"/>
            </p:custDataLst>
          </p:nvPr>
        </p:nvSpPr>
        <p:spPr>
          <a:xfrm>
            <a:off x="10736312" y="2576988"/>
            <a:ext cx="868650" cy="123111"/>
          </a:xfrm>
          <a:prstGeom prst="rect">
            <a:avLst/>
          </a:prstGeom>
          <a:solidFill>
            <a:schemeClr val="accent2"/>
          </a:solid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thiopie</a:t>
            </a:r>
          </a:p>
        </p:txBody>
      </p:sp>
      <p:pic>
        <p:nvPicPr>
          <p:cNvPr id="145444" name="Picture 145443">
            <a:extLst>
              <a:ext uri="{FF2B5EF4-FFF2-40B4-BE49-F238E27FC236}">
                <a16:creationId xmlns:a16="http://schemas.microsoft.com/office/drawing/2014/main" id="{17EDD889-29D5-4B11-800D-AA68BFAC1436}"/>
              </a:ext>
            </a:extLst>
          </p:cNvPr>
          <p:cNvPicPr>
            <a:picLocks/>
          </p:cNvPicPr>
          <p:nvPr/>
        </p:nvPicPr>
        <p:blipFill>
          <a:blip r:embed="rId131"/>
          <a:stretch>
            <a:fillRect/>
          </a:stretch>
        </p:blipFill>
        <p:spPr>
          <a:xfrm>
            <a:off x="10558027" y="2577379"/>
            <a:ext cx="144780" cy="96520"/>
          </a:xfrm>
          <a:prstGeom prst="rect">
            <a:avLst/>
          </a:prstGeom>
          <a:ln>
            <a:solidFill>
              <a:srgbClr val="D0D0D0"/>
            </a:solidFill>
          </a:ln>
        </p:spPr>
      </p:pic>
      <p:sp>
        <p:nvSpPr>
          <p:cNvPr id="23" name="TextBox 22">
            <a:extLst>
              <a:ext uri="{FF2B5EF4-FFF2-40B4-BE49-F238E27FC236}">
                <a16:creationId xmlns:a16="http://schemas.microsoft.com/office/drawing/2014/main" id="{1538B063-EB5B-EFC9-FA9D-9A2B5D326BE2}"/>
              </a:ext>
            </a:extLst>
          </p:cNvPr>
          <p:cNvSpPr txBox="1">
            <a:spLocks/>
          </p:cNvSpPr>
          <p:nvPr>
            <p:custDataLst>
              <p:tags r:id="rId39"/>
            </p:custDataLst>
          </p:nvPr>
        </p:nvSpPr>
        <p:spPr>
          <a:xfrm>
            <a:off x="10736312" y="2416901"/>
            <a:ext cx="863831" cy="123111"/>
          </a:xfrm>
          <a:prstGeom prst="rect">
            <a:avLst/>
          </a:prstGeom>
          <a:solidFill>
            <a:schemeClr val="accent2"/>
          </a:solidFill>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900" b="0" i="0" u="none" strike="noStrike" cap="none" spc="-3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3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DC</a:t>
            </a:r>
          </a:p>
        </p:txBody>
      </p:sp>
      <p:pic>
        <p:nvPicPr>
          <p:cNvPr id="145446" name="Picture 145445">
            <a:extLst>
              <a:ext uri="{FF2B5EF4-FFF2-40B4-BE49-F238E27FC236}">
                <a16:creationId xmlns:a16="http://schemas.microsoft.com/office/drawing/2014/main" id="{FFB89688-6E6B-480B-99FD-C1AE56764B32}"/>
              </a:ext>
            </a:extLst>
          </p:cNvPr>
          <p:cNvPicPr>
            <a:picLocks/>
          </p:cNvPicPr>
          <p:nvPr/>
        </p:nvPicPr>
        <p:blipFill>
          <a:blip r:embed="rId132"/>
          <a:stretch>
            <a:fillRect/>
          </a:stretch>
        </p:blipFill>
        <p:spPr>
          <a:xfrm>
            <a:off x="10558027" y="2416901"/>
            <a:ext cx="144780" cy="96520"/>
          </a:xfrm>
          <a:prstGeom prst="rect">
            <a:avLst/>
          </a:prstGeom>
          <a:ln w="6350">
            <a:solidFill>
              <a:srgbClr val="D0D0D0"/>
            </a:solidFill>
          </a:ln>
        </p:spPr>
      </p:pic>
      <p:sp>
        <p:nvSpPr>
          <p:cNvPr id="95" name="TextBox 94">
            <a:extLst>
              <a:ext uri="{FF2B5EF4-FFF2-40B4-BE49-F238E27FC236}">
                <a16:creationId xmlns:a16="http://schemas.microsoft.com/office/drawing/2014/main" id="{65551160-A389-4EC7-ACD1-28ED44FED598}"/>
              </a:ext>
            </a:extLst>
          </p:cNvPr>
          <p:cNvSpPr txBox="1">
            <a:spLocks/>
          </p:cNvSpPr>
          <p:nvPr/>
        </p:nvSpPr>
        <p:spPr>
          <a:xfrm>
            <a:off x="10736312" y="4014837"/>
            <a:ext cx="863831" cy="123111"/>
          </a:xfrm>
          <a:prstGeom prst="rect">
            <a:avLst/>
          </a:prstGeom>
          <a:solidFill>
            <a:srgbClr val="FFFFFF"/>
          </a:solidFill>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Congo Brazzaville</a:t>
            </a:r>
          </a:p>
        </p:txBody>
      </p:sp>
      <p:pic>
        <p:nvPicPr>
          <p:cNvPr id="145448" name="Picture 145447">
            <a:extLst>
              <a:ext uri="{FF2B5EF4-FFF2-40B4-BE49-F238E27FC236}">
                <a16:creationId xmlns:a16="http://schemas.microsoft.com/office/drawing/2014/main" id="{269A0B83-ABCE-413C-856E-F986116E67EB}"/>
              </a:ext>
            </a:extLst>
          </p:cNvPr>
          <p:cNvPicPr>
            <a:picLocks/>
          </p:cNvPicPr>
          <p:nvPr/>
        </p:nvPicPr>
        <p:blipFill>
          <a:blip r:embed="rId133"/>
          <a:stretch>
            <a:fillRect/>
          </a:stretch>
        </p:blipFill>
        <p:spPr>
          <a:xfrm>
            <a:off x="10558027" y="4021681"/>
            <a:ext cx="144780" cy="96520"/>
          </a:xfrm>
          <a:prstGeom prst="rect">
            <a:avLst/>
          </a:prstGeom>
          <a:ln w="6350">
            <a:solidFill>
              <a:srgbClr val="D0D0D0"/>
            </a:solidFill>
          </a:ln>
        </p:spPr>
      </p:pic>
      <p:pic>
        <p:nvPicPr>
          <p:cNvPr id="145440" name="Picture 145439">
            <a:extLst>
              <a:ext uri="{FF2B5EF4-FFF2-40B4-BE49-F238E27FC236}">
                <a16:creationId xmlns:a16="http://schemas.microsoft.com/office/drawing/2014/main" id="{81C74232-311C-430F-9D5D-5A4EEA870715}"/>
              </a:ext>
            </a:extLst>
          </p:cNvPr>
          <p:cNvPicPr>
            <a:picLocks/>
          </p:cNvPicPr>
          <p:nvPr/>
        </p:nvPicPr>
        <p:blipFill>
          <a:blip r:embed="rId134"/>
          <a:stretch>
            <a:fillRect/>
          </a:stretch>
        </p:blipFill>
        <p:spPr>
          <a:xfrm>
            <a:off x="10558027" y="3700725"/>
            <a:ext cx="144780" cy="96520"/>
          </a:xfrm>
          <a:prstGeom prst="rect">
            <a:avLst/>
          </a:prstGeom>
          <a:ln>
            <a:solidFill>
              <a:srgbClr val="D0D0D0"/>
            </a:solidFill>
          </a:ln>
        </p:spPr>
      </p:pic>
      <p:sp>
        <p:nvSpPr>
          <p:cNvPr id="362" name="TextBox 361">
            <a:extLst>
              <a:ext uri="{FF2B5EF4-FFF2-40B4-BE49-F238E27FC236}">
                <a16:creationId xmlns:a16="http://schemas.microsoft.com/office/drawing/2014/main" id="{6BDE1657-5480-451E-BC03-A48A34504949}"/>
              </a:ext>
            </a:extLst>
          </p:cNvPr>
          <p:cNvSpPr txBox="1">
            <a:spLocks/>
          </p:cNvSpPr>
          <p:nvPr>
            <p:custDataLst>
              <p:tags r:id="rId40"/>
            </p:custDataLst>
          </p:nvPr>
        </p:nvSpPr>
        <p:spPr>
          <a:xfrm>
            <a:off x="10736312" y="3695315"/>
            <a:ext cx="86383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8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meroun</a:t>
            </a:r>
          </a:p>
        </p:txBody>
      </p:sp>
    </p:spTree>
    <p:extLst>
      <p:ext uri="{BB962C8B-B14F-4D97-AF65-F5344CB8AC3E}">
        <p14:creationId xmlns:p14="http://schemas.microsoft.com/office/powerpoint/2010/main" val="1831321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6E038-028F-4882-A5C3-515F82E16478}"/>
              </a:ext>
            </a:extLst>
          </p:cNvPr>
          <p:cNvSpPr>
            <a:spLocks noGrp="1"/>
          </p:cNvSpPr>
          <p:nvPr>
            <p:ph type="title"/>
          </p:nvPr>
        </p:nvSpPr>
        <p:spPr>
          <a:xfrm>
            <a:off x="1746538" y="437843"/>
            <a:ext cx="11082528" cy="677108"/>
          </a:xfrm>
        </p:spPr>
        <p:txBody>
          <a:bodyPr/>
          <a:lstStyle/>
          <a:p>
            <a:pPr algn="l" rtl="0"/>
            <a:r>
              <a:rPr lang="en-US" sz="2500" dirty="0">
                <a:solidFill>
                  <a:srgbClr val="9F2525"/>
                </a:solidFill>
              </a:rPr>
              <a:t>Africa CDC et la Fondation Mastercard se sont alignés sur quatre objectifs et un certain nombre de sous-objectifs</a:t>
            </a:r>
            <a:endParaRPr lang="en-US" dirty="0">
              <a:solidFill>
                <a:srgbClr val="9F2525"/>
              </a:solidFill>
            </a:endParaRPr>
          </a:p>
        </p:txBody>
      </p:sp>
      <p:sp>
        <p:nvSpPr>
          <p:cNvPr id="3" name="Text Placeholder 2">
            <a:extLst>
              <a:ext uri="{FF2B5EF4-FFF2-40B4-BE49-F238E27FC236}">
                <a16:creationId xmlns:a16="http://schemas.microsoft.com/office/drawing/2014/main" id="{68F2271A-32D7-434A-AD75-49A113D9EF4A}"/>
              </a:ext>
            </a:extLst>
          </p:cNvPr>
          <p:cNvSpPr>
            <a:spLocks noGrp="1"/>
          </p:cNvSpPr>
          <p:nvPr>
            <p:ph type="body" sz="quarter" idx="10"/>
          </p:nvPr>
        </p:nvSpPr>
        <p:spPr/>
        <p:txBody>
          <a:bodyPr/>
          <a:lstStyle/>
          <a:p>
            <a:pPr algn="l" rtl="0"/>
            <a:endParaRPr lang="en-US"/>
          </a:p>
        </p:txBody>
      </p:sp>
      <p:sp>
        <p:nvSpPr>
          <p:cNvPr id="4" name="TextBox 3">
            <a:extLst>
              <a:ext uri="{FF2B5EF4-FFF2-40B4-BE49-F238E27FC236}">
                <a16:creationId xmlns:a16="http://schemas.microsoft.com/office/drawing/2014/main" id="{804DD900-7198-4D44-98E2-78CB54239243}"/>
              </a:ext>
            </a:extLst>
          </p:cNvPr>
          <p:cNvSpPr txBox="1"/>
          <p:nvPr/>
        </p:nvSpPr>
        <p:spPr>
          <a:xfrm>
            <a:off x="2147299" y="616449"/>
            <a:ext cx="8743308" cy="421241"/>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8" name="Rectangle 7">
            <a:extLst>
              <a:ext uri="{FF2B5EF4-FFF2-40B4-BE49-F238E27FC236}">
                <a16:creationId xmlns:a16="http://schemas.microsoft.com/office/drawing/2014/main" id="{01037EC3-7081-452D-862C-23CF720B9ED8}"/>
              </a:ext>
            </a:extLst>
          </p:cNvPr>
          <p:cNvSpPr/>
          <p:nvPr/>
        </p:nvSpPr>
        <p:spPr>
          <a:xfrm>
            <a:off x="554735" y="1284398"/>
            <a:ext cx="2249334"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 typeface="Arial"/>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rPr>
              <a:t>Objectifs de la phase II</a:t>
            </a:r>
          </a:p>
        </p:txBody>
      </p:sp>
      <p:sp>
        <p:nvSpPr>
          <p:cNvPr id="9" name="Rectangle 8">
            <a:extLst>
              <a:ext uri="{FF2B5EF4-FFF2-40B4-BE49-F238E27FC236}">
                <a16:creationId xmlns:a16="http://schemas.microsoft.com/office/drawing/2014/main" id="{161FB022-788F-442B-BD72-C7E5E866578E}"/>
              </a:ext>
            </a:extLst>
          </p:cNvPr>
          <p:cNvSpPr/>
          <p:nvPr/>
        </p:nvSpPr>
        <p:spPr>
          <a:xfrm>
            <a:off x="4232657" y="1243329"/>
            <a:ext cx="2736647"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 typeface="Arial"/>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rPr>
              <a:t>Sous-objectifs de la phase II</a:t>
            </a:r>
          </a:p>
        </p:txBody>
      </p:sp>
      <p:grpSp>
        <p:nvGrpSpPr>
          <p:cNvPr id="10" name="Group 9">
            <a:extLst>
              <a:ext uri="{FF2B5EF4-FFF2-40B4-BE49-F238E27FC236}">
                <a16:creationId xmlns:a16="http://schemas.microsoft.com/office/drawing/2014/main" id="{EDD5EDAA-4598-4A12-BB90-7273D7D870F3}"/>
              </a:ext>
            </a:extLst>
          </p:cNvPr>
          <p:cNvGrpSpPr/>
          <p:nvPr/>
        </p:nvGrpSpPr>
        <p:grpSpPr>
          <a:xfrm>
            <a:off x="532558" y="1610495"/>
            <a:ext cx="3057525" cy="701707"/>
            <a:chOff x="635145" y="2013008"/>
            <a:chExt cx="2984355" cy="646331"/>
          </a:xfrm>
        </p:grpSpPr>
        <p:sp>
          <p:nvSpPr>
            <p:cNvPr id="11" name="TextBox 10">
              <a:extLst>
                <a:ext uri="{FF2B5EF4-FFF2-40B4-BE49-F238E27FC236}">
                  <a16:creationId xmlns:a16="http://schemas.microsoft.com/office/drawing/2014/main" id="{0079170E-607B-45FC-BAC7-41DBB384F397}"/>
                </a:ext>
              </a:extLst>
            </p:cNvPr>
            <p:cNvSpPr txBox="1">
              <a:spLocks/>
            </p:cNvSpPr>
            <p:nvPr/>
          </p:nvSpPr>
          <p:spPr>
            <a:xfrm>
              <a:off x="994895" y="2013008"/>
              <a:ext cx="2624605" cy="646331"/>
            </a:xfrm>
            <a:prstGeom prst="rect">
              <a:avLst/>
            </a:prstGeom>
            <a:noFill/>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1"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rPr>
                <a:t>« Finir le travail »</a:t>
              </a:r>
              <a:r>
                <a:rPr kumimoji="0" lang="en-GB" sz="1400" b="0"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rPr>
                <a:t>– Protéger les groupes prioritaires contre la COVID-19</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endParaRPr>
            </a:p>
          </p:txBody>
        </p:sp>
        <p:sp>
          <p:nvSpPr>
            <p:cNvPr id="12" name="TrackerAlphaBlue 76">
              <a:extLst>
                <a:ext uri="{FF2B5EF4-FFF2-40B4-BE49-F238E27FC236}">
                  <a16:creationId xmlns:a16="http://schemas.microsoft.com/office/drawing/2014/main" id="{AEB40E87-4B4B-44D3-A83B-5EA7B6ECE294}"/>
                </a:ext>
              </a:extLst>
            </p:cNvPr>
            <p:cNvSpPr/>
            <p:nvPr>
              <p:custDataLst>
                <p:tags r:id="rId4"/>
              </p:custDataLst>
            </p:nvPr>
          </p:nvSpPr>
          <p:spPr>
            <a:xfrm>
              <a:off x="635145" y="219650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fr-FR" sz="1400" b="0" i="0" u="none" strike="noStrike" kern="0" cap="none" spc="0" normalizeH="0" baseline="0" noProof="0" dirty="0">
                  <a:ln>
                    <a:noFill/>
                  </a:ln>
                  <a:solidFill>
                    <a:srgbClr val="FFFFFF"/>
                  </a:solidFill>
                  <a:effectLst/>
                  <a:uLnTx/>
                  <a:uFillTx/>
                  <a:latin typeface="Arial"/>
                  <a:ea typeface="+mn-ea"/>
                  <a:cs typeface="+mn-cs"/>
                  <a:sym typeface="Arial"/>
                </a:rPr>
                <a:t>A</a:t>
              </a: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grpSp>
      <p:sp>
        <p:nvSpPr>
          <p:cNvPr id="13" name="TextBox 12">
            <a:extLst>
              <a:ext uri="{FF2B5EF4-FFF2-40B4-BE49-F238E27FC236}">
                <a16:creationId xmlns:a16="http://schemas.microsoft.com/office/drawing/2014/main" id="{C79E24BD-89F0-4664-BEB5-3CEE77F2CF56}"/>
              </a:ext>
            </a:extLst>
          </p:cNvPr>
          <p:cNvSpPr txBox="1">
            <a:spLocks/>
          </p:cNvSpPr>
          <p:nvPr/>
        </p:nvSpPr>
        <p:spPr>
          <a:xfrm>
            <a:off x="914485" y="2440946"/>
            <a:ext cx="2624605" cy="1077218"/>
          </a:xfrm>
          <a:prstGeom prst="rect">
            <a:avLst/>
          </a:prstGeom>
          <a:noFill/>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1"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rPr>
              <a:t>Intégration de la gestion de la COVID-19</a:t>
            </a:r>
            <a:r>
              <a:rPr kumimoji="0" lang="en-GB" sz="1400" b="0"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rPr>
              <a:t>tout en renforçant les programmes nationaux de vaccination et les centres de soins de santé primaires</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endParaRPr>
          </a:p>
        </p:txBody>
      </p:sp>
      <p:sp>
        <p:nvSpPr>
          <p:cNvPr id="14" name="TrackerAlphaBlue 76">
            <a:extLst>
              <a:ext uri="{FF2B5EF4-FFF2-40B4-BE49-F238E27FC236}">
                <a16:creationId xmlns:a16="http://schemas.microsoft.com/office/drawing/2014/main" id="{DA858849-0593-49D5-87F9-24BB695BB3CC}"/>
              </a:ext>
            </a:extLst>
          </p:cNvPr>
          <p:cNvSpPr/>
          <p:nvPr>
            <p:custDataLst>
              <p:tags r:id="rId1"/>
            </p:custDataLst>
          </p:nvPr>
        </p:nvSpPr>
        <p:spPr>
          <a:xfrm>
            <a:off x="488625" y="2479454"/>
            <a:ext cx="330122" cy="31808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Arial"/>
                <a:ea typeface="+mn-ea"/>
                <a:cs typeface="+mn-cs"/>
                <a:sym typeface="Arial"/>
              </a:rPr>
              <a:t>B</a:t>
            </a:r>
          </a:p>
        </p:txBody>
      </p:sp>
      <p:grpSp>
        <p:nvGrpSpPr>
          <p:cNvPr id="15" name="Group 14">
            <a:extLst>
              <a:ext uri="{FF2B5EF4-FFF2-40B4-BE49-F238E27FC236}">
                <a16:creationId xmlns:a16="http://schemas.microsoft.com/office/drawing/2014/main" id="{FC20036C-9D10-483C-8417-ACB4D9CEE379}"/>
              </a:ext>
            </a:extLst>
          </p:cNvPr>
          <p:cNvGrpSpPr/>
          <p:nvPr/>
        </p:nvGrpSpPr>
        <p:grpSpPr>
          <a:xfrm>
            <a:off x="484383" y="3840255"/>
            <a:ext cx="3108845" cy="430887"/>
            <a:chOff x="635145" y="4177089"/>
            <a:chExt cx="3108845" cy="430887"/>
          </a:xfrm>
        </p:grpSpPr>
        <p:sp>
          <p:nvSpPr>
            <p:cNvPr id="16" name="TextBox 15">
              <a:extLst>
                <a:ext uri="{FF2B5EF4-FFF2-40B4-BE49-F238E27FC236}">
                  <a16:creationId xmlns:a16="http://schemas.microsoft.com/office/drawing/2014/main" id="{E782111A-4271-4DD8-8CF4-EF03E9276267}"/>
                </a:ext>
              </a:extLst>
            </p:cNvPr>
            <p:cNvSpPr txBox="1">
              <a:spLocks/>
            </p:cNvSpPr>
            <p:nvPr/>
          </p:nvSpPr>
          <p:spPr>
            <a:xfrm>
              <a:off x="1119385" y="4177089"/>
              <a:ext cx="2624605" cy="430887"/>
            </a:xfrm>
            <a:prstGeom prst="rect">
              <a:avLst/>
            </a:prstGeom>
            <a:noFill/>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1"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rPr>
                <a:t>Préparation</a:t>
              </a:r>
              <a:r>
                <a:rPr kumimoji="0" lang="en-GB" sz="1400" b="0"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rPr>
                <a:t>le continent pour la</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rPr>
                <a:t>prochaine pandémie</a:t>
              </a:r>
              <a:endParaRPr kumimoji="0" lang="en-US" sz="1400" b="1"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endParaRPr>
            </a:p>
          </p:txBody>
        </p:sp>
        <p:sp>
          <p:nvSpPr>
            <p:cNvPr id="17" name="TrackerAlphaBlue 76">
              <a:extLst>
                <a:ext uri="{FF2B5EF4-FFF2-40B4-BE49-F238E27FC236}">
                  <a16:creationId xmlns:a16="http://schemas.microsoft.com/office/drawing/2014/main" id="{64582C3C-69E2-43C9-946F-1F8D72184742}"/>
                </a:ext>
              </a:extLst>
            </p:cNvPr>
            <p:cNvSpPr/>
            <p:nvPr>
              <p:custDataLst>
                <p:tags r:id="rId3"/>
              </p:custDataLst>
            </p:nvPr>
          </p:nvSpPr>
          <p:spPr>
            <a:xfrm>
              <a:off x="635145" y="422395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Arial"/>
                  <a:ea typeface="+mn-ea"/>
                  <a:cs typeface="+mn-cs"/>
                  <a:sym typeface="Arial"/>
                </a:rPr>
                <a:t>C</a:t>
              </a:r>
            </a:p>
          </p:txBody>
        </p:sp>
      </p:grpSp>
      <p:grpSp>
        <p:nvGrpSpPr>
          <p:cNvPr id="18" name="Group 17">
            <a:extLst>
              <a:ext uri="{FF2B5EF4-FFF2-40B4-BE49-F238E27FC236}">
                <a16:creationId xmlns:a16="http://schemas.microsoft.com/office/drawing/2014/main" id="{DB57A8A3-2517-4F92-9B50-8335877A200F}"/>
              </a:ext>
            </a:extLst>
          </p:cNvPr>
          <p:cNvGrpSpPr/>
          <p:nvPr/>
        </p:nvGrpSpPr>
        <p:grpSpPr>
          <a:xfrm>
            <a:off x="587199" y="4995013"/>
            <a:ext cx="2984355" cy="430887"/>
            <a:chOff x="635145" y="5250705"/>
            <a:chExt cx="2984355" cy="430887"/>
          </a:xfrm>
        </p:grpSpPr>
        <p:sp>
          <p:nvSpPr>
            <p:cNvPr id="19" name="TextBox 18">
              <a:extLst>
                <a:ext uri="{FF2B5EF4-FFF2-40B4-BE49-F238E27FC236}">
                  <a16:creationId xmlns:a16="http://schemas.microsoft.com/office/drawing/2014/main" id="{1BDE803F-AC9B-4ADD-974A-B96BE88DA7E1}"/>
                </a:ext>
              </a:extLst>
            </p:cNvPr>
            <p:cNvSpPr txBox="1">
              <a:spLocks/>
            </p:cNvSpPr>
            <p:nvPr/>
          </p:nvSpPr>
          <p:spPr>
            <a:xfrm>
              <a:off x="994895" y="5250705"/>
              <a:ext cx="2624605" cy="430887"/>
            </a:xfrm>
            <a:prstGeom prst="rect">
              <a:avLst/>
            </a:prstGeom>
            <a:noFill/>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rPr>
                <a:t>Renforcement</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rPr>
                <a:t>Capacité du CDC Afrique</a:t>
              </a:r>
              <a:endParaRPr kumimoji="0" lang="en-US" sz="1400" b="1" i="0" u="none" strike="noStrike" kern="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sym typeface=""/>
              </a:endParaRPr>
            </a:p>
          </p:txBody>
        </p:sp>
        <p:sp>
          <p:nvSpPr>
            <p:cNvPr id="20" name="TrackerAlphaBlue 76">
              <a:extLst>
                <a:ext uri="{FF2B5EF4-FFF2-40B4-BE49-F238E27FC236}">
                  <a16:creationId xmlns:a16="http://schemas.microsoft.com/office/drawing/2014/main" id="{8C771A3F-5C12-4482-832D-932691D2DFA7}"/>
                </a:ext>
              </a:extLst>
            </p:cNvPr>
            <p:cNvSpPr/>
            <p:nvPr>
              <p:custDataLst>
                <p:tags r:id="rId2"/>
              </p:custDataLst>
            </p:nvPr>
          </p:nvSpPr>
          <p:spPr>
            <a:xfrm>
              <a:off x="635145" y="5326478"/>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Arial"/>
                  <a:ea typeface="+mn-ea"/>
                  <a:cs typeface="+mn-cs"/>
                  <a:sym typeface="Arial"/>
                </a:rPr>
                <a:t>D</a:t>
              </a:r>
            </a:p>
          </p:txBody>
        </p:sp>
      </p:grpSp>
      <p:sp>
        <p:nvSpPr>
          <p:cNvPr id="21" name="TextBox 20">
            <a:extLst>
              <a:ext uri="{FF2B5EF4-FFF2-40B4-BE49-F238E27FC236}">
                <a16:creationId xmlns:a16="http://schemas.microsoft.com/office/drawing/2014/main" id="{73EF8A6D-2532-467F-BC48-B6CE9F97351B}"/>
              </a:ext>
            </a:extLst>
          </p:cNvPr>
          <p:cNvSpPr txBox="1">
            <a:spLocks/>
          </p:cNvSpPr>
          <p:nvPr/>
        </p:nvSpPr>
        <p:spPr>
          <a:xfrm>
            <a:off x="3885908" y="1664842"/>
            <a:ext cx="7669164" cy="815608"/>
          </a:xfrm>
          <a:prstGeom prst="rect">
            <a:avLst/>
          </a:prstGeom>
          <a:noFill/>
          <a:ln w="6350">
            <a:noFill/>
            <a:miter lim="800000"/>
          </a:ln>
        </p:spPr>
        <p:txBody>
          <a:bodyPr wrap="square">
            <a:spAutoFit/>
          </a:bodyPr>
          <a:lstStyle/>
          <a:p>
            <a:pPr marL="171450" marR="0" lvl="0" indent="-17145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RCCE pour le programme intégré de vaccination des adultes (y compris la COVID-19)</a:t>
            </a:r>
          </a:p>
          <a:p>
            <a:pPr marL="171450" marR="0" lvl="0" indent="-17145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nn-NO" sz="1400" b="0" i="0" u="none" strike="noStrike" kern="0" cap="none" spc="0" normalizeH="0" baseline="0" noProof="0" dirty="0">
                <a:ln>
                  <a:noFill/>
                </a:ln>
                <a:solidFill>
                  <a:srgbClr val="000000"/>
                </a:solidFill>
                <a:effectLst/>
                <a:uLnTx/>
                <a:uFillTx/>
                <a:latin typeface="Arial"/>
                <a:ea typeface="+mn-ea"/>
                <a:cs typeface="Arial"/>
                <a:sym typeface="Arial"/>
              </a:rPr>
              <a:t>Géocartographie + base de données pour les professionnels de santé et les agents de santé communautaires ; pharmacovigillance</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a:p>
            <a:pPr marL="171450" marR="0" lvl="0" indent="-17145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sym typeface="Arial"/>
              </a:rPr>
              <a:t>Protéger</a:t>
            </a:r>
            <a:r>
              <a:rPr kumimoji="0" lang="en-GB" sz="1400" b="1"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sym typeface="Arial"/>
              </a:rPr>
              <a:t>groupes hautement prioritaires</a:t>
            </a:r>
            <a:r>
              <a:rPr kumimoji="0" lang="en-GB" sz="14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sym typeface="Arial"/>
              </a:rPr>
              <a:t>CIB 1 et 2</a:t>
            </a:r>
          </a:p>
        </p:txBody>
      </p:sp>
      <p:sp>
        <p:nvSpPr>
          <p:cNvPr id="22" name="TextBox 21">
            <a:extLst>
              <a:ext uri="{FF2B5EF4-FFF2-40B4-BE49-F238E27FC236}">
                <a16:creationId xmlns:a16="http://schemas.microsoft.com/office/drawing/2014/main" id="{A263A06B-0F24-43CF-B01E-FFF175F3FB28}"/>
              </a:ext>
            </a:extLst>
          </p:cNvPr>
          <p:cNvSpPr txBox="1">
            <a:spLocks/>
          </p:cNvSpPr>
          <p:nvPr/>
        </p:nvSpPr>
        <p:spPr>
          <a:xfrm>
            <a:off x="3894541" y="2639345"/>
            <a:ext cx="7669164" cy="992579"/>
          </a:xfrm>
          <a:prstGeom prst="rect">
            <a:avLst/>
          </a:prstGeom>
          <a:noFill/>
          <a:ln w="6350">
            <a:noFill/>
            <a:miter lim="800000"/>
          </a:ln>
        </p:spPr>
        <p:txBody>
          <a:bodyPr wrap="square">
            <a:noAutofit/>
          </a:bodyPr>
          <a:lstStyle/>
          <a:p>
            <a:pPr marL="171450" marR="0" lvl="0" indent="-17145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Élaborer des politiques de vaccination tout au long de la vie et des outils de programmation conformes au Programme de vaccination 2030</a:t>
            </a:r>
          </a:p>
          <a:p>
            <a:pPr marL="171450" marR="0" lvl="0" indent="-17145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sym typeface="Arial"/>
              </a:rPr>
              <a:t>Formation et partage d'expériences des responsables de santé, agents de santé et agents de santé communautaires en matière de vaccination contre la source de vie</a:t>
            </a:r>
            <a:endParaRPr kumimoji="0" lang="en-GB" sz="14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sym typeface="Arial"/>
            </a:endParaRPr>
          </a:p>
        </p:txBody>
      </p:sp>
      <p:sp>
        <p:nvSpPr>
          <p:cNvPr id="23" name="TextBox 22">
            <a:extLst>
              <a:ext uri="{FF2B5EF4-FFF2-40B4-BE49-F238E27FC236}">
                <a16:creationId xmlns:a16="http://schemas.microsoft.com/office/drawing/2014/main" id="{F3C13F32-9A6B-4198-AE00-CB29D983A09C}"/>
              </a:ext>
            </a:extLst>
          </p:cNvPr>
          <p:cNvSpPr txBox="1">
            <a:spLocks/>
          </p:cNvSpPr>
          <p:nvPr/>
        </p:nvSpPr>
        <p:spPr>
          <a:xfrm>
            <a:off x="3862108" y="3664246"/>
            <a:ext cx="7669164" cy="1031051"/>
          </a:xfrm>
          <a:prstGeom prst="rect">
            <a:avLst/>
          </a:prstGeom>
          <a:noFill/>
          <a:ln w="6350">
            <a:noFill/>
            <a:miter lim="800000"/>
          </a:ln>
        </p:spPr>
        <p:txBody>
          <a:bodyPr wrap="square">
            <a:spAutoFit/>
          </a:bodyPr>
          <a:lstStyle>
            <a:defPPr>
              <a:defRPr lang="en-US"/>
            </a:defPPr>
            <a:lvl1pPr marL="171450" indent="-171450">
              <a:lnSpc>
                <a:spcPct val="110000"/>
              </a:lnSpc>
              <a:spcBef>
                <a:spcPts val="600"/>
              </a:spcBef>
              <a:spcAft>
                <a:spcPts val="900"/>
              </a:spcAft>
              <a:buFont typeface="Arial" panose="020B0604020202020204" pitchFamily="34" charset="0"/>
              <a:buChar char="•"/>
              <a:defRPr sz="1200">
                <a:latin typeface="+mj-lt"/>
              </a:defRPr>
            </a:lvl1pPr>
          </a:lstStyle>
          <a:p>
            <a:pPr marL="171450" marR="0" lvl="0" indent="-17145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Renforcer la cohésion du continent</a:t>
            </a: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génomique des pathogènes, bioinformatique et capacité de données</a:t>
            </a:r>
          </a:p>
          <a:p>
            <a:pPr marL="171450" marR="0" lvl="0" indent="-17145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Renforcer</a:t>
            </a: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Santé publique nationale</a:t>
            </a:r>
            <a:r>
              <a:rPr kumimoji="0" lang="en-GB" sz="1400" b="1" i="0" u="none" strike="noStrike" kern="0" cap="none" spc="0" normalizeH="0" baseline="0" noProof="0" dirty="0">
                <a:ln>
                  <a:noFill/>
                </a:ln>
                <a:solidFill>
                  <a:srgbClr val="000000"/>
                </a:solidFill>
                <a:effectLst/>
                <a:uLnTx/>
                <a:uFillTx/>
                <a:latin typeface="Arial"/>
                <a:ea typeface="+mn-ea"/>
                <a:cs typeface="Arial"/>
                <a:sym typeface="Arial"/>
              </a:rPr>
              <a:t>Capacité des institutions à améliorer la sécurité sanitaire nationale des États membres</a:t>
            </a:r>
            <a:endParaRPr kumimoji="0" lang="en-US" sz="1400" b="1" i="0" u="none" strike="noStrike" kern="0" cap="none" spc="0" normalizeH="0" baseline="0" noProof="0" dirty="0">
              <a:ln>
                <a:noFill/>
              </a:ln>
              <a:solidFill>
                <a:srgbClr val="000000"/>
              </a:solidFill>
              <a:effectLst/>
              <a:uLnTx/>
              <a:uFillTx/>
              <a:latin typeface="Arial"/>
              <a:ea typeface="+mn-ea"/>
              <a:cs typeface="Arial"/>
              <a:sym typeface="Arial"/>
            </a:endParaRPr>
          </a:p>
          <a:p>
            <a:pPr marL="171450" marR="0" lvl="0" indent="-17145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Renforcer</a:t>
            </a: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fabrication régionale de vaccins, de produits thérapeutiques et de diagnostics</a:t>
            </a:r>
          </a:p>
        </p:txBody>
      </p:sp>
      <p:sp>
        <p:nvSpPr>
          <p:cNvPr id="24" name="TextBox 23">
            <a:extLst>
              <a:ext uri="{FF2B5EF4-FFF2-40B4-BE49-F238E27FC236}">
                <a16:creationId xmlns:a16="http://schemas.microsoft.com/office/drawing/2014/main" id="{F39D7D2E-BFD9-41B4-9DB0-F67C25246C89}"/>
              </a:ext>
            </a:extLst>
          </p:cNvPr>
          <p:cNvSpPr txBox="1">
            <a:spLocks/>
          </p:cNvSpPr>
          <p:nvPr/>
        </p:nvSpPr>
        <p:spPr>
          <a:xfrm>
            <a:off x="3918891" y="5014150"/>
            <a:ext cx="7669164" cy="310919"/>
          </a:xfrm>
          <a:prstGeom prst="rect">
            <a:avLst/>
          </a:prstGeom>
          <a:noFill/>
          <a:ln w="6350">
            <a:noFill/>
            <a:miter lim="800000"/>
          </a:ln>
        </p:spPr>
        <p:txBody>
          <a:bodyPr wrap="square">
            <a:noAutofit/>
          </a:bodyPr>
          <a:lstStyle>
            <a:defPPr>
              <a:defRPr lang="en-US"/>
            </a:defPPr>
            <a:lvl1pPr marL="171450" indent="-171450">
              <a:lnSpc>
                <a:spcPct val="110000"/>
              </a:lnSpc>
              <a:spcBef>
                <a:spcPts val="600"/>
              </a:spcBef>
              <a:spcAft>
                <a:spcPts val="900"/>
              </a:spcAft>
              <a:buFont typeface="Arial" panose="020B0604020202020204" pitchFamily="34" charset="0"/>
              <a:buChar char="•"/>
              <a:defRPr sz="1200">
                <a:latin typeface="+mj-lt"/>
              </a:defRPr>
            </a:lvl1pPr>
          </a:lstStyle>
          <a:p>
            <a:pPr marL="171450" marR="0" lvl="0" indent="-17145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Renforcer le CDC Afrique</a:t>
            </a:r>
          </a:p>
          <a:p>
            <a:pPr marL="171450" marR="0" lvl="0" indent="-17145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Renforcer les INS</a:t>
            </a:r>
            <a:endParaRPr kumimoji="0" lang="en-US" sz="1100" b="1" i="0" u="none" strike="noStrike" kern="0" cap="none" spc="0" normalizeH="0" baseline="0" noProof="0" dirty="0">
              <a:ln>
                <a:noFill/>
              </a:ln>
              <a:solidFill>
                <a:srgbClr val="000000"/>
              </a:solidFill>
              <a:effectLst/>
              <a:uLnTx/>
              <a:uFillTx/>
              <a:latin typeface="Arial"/>
              <a:ea typeface="+mn-ea"/>
              <a:cs typeface="Arial"/>
              <a:sym typeface="Arial"/>
            </a:endParaRPr>
          </a:p>
          <a:p>
            <a:pPr marL="628650" marR="0" lvl="1" indent="-342900" algn="l" defTabSz="914400" rtl="0" eaLnBrk="1" fontAlgn="auto" latinLnBrk="0" hangingPunct="1">
              <a:lnSpc>
                <a:spcPct val="100000"/>
              </a:lnSpc>
              <a:spcBef>
                <a:spcPts val="0"/>
              </a:spcBef>
              <a:spcAft>
                <a:spcPts val="300"/>
              </a:spcAft>
              <a:buClr>
                <a:srgbClr val="000000"/>
              </a:buClr>
              <a:buSzTx/>
              <a:buFontTx/>
              <a:buChar char="-"/>
              <a:tabLst/>
              <a:defRPr/>
            </a:pPr>
            <a:r>
              <a:rPr kumimoji="0" lang="en-US" sz="1100" b="1" i="0" u="none" strike="noStrike" kern="0" cap="none" spc="0" normalizeH="0" baseline="0" noProof="0" dirty="0">
                <a:ln>
                  <a:noFill/>
                </a:ln>
                <a:solidFill>
                  <a:srgbClr val="000000"/>
                </a:solidFill>
                <a:effectLst/>
                <a:uLnTx/>
                <a:uFillTx/>
                <a:latin typeface="Arial"/>
                <a:ea typeface="+mn-ea"/>
                <a:cs typeface="Arial"/>
                <a:sym typeface="Arial"/>
              </a:rPr>
              <a:t>opérationnalisation de six pays,</a:t>
            </a:r>
          </a:p>
          <a:p>
            <a:pPr marL="628650" marR="0" lvl="1" indent="-342900" algn="l" defTabSz="914400" rtl="0" eaLnBrk="1" fontAlgn="auto" latinLnBrk="0" hangingPunct="1">
              <a:lnSpc>
                <a:spcPct val="100000"/>
              </a:lnSpc>
              <a:spcBef>
                <a:spcPts val="0"/>
              </a:spcBef>
              <a:spcAft>
                <a:spcPts val="300"/>
              </a:spcAft>
              <a:buClr>
                <a:srgbClr val="000000"/>
              </a:buClr>
              <a:buSzTx/>
              <a:buFontTx/>
              <a:buChar char="-"/>
              <a:tabLst/>
              <a:defRPr/>
            </a:pPr>
            <a:r>
              <a:rPr kumimoji="0" lang="en-US" sz="1100" b="1" i="0" u="none" strike="noStrike" kern="0" cap="none" spc="0" normalizeH="0" baseline="0" noProof="0" dirty="0">
                <a:ln>
                  <a:noFill/>
                </a:ln>
                <a:solidFill>
                  <a:srgbClr val="000000"/>
                </a:solidFill>
                <a:effectLst/>
                <a:uLnTx/>
                <a:uFillTx/>
                <a:latin typeface="Arial"/>
                <a:ea typeface="+mn-ea"/>
                <a:cs typeface="Arial"/>
                <a:sym typeface="Arial"/>
              </a:rPr>
              <a:t>établir des INSP,</a:t>
            </a:r>
          </a:p>
          <a:p>
            <a:pPr marL="628650" marR="0" lvl="1" indent="-342900" algn="l" defTabSz="914400" rtl="0" eaLnBrk="1" fontAlgn="auto" latinLnBrk="0" hangingPunct="1">
              <a:lnSpc>
                <a:spcPct val="100000"/>
              </a:lnSpc>
              <a:spcBef>
                <a:spcPts val="0"/>
              </a:spcBef>
              <a:spcAft>
                <a:spcPts val="300"/>
              </a:spcAft>
              <a:buClr>
                <a:srgbClr val="000000"/>
              </a:buClr>
              <a:buSzTx/>
              <a:buFontTx/>
              <a:buChar char="-"/>
              <a:tabLst/>
              <a:defRPr/>
            </a:pPr>
            <a:r>
              <a:rPr kumimoji="0" lang="en-US" sz="1100" b="1" i="0" u="none" strike="noStrike" kern="0" cap="none" spc="0" normalizeH="0" baseline="0" noProof="0" dirty="0">
                <a:ln>
                  <a:noFill/>
                </a:ln>
                <a:solidFill>
                  <a:srgbClr val="000000"/>
                </a:solidFill>
                <a:effectLst/>
                <a:uLnTx/>
                <a:uFillTx/>
                <a:latin typeface="Arial"/>
                <a:ea typeface="+mn-ea"/>
                <a:cs typeface="Arial"/>
                <a:sym typeface="Arial"/>
              </a:rPr>
              <a:t>Centres d'excellence de l'INSP</a:t>
            </a:r>
          </a:p>
        </p:txBody>
      </p:sp>
      <p:cxnSp>
        <p:nvCxnSpPr>
          <p:cNvPr id="29" name="Straight Connector 28">
            <a:extLst>
              <a:ext uri="{FF2B5EF4-FFF2-40B4-BE49-F238E27FC236}">
                <a16:creationId xmlns:a16="http://schemas.microsoft.com/office/drawing/2014/main" id="{72F241E5-07D1-4DEF-89D3-1BFFF3C10776}"/>
              </a:ext>
            </a:extLst>
          </p:cNvPr>
          <p:cNvCxnSpPr>
            <a:cxnSpLocks/>
          </p:cNvCxnSpPr>
          <p:nvPr/>
        </p:nvCxnSpPr>
        <p:spPr>
          <a:xfrm>
            <a:off x="583552" y="1611761"/>
            <a:ext cx="295553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C65C32C-16E1-4C1C-8BBC-ED60AAB2514B}"/>
              </a:ext>
            </a:extLst>
          </p:cNvPr>
          <p:cNvCxnSpPr>
            <a:cxnSpLocks/>
          </p:cNvCxnSpPr>
          <p:nvPr/>
        </p:nvCxnSpPr>
        <p:spPr>
          <a:xfrm>
            <a:off x="3885908" y="1611761"/>
            <a:ext cx="77513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34519-3778-44D7-B3D4-D17DF8020BC2}"/>
              </a:ext>
            </a:extLst>
          </p:cNvPr>
          <p:cNvCxnSpPr>
            <a:cxnSpLocks/>
          </p:cNvCxnSpPr>
          <p:nvPr/>
        </p:nvCxnSpPr>
        <p:spPr>
          <a:xfrm>
            <a:off x="3885908" y="2434561"/>
            <a:ext cx="77513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572C1C-B618-4751-9CB6-32F298C5B59F}"/>
              </a:ext>
            </a:extLst>
          </p:cNvPr>
          <p:cNvCxnSpPr>
            <a:cxnSpLocks/>
          </p:cNvCxnSpPr>
          <p:nvPr/>
        </p:nvCxnSpPr>
        <p:spPr>
          <a:xfrm>
            <a:off x="669530" y="2397157"/>
            <a:ext cx="295553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61A86CE-C4AA-4B7F-B5B7-CBE4A63BC7CA}"/>
              </a:ext>
            </a:extLst>
          </p:cNvPr>
          <p:cNvCxnSpPr>
            <a:cxnSpLocks/>
          </p:cNvCxnSpPr>
          <p:nvPr/>
        </p:nvCxnSpPr>
        <p:spPr>
          <a:xfrm>
            <a:off x="3948286" y="3674491"/>
            <a:ext cx="77513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326273B-E356-4130-9BE1-DB5B4747FC5D}"/>
              </a:ext>
            </a:extLst>
          </p:cNvPr>
          <p:cNvCxnSpPr>
            <a:cxnSpLocks/>
          </p:cNvCxnSpPr>
          <p:nvPr/>
        </p:nvCxnSpPr>
        <p:spPr>
          <a:xfrm>
            <a:off x="3853445" y="5002572"/>
            <a:ext cx="77513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4C62C23-6DC8-4D4D-9977-956A658B6ED7}"/>
              </a:ext>
            </a:extLst>
          </p:cNvPr>
          <p:cNvCxnSpPr>
            <a:cxnSpLocks/>
          </p:cNvCxnSpPr>
          <p:nvPr/>
        </p:nvCxnSpPr>
        <p:spPr>
          <a:xfrm>
            <a:off x="669530" y="3688073"/>
            <a:ext cx="295553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62E1A4F-CBA6-4C40-A123-FE66C664AB3B}"/>
              </a:ext>
            </a:extLst>
          </p:cNvPr>
          <p:cNvCxnSpPr>
            <a:cxnSpLocks/>
          </p:cNvCxnSpPr>
          <p:nvPr/>
        </p:nvCxnSpPr>
        <p:spPr>
          <a:xfrm>
            <a:off x="599612" y="5002572"/>
            <a:ext cx="295553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3FD19E5-AD4F-4302-B4A3-4CB0030D3632}"/>
              </a:ext>
            </a:extLst>
          </p:cNvPr>
          <p:cNvSpPr txBox="1"/>
          <p:nvPr/>
        </p:nvSpPr>
        <p:spPr>
          <a:xfrm>
            <a:off x="5719313" y="2963173"/>
            <a:ext cx="914400" cy="914400"/>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ZM" sz="16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6" name="TextBox 5">
            <a:extLst>
              <a:ext uri="{FF2B5EF4-FFF2-40B4-BE49-F238E27FC236}">
                <a16:creationId xmlns:a16="http://schemas.microsoft.com/office/drawing/2014/main" id="{3C964286-8A50-483F-86D9-2935B3F040BC}"/>
              </a:ext>
            </a:extLst>
          </p:cNvPr>
          <p:cNvSpPr txBox="1"/>
          <p:nvPr/>
        </p:nvSpPr>
        <p:spPr>
          <a:xfrm>
            <a:off x="7142672" y="5425900"/>
            <a:ext cx="45719" cy="45719"/>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ZM" sz="16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0110185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676;p66">
            <a:extLst>
              <a:ext uri="{FF2B5EF4-FFF2-40B4-BE49-F238E27FC236}">
                <a16:creationId xmlns:a16="http://schemas.microsoft.com/office/drawing/2014/main" id="{8A557279-4A05-4BA9-A3E2-7ED4D84E31A6}"/>
              </a:ext>
            </a:extLst>
          </p:cNvPr>
          <p:cNvSpPr txBox="1"/>
          <p:nvPr/>
        </p:nvSpPr>
        <p:spPr>
          <a:xfrm>
            <a:off x="955263" y="816005"/>
            <a:ext cx="10089484" cy="937290"/>
          </a:xfrm>
          <a:prstGeom prst="rect">
            <a:avLst/>
          </a:prstGeom>
          <a:solidFill>
            <a:srgbClr val="15853A"/>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000" b="1" i="0" u="none" strike="noStrike" kern="1200" cap="none" spc="0" normalizeH="0" baseline="0" noProof="0" dirty="0">
                <a:ln>
                  <a:noFill/>
                </a:ln>
                <a:solidFill>
                  <a:srgbClr val="FFFFFF"/>
                </a:solidFill>
                <a:effectLst/>
                <a:uLnTx/>
                <a:uFillTx/>
                <a:latin typeface="Arial"/>
                <a:ea typeface="+mn-ea"/>
                <a:cs typeface="Arial"/>
                <a:sym typeface="Arial"/>
              </a:rPr>
              <a:t>Les étapes que nous avons parcourues jusqu'à présent pour lancer le 2</a:t>
            </a:r>
            <a:r>
              <a:rPr kumimoji="0" lang="en-NZ" sz="2000" b="1" i="0" u="none" strike="noStrike" kern="1200" cap="none" spc="0" normalizeH="0" baseline="30000" noProof="0" dirty="0">
                <a:ln>
                  <a:noFill/>
                </a:ln>
                <a:solidFill>
                  <a:srgbClr val="FFFFFF"/>
                </a:solidFill>
                <a:effectLst/>
                <a:uLnTx/>
                <a:uFillTx/>
                <a:latin typeface="Arial"/>
                <a:ea typeface="+mn-ea"/>
                <a:cs typeface="Arial"/>
                <a:sym typeface="Arial"/>
              </a:rPr>
              <a:t>sd</a:t>
            </a:r>
            <a:r>
              <a:rPr kumimoji="0" lang="en-NZ" sz="2000" b="1" i="0" u="none" strike="noStrike" kern="1200" cap="none" spc="0" normalizeH="0" baseline="0" noProof="0" dirty="0">
                <a:ln>
                  <a:noFill/>
                </a:ln>
                <a:solidFill>
                  <a:srgbClr val="FFFFFF"/>
                </a:solidFill>
                <a:effectLst/>
                <a:uLnTx/>
                <a:uFillTx/>
                <a:latin typeface="Arial"/>
                <a:ea typeface="+mn-ea"/>
                <a:cs typeface="Arial"/>
                <a:sym typeface="Arial"/>
              </a:rPr>
              <a:t>Programme Phase SLL</a:t>
            </a:r>
            <a:endParaRPr kumimoji="0" lang="en-CA" sz="2000" b="1" i="0" u="none" strike="noStrike" kern="1200" cap="none" spc="0" normalizeH="0" baseline="0" noProof="0" dirty="0">
              <a:ln>
                <a:noFill/>
              </a:ln>
              <a:solidFill>
                <a:srgbClr val="FFFFFF"/>
              </a:solidFill>
              <a:effectLst/>
              <a:uLnTx/>
              <a:uFillTx/>
              <a:latin typeface="Arial"/>
              <a:ea typeface="+mn-ea"/>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2000" b="1" i="0" u="none" strike="noStrike" kern="1200" cap="none" spc="0" normalizeH="0" baseline="0" noProof="0" dirty="0">
              <a:ln>
                <a:noFill/>
              </a:ln>
              <a:solidFill>
                <a:srgbClr val="FFFFFF"/>
              </a:solidFill>
              <a:effectLst/>
              <a:uLnTx/>
              <a:uFillTx/>
              <a:latin typeface="Arial"/>
              <a:ea typeface="+mn-ea"/>
              <a:cs typeface="Arial"/>
              <a:sym typeface="Arial"/>
            </a:endParaRPr>
          </a:p>
        </p:txBody>
      </p:sp>
      <p:sp>
        <p:nvSpPr>
          <p:cNvPr id="4" name="Title 1">
            <a:extLst>
              <a:ext uri="{FF2B5EF4-FFF2-40B4-BE49-F238E27FC236}">
                <a16:creationId xmlns:a16="http://schemas.microsoft.com/office/drawing/2014/main" id="{D3449A5C-CFC2-478D-BCB5-C755672C7043}"/>
              </a:ext>
            </a:extLst>
          </p:cNvPr>
          <p:cNvSpPr txBox="1">
            <a:spLocks/>
          </p:cNvSpPr>
          <p:nvPr/>
        </p:nvSpPr>
        <p:spPr>
          <a:xfrm>
            <a:off x="5840112" y="451757"/>
            <a:ext cx="5206167" cy="652759"/>
          </a:xfrm>
          <a:prstGeom prst="rect">
            <a:avLst/>
          </a:prstGeom>
          <a:noFill/>
        </p:spPr>
        <p:txBody>
          <a:bodyPr anchor="ctr">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800" b="0" i="0" u="none" strike="noStrike" kern="1200" cap="none" spc="0" normalizeH="0" baseline="0" noProof="0" dirty="0">
              <a:ln>
                <a:noFill/>
              </a:ln>
              <a:solidFill>
                <a:srgbClr val="9F2525"/>
              </a:solidFill>
              <a:effectLst/>
              <a:uLnTx/>
              <a:uFillTx/>
              <a:latin typeface="Arial"/>
              <a:cs typeface="Segoe UI" panose="020B0502040204020203" pitchFamily="34" charset="0"/>
              <a:sym typeface="Arial"/>
            </a:endParaRPr>
          </a:p>
        </p:txBody>
      </p:sp>
      <p:sp>
        <p:nvSpPr>
          <p:cNvPr id="5" name="Freeform 2">
            <a:extLst>
              <a:ext uri="{FF2B5EF4-FFF2-40B4-BE49-F238E27FC236}">
                <a16:creationId xmlns:a16="http://schemas.microsoft.com/office/drawing/2014/main" id="{B8705ED8-1570-4913-9A8B-06CCA88A0625}"/>
              </a:ext>
            </a:extLst>
          </p:cNvPr>
          <p:cNvSpPr>
            <a:spLocks noChangeArrowheads="1"/>
          </p:cNvSpPr>
          <p:nvPr/>
        </p:nvSpPr>
        <p:spPr bwMode="auto">
          <a:xfrm>
            <a:off x="2130818" y="3618280"/>
            <a:ext cx="2101309" cy="1796413"/>
          </a:xfrm>
          <a:custGeom>
            <a:avLst/>
            <a:gdLst>
              <a:gd name="T0" fmla="*/ 3009 w 3372"/>
              <a:gd name="T1" fmla="*/ 894 h 2885"/>
              <a:gd name="T2" fmla="*/ 3018 w 3372"/>
              <a:gd name="T3" fmla="*/ 832 h 2885"/>
              <a:gd name="T4" fmla="*/ 3020 w 3372"/>
              <a:gd name="T5" fmla="*/ 827 h 2885"/>
              <a:gd name="T6" fmla="*/ 3103 w 3372"/>
              <a:gd name="T7" fmla="*/ 774 h 2885"/>
              <a:gd name="T8" fmla="*/ 3206 w 3372"/>
              <a:gd name="T9" fmla="*/ 761 h 2885"/>
              <a:gd name="T10" fmla="*/ 3284 w 3372"/>
              <a:gd name="T11" fmla="*/ 732 h 2885"/>
              <a:gd name="T12" fmla="*/ 3292 w 3372"/>
              <a:gd name="T13" fmla="*/ 726 h 2885"/>
              <a:gd name="T14" fmla="*/ 3346 w 3372"/>
              <a:gd name="T15" fmla="*/ 671 h 2885"/>
              <a:gd name="T16" fmla="*/ 3349 w 3372"/>
              <a:gd name="T17" fmla="*/ 665 h 2885"/>
              <a:gd name="T18" fmla="*/ 3352 w 3372"/>
              <a:gd name="T19" fmla="*/ 659 h 2885"/>
              <a:gd name="T20" fmla="*/ 3354 w 3372"/>
              <a:gd name="T21" fmla="*/ 655 h 2885"/>
              <a:gd name="T22" fmla="*/ 3355 w 3372"/>
              <a:gd name="T23" fmla="*/ 653 h 2885"/>
              <a:gd name="T24" fmla="*/ 3364 w 3372"/>
              <a:gd name="T25" fmla="*/ 622 h 2885"/>
              <a:gd name="T26" fmla="*/ 3331 w 3372"/>
              <a:gd name="T27" fmla="*/ 477 h 2885"/>
              <a:gd name="T28" fmla="*/ 3211 w 3372"/>
              <a:gd name="T29" fmla="*/ 373 h 2885"/>
              <a:gd name="T30" fmla="*/ 3138 w 3372"/>
              <a:gd name="T31" fmla="*/ 370 h 2885"/>
              <a:gd name="T32" fmla="*/ 3088 w 3372"/>
              <a:gd name="T33" fmla="*/ 390 h 2885"/>
              <a:gd name="T34" fmla="*/ 2960 w 3372"/>
              <a:gd name="T35" fmla="*/ 527 h 2885"/>
              <a:gd name="T36" fmla="*/ 2873 w 3372"/>
              <a:gd name="T37" fmla="*/ 572 h 2885"/>
              <a:gd name="T38" fmla="*/ 2867 w 3372"/>
              <a:gd name="T39" fmla="*/ 571 h 2885"/>
              <a:gd name="T40" fmla="*/ 2818 w 3372"/>
              <a:gd name="T41" fmla="*/ 554 h 2885"/>
              <a:gd name="T42" fmla="*/ 2813 w 3372"/>
              <a:gd name="T43" fmla="*/ 549 h 2885"/>
              <a:gd name="T44" fmla="*/ 2812 w 3372"/>
              <a:gd name="T45" fmla="*/ 546 h 2885"/>
              <a:gd name="T46" fmla="*/ 2805 w 3372"/>
              <a:gd name="T47" fmla="*/ 541 h 2885"/>
              <a:gd name="T48" fmla="*/ 2492 w 3372"/>
              <a:gd name="T49" fmla="*/ 0 h 2885"/>
              <a:gd name="T50" fmla="*/ 521 w 3372"/>
              <a:gd name="T51" fmla="*/ 541 h 2885"/>
              <a:gd name="T52" fmla="*/ 527 w 3372"/>
              <a:gd name="T53" fmla="*/ 581 h 2885"/>
              <a:gd name="T54" fmla="*/ 528 w 3372"/>
              <a:gd name="T55" fmla="*/ 582 h 2885"/>
              <a:gd name="T56" fmla="*/ 529 w 3372"/>
              <a:gd name="T57" fmla="*/ 585 h 2885"/>
              <a:gd name="T58" fmla="*/ 587 w 3372"/>
              <a:gd name="T59" fmla="*/ 622 h 2885"/>
              <a:gd name="T60" fmla="*/ 786 w 3372"/>
              <a:gd name="T61" fmla="*/ 668 h 2885"/>
              <a:gd name="T62" fmla="*/ 836 w 3372"/>
              <a:gd name="T63" fmla="*/ 708 h 2885"/>
              <a:gd name="T64" fmla="*/ 878 w 3372"/>
              <a:gd name="T65" fmla="*/ 787 h 2885"/>
              <a:gd name="T66" fmla="*/ 845 w 3372"/>
              <a:gd name="T67" fmla="*/ 968 h 2885"/>
              <a:gd name="T68" fmla="*/ 719 w 3372"/>
              <a:gd name="T69" fmla="*/ 1084 h 2885"/>
              <a:gd name="T70" fmla="*/ 677 w 3372"/>
              <a:gd name="T71" fmla="*/ 1095 h 2885"/>
              <a:gd name="T72" fmla="*/ 672 w 3372"/>
              <a:gd name="T73" fmla="*/ 1095 h 2885"/>
              <a:gd name="T74" fmla="*/ 671 w 3372"/>
              <a:gd name="T75" fmla="*/ 1095 h 2885"/>
              <a:gd name="T76" fmla="*/ 663 w 3372"/>
              <a:gd name="T77" fmla="*/ 1096 h 2885"/>
              <a:gd name="T78" fmla="*/ 656 w 3372"/>
              <a:gd name="T79" fmla="*/ 1096 h 2885"/>
              <a:gd name="T80" fmla="*/ 565 w 3372"/>
              <a:gd name="T81" fmla="*/ 1073 h 2885"/>
              <a:gd name="T82" fmla="*/ 556 w 3372"/>
              <a:gd name="T83" fmla="*/ 1068 h 2885"/>
              <a:gd name="T84" fmla="*/ 414 w 3372"/>
              <a:gd name="T85" fmla="*/ 922 h 2885"/>
              <a:gd name="T86" fmla="*/ 351 w 3372"/>
              <a:gd name="T87" fmla="*/ 891 h 2885"/>
              <a:gd name="T88" fmla="*/ 309 w 3372"/>
              <a:gd name="T89" fmla="*/ 907 h 2885"/>
              <a:gd name="T90" fmla="*/ 833 w 3372"/>
              <a:gd name="T91" fmla="*/ 2884 h 2885"/>
              <a:gd name="T92" fmla="*/ 3326 w 3372"/>
              <a:gd name="T93" fmla="*/ 1446 h 2885"/>
              <a:gd name="T94" fmla="*/ 3010 w 3372"/>
              <a:gd name="T95" fmla="*/ 899 h 2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72" h="2885">
                <a:moveTo>
                  <a:pt x="3009" y="894"/>
                </a:moveTo>
                <a:lnTo>
                  <a:pt x="3009" y="894"/>
                </a:lnTo>
                <a:cubicBezTo>
                  <a:pt x="3005" y="873"/>
                  <a:pt x="3008" y="852"/>
                  <a:pt x="3017" y="833"/>
                </a:cubicBezTo>
                <a:lnTo>
                  <a:pt x="3018" y="832"/>
                </a:lnTo>
                <a:lnTo>
                  <a:pt x="3018" y="832"/>
                </a:lnTo>
                <a:cubicBezTo>
                  <a:pt x="3018" y="830"/>
                  <a:pt x="3019" y="828"/>
                  <a:pt x="3020" y="827"/>
                </a:cubicBezTo>
                <a:lnTo>
                  <a:pt x="3020" y="827"/>
                </a:lnTo>
                <a:cubicBezTo>
                  <a:pt x="3037" y="796"/>
                  <a:pt x="3068" y="776"/>
                  <a:pt x="3103" y="774"/>
                </a:cubicBezTo>
                <a:lnTo>
                  <a:pt x="3103" y="774"/>
                </a:lnTo>
                <a:cubicBezTo>
                  <a:pt x="3140" y="772"/>
                  <a:pt x="3175" y="768"/>
                  <a:pt x="3206" y="761"/>
                </a:cubicBezTo>
                <a:lnTo>
                  <a:pt x="3206" y="761"/>
                </a:lnTo>
                <a:cubicBezTo>
                  <a:pt x="3237" y="753"/>
                  <a:pt x="3264" y="743"/>
                  <a:pt x="3284" y="732"/>
                </a:cubicBezTo>
                <a:lnTo>
                  <a:pt x="3284" y="732"/>
                </a:lnTo>
                <a:cubicBezTo>
                  <a:pt x="3287" y="730"/>
                  <a:pt x="3290" y="728"/>
                  <a:pt x="3292" y="726"/>
                </a:cubicBezTo>
                <a:lnTo>
                  <a:pt x="3292" y="726"/>
                </a:lnTo>
                <a:cubicBezTo>
                  <a:pt x="3316" y="711"/>
                  <a:pt x="3334" y="693"/>
                  <a:pt x="3346" y="671"/>
                </a:cubicBezTo>
                <a:lnTo>
                  <a:pt x="3346" y="671"/>
                </a:lnTo>
                <a:cubicBezTo>
                  <a:pt x="3347" y="669"/>
                  <a:pt x="3348" y="668"/>
                  <a:pt x="3349" y="665"/>
                </a:cubicBezTo>
                <a:lnTo>
                  <a:pt x="3352" y="659"/>
                </a:lnTo>
                <a:lnTo>
                  <a:pt x="3352" y="659"/>
                </a:lnTo>
                <a:cubicBezTo>
                  <a:pt x="3353" y="658"/>
                  <a:pt x="3353" y="657"/>
                  <a:pt x="3354" y="655"/>
                </a:cubicBezTo>
                <a:lnTo>
                  <a:pt x="3354" y="655"/>
                </a:lnTo>
                <a:lnTo>
                  <a:pt x="3355" y="653"/>
                </a:lnTo>
                <a:lnTo>
                  <a:pt x="3355" y="653"/>
                </a:lnTo>
                <a:cubicBezTo>
                  <a:pt x="3359" y="644"/>
                  <a:pt x="3362" y="633"/>
                  <a:pt x="3364" y="622"/>
                </a:cubicBezTo>
                <a:lnTo>
                  <a:pt x="3364" y="622"/>
                </a:lnTo>
                <a:cubicBezTo>
                  <a:pt x="3371" y="578"/>
                  <a:pt x="3359" y="526"/>
                  <a:pt x="3331" y="477"/>
                </a:cubicBezTo>
                <a:lnTo>
                  <a:pt x="3331" y="477"/>
                </a:lnTo>
                <a:cubicBezTo>
                  <a:pt x="3299" y="422"/>
                  <a:pt x="3257" y="386"/>
                  <a:pt x="3211" y="373"/>
                </a:cubicBezTo>
                <a:lnTo>
                  <a:pt x="3211" y="373"/>
                </a:lnTo>
                <a:cubicBezTo>
                  <a:pt x="3187" y="365"/>
                  <a:pt x="3162" y="365"/>
                  <a:pt x="3138" y="370"/>
                </a:cubicBezTo>
                <a:lnTo>
                  <a:pt x="3138" y="370"/>
                </a:lnTo>
                <a:cubicBezTo>
                  <a:pt x="3120" y="374"/>
                  <a:pt x="3104" y="381"/>
                  <a:pt x="3088" y="390"/>
                </a:cubicBezTo>
                <a:lnTo>
                  <a:pt x="3088" y="390"/>
                </a:lnTo>
                <a:cubicBezTo>
                  <a:pt x="3048" y="412"/>
                  <a:pt x="3001" y="464"/>
                  <a:pt x="2960" y="527"/>
                </a:cubicBezTo>
                <a:lnTo>
                  <a:pt x="2960" y="527"/>
                </a:lnTo>
                <a:cubicBezTo>
                  <a:pt x="2941" y="556"/>
                  <a:pt x="2908" y="573"/>
                  <a:pt x="2873" y="572"/>
                </a:cubicBezTo>
                <a:lnTo>
                  <a:pt x="2873" y="572"/>
                </a:lnTo>
                <a:cubicBezTo>
                  <a:pt x="2872" y="572"/>
                  <a:pt x="2870" y="572"/>
                  <a:pt x="2868" y="572"/>
                </a:cubicBezTo>
                <a:lnTo>
                  <a:pt x="2867" y="571"/>
                </a:lnTo>
                <a:lnTo>
                  <a:pt x="2867" y="571"/>
                </a:lnTo>
                <a:cubicBezTo>
                  <a:pt x="2849" y="570"/>
                  <a:pt x="2832" y="564"/>
                  <a:pt x="2818" y="554"/>
                </a:cubicBezTo>
                <a:lnTo>
                  <a:pt x="2818" y="554"/>
                </a:lnTo>
                <a:cubicBezTo>
                  <a:pt x="2816" y="553"/>
                  <a:pt x="2814" y="551"/>
                  <a:pt x="2813" y="549"/>
                </a:cubicBezTo>
                <a:lnTo>
                  <a:pt x="2812" y="546"/>
                </a:lnTo>
                <a:lnTo>
                  <a:pt x="2812" y="546"/>
                </a:lnTo>
                <a:cubicBezTo>
                  <a:pt x="2809" y="544"/>
                  <a:pt x="2807" y="543"/>
                  <a:pt x="2805" y="541"/>
                </a:cubicBezTo>
                <a:lnTo>
                  <a:pt x="2805" y="541"/>
                </a:lnTo>
                <a:cubicBezTo>
                  <a:pt x="2804" y="540"/>
                  <a:pt x="2803" y="538"/>
                  <a:pt x="2802" y="537"/>
                </a:cubicBezTo>
                <a:lnTo>
                  <a:pt x="2492" y="0"/>
                </a:lnTo>
                <a:lnTo>
                  <a:pt x="832" y="1"/>
                </a:lnTo>
                <a:lnTo>
                  <a:pt x="521" y="541"/>
                </a:lnTo>
                <a:lnTo>
                  <a:pt x="521" y="541"/>
                </a:lnTo>
                <a:cubicBezTo>
                  <a:pt x="519" y="554"/>
                  <a:pt x="521" y="568"/>
                  <a:pt x="527" y="581"/>
                </a:cubicBezTo>
                <a:lnTo>
                  <a:pt x="528" y="582"/>
                </a:lnTo>
                <a:lnTo>
                  <a:pt x="528" y="582"/>
                </a:lnTo>
                <a:cubicBezTo>
                  <a:pt x="528" y="584"/>
                  <a:pt x="529" y="584"/>
                  <a:pt x="529" y="585"/>
                </a:cubicBezTo>
                <a:lnTo>
                  <a:pt x="529" y="585"/>
                </a:lnTo>
                <a:cubicBezTo>
                  <a:pt x="541" y="607"/>
                  <a:pt x="562" y="620"/>
                  <a:pt x="587" y="622"/>
                </a:cubicBezTo>
                <a:lnTo>
                  <a:pt x="587" y="622"/>
                </a:lnTo>
                <a:cubicBezTo>
                  <a:pt x="668" y="626"/>
                  <a:pt x="743" y="644"/>
                  <a:pt x="786" y="668"/>
                </a:cubicBezTo>
                <a:lnTo>
                  <a:pt x="786" y="668"/>
                </a:lnTo>
                <a:cubicBezTo>
                  <a:pt x="805" y="680"/>
                  <a:pt x="822" y="693"/>
                  <a:pt x="836" y="708"/>
                </a:cubicBezTo>
                <a:lnTo>
                  <a:pt x="836" y="708"/>
                </a:lnTo>
                <a:cubicBezTo>
                  <a:pt x="857" y="731"/>
                  <a:pt x="871" y="757"/>
                  <a:pt x="878" y="787"/>
                </a:cubicBezTo>
                <a:lnTo>
                  <a:pt x="878" y="787"/>
                </a:lnTo>
                <a:cubicBezTo>
                  <a:pt x="892" y="843"/>
                  <a:pt x="881" y="906"/>
                  <a:pt x="845" y="968"/>
                </a:cubicBezTo>
                <a:lnTo>
                  <a:pt x="845" y="968"/>
                </a:lnTo>
                <a:cubicBezTo>
                  <a:pt x="813" y="1024"/>
                  <a:pt x="768" y="1066"/>
                  <a:pt x="719" y="1084"/>
                </a:cubicBezTo>
                <a:lnTo>
                  <a:pt x="719" y="1084"/>
                </a:lnTo>
                <a:cubicBezTo>
                  <a:pt x="706" y="1089"/>
                  <a:pt x="693" y="1093"/>
                  <a:pt x="680" y="1094"/>
                </a:cubicBezTo>
                <a:lnTo>
                  <a:pt x="677" y="1095"/>
                </a:lnTo>
                <a:lnTo>
                  <a:pt x="677" y="1095"/>
                </a:lnTo>
                <a:cubicBezTo>
                  <a:pt x="676" y="1095"/>
                  <a:pt x="674" y="1095"/>
                  <a:pt x="672" y="1095"/>
                </a:cubicBezTo>
                <a:lnTo>
                  <a:pt x="671" y="1095"/>
                </a:lnTo>
                <a:lnTo>
                  <a:pt x="671" y="1095"/>
                </a:lnTo>
                <a:cubicBezTo>
                  <a:pt x="669" y="1095"/>
                  <a:pt x="668" y="1095"/>
                  <a:pt x="667" y="1095"/>
                </a:cubicBezTo>
                <a:lnTo>
                  <a:pt x="663" y="1096"/>
                </a:lnTo>
                <a:lnTo>
                  <a:pt x="663" y="1096"/>
                </a:lnTo>
                <a:cubicBezTo>
                  <a:pt x="661" y="1096"/>
                  <a:pt x="658" y="1096"/>
                  <a:pt x="656" y="1096"/>
                </a:cubicBezTo>
                <a:lnTo>
                  <a:pt x="656" y="1096"/>
                </a:lnTo>
                <a:cubicBezTo>
                  <a:pt x="625" y="1096"/>
                  <a:pt x="595" y="1089"/>
                  <a:pt x="565" y="1073"/>
                </a:cubicBezTo>
                <a:lnTo>
                  <a:pt x="565" y="1073"/>
                </a:lnTo>
                <a:cubicBezTo>
                  <a:pt x="562" y="1072"/>
                  <a:pt x="559" y="1071"/>
                  <a:pt x="556" y="1068"/>
                </a:cubicBezTo>
                <a:lnTo>
                  <a:pt x="556" y="1068"/>
                </a:lnTo>
                <a:cubicBezTo>
                  <a:pt x="512" y="1043"/>
                  <a:pt x="458" y="989"/>
                  <a:pt x="414" y="922"/>
                </a:cubicBezTo>
                <a:lnTo>
                  <a:pt x="414" y="922"/>
                </a:lnTo>
                <a:cubicBezTo>
                  <a:pt x="400" y="902"/>
                  <a:pt x="376" y="890"/>
                  <a:pt x="351" y="891"/>
                </a:cubicBezTo>
                <a:lnTo>
                  <a:pt x="351" y="891"/>
                </a:lnTo>
                <a:cubicBezTo>
                  <a:pt x="336" y="891"/>
                  <a:pt x="321" y="897"/>
                  <a:pt x="309" y="907"/>
                </a:cubicBezTo>
                <a:lnTo>
                  <a:pt x="0" y="1443"/>
                </a:lnTo>
                <a:lnTo>
                  <a:pt x="833" y="2884"/>
                </a:lnTo>
                <a:lnTo>
                  <a:pt x="2497" y="2883"/>
                </a:lnTo>
                <a:lnTo>
                  <a:pt x="3326" y="1446"/>
                </a:lnTo>
                <a:lnTo>
                  <a:pt x="3010" y="899"/>
                </a:lnTo>
                <a:lnTo>
                  <a:pt x="3010" y="899"/>
                </a:lnTo>
                <a:cubicBezTo>
                  <a:pt x="3010" y="898"/>
                  <a:pt x="3009" y="895"/>
                  <a:pt x="3009" y="894"/>
                </a:cubicBezTo>
              </a:path>
            </a:pathLst>
          </a:custGeom>
          <a:solidFill>
            <a:srgbClr val="15853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6" name="Freeform 3">
            <a:extLst>
              <a:ext uri="{FF2B5EF4-FFF2-40B4-BE49-F238E27FC236}">
                <a16:creationId xmlns:a16="http://schemas.microsoft.com/office/drawing/2014/main" id="{A36E7A5A-B355-4800-9CDD-EEB6EE3F3A6D}"/>
              </a:ext>
            </a:extLst>
          </p:cNvPr>
          <p:cNvSpPr>
            <a:spLocks noChangeArrowheads="1"/>
          </p:cNvSpPr>
          <p:nvPr/>
        </p:nvSpPr>
        <p:spPr bwMode="auto">
          <a:xfrm>
            <a:off x="5270419" y="3618280"/>
            <a:ext cx="2098563" cy="1796413"/>
          </a:xfrm>
          <a:custGeom>
            <a:avLst/>
            <a:gdLst>
              <a:gd name="T0" fmla="*/ 520 w 3368"/>
              <a:gd name="T1" fmla="*/ 547 h 2885"/>
              <a:gd name="T2" fmla="*/ 527 w 3368"/>
              <a:gd name="T3" fmla="*/ 582 h 2885"/>
              <a:gd name="T4" fmla="*/ 585 w 3368"/>
              <a:gd name="T5" fmla="*/ 620 h 2885"/>
              <a:gd name="T6" fmla="*/ 698 w 3368"/>
              <a:gd name="T7" fmla="*/ 637 h 2885"/>
              <a:gd name="T8" fmla="*/ 783 w 3368"/>
              <a:gd name="T9" fmla="*/ 668 h 2885"/>
              <a:gd name="T10" fmla="*/ 833 w 3368"/>
              <a:gd name="T11" fmla="*/ 708 h 2885"/>
              <a:gd name="T12" fmla="*/ 876 w 3368"/>
              <a:gd name="T13" fmla="*/ 787 h 2885"/>
              <a:gd name="T14" fmla="*/ 842 w 3368"/>
              <a:gd name="T15" fmla="*/ 968 h 2885"/>
              <a:gd name="T16" fmla="*/ 716 w 3368"/>
              <a:gd name="T17" fmla="*/ 1084 h 2885"/>
              <a:gd name="T18" fmla="*/ 674 w 3368"/>
              <a:gd name="T19" fmla="*/ 1095 h 2885"/>
              <a:gd name="T20" fmla="*/ 669 w 3368"/>
              <a:gd name="T21" fmla="*/ 1095 h 2885"/>
              <a:gd name="T22" fmla="*/ 668 w 3368"/>
              <a:gd name="T23" fmla="*/ 1095 h 2885"/>
              <a:gd name="T24" fmla="*/ 660 w 3368"/>
              <a:gd name="T25" fmla="*/ 1096 h 2885"/>
              <a:gd name="T26" fmla="*/ 653 w 3368"/>
              <a:gd name="T27" fmla="*/ 1096 h 2885"/>
              <a:gd name="T28" fmla="*/ 562 w 3368"/>
              <a:gd name="T29" fmla="*/ 1073 h 2885"/>
              <a:gd name="T30" fmla="*/ 553 w 3368"/>
              <a:gd name="T31" fmla="*/ 1068 h 2885"/>
              <a:gd name="T32" fmla="*/ 411 w 3368"/>
              <a:gd name="T33" fmla="*/ 922 h 2885"/>
              <a:gd name="T34" fmla="*/ 348 w 3368"/>
              <a:gd name="T35" fmla="*/ 891 h 2885"/>
              <a:gd name="T36" fmla="*/ 315 w 3368"/>
              <a:gd name="T37" fmla="*/ 901 h 2885"/>
              <a:gd name="T38" fmla="*/ 830 w 3368"/>
              <a:gd name="T39" fmla="*/ 2884 h 2885"/>
              <a:gd name="T40" fmla="*/ 3321 w 3368"/>
              <a:gd name="T41" fmla="*/ 1448 h 2885"/>
              <a:gd name="T42" fmla="*/ 3006 w 3368"/>
              <a:gd name="T43" fmla="*/ 904 h 2885"/>
              <a:gd name="T44" fmla="*/ 3005 w 3368"/>
              <a:gd name="T45" fmla="*/ 899 h 2885"/>
              <a:gd name="T46" fmla="*/ 3014 w 3368"/>
              <a:gd name="T47" fmla="*/ 837 h 2885"/>
              <a:gd name="T48" fmla="*/ 3015 w 3368"/>
              <a:gd name="T49" fmla="*/ 833 h 2885"/>
              <a:gd name="T50" fmla="*/ 3017 w 3368"/>
              <a:gd name="T51" fmla="*/ 830 h 2885"/>
              <a:gd name="T52" fmla="*/ 3099 w 3368"/>
              <a:gd name="T53" fmla="*/ 776 h 2885"/>
              <a:gd name="T54" fmla="*/ 3280 w 3368"/>
              <a:gd name="T55" fmla="*/ 732 h 2885"/>
              <a:gd name="T56" fmla="*/ 3288 w 3368"/>
              <a:gd name="T57" fmla="*/ 726 h 2885"/>
              <a:gd name="T58" fmla="*/ 3342 w 3368"/>
              <a:gd name="T59" fmla="*/ 671 h 2885"/>
              <a:gd name="T60" fmla="*/ 3345 w 3368"/>
              <a:gd name="T61" fmla="*/ 665 h 2885"/>
              <a:gd name="T62" fmla="*/ 3346 w 3368"/>
              <a:gd name="T63" fmla="*/ 664 h 2885"/>
              <a:gd name="T64" fmla="*/ 3348 w 3368"/>
              <a:gd name="T65" fmla="*/ 659 h 2885"/>
              <a:gd name="T66" fmla="*/ 3350 w 3368"/>
              <a:gd name="T67" fmla="*/ 655 h 2885"/>
              <a:gd name="T68" fmla="*/ 3351 w 3368"/>
              <a:gd name="T69" fmla="*/ 653 h 2885"/>
              <a:gd name="T70" fmla="*/ 3360 w 3368"/>
              <a:gd name="T71" fmla="*/ 622 h 2885"/>
              <a:gd name="T72" fmla="*/ 3327 w 3368"/>
              <a:gd name="T73" fmla="*/ 477 h 2885"/>
              <a:gd name="T74" fmla="*/ 3207 w 3368"/>
              <a:gd name="T75" fmla="*/ 373 h 2885"/>
              <a:gd name="T76" fmla="*/ 3134 w 3368"/>
              <a:gd name="T77" fmla="*/ 370 h 2885"/>
              <a:gd name="T78" fmla="*/ 3133 w 3368"/>
              <a:gd name="T79" fmla="*/ 370 h 2885"/>
              <a:gd name="T80" fmla="*/ 3126 w 3368"/>
              <a:gd name="T81" fmla="*/ 372 h 2885"/>
              <a:gd name="T82" fmla="*/ 3093 w 3368"/>
              <a:gd name="T83" fmla="*/ 385 h 2885"/>
              <a:gd name="T84" fmla="*/ 3085 w 3368"/>
              <a:gd name="T85" fmla="*/ 390 h 2885"/>
              <a:gd name="T86" fmla="*/ 3041 w 3368"/>
              <a:gd name="T87" fmla="*/ 422 h 2885"/>
              <a:gd name="T88" fmla="*/ 2956 w 3368"/>
              <a:gd name="T89" fmla="*/ 527 h 2885"/>
              <a:gd name="T90" fmla="*/ 2869 w 3368"/>
              <a:gd name="T91" fmla="*/ 572 h 2885"/>
              <a:gd name="T92" fmla="*/ 2863 w 3368"/>
              <a:gd name="T93" fmla="*/ 571 h 2885"/>
              <a:gd name="T94" fmla="*/ 2849 w 3368"/>
              <a:gd name="T95" fmla="*/ 570 h 2885"/>
              <a:gd name="T96" fmla="*/ 2801 w 3368"/>
              <a:gd name="T97" fmla="*/ 546 h 2885"/>
              <a:gd name="T98" fmla="*/ 2798 w 3368"/>
              <a:gd name="T99" fmla="*/ 542 h 2885"/>
              <a:gd name="T100" fmla="*/ 835 w 3368"/>
              <a:gd name="T101" fmla="*/ 1 h 2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68" h="2885">
                <a:moveTo>
                  <a:pt x="520" y="547"/>
                </a:moveTo>
                <a:lnTo>
                  <a:pt x="520" y="547"/>
                </a:lnTo>
                <a:cubicBezTo>
                  <a:pt x="519" y="559"/>
                  <a:pt x="522" y="571"/>
                  <a:pt x="527" y="582"/>
                </a:cubicBezTo>
                <a:lnTo>
                  <a:pt x="527" y="582"/>
                </a:lnTo>
                <a:cubicBezTo>
                  <a:pt x="539" y="604"/>
                  <a:pt x="560" y="618"/>
                  <a:pt x="585" y="620"/>
                </a:cubicBezTo>
                <a:lnTo>
                  <a:pt x="585" y="620"/>
                </a:lnTo>
                <a:cubicBezTo>
                  <a:pt x="625" y="622"/>
                  <a:pt x="664" y="629"/>
                  <a:pt x="698" y="637"/>
                </a:cubicBezTo>
                <a:lnTo>
                  <a:pt x="698" y="637"/>
                </a:lnTo>
                <a:cubicBezTo>
                  <a:pt x="732" y="645"/>
                  <a:pt x="761" y="656"/>
                  <a:pt x="783" y="668"/>
                </a:cubicBezTo>
                <a:lnTo>
                  <a:pt x="783" y="668"/>
                </a:lnTo>
                <a:cubicBezTo>
                  <a:pt x="802" y="680"/>
                  <a:pt x="819" y="693"/>
                  <a:pt x="833" y="708"/>
                </a:cubicBezTo>
                <a:lnTo>
                  <a:pt x="833" y="708"/>
                </a:lnTo>
                <a:cubicBezTo>
                  <a:pt x="854" y="731"/>
                  <a:pt x="868" y="757"/>
                  <a:pt x="876" y="787"/>
                </a:cubicBezTo>
                <a:lnTo>
                  <a:pt x="876" y="787"/>
                </a:lnTo>
                <a:cubicBezTo>
                  <a:pt x="890" y="843"/>
                  <a:pt x="878" y="906"/>
                  <a:pt x="842" y="968"/>
                </a:cubicBezTo>
                <a:lnTo>
                  <a:pt x="842" y="968"/>
                </a:lnTo>
                <a:cubicBezTo>
                  <a:pt x="809" y="1024"/>
                  <a:pt x="765" y="1066"/>
                  <a:pt x="716" y="1084"/>
                </a:cubicBezTo>
                <a:lnTo>
                  <a:pt x="716" y="1084"/>
                </a:lnTo>
                <a:cubicBezTo>
                  <a:pt x="703" y="1089"/>
                  <a:pt x="690" y="1093"/>
                  <a:pt x="677" y="1094"/>
                </a:cubicBezTo>
                <a:lnTo>
                  <a:pt x="674" y="1095"/>
                </a:lnTo>
                <a:lnTo>
                  <a:pt x="674" y="1095"/>
                </a:lnTo>
                <a:cubicBezTo>
                  <a:pt x="673" y="1095"/>
                  <a:pt x="671" y="1095"/>
                  <a:pt x="669" y="1095"/>
                </a:cubicBezTo>
                <a:lnTo>
                  <a:pt x="668" y="1095"/>
                </a:lnTo>
                <a:lnTo>
                  <a:pt x="668" y="1095"/>
                </a:lnTo>
                <a:cubicBezTo>
                  <a:pt x="666" y="1095"/>
                  <a:pt x="665" y="1095"/>
                  <a:pt x="663" y="1095"/>
                </a:cubicBezTo>
                <a:lnTo>
                  <a:pt x="660" y="1096"/>
                </a:lnTo>
                <a:lnTo>
                  <a:pt x="660" y="1096"/>
                </a:lnTo>
                <a:cubicBezTo>
                  <a:pt x="658" y="1096"/>
                  <a:pt x="655" y="1096"/>
                  <a:pt x="653" y="1096"/>
                </a:cubicBezTo>
                <a:lnTo>
                  <a:pt x="653" y="1096"/>
                </a:lnTo>
                <a:cubicBezTo>
                  <a:pt x="622" y="1096"/>
                  <a:pt x="592" y="1089"/>
                  <a:pt x="562" y="1073"/>
                </a:cubicBezTo>
                <a:lnTo>
                  <a:pt x="562" y="1073"/>
                </a:lnTo>
                <a:cubicBezTo>
                  <a:pt x="559" y="1072"/>
                  <a:pt x="556" y="1071"/>
                  <a:pt x="553" y="1068"/>
                </a:cubicBezTo>
                <a:lnTo>
                  <a:pt x="553" y="1068"/>
                </a:lnTo>
                <a:cubicBezTo>
                  <a:pt x="509" y="1043"/>
                  <a:pt x="455" y="989"/>
                  <a:pt x="411" y="922"/>
                </a:cubicBezTo>
                <a:lnTo>
                  <a:pt x="411" y="922"/>
                </a:lnTo>
                <a:cubicBezTo>
                  <a:pt x="397" y="902"/>
                  <a:pt x="373" y="890"/>
                  <a:pt x="348" y="891"/>
                </a:cubicBezTo>
                <a:lnTo>
                  <a:pt x="348" y="891"/>
                </a:lnTo>
                <a:cubicBezTo>
                  <a:pt x="336" y="891"/>
                  <a:pt x="325" y="895"/>
                  <a:pt x="315" y="901"/>
                </a:cubicBezTo>
                <a:lnTo>
                  <a:pt x="0" y="1446"/>
                </a:lnTo>
                <a:lnTo>
                  <a:pt x="830" y="2884"/>
                </a:lnTo>
                <a:lnTo>
                  <a:pt x="2493" y="2883"/>
                </a:lnTo>
                <a:lnTo>
                  <a:pt x="3321" y="1448"/>
                </a:lnTo>
                <a:lnTo>
                  <a:pt x="3006" y="904"/>
                </a:lnTo>
                <a:lnTo>
                  <a:pt x="3006" y="904"/>
                </a:lnTo>
                <a:cubicBezTo>
                  <a:pt x="3006" y="902"/>
                  <a:pt x="3005" y="900"/>
                  <a:pt x="3005" y="899"/>
                </a:cubicBezTo>
                <a:lnTo>
                  <a:pt x="3005" y="899"/>
                </a:lnTo>
                <a:cubicBezTo>
                  <a:pt x="3002" y="878"/>
                  <a:pt x="3004" y="857"/>
                  <a:pt x="3013" y="838"/>
                </a:cubicBezTo>
                <a:lnTo>
                  <a:pt x="3014" y="837"/>
                </a:lnTo>
                <a:lnTo>
                  <a:pt x="3014" y="837"/>
                </a:lnTo>
                <a:cubicBezTo>
                  <a:pt x="3014" y="836"/>
                  <a:pt x="3015" y="835"/>
                  <a:pt x="3015" y="833"/>
                </a:cubicBezTo>
                <a:lnTo>
                  <a:pt x="3015" y="833"/>
                </a:lnTo>
                <a:cubicBezTo>
                  <a:pt x="3016" y="832"/>
                  <a:pt x="3016" y="831"/>
                  <a:pt x="3017" y="830"/>
                </a:cubicBezTo>
                <a:lnTo>
                  <a:pt x="3017" y="830"/>
                </a:lnTo>
                <a:cubicBezTo>
                  <a:pt x="3033" y="799"/>
                  <a:pt x="3064" y="779"/>
                  <a:pt x="3099" y="776"/>
                </a:cubicBezTo>
                <a:lnTo>
                  <a:pt x="3099" y="776"/>
                </a:lnTo>
                <a:cubicBezTo>
                  <a:pt x="3173" y="772"/>
                  <a:pt x="3241" y="754"/>
                  <a:pt x="3280" y="732"/>
                </a:cubicBezTo>
                <a:lnTo>
                  <a:pt x="3280" y="732"/>
                </a:lnTo>
                <a:cubicBezTo>
                  <a:pt x="3283" y="730"/>
                  <a:pt x="3286" y="728"/>
                  <a:pt x="3288" y="726"/>
                </a:cubicBezTo>
                <a:lnTo>
                  <a:pt x="3288" y="726"/>
                </a:lnTo>
                <a:cubicBezTo>
                  <a:pt x="3312" y="711"/>
                  <a:pt x="3330" y="693"/>
                  <a:pt x="3342" y="671"/>
                </a:cubicBezTo>
                <a:lnTo>
                  <a:pt x="3342" y="671"/>
                </a:lnTo>
                <a:cubicBezTo>
                  <a:pt x="3343" y="669"/>
                  <a:pt x="3345" y="668"/>
                  <a:pt x="3345" y="665"/>
                </a:cubicBezTo>
                <a:lnTo>
                  <a:pt x="3345" y="665"/>
                </a:lnTo>
                <a:cubicBezTo>
                  <a:pt x="3345" y="665"/>
                  <a:pt x="3346" y="665"/>
                  <a:pt x="3346" y="664"/>
                </a:cubicBezTo>
                <a:lnTo>
                  <a:pt x="3348" y="659"/>
                </a:lnTo>
                <a:lnTo>
                  <a:pt x="3348" y="659"/>
                </a:lnTo>
                <a:cubicBezTo>
                  <a:pt x="3349" y="658"/>
                  <a:pt x="3349" y="657"/>
                  <a:pt x="3350" y="655"/>
                </a:cubicBezTo>
                <a:lnTo>
                  <a:pt x="3350" y="655"/>
                </a:lnTo>
                <a:lnTo>
                  <a:pt x="3351" y="653"/>
                </a:lnTo>
                <a:lnTo>
                  <a:pt x="3351" y="653"/>
                </a:lnTo>
                <a:cubicBezTo>
                  <a:pt x="3355" y="643"/>
                  <a:pt x="3358" y="633"/>
                  <a:pt x="3360" y="622"/>
                </a:cubicBezTo>
                <a:lnTo>
                  <a:pt x="3360" y="622"/>
                </a:lnTo>
                <a:cubicBezTo>
                  <a:pt x="3367" y="578"/>
                  <a:pt x="3355" y="526"/>
                  <a:pt x="3327" y="477"/>
                </a:cubicBezTo>
                <a:lnTo>
                  <a:pt x="3327" y="477"/>
                </a:lnTo>
                <a:cubicBezTo>
                  <a:pt x="3295" y="422"/>
                  <a:pt x="3253" y="386"/>
                  <a:pt x="3207" y="373"/>
                </a:cubicBezTo>
                <a:lnTo>
                  <a:pt x="3207" y="373"/>
                </a:lnTo>
                <a:cubicBezTo>
                  <a:pt x="3183" y="365"/>
                  <a:pt x="3159" y="365"/>
                  <a:pt x="3134" y="370"/>
                </a:cubicBezTo>
                <a:lnTo>
                  <a:pt x="3134" y="370"/>
                </a:lnTo>
                <a:cubicBezTo>
                  <a:pt x="3134" y="370"/>
                  <a:pt x="3134" y="370"/>
                  <a:pt x="3133" y="370"/>
                </a:cubicBezTo>
                <a:lnTo>
                  <a:pt x="3133" y="370"/>
                </a:lnTo>
                <a:cubicBezTo>
                  <a:pt x="3131" y="371"/>
                  <a:pt x="3128" y="371"/>
                  <a:pt x="3126" y="372"/>
                </a:cubicBezTo>
                <a:lnTo>
                  <a:pt x="3126" y="372"/>
                </a:lnTo>
                <a:cubicBezTo>
                  <a:pt x="3115" y="376"/>
                  <a:pt x="3104" y="380"/>
                  <a:pt x="3093" y="385"/>
                </a:cubicBezTo>
                <a:lnTo>
                  <a:pt x="3093" y="385"/>
                </a:lnTo>
                <a:cubicBezTo>
                  <a:pt x="3090" y="387"/>
                  <a:pt x="3088" y="388"/>
                  <a:pt x="3085" y="390"/>
                </a:cubicBezTo>
                <a:lnTo>
                  <a:pt x="3085" y="390"/>
                </a:lnTo>
                <a:cubicBezTo>
                  <a:pt x="3071" y="398"/>
                  <a:pt x="3057" y="409"/>
                  <a:pt x="3041" y="422"/>
                </a:cubicBezTo>
                <a:lnTo>
                  <a:pt x="3041" y="422"/>
                </a:lnTo>
                <a:cubicBezTo>
                  <a:pt x="3013" y="449"/>
                  <a:pt x="2983" y="485"/>
                  <a:pt x="2956" y="527"/>
                </a:cubicBezTo>
                <a:lnTo>
                  <a:pt x="2956" y="527"/>
                </a:lnTo>
                <a:cubicBezTo>
                  <a:pt x="2937" y="556"/>
                  <a:pt x="2904" y="573"/>
                  <a:pt x="2869" y="572"/>
                </a:cubicBezTo>
                <a:lnTo>
                  <a:pt x="2869" y="572"/>
                </a:lnTo>
                <a:cubicBezTo>
                  <a:pt x="2868" y="572"/>
                  <a:pt x="2866" y="572"/>
                  <a:pt x="2864" y="572"/>
                </a:cubicBezTo>
                <a:lnTo>
                  <a:pt x="2863" y="571"/>
                </a:lnTo>
                <a:lnTo>
                  <a:pt x="2863" y="571"/>
                </a:lnTo>
                <a:cubicBezTo>
                  <a:pt x="2858" y="571"/>
                  <a:pt x="2854" y="570"/>
                  <a:pt x="2849" y="570"/>
                </a:cubicBezTo>
                <a:lnTo>
                  <a:pt x="2849" y="570"/>
                </a:lnTo>
                <a:cubicBezTo>
                  <a:pt x="2831" y="566"/>
                  <a:pt x="2814" y="558"/>
                  <a:pt x="2801" y="546"/>
                </a:cubicBezTo>
                <a:lnTo>
                  <a:pt x="2801" y="546"/>
                </a:lnTo>
                <a:cubicBezTo>
                  <a:pt x="2800" y="545"/>
                  <a:pt x="2799" y="543"/>
                  <a:pt x="2798" y="542"/>
                </a:cubicBezTo>
                <a:lnTo>
                  <a:pt x="2485" y="0"/>
                </a:lnTo>
                <a:lnTo>
                  <a:pt x="835" y="1"/>
                </a:lnTo>
                <a:lnTo>
                  <a:pt x="520" y="547"/>
                </a:lnTo>
              </a:path>
            </a:pathLst>
          </a:custGeom>
          <a:solidFill>
            <a:srgbClr val="9F252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7" name="Freeform 9">
            <a:extLst>
              <a:ext uri="{FF2B5EF4-FFF2-40B4-BE49-F238E27FC236}">
                <a16:creationId xmlns:a16="http://schemas.microsoft.com/office/drawing/2014/main" id="{6138B1F1-23AA-4EEC-AEF0-76272D3BFD85}"/>
              </a:ext>
            </a:extLst>
          </p:cNvPr>
          <p:cNvSpPr>
            <a:spLocks noChangeArrowheads="1"/>
          </p:cNvSpPr>
          <p:nvPr/>
        </p:nvSpPr>
        <p:spPr bwMode="auto">
          <a:xfrm>
            <a:off x="3701992" y="2709087"/>
            <a:ext cx="2098563" cy="1796413"/>
          </a:xfrm>
          <a:custGeom>
            <a:avLst/>
            <a:gdLst>
              <a:gd name="T0" fmla="*/ 2815 w 3370"/>
              <a:gd name="T1" fmla="*/ 2329 h 2883"/>
              <a:gd name="T2" fmla="*/ 2866 w 3370"/>
              <a:gd name="T3" fmla="*/ 2310 h 2883"/>
              <a:gd name="T4" fmla="*/ 2871 w 3370"/>
              <a:gd name="T5" fmla="*/ 2310 h 2883"/>
              <a:gd name="T6" fmla="*/ 2957 w 3370"/>
              <a:gd name="T7" fmla="*/ 2356 h 2883"/>
              <a:gd name="T8" fmla="*/ 3085 w 3370"/>
              <a:gd name="T9" fmla="*/ 2492 h 2883"/>
              <a:gd name="T10" fmla="*/ 3135 w 3370"/>
              <a:gd name="T11" fmla="*/ 2512 h 2883"/>
              <a:gd name="T12" fmla="*/ 3209 w 3370"/>
              <a:gd name="T13" fmla="*/ 2510 h 2883"/>
              <a:gd name="T14" fmla="*/ 3329 w 3370"/>
              <a:gd name="T15" fmla="*/ 2405 h 2883"/>
              <a:gd name="T16" fmla="*/ 3362 w 3370"/>
              <a:gd name="T17" fmla="*/ 2261 h 2883"/>
              <a:gd name="T18" fmla="*/ 3353 w 3370"/>
              <a:gd name="T19" fmla="*/ 2229 h 2883"/>
              <a:gd name="T20" fmla="*/ 3352 w 3370"/>
              <a:gd name="T21" fmla="*/ 2228 h 2883"/>
              <a:gd name="T22" fmla="*/ 3351 w 3370"/>
              <a:gd name="T23" fmla="*/ 2224 h 2883"/>
              <a:gd name="T24" fmla="*/ 3349 w 3370"/>
              <a:gd name="T25" fmla="*/ 2222 h 2883"/>
              <a:gd name="T26" fmla="*/ 3348 w 3370"/>
              <a:gd name="T27" fmla="*/ 2218 h 2883"/>
              <a:gd name="T28" fmla="*/ 3347 w 3370"/>
              <a:gd name="T29" fmla="*/ 2217 h 2883"/>
              <a:gd name="T30" fmla="*/ 3345 w 3370"/>
              <a:gd name="T31" fmla="*/ 2211 h 2883"/>
              <a:gd name="T32" fmla="*/ 3290 w 3370"/>
              <a:gd name="T33" fmla="*/ 2156 h 2883"/>
              <a:gd name="T34" fmla="*/ 3282 w 3370"/>
              <a:gd name="T35" fmla="*/ 2151 h 2883"/>
              <a:gd name="T36" fmla="*/ 3208 w 3370"/>
              <a:gd name="T37" fmla="*/ 2123 h 2883"/>
              <a:gd name="T38" fmla="*/ 3101 w 3370"/>
              <a:gd name="T39" fmla="*/ 2108 h 2883"/>
              <a:gd name="T40" fmla="*/ 3017 w 3370"/>
              <a:gd name="T41" fmla="*/ 2056 h 2883"/>
              <a:gd name="T42" fmla="*/ 3014 w 3370"/>
              <a:gd name="T43" fmla="*/ 2051 h 2883"/>
              <a:gd name="T44" fmla="*/ 3014 w 3370"/>
              <a:gd name="T45" fmla="*/ 2050 h 2883"/>
              <a:gd name="T46" fmla="*/ 3006 w 3370"/>
              <a:gd name="T47" fmla="*/ 1989 h 2883"/>
              <a:gd name="T48" fmla="*/ 3324 w 3370"/>
              <a:gd name="T49" fmla="*/ 1436 h 2883"/>
              <a:gd name="T50" fmla="*/ 831 w 3370"/>
              <a:gd name="T51" fmla="*/ 0 h 2883"/>
              <a:gd name="T52" fmla="*/ 314 w 3370"/>
              <a:gd name="T53" fmla="*/ 1980 h 2883"/>
              <a:gd name="T54" fmla="*/ 349 w 3370"/>
              <a:gd name="T55" fmla="*/ 1991 h 2883"/>
              <a:gd name="T56" fmla="*/ 412 w 3370"/>
              <a:gd name="T57" fmla="*/ 1959 h 2883"/>
              <a:gd name="T58" fmla="*/ 553 w 3370"/>
              <a:gd name="T59" fmla="*/ 1814 h 2883"/>
              <a:gd name="T60" fmla="*/ 563 w 3370"/>
              <a:gd name="T61" fmla="*/ 1809 h 2883"/>
              <a:gd name="T62" fmla="*/ 653 w 3370"/>
              <a:gd name="T63" fmla="*/ 1786 h 2883"/>
              <a:gd name="T64" fmla="*/ 653 w 3370"/>
              <a:gd name="T65" fmla="*/ 1786 h 2883"/>
              <a:gd name="T66" fmla="*/ 665 w 3370"/>
              <a:gd name="T67" fmla="*/ 1786 h 2883"/>
              <a:gd name="T68" fmla="*/ 668 w 3370"/>
              <a:gd name="T69" fmla="*/ 1787 h 2883"/>
              <a:gd name="T70" fmla="*/ 670 w 3370"/>
              <a:gd name="T71" fmla="*/ 1787 h 2883"/>
              <a:gd name="T72" fmla="*/ 678 w 3370"/>
              <a:gd name="T73" fmla="*/ 1788 h 2883"/>
              <a:gd name="T74" fmla="*/ 717 w 3370"/>
              <a:gd name="T75" fmla="*/ 1798 h 2883"/>
              <a:gd name="T76" fmla="*/ 843 w 3370"/>
              <a:gd name="T77" fmla="*/ 1914 h 2883"/>
              <a:gd name="T78" fmla="*/ 877 w 3370"/>
              <a:gd name="T79" fmla="*/ 2095 h 2883"/>
              <a:gd name="T80" fmla="*/ 834 w 3370"/>
              <a:gd name="T81" fmla="*/ 2174 h 2883"/>
              <a:gd name="T82" fmla="*/ 783 w 3370"/>
              <a:gd name="T83" fmla="*/ 2214 h 2883"/>
              <a:gd name="T84" fmla="*/ 693 w 3370"/>
              <a:gd name="T85" fmla="*/ 2246 h 2883"/>
              <a:gd name="T86" fmla="*/ 585 w 3370"/>
              <a:gd name="T87" fmla="*/ 2263 h 2883"/>
              <a:gd name="T88" fmla="*/ 528 w 3370"/>
              <a:gd name="T89" fmla="*/ 2300 h 2883"/>
              <a:gd name="T90" fmla="*/ 520 w 3370"/>
              <a:gd name="T91" fmla="*/ 2336 h 2883"/>
              <a:gd name="T92" fmla="*/ 2490 w 3370"/>
              <a:gd name="T93" fmla="*/ 2882 h 2883"/>
              <a:gd name="T94" fmla="*/ 2799 w 3370"/>
              <a:gd name="T95" fmla="*/ 2345 h 2883"/>
              <a:gd name="T96" fmla="*/ 2802 w 3370"/>
              <a:gd name="T97" fmla="*/ 2342 h 2883"/>
              <a:gd name="T98" fmla="*/ 2811 w 3370"/>
              <a:gd name="T99" fmla="*/ 2334 h 2883"/>
              <a:gd name="T100" fmla="*/ 2815 w 3370"/>
              <a:gd name="T101" fmla="*/ 2329 h 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70" h="2883">
                <a:moveTo>
                  <a:pt x="2815" y="2329"/>
                </a:moveTo>
                <a:lnTo>
                  <a:pt x="2815" y="2329"/>
                </a:lnTo>
                <a:cubicBezTo>
                  <a:pt x="2830" y="2319"/>
                  <a:pt x="2847" y="2312"/>
                  <a:pt x="2865" y="2310"/>
                </a:cubicBezTo>
                <a:lnTo>
                  <a:pt x="2866" y="2310"/>
                </a:lnTo>
                <a:lnTo>
                  <a:pt x="2866" y="2310"/>
                </a:lnTo>
                <a:cubicBezTo>
                  <a:pt x="2867" y="2310"/>
                  <a:pt x="2870" y="2310"/>
                  <a:pt x="2871" y="2310"/>
                </a:cubicBezTo>
                <a:lnTo>
                  <a:pt x="2871" y="2310"/>
                </a:lnTo>
                <a:cubicBezTo>
                  <a:pt x="2906" y="2309"/>
                  <a:pt x="2939" y="2326"/>
                  <a:pt x="2957" y="2356"/>
                </a:cubicBezTo>
                <a:lnTo>
                  <a:pt x="2957" y="2356"/>
                </a:lnTo>
                <a:cubicBezTo>
                  <a:pt x="2999" y="2419"/>
                  <a:pt x="3047" y="2470"/>
                  <a:pt x="3085" y="2492"/>
                </a:cubicBezTo>
                <a:lnTo>
                  <a:pt x="3085" y="2492"/>
                </a:lnTo>
                <a:cubicBezTo>
                  <a:pt x="3102" y="2502"/>
                  <a:pt x="3118" y="2509"/>
                  <a:pt x="3135" y="2512"/>
                </a:cubicBezTo>
                <a:lnTo>
                  <a:pt x="3135" y="2512"/>
                </a:lnTo>
                <a:cubicBezTo>
                  <a:pt x="3160" y="2518"/>
                  <a:pt x="3185" y="2517"/>
                  <a:pt x="3209" y="2510"/>
                </a:cubicBezTo>
                <a:lnTo>
                  <a:pt x="3209" y="2510"/>
                </a:lnTo>
                <a:cubicBezTo>
                  <a:pt x="3255" y="2497"/>
                  <a:pt x="3297" y="2460"/>
                  <a:pt x="3329" y="2405"/>
                </a:cubicBezTo>
                <a:lnTo>
                  <a:pt x="3329" y="2405"/>
                </a:lnTo>
                <a:cubicBezTo>
                  <a:pt x="3357" y="2356"/>
                  <a:pt x="3369" y="2305"/>
                  <a:pt x="3362" y="2261"/>
                </a:cubicBezTo>
                <a:lnTo>
                  <a:pt x="3362" y="2261"/>
                </a:lnTo>
                <a:cubicBezTo>
                  <a:pt x="3360" y="2250"/>
                  <a:pt x="3357" y="2239"/>
                  <a:pt x="3353" y="2229"/>
                </a:cubicBezTo>
                <a:lnTo>
                  <a:pt x="3353" y="2229"/>
                </a:lnTo>
                <a:lnTo>
                  <a:pt x="3352" y="2228"/>
                </a:lnTo>
                <a:lnTo>
                  <a:pt x="3352" y="2228"/>
                </a:lnTo>
                <a:cubicBezTo>
                  <a:pt x="3352" y="2226"/>
                  <a:pt x="3351" y="2225"/>
                  <a:pt x="3351" y="2224"/>
                </a:cubicBezTo>
                <a:lnTo>
                  <a:pt x="3349" y="2222"/>
                </a:lnTo>
                <a:lnTo>
                  <a:pt x="3349" y="2222"/>
                </a:lnTo>
                <a:cubicBezTo>
                  <a:pt x="3349" y="2221"/>
                  <a:pt x="3349" y="2220"/>
                  <a:pt x="3348" y="2219"/>
                </a:cubicBezTo>
                <a:lnTo>
                  <a:pt x="3348" y="2218"/>
                </a:lnTo>
                <a:lnTo>
                  <a:pt x="3348" y="2218"/>
                </a:lnTo>
                <a:lnTo>
                  <a:pt x="3347" y="2217"/>
                </a:lnTo>
                <a:lnTo>
                  <a:pt x="3347" y="2217"/>
                </a:lnTo>
                <a:cubicBezTo>
                  <a:pt x="3347" y="2215"/>
                  <a:pt x="3345" y="2213"/>
                  <a:pt x="3345" y="2211"/>
                </a:cubicBezTo>
                <a:lnTo>
                  <a:pt x="3345" y="2211"/>
                </a:lnTo>
                <a:cubicBezTo>
                  <a:pt x="3332" y="2189"/>
                  <a:pt x="3313" y="2171"/>
                  <a:pt x="3290" y="2156"/>
                </a:cubicBezTo>
                <a:lnTo>
                  <a:pt x="3290" y="2156"/>
                </a:lnTo>
                <a:cubicBezTo>
                  <a:pt x="3288" y="2155"/>
                  <a:pt x="3285" y="2153"/>
                  <a:pt x="3282" y="2151"/>
                </a:cubicBezTo>
                <a:lnTo>
                  <a:pt x="3282" y="2151"/>
                </a:lnTo>
                <a:cubicBezTo>
                  <a:pt x="3263" y="2140"/>
                  <a:pt x="3238" y="2131"/>
                  <a:pt x="3208" y="2123"/>
                </a:cubicBezTo>
                <a:lnTo>
                  <a:pt x="3208" y="2123"/>
                </a:lnTo>
                <a:cubicBezTo>
                  <a:pt x="3176" y="2115"/>
                  <a:pt x="3139" y="2111"/>
                  <a:pt x="3101" y="2108"/>
                </a:cubicBezTo>
                <a:lnTo>
                  <a:pt x="3101" y="2108"/>
                </a:lnTo>
                <a:cubicBezTo>
                  <a:pt x="3065" y="2106"/>
                  <a:pt x="3034" y="2087"/>
                  <a:pt x="3017" y="2056"/>
                </a:cubicBezTo>
                <a:lnTo>
                  <a:pt x="3017" y="2056"/>
                </a:lnTo>
                <a:cubicBezTo>
                  <a:pt x="3016" y="2054"/>
                  <a:pt x="3015" y="2052"/>
                  <a:pt x="3014" y="2051"/>
                </a:cubicBezTo>
                <a:lnTo>
                  <a:pt x="3014" y="2050"/>
                </a:lnTo>
                <a:lnTo>
                  <a:pt x="3014" y="2050"/>
                </a:lnTo>
                <a:cubicBezTo>
                  <a:pt x="3005" y="2030"/>
                  <a:pt x="3002" y="2009"/>
                  <a:pt x="3006" y="1989"/>
                </a:cubicBezTo>
                <a:lnTo>
                  <a:pt x="3006" y="1989"/>
                </a:lnTo>
                <a:cubicBezTo>
                  <a:pt x="3006" y="1987"/>
                  <a:pt x="3007" y="1985"/>
                  <a:pt x="3008" y="1984"/>
                </a:cubicBezTo>
                <a:lnTo>
                  <a:pt x="3324" y="1436"/>
                </a:lnTo>
                <a:lnTo>
                  <a:pt x="2495" y="0"/>
                </a:lnTo>
                <a:lnTo>
                  <a:pt x="831" y="0"/>
                </a:lnTo>
                <a:lnTo>
                  <a:pt x="0" y="1437"/>
                </a:lnTo>
                <a:lnTo>
                  <a:pt x="314" y="1980"/>
                </a:lnTo>
                <a:lnTo>
                  <a:pt x="314" y="1980"/>
                </a:lnTo>
                <a:cubicBezTo>
                  <a:pt x="325" y="1987"/>
                  <a:pt x="337" y="1991"/>
                  <a:pt x="349" y="1991"/>
                </a:cubicBezTo>
                <a:lnTo>
                  <a:pt x="349" y="1991"/>
                </a:lnTo>
                <a:cubicBezTo>
                  <a:pt x="375" y="1993"/>
                  <a:pt x="397" y="1980"/>
                  <a:pt x="412" y="1959"/>
                </a:cubicBezTo>
                <a:lnTo>
                  <a:pt x="412" y="1959"/>
                </a:lnTo>
                <a:cubicBezTo>
                  <a:pt x="456" y="1894"/>
                  <a:pt x="509" y="1840"/>
                  <a:pt x="553" y="1814"/>
                </a:cubicBezTo>
                <a:lnTo>
                  <a:pt x="553" y="1814"/>
                </a:lnTo>
                <a:cubicBezTo>
                  <a:pt x="557" y="1812"/>
                  <a:pt x="560" y="1810"/>
                  <a:pt x="563" y="1809"/>
                </a:cubicBezTo>
                <a:lnTo>
                  <a:pt x="563" y="1809"/>
                </a:lnTo>
                <a:cubicBezTo>
                  <a:pt x="592" y="1794"/>
                  <a:pt x="622" y="1786"/>
                  <a:pt x="653" y="1786"/>
                </a:cubicBezTo>
                <a:lnTo>
                  <a:pt x="653" y="1786"/>
                </a:lnTo>
                <a:lnTo>
                  <a:pt x="653" y="1786"/>
                </a:lnTo>
                <a:cubicBezTo>
                  <a:pt x="656" y="1786"/>
                  <a:pt x="659" y="1786"/>
                  <a:pt x="660" y="1786"/>
                </a:cubicBezTo>
                <a:lnTo>
                  <a:pt x="665" y="1786"/>
                </a:lnTo>
                <a:lnTo>
                  <a:pt x="665" y="1786"/>
                </a:lnTo>
                <a:cubicBezTo>
                  <a:pt x="666" y="1787"/>
                  <a:pt x="667" y="1787"/>
                  <a:pt x="668" y="1787"/>
                </a:cubicBezTo>
                <a:lnTo>
                  <a:pt x="670" y="1787"/>
                </a:lnTo>
                <a:lnTo>
                  <a:pt x="670" y="1787"/>
                </a:lnTo>
                <a:cubicBezTo>
                  <a:pt x="672" y="1787"/>
                  <a:pt x="674" y="1788"/>
                  <a:pt x="676" y="1788"/>
                </a:cubicBezTo>
                <a:lnTo>
                  <a:pt x="678" y="1788"/>
                </a:lnTo>
                <a:lnTo>
                  <a:pt x="678" y="1788"/>
                </a:lnTo>
                <a:cubicBezTo>
                  <a:pt x="691" y="1790"/>
                  <a:pt x="704" y="1793"/>
                  <a:pt x="717" y="1798"/>
                </a:cubicBezTo>
                <a:lnTo>
                  <a:pt x="717" y="1798"/>
                </a:lnTo>
                <a:cubicBezTo>
                  <a:pt x="765" y="1817"/>
                  <a:pt x="811" y="1858"/>
                  <a:pt x="843" y="1914"/>
                </a:cubicBezTo>
                <a:lnTo>
                  <a:pt x="843" y="1914"/>
                </a:lnTo>
                <a:cubicBezTo>
                  <a:pt x="879" y="1977"/>
                  <a:pt x="890" y="2040"/>
                  <a:pt x="877" y="2095"/>
                </a:cubicBezTo>
                <a:lnTo>
                  <a:pt x="877" y="2095"/>
                </a:lnTo>
                <a:cubicBezTo>
                  <a:pt x="869" y="2125"/>
                  <a:pt x="855" y="2152"/>
                  <a:pt x="834" y="2174"/>
                </a:cubicBezTo>
                <a:lnTo>
                  <a:pt x="834" y="2174"/>
                </a:lnTo>
                <a:cubicBezTo>
                  <a:pt x="820" y="2189"/>
                  <a:pt x="803" y="2203"/>
                  <a:pt x="783" y="2214"/>
                </a:cubicBezTo>
                <a:lnTo>
                  <a:pt x="783" y="2214"/>
                </a:lnTo>
                <a:cubicBezTo>
                  <a:pt x="761" y="2228"/>
                  <a:pt x="730" y="2239"/>
                  <a:pt x="693" y="2246"/>
                </a:cubicBezTo>
                <a:lnTo>
                  <a:pt x="693" y="2246"/>
                </a:lnTo>
                <a:cubicBezTo>
                  <a:pt x="660" y="2254"/>
                  <a:pt x="623" y="2260"/>
                  <a:pt x="585" y="2263"/>
                </a:cubicBezTo>
                <a:lnTo>
                  <a:pt x="585" y="2263"/>
                </a:lnTo>
                <a:cubicBezTo>
                  <a:pt x="561" y="2265"/>
                  <a:pt x="539" y="2279"/>
                  <a:pt x="528" y="2300"/>
                </a:cubicBezTo>
                <a:lnTo>
                  <a:pt x="528" y="2300"/>
                </a:lnTo>
                <a:cubicBezTo>
                  <a:pt x="522" y="2311"/>
                  <a:pt x="519" y="2323"/>
                  <a:pt x="520" y="2336"/>
                </a:cubicBezTo>
                <a:lnTo>
                  <a:pt x="835" y="2881"/>
                </a:lnTo>
                <a:lnTo>
                  <a:pt x="2490" y="2882"/>
                </a:lnTo>
                <a:lnTo>
                  <a:pt x="2799" y="2345"/>
                </a:lnTo>
                <a:lnTo>
                  <a:pt x="2799" y="2345"/>
                </a:lnTo>
                <a:cubicBezTo>
                  <a:pt x="2800" y="2344"/>
                  <a:pt x="2801" y="2343"/>
                  <a:pt x="2802" y="2342"/>
                </a:cubicBezTo>
                <a:lnTo>
                  <a:pt x="2802" y="2342"/>
                </a:lnTo>
                <a:cubicBezTo>
                  <a:pt x="2804" y="2339"/>
                  <a:pt x="2807" y="2338"/>
                  <a:pt x="2810" y="2336"/>
                </a:cubicBezTo>
                <a:lnTo>
                  <a:pt x="2811" y="2334"/>
                </a:lnTo>
                <a:lnTo>
                  <a:pt x="2811" y="2334"/>
                </a:lnTo>
                <a:cubicBezTo>
                  <a:pt x="2812" y="2332"/>
                  <a:pt x="2814" y="2330"/>
                  <a:pt x="2815" y="2329"/>
                </a:cubicBezTo>
              </a:path>
            </a:pathLst>
          </a:custGeom>
          <a:solidFill>
            <a:srgbClr val="B4A26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8" name="Freeform 5">
            <a:extLst>
              <a:ext uri="{FF2B5EF4-FFF2-40B4-BE49-F238E27FC236}">
                <a16:creationId xmlns:a16="http://schemas.microsoft.com/office/drawing/2014/main" id="{26FD513E-0CB5-4A6D-AC33-79ABB7CE8BA1}"/>
              </a:ext>
            </a:extLst>
          </p:cNvPr>
          <p:cNvSpPr>
            <a:spLocks noChangeArrowheads="1"/>
          </p:cNvSpPr>
          <p:nvPr/>
        </p:nvSpPr>
        <p:spPr bwMode="auto">
          <a:xfrm>
            <a:off x="6838848" y="2714580"/>
            <a:ext cx="2098563" cy="1796413"/>
          </a:xfrm>
          <a:custGeom>
            <a:avLst/>
            <a:gdLst>
              <a:gd name="T0" fmla="*/ 2814 w 3368"/>
              <a:gd name="T1" fmla="*/ 2329 h 2883"/>
              <a:gd name="T2" fmla="*/ 2864 w 3368"/>
              <a:gd name="T3" fmla="*/ 2311 h 2883"/>
              <a:gd name="T4" fmla="*/ 2869 w 3368"/>
              <a:gd name="T5" fmla="*/ 2310 h 2883"/>
              <a:gd name="T6" fmla="*/ 2872 w 3368"/>
              <a:gd name="T7" fmla="*/ 2310 h 2883"/>
              <a:gd name="T8" fmla="*/ 2955 w 3368"/>
              <a:gd name="T9" fmla="*/ 2356 h 2883"/>
              <a:gd name="T10" fmla="*/ 3083 w 3368"/>
              <a:gd name="T11" fmla="*/ 2492 h 2883"/>
              <a:gd name="T12" fmla="*/ 3133 w 3368"/>
              <a:gd name="T13" fmla="*/ 2512 h 2883"/>
              <a:gd name="T14" fmla="*/ 3207 w 3368"/>
              <a:gd name="T15" fmla="*/ 2510 h 2883"/>
              <a:gd name="T16" fmla="*/ 3327 w 3368"/>
              <a:gd name="T17" fmla="*/ 2406 h 2883"/>
              <a:gd name="T18" fmla="*/ 3360 w 3368"/>
              <a:gd name="T19" fmla="*/ 2261 h 2883"/>
              <a:gd name="T20" fmla="*/ 3351 w 3368"/>
              <a:gd name="T21" fmla="*/ 2229 h 2883"/>
              <a:gd name="T22" fmla="*/ 3351 w 3368"/>
              <a:gd name="T23" fmla="*/ 2228 h 2883"/>
              <a:gd name="T24" fmla="*/ 3349 w 3368"/>
              <a:gd name="T25" fmla="*/ 2224 h 2883"/>
              <a:gd name="T26" fmla="*/ 3347 w 3368"/>
              <a:gd name="T27" fmla="*/ 2223 h 2883"/>
              <a:gd name="T28" fmla="*/ 3345 w 3368"/>
              <a:gd name="T29" fmla="*/ 2217 h 2883"/>
              <a:gd name="T30" fmla="*/ 3343 w 3368"/>
              <a:gd name="T31" fmla="*/ 2211 h 2883"/>
              <a:gd name="T32" fmla="*/ 3332 w 3368"/>
              <a:gd name="T33" fmla="*/ 2196 h 2883"/>
              <a:gd name="T34" fmla="*/ 3330 w 3368"/>
              <a:gd name="T35" fmla="*/ 2194 h 2883"/>
              <a:gd name="T36" fmla="*/ 3326 w 3368"/>
              <a:gd name="T37" fmla="*/ 2189 h 2883"/>
              <a:gd name="T38" fmla="*/ 3284 w 3368"/>
              <a:gd name="T39" fmla="*/ 2156 h 2883"/>
              <a:gd name="T40" fmla="*/ 3099 w 3368"/>
              <a:gd name="T41" fmla="*/ 2114 h 2883"/>
              <a:gd name="T42" fmla="*/ 3015 w 3368"/>
              <a:gd name="T43" fmla="*/ 2061 h 2883"/>
              <a:gd name="T44" fmla="*/ 3013 w 3368"/>
              <a:gd name="T45" fmla="*/ 2056 h 2883"/>
              <a:gd name="T46" fmla="*/ 3012 w 3368"/>
              <a:gd name="T47" fmla="*/ 2055 h 2883"/>
              <a:gd name="T48" fmla="*/ 3004 w 3368"/>
              <a:gd name="T49" fmla="*/ 1994 h 2883"/>
              <a:gd name="T50" fmla="*/ 3324 w 3368"/>
              <a:gd name="T51" fmla="*/ 1440 h 2883"/>
              <a:gd name="T52" fmla="*/ 3324 w 3368"/>
              <a:gd name="T53" fmla="*/ 1439 h 2883"/>
              <a:gd name="T54" fmla="*/ 829 w 3368"/>
              <a:gd name="T55" fmla="*/ 0 h 2883"/>
              <a:gd name="T56" fmla="*/ 316 w 3368"/>
              <a:gd name="T57" fmla="*/ 1982 h 2883"/>
              <a:gd name="T58" fmla="*/ 337 w 3368"/>
              <a:gd name="T59" fmla="*/ 1991 h 2883"/>
              <a:gd name="T60" fmla="*/ 347 w 3368"/>
              <a:gd name="T61" fmla="*/ 1992 h 2883"/>
              <a:gd name="T62" fmla="*/ 347 w 3368"/>
              <a:gd name="T63" fmla="*/ 1992 h 2883"/>
              <a:gd name="T64" fmla="*/ 410 w 3368"/>
              <a:gd name="T65" fmla="*/ 1960 h 2883"/>
              <a:gd name="T66" fmla="*/ 504 w 3368"/>
              <a:gd name="T67" fmla="*/ 1850 h 2883"/>
              <a:gd name="T68" fmla="*/ 550 w 3368"/>
              <a:gd name="T69" fmla="*/ 1815 h 2883"/>
              <a:gd name="T70" fmla="*/ 598 w 3368"/>
              <a:gd name="T71" fmla="*/ 1794 h 2883"/>
              <a:gd name="T72" fmla="*/ 651 w 3368"/>
              <a:gd name="T73" fmla="*/ 1786 h 2883"/>
              <a:gd name="T74" fmla="*/ 662 w 3368"/>
              <a:gd name="T75" fmla="*/ 1787 h 2883"/>
              <a:gd name="T76" fmla="*/ 666 w 3368"/>
              <a:gd name="T77" fmla="*/ 1787 h 2883"/>
              <a:gd name="T78" fmla="*/ 668 w 3368"/>
              <a:gd name="T79" fmla="*/ 1787 h 2883"/>
              <a:gd name="T80" fmla="*/ 674 w 3368"/>
              <a:gd name="T81" fmla="*/ 1788 h 2883"/>
              <a:gd name="T82" fmla="*/ 675 w 3368"/>
              <a:gd name="T83" fmla="*/ 1788 h 2883"/>
              <a:gd name="T84" fmla="*/ 715 w 3368"/>
              <a:gd name="T85" fmla="*/ 1799 h 2883"/>
              <a:gd name="T86" fmla="*/ 841 w 3368"/>
              <a:gd name="T87" fmla="*/ 1914 h 2883"/>
              <a:gd name="T88" fmla="*/ 874 w 3368"/>
              <a:gd name="T89" fmla="*/ 2096 h 2883"/>
              <a:gd name="T90" fmla="*/ 832 w 3368"/>
              <a:gd name="T91" fmla="*/ 2175 h 2883"/>
              <a:gd name="T92" fmla="*/ 781 w 3368"/>
              <a:gd name="T93" fmla="*/ 2214 h 2883"/>
              <a:gd name="T94" fmla="*/ 583 w 3368"/>
              <a:gd name="T95" fmla="*/ 2261 h 2883"/>
              <a:gd name="T96" fmla="*/ 525 w 3368"/>
              <a:gd name="T97" fmla="*/ 2298 h 2883"/>
              <a:gd name="T98" fmla="*/ 524 w 3368"/>
              <a:gd name="T99" fmla="*/ 2299 h 2883"/>
              <a:gd name="T100" fmla="*/ 523 w 3368"/>
              <a:gd name="T101" fmla="*/ 2302 h 2883"/>
              <a:gd name="T102" fmla="*/ 521 w 3368"/>
              <a:gd name="T103" fmla="*/ 2305 h 2883"/>
              <a:gd name="T104" fmla="*/ 836 w 3368"/>
              <a:gd name="T105" fmla="*/ 2882 h 2883"/>
              <a:gd name="T106" fmla="*/ 2798 w 3368"/>
              <a:gd name="T107" fmla="*/ 2351 h 2883"/>
              <a:gd name="T108" fmla="*/ 2801 w 3368"/>
              <a:gd name="T109" fmla="*/ 2347 h 2883"/>
              <a:gd name="T110" fmla="*/ 2802 w 3368"/>
              <a:gd name="T111" fmla="*/ 2346 h 2883"/>
              <a:gd name="T112" fmla="*/ 2809 w 3368"/>
              <a:gd name="T113" fmla="*/ 2334 h 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68" h="2883">
                <a:moveTo>
                  <a:pt x="2814" y="2329"/>
                </a:moveTo>
                <a:lnTo>
                  <a:pt x="2814" y="2329"/>
                </a:lnTo>
                <a:cubicBezTo>
                  <a:pt x="2828" y="2319"/>
                  <a:pt x="2845" y="2312"/>
                  <a:pt x="2863" y="2311"/>
                </a:cubicBezTo>
                <a:lnTo>
                  <a:pt x="2864" y="2311"/>
                </a:lnTo>
                <a:lnTo>
                  <a:pt x="2864" y="2311"/>
                </a:lnTo>
                <a:cubicBezTo>
                  <a:pt x="2866" y="2310"/>
                  <a:pt x="2868" y="2310"/>
                  <a:pt x="2869" y="2310"/>
                </a:cubicBezTo>
                <a:lnTo>
                  <a:pt x="2869" y="2310"/>
                </a:lnTo>
                <a:cubicBezTo>
                  <a:pt x="2870" y="2310"/>
                  <a:pt x="2871" y="2310"/>
                  <a:pt x="2872" y="2310"/>
                </a:cubicBezTo>
                <a:lnTo>
                  <a:pt x="2872" y="2310"/>
                </a:lnTo>
                <a:cubicBezTo>
                  <a:pt x="2906" y="2310"/>
                  <a:pt x="2937" y="2327"/>
                  <a:pt x="2955" y="2356"/>
                </a:cubicBezTo>
                <a:lnTo>
                  <a:pt x="2955" y="2356"/>
                </a:lnTo>
                <a:cubicBezTo>
                  <a:pt x="2997" y="2419"/>
                  <a:pt x="3044" y="2470"/>
                  <a:pt x="3083" y="2492"/>
                </a:cubicBezTo>
                <a:lnTo>
                  <a:pt x="3083" y="2492"/>
                </a:lnTo>
                <a:cubicBezTo>
                  <a:pt x="3100" y="2502"/>
                  <a:pt x="3116" y="2509"/>
                  <a:pt x="3133" y="2512"/>
                </a:cubicBezTo>
                <a:lnTo>
                  <a:pt x="3133" y="2512"/>
                </a:lnTo>
                <a:cubicBezTo>
                  <a:pt x="3158" y="2518"/>
                  <a:pt x="3183" y="2517"/>
                  <a:pt x="3207" y="2510"/>
                </a:cubicBezTo>
                <a:lnTo>
                  <a:pt x="3207" y="2510"/>
                </a:lnTo>
                <a:cubicBezTo>
                  <a:pt x="3253" y="2497"/>
                  <a:pt x="3295" y="2460"/>
                  <a:pt x="3327" y="2406"/>
                </a:cubicBezTo>
                <a:lnTo>
                  <a:pt x="3327" y="2406"/>
                </a:lnTo>
                <a:cubicBezTo>
                  <a:pt x="3355" y="2357"/>
                  <a:pt x="3367" y="2305"/>
                  <a:pt x="3360" y="2261"/>
                </a:cubicBezTo>
                <a:lnTo>
                  <a:pt x="3360" y="2261"/>
                </a:lnTo>
                <a:cubicBezTo>
                  <a:pt x="3358" y="2250"/>
                  <a:pt x="3355" y="2240"/>
                  <a:pt x="3351" y="2229"/>
                </a:cubicBezTo>
                <a:lnTo>
                  <a:pt x="3351" y="2229"/>
                </a:lnTo>
                <a:lnTo>
                  <a:pt x="3351" y="2228"/>
                </a:lnTo>
                <a:lnTo>
                  <a:pt x="3351" y="2228"/>
                </a:lnTo>
                <a:cubicBezTo>
                  <a:pt x="3350" y="2226"/>
                  <a:pt x="3349" y="2225"/>
                  <a:pt x="3349" y="2224"/>
                </a:cubicBezTo>
                <a:lnTo>
                  <a:pt x="3347" y="2223"/>
                </a:lnTo>
                <a:lnTo>
                  <a:pt x="3347" y="2223"/>
                </a:lnTo>
                <a:cubicBezTo>
                  <a:pt x="3347" y="2221"/>
                  <a:pt x="3347" y="2221"/>
                  <a:pt x="3346" y="2219"/>
                </a:cubicBezTo>
                <a:lnTo>
                  <a:pt x="3345" y="2217"/>
                </a:lnTo>
                <a:lnTo>
                  <a:pt x="3345" y="2217"/>
                </a:lnTo>
                <a:cubicBezTo>
                  <a:pt x="3345" y="2215"/>
                  <a:pt x="3343" y="2213"/>
                  <a:pt x="3343" y="2211"/>
                </a:cubicBezTo>
                <a:lnTo>
                  <a:pt x="3343" y="2211"/>
                </a:lnTo>
                <a:cubicBezTo>
                  <a:pt x="3340" y="2206"/>
                  <a:pt x="3336" y="2201"/>
                  <a:pt x="3332" y="2196"/>
                </a:cubicBezTo>
                <a:lnTo>
                  <a:pt x="3332" y="2196"/>
                </a:lnTo>
                <a:cubicBezTo>
                  <a:pt x="3332" y="2195"/>
                  <a:pt x="3331" y="2195"/>
                  <a:pt x="3330" y="2194"/>
                </a:cubicBezTo>
                <a:lnTo>
                  <a:pt x="3330" y="2194"/>
                </a:lnTo>
                <a:cubicBezTo>
                  <a:pt x="3329" y="2192"/>
                  <a:pt x="3327" y="2190"/>
                  <a:pt x="3326" y="2189"/>
                </a:cubicBezTo>
                <a:lnTo>
                  <a:pt x="3326" y="2189"/>
                </a:lnTo>
                <a:cubicBezTo>
                  <a:pt x="3314" y="2177"/>
                  <a:pt x="3300" y="2166"/>
                  <a:pt x="3284" y="2156"/>
                </a:cubicBezTo>
                <a:lnTo>
                  <a:pt x="3284" y="2156"/>
                </a:lnTo>
                <a:cubicBezTo>
                  <a:pt x="3245" y="2134"/>
                  <a:pt x="3176" y="2118"/>
                  <a:pt x="3099" y="2114"/>
                </a:cubicBezTo>
                <a:lnTo>
                  <a:pt x="3099" y="2114"/>
                </a:lnTo>
                <a:cubicBezTo>
                  <a:pt x="3064" y="2112"/>
                  <a:pt x="3033" y="2092"/>
                  <a:pt x="3015" y="2061"/>
                </a:cubicBezTo>
                <a:lnTo>
                  <a:pt x="3015" y="2061"/>
                </a:lnTo>
                <a:cubicBezTo>
                  <a:pt x="3015" y="2059"/>
                  <a:pt x="3014" y="2058"/>
                  <a:pt x="3013" y="2056"/>
                </a:cubicBezTo>
                <a:lnTo>
                  <a:pt x="3012" y="2055"/>
                </a:lnTo>
                <a:lnTo>
                  <a:pt x="3012" y="2055"/>
                </a:lnTo>
                <a:cubicBezTo>
                  <a:pt x="3004" y="2035"/>
                  <a:pt x="3001" y="2015"/>
                  <a:pt x="3004" y="1994"/>
                </a:cubicBezTo>
                <a:lnTo>
                  <a:pt x="3004" y="1994"/>
                </a:lnTo>
                <a:cubicBezTo>
                  <a:pt x="3005" y="1993"/>
                  <a:pt x="3006" y="1991"/>
                  <a:pt x="3006" y="1989"/>
                </a:cubicBezTo>
                <a:lnTo>
                  <a:pt x="3324" y="1440"/>
                </a:lnTo>
                <a:lnTo>
                  <a:pt x="3324" y="1440"/>
                </a:lnTo>
                <a:cubicBezTo>
                  <a:pt x="3324" y="1439"/>
                  <a:pt x="3324" y="1439"/>
                  <a:pt x="3324" y="1439"/>
                </a:cubicBezTo>
                <a:lnTo>
                  <a:pt x="2493" y="0"/>
                </a:lnTo>
                <a:lnTo>
                  <a:pt x="829" y="0"/>
                </a:lnTo>
                <a:lnTo>
                  <a:pt x="0" y="1434"/>
                </a:lnTo>
                <a:lnTo>
                  <a:pt x="316" y="1982"/>
                </a:lnTo>
                <a:lnTo>
                  <a:pt x="316" y="1982"/>
                </a:lnTo>
                <a:cubicBezTo>
                  <a:pt x="323" y="1986"/>
                  <a:pt x="330" y="1989"/>
                  <a:pt x="337" y="1991"/>
                </a:cubicBezTo>
                <a:lnTo>
                  <a:pt x="337" y="1991"/>
                </a:lnTo>
                <a:cubicBezTo>
                  <a:pt x="340" y="1991"/>
                  <a:pt x="344" y="1992"/>
                  <a:pt x="347" y="1992"/>
                </a:cubicBezTo>
                <a:lnTo>
                  <a:pt x="347" y="1992"/>
                </a:lnTo>
                <a:lnTo>
                  <a:pt x="347" y="1992"/>
                </a:lnTo>
                <a:cubicBezTo>
                  <a:pt x="372" y="1993"/>
                  <a:pt x="395" y="1981"/>
                  <a:pt x="410" y="1960"/>
                </a:cubicBezTo>
                <a:lnTo>
                  <a:pt x="410" y="1960"/>
                </a:lnTo>
                <a:cubicBezTo>
                  <a:pt x="439" y="1917"/>
                  <a:pt x="472" y="1879"/>
                  <a:pt x="504" y="1850"/>
                </a:cubicBezTo>
                <a:lnTo>
                  <a:pt x="504" y="1850"/>
                </a:lnTo>
                <a:cubicBezTo>
                  <a:pt x="520" y="1835"/>
                  <a:pt x="536" y="1823"/>
                  <a:pt x="550" y="1815"/>
                </a:cubicBezTo>
                <a:lnTo>
                  <a:pt x="550" y="1815"/>
                </a:lnTo>
                <a:cubicBezTo>
                  <a:pt x="566" y="1806"/>
                  <a:pt x="581" y="1799"/>
                  <a:pt x="598" y="1794"/>
                </a:cubicBezTo>
                <a:lnTo>
                  <a:pt x="598" y="1794"/>
                </a:lnTo>
                <a:cubicBezTo>
                  <a:pt x="616" y="1789"/>
                  <a:pt x="633" y="1786"/>
                  <a:pt x="651" y="1786"/>
                </a:cubicBezTo>
                <a:lnTo>
                  <a:pt x="651" y="1786"/>
                </a:lnTo>
                <a:cubicBezTo>
                  <a:pt x="654" y="1786"/>
                  <a:pt x="656" y="1786"/>
                  <a:pt x="658" y="1786"/>
                </a:cubicBezTo>
                <a:lnTo>
                  <a:pt x="662" y="1787"/>
                </a:lnTo>
                <a:lnTo>
                  <a:pt x="662" y="1787"/>
                </a:lnTo>
                <a:cubicBezTo>
                  <a:pt x="664" y="1787"/>
                  <a:pt x="665" y="1787"/>
                  <a:pt x="666" y="1787"/>
                </a:cubicBezTo>
                <a:lnTo>
                  <a:pt x="668" y="1787"/>
                </a:lnTo>
                <a:lnTo>
                  <a:pt x="668" y="1787"/>
                </a:lnTo>
                <a:cubicBezTo>
                  <a:pt x="670" y="1788"/>
                  <a:pt x="672" y="1788"/>
                  <a:pt x="674" y="1788"/>
                </a:cubicBezTo>
                <a:lnTo>
                  <a:pt x="674" y="1788"/>
                </a:lnTo>
                <a:cubicBezTo>
                  <a:pt x="674" y="1788"/>
                  <a:pt x="674" y="1788"/>
                  <a:pt x="675" y="1788"/>
                </a:cubicBezTo>
                <a:lnTo>
                  <a:pt x="675" y="1788"/>
                </a:lnTo>
                <a:cubicBezTo>
                  <a:pt x="689" y="1790"/>
                  <a:pt x="702" y="1794"/>
                  <a:pt x="715" y="1799"/>
                </a:cubicBezTo>
                <a:lnTo>
                  <a:pt x="715" y="1799"/>
                </a:lnTo>
                <a:cubicBezTo>
                  <a:pt x="764" y="1817"/>
                  <a:pt x="809" y="1858"/>
                  <a:pt x="841" y="1914"/>
                </a:cubicBezTo>
                <a:lnTo>
                  <a:pt x="841" y="1914"/>
                </a:lnTo>
                <a:cubicBezTo>
                  <a:pt x="877" y="1977"/>
                  <a:pt x="888" y="2040"/>
                  <a:pt x="874" y="2096"/>
                </a:cubicBezTo>
                <a:lnTo>
                  <a:pt x="874" y="2096"/>
                </a:lnTo>
                <a:cubicBezTo>
                  <a:pt x="867" y="2125"/>
                  <a:pt x="853" y="2151"/>
                  <a:pt x="832" y="2175"/>
                </a:cubicBezTo>
                <a:lnTo>
                  <a:pt x="832" y="2175"/>
                </a:lnTo>
                <a:cubicBezTo>
                  <a:pt x="818" y="2190"/>
                  <a:pt x="801" y="2203"/>
                  <a:pt x="781" y="2214"/>
                </a:cubicBezTo>
                <a:lnTo>
                  <a:pt x="781" y="2214"/>
                </a:lnTo>
                <a:cubicBezTo>
                  <a:pt x="739" y="2239"/>
                  <a:pt x="664" y="2257"/>
                  <a:pt x="583" y="2261"/>
                </a:cubicBezTo>
                <a:lnTo>
                  <a:pt x="583" y="2261"/>
                </a:lnTo>
                <a:cubicBezTo>
                  <a:pt x="558" y="2262"/>
                  <a:pt x="537" y="2276"/>
                  <a:pt x="525" y="2298"/>
                </a:cubicBezTo>
                <a:lnTo>
                  <a:pt x="525" y="2298"/>
                </a:lnTo>
                <a:lnTo>
                  <a:pt x="524" y="2299"/>
                </a:lnTo>
                <a:lnTo>
                  <a:pt x="524" y="2299"/>
                </a:lnTo>
                <a:cubicBezTo>
                  <a:pt x="523" y="2301"/>
                  <a:pt x="523" y="2301"/>
                  <a:pt x="523" y="2302"/>
                </a:cubicBezTo>
                <a:lnTo>
                  <a:pt x="523" y="2302"/>
                </a:lnTo>
                <a:cubicBezTo>
                  <a:pt x="522" y="2303"/>
                  <a:pt x="522" y="2304"/>
                  <a:pt x="521" y="2305"/>
                </a:cubicBezTo>
                <a:lnTo>
                  <a:pt x="521" y="2305"/>
                </a:lnTo>
                <a:cubicBezTo>
                  <a:pt x="518" y="2313"/>
                  <a:pt x="517" y="2322"/>
                  <a:pt x="518" y="2331"/>
                </a:cubicBezTo>
                <a:lnTo>
                  <a:pt x="836" y="2882"/>
                </a:lnTo>
                <a:lnTo>
                  <a:pt x="2491" y="2882"/>
                </a:lnTo>
                <a:lnTo>
                  <a:pt x="2798" y="2351"/>
                </a:lnTo>
                <a:lnTo>
                  <a:pt x="2798" y="2351"/>
                </a:lnTo>
                <a:cubicBezTo>
                  <a:pt x="2798" y="2349"/>
                  <a:pt x="2800" y="2348"/>
                  <a:pt x="2801" y="2347"/>
                </a:cubicBezTo>
                <a:lnTo>
                  <a:pt x="2801" y="2347"/>
                </a:lnTo>
                <a:cubicBezTo>
                  <a:pt x="2801" y="2346"/>
                  <a:pt x="2801" y="2346"/>
                  <a:pt x="2802" y="2346"/>
                </a:cubicBezTo>
                <a:lnTo>
                  <a:pt x="2809" y="2334"/>
                </a:lnTo>
                <a:lnTo>
                  <a:pt x="2809" y="2334"/>
                </a:lnTo>
                <a:cubicBezTo>
                  <a:pt x="2810" y="2332"/>
                  <a:pt x="2812" y="2330"/>
                  <a:pt x="2814" y="2329"/>
                </a:cubicBezTo>
              </a:path>
            </a:pathLst>
          </a:custGeom>
          <a:solidFill>
            <a:schemeClr val="tx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9" name="Freeform 14">
            <a:extLst>
              <a:ext uri="{FF2B5EF4-FFF2-40B4-BE49-F238E27FC236}">
                <a16:creationId xmlns:a16="http://schemas.microsoft.com/office/drawing/2014/main" id="{ACA4A458-E781-4547-A047-9E3B22980133}"/>
              </a:ext>
            </a:extLst>
          </p:cNvPr>
          <p:cNvSpPr>
            <a:spLocks noChangeArrowheads="1"/>
          </p:cNvSpPr>
          <p:nvPr/>
        </p:nvSpPr>
        <p:spPr bwMode="auto">
          <a:xfrm>
            <a:off x="3147136" y="2964537"/>
            <a:ext cx="32328" cy="677833"/>
          </a:xfrm>
          <a:custGeom>
            <a:avLst/>
            <a:gdLst>
              <a:gd name="connsiteX0" fmla="*/ 31694 w 64655"/>
              <a:gd name="connsiteY0" fmla="*/ 1214095 h 1355665"/>
              <a:gd name="connsiteX1" fmla="*/ 64655 w 64655"/>
              <a:gd name="connsiteY1" fmla="*/ 1245696 h 1355665"/>
              <a:gd name="connsiteX2" fmla="*/ 64655 w 64655"/>
              <a:gd name="connsiteY2" fmla="*/ 1322801 h 1355665"/>
              <a:gd name="connsiteX3" fmla="*/ 31694 w 64655"/>
              <a:gd name="connsiteY3" fmla="*/ 1355665 h 1355665"/>
              <a:gd name="connsiteX4" fmla="*/ 0 w 64655"/>
              <a:gd name="connsiteY4" fmla="*/ 1322801 h 1355665"/>
              <a:gd name="connsiteX5" fmla="*/ 0 w 64655"/>
              <a:gd name="connsiteY5" fmla="*/ 1245696 h 1355665"/>
              <a:gd name="connsiteX6" fmla="*/ 31694 w 64655"/>
              <a:gd name="connsiteY6" fmla="*/ 1214095 h 1355665"/>
              <a:gd name="connsiteX7" fmla="*/ 31694 w 64655"/>
              <a:gd name="connsiteY7" fmla="*/ 888615 h 1355665"/>
              <a:gd name="connsiteX8" fmla="*/ 64655 w 64655"/>
              <a:gd name="connsiteY8" fmla="*/ 919740 h 1355665"/>
              <a:gd name="connsiteX9" fmla="*/ 64655 w 64655"/>
              <a:gd name="connsiteY9" fmla="*/ 1081592 h 1355665"/>
              <a:gd name="connsiteX10" fmla="*/ 31694 w 64655"/>
              <a:gd name="connsiteY10" fmla="*/ 1113962 h 1355665"/>
              <a:gd name="connsiteX11" fmla="*/ 0 w 64655"/>
              <a:gd name="connsiteY11" fmla="*/ 1081592 h 1355665"/>
              <a:gd name="connsiteX12" fmla="*/ 0 w 64655"/>
              <a:gd name="connsiteY12" fmla="*/ 919740 h 1355665"/>
              <a:gd name="connsiteX13" fmla="*/ 31694 w 64655"/>
              <a:gd name="connsiteY13" fmla="*/ 888615 h 1355665"/>
              <a:gd name="connsiteX14" fmla="*/ 31694 w 64655"/>
              <a:gd name="connsiteY14" fmla="*/ 561177 h 1355665"/>
              <a:gd name="connsiteX15" fmla="*/ 64655 w 64655"/>
              <a:gd name="connsiteY15" fmla="*/ 593547 h 1355665"/>
              <a:gd name="connsiteX16" fmla="*/ 64655 w 64655"/>
              <a:gd name="connsiteY16" fmla="*/ 756644 h 1355665"/>
              <a:gd name="connsiteX17" fmla="*/ 31694 w 64655"/>
              <a:gd name="connsiteY17" fmla="*/ 787769 h 1355665"/>
              <a:gd name="connsiteX18" fmla="*/ 0 w 64655"/>
              <a:gd name="connsiteY18" fmla="*/ 756644 h 1355665"/>
              <a:gd name="connsiteX19" fmla="*/ 0 w 64655"/>
              <a:gd name="connsiteY19" fmla="*/ 593547 h 1355665"/>
              <a:gd name="connsiteX20" fmla="*/ 31694 w 64655"/>
              <a:gd name="connsiteY20" fmla="*/ 561177 h 1355665"/>
              <a:gd name="connsiteX21" fmla="*/ 31694 w 64655"/>
              <a:gd name="connsiteY21" fmla="*/ 236228 h 1355665"/>
              <a:gd name="connsiteX22" fmla="*/ 64655 w 64655"/>
              <a:gd name="connsiteY22" fmla="*/ 267354 h 1355665"/>
              <a:gd name="connsiteX23" fmla="*/ 64655 w 64655"/>
              <a:gd name="connsiteY23" fmla="*/ 430450 h 1355665"/>
              <a:gd name="connsiteX24" fmla="*/ 31694 w 64655"/>
              <a:gd name="connsiteY24" fmla="*/ 462821 h 1355665"/>
              <a:gd name="connsiteX25" fmla="*/ 0 w 64655"/>
              <a:gd name="connsiteY25" fmla="*/ 430450 h 1355665"/>
              <a:gd name="connsiteX26" fmla="*/ 0 w 64655"/>
              <a:gd name="connsiteY26" fmla="*/ 267354 h 1355665"/>
              <a:gd name="connsiteX27" fmla="*/ 31694 w 64655"/>
              <a:gd name="connsiteY27" fmla="*/ 236228 h 1355665"/>
              <a:gd name="connsiteX28" fmla="*/ 31694 w 64655"/>
              <a:gd name="connsiteY28" fmla="*/ 0 h 1355665"/>
              <a:gd name="connsiteX29" fmla="*/ 64655 w 64655"/>
              <a:gd name="connsiteY29" fmla="*/ 30657 h 1355665"/>
              <a:gd name="connsiteX30" fmla="*/ 64655 w 64655"/>
              <a:gd name="connsiteY30" fmla="*/ 105459 h 1355665"/>
              <a:gd name="connsiteX31" fmla="*/ 31694 w 64655"/>
              <a:gd name="connsiteY31" fmla="*/ 136116 h 1355665"/>
              <a:gd name="connsiteX32" fmla="*/ 0 w 64655"/>
              <a:gd name="connsiteY32" fmla="*/ 105459 h 1355665"/>
              <a:gd name="connsiteX33" fmla="*/ 0 w 64655"/>
              <a:gd name="connsiteY33" fmla="*/ 30657 h 1355665"/>
              <a:gd name="connsiteX34" fmla="*/ 31694 w 64655"/>
              <a:gd name="connsiteY34" fmla="*/ 0 h 135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5" h="1355665">
                <a:moveTo>
                  <a:pt x="31694" y="1214095"/>
                </a:moveTo>
                <a:cubicBezTo>
                  <a:pt x="49442" y="1214095"/>
                  <a:pt x="64655" y="1227999"/>
                  <a:pt x="64655" y="1245696"/>
                </a:cubicBezTo>
                <a:lnTo>
                  <a:pt x="64655" y="1322801"/>
                </a:lnTo>
                <a:cubicBezTo>
                  <a:pt x="64655" y="1340497"/>
                  <a:pt x="49442" y="1355665"/>
                  <a:pt x="31694" y="1355665"/>
                </a:cubicBezTo>
                <a:cubicBezTo>
                  <a:pt x="13945" y="1355665"/>
                  <a:pt x="0" y="1340497"/>
                  <a:pt x="0" y="1322801"/>
                </a:cubicBezTo>
                <a:lnTo>
                  <a:pt x="0" y="1245696"/>
                </a:lnTo>
                <a:cubicBezTo>
                  <a:pt x="0" y="1227999"/>
                  <a:pt x="13945" y="1214095"/>
                  <a:pt x="31694" y="1214095"/>
                </a:cubicBezTo>
                <a:close/>
                <a:moveTo>
                  <a:pt x="31694" y="888615"/>
                </a:moveTo>
                <a:cubicBezTo>
                  <a:pt x="49442" y="888615"/>
                  <a:pt x="64655" y="902310"/>
                  <a:pt x="64655" y="919740"/>
                </a:cubicBezTo>
                <a:lnTo>
                  <a:pt x="64655" y="1081592"/>
                </a:lnTo>
                <a:cubicBezTo>
                  <a:pt x="64655" y="1099022"/>
                  <a:pt x="49442" y="1113962"/>
                  <a:pt x="31694" y="1113962"/>
                </a:cubicBezTo>
                <a:cubicBezTo>
                  <a:pt x="13945" y="1113962"/>
                  <a:pt x="0" y="1099022"/>
                  <a:pt x="0" y="1081592"/>
                </a:cubicBezTo>
                <a:lnTo>
                  <a:pt x="0" y="919740"/>
                </a:lnTo>
                <a:cubicBezTo>
                  <a:pt x="0" y="902310"/>
                  <a:pt x="13945" y="888615"/>
                  <a:pt x="31694" y="888615"/>
                </a:cubicBezTo>
                <a:close/>
                <a:moveTo>
                  <a:pt x="31694" y="561177"/>
                </a:moveTo>
                <a:cubicBezTo>
                  <a:pt x="49442" y="561177"/>
                  <a:pt x="64655" y="576117"/>
                  <a:pt x="64655" y="593547"/>
                </a:cubicBezTo>
                <a:lnTo>
                  <a:pt x="64655" y="756644"/>
                </a:lnTo>
                <a:cubicBezTo>
                  <a:pt x="64655" y="774074"/>
                  <a:pt x="49442" y="787769"/>
                  <a:pt x="31694" y="787769"/>
                </a:cubicBezTo>
                <a:cubicBezTo>
                  <a:pt x="13945" y="787769"/>
                  <a:pt x="0" y="774074"/>
                  <a:pt x="0" y="756644"/>
                </a:cubicBezTo>
                <a:lnTo>
                  <a:pt x="0" y="593547"/>
                </a:lnTo>
                <a:cubicBezTo>
                  <a:pt x="0" y="576117"/>
                  <a:pt x="13945" y="561177"/>
                  <a:pt x="31694" y="561177"/>
                </a:cubicBezTo>
                <a:close/>
                <a:moveTo>
                  <a:pt x="31694" y="236228"/>
                </a:moveTo>
                <a:cubicBezTo>
                  <a:pt x="49442" y="236228"/>
                  <a:pt x="64655" y="249923"/>
                  <a:pt x="64655" y="267354"/>
                </a:cubicBezTo>
                <a:lnTo>
                  <a:pt x="64655" y="430450"/>
                </a:lnTo>
                <a:cubicBezTo>
                  <a:pt x="64655" y="447880"/>
                  <a:pt x="49442" y="462821"/>
                  <a:pt x="31694" y="462821"/>
                </a:cubicBezTo>
                <a:cubicBezTo>
                  <a:pt x="13945" y="462821"/>
                  <a:pt x="0" y="447880"/>
                  <a:pt x="0" y="430450"/>
                </a:cubicBezTo>
                <a:lnTo>
                  <a:pt x="0" y="267354"/>
                </a:lnTo>
                <a:cubicBezTo>
                  <a:pt x="0" y="249923"/>
                  <a:pt x="13945" y="236228"/>
                  <a:pt x="31694" y="236228"/>
                </a:cubicBezTo>
                <a:close/>
                <a:moveTo>
                  <a:pt x="31694" y="0"/>
                </a:moveTo>
                <a:cubicBezTo>
                  <a:pt x="49442" y="0"/>
                  <a:pt x="64655" y="13489"/>
                  <a:pt x="64655" y="30657"/>
                </a:cubicBezTo>
                <a:lnTo>
                  <a:pt x="64655" y="105459"/>
                </a:lnTo>
                <a:cubicBezTo>
                  <a:pt x="64655" y="122627"/>
                  <a:pt x="49442" y="136116"/>
                  <a:pt x="31694" y="136116"/>
                </a:cubicBezTo>
                <a:cubicBezTo>
                  <a:pt x="13945" y="136116"/>
                  <a:pt x="0" y="122627"/>
                  <a:pt x="0" y="105459"/>
                </a:cubicBezTo>
                <a:lnTo>
                  <a:pt x="0" y="30657"/>
                </a:lnTo>
                <a:cubicBezTo>
                  <a:pt x="0" y="13489"/>
                  <a:pt x="13945" y="0"/>
                  <a:pt x="31694" y="0"/>
                </a:cubicBezTo>
                <a:close/>
              </a:path>
            </a:pathLst>
          </a:custGeom>
          <a:solidFill>
            <a:schemeClr val="accent4">
              <a:lumMod val="75000"/>
            </a:schemeClr>
          </a:solidFill>
          <a:ln w="28575">
            <a:solidFill>
              <a:schemeClr val="accent4">
                <a:lumMod val="75000"/>
              </a:schemeClr>
            </a:solid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0" name="Freeform 17">
            <a:extLst>
              <a:ext uri="{FF2B5EF4-FFF2-40B4-BE49-F238E27FC236}">
                <a16:creationId xmlns:a16="http://schemas.microsoft.com/office/drawing/2014/main" id="{17E22470-3257-489B-98F3-9306677E9ABA}"/>
              </a:ext>
            </a:extLst>
          </p:cNvPr>
          <p:cNvSpPr>
            <a:spLocks noChangeArrowheads="1"/>
          </p:cNvSpPr>
          <p:nvPr/>
        </p:nvSpPr>
        <p:spPr bwMode="auto">
          <a:xfrm>
            <a:off x="4734792" y="4472538"/>
            <a:ext cx="32328" cy="680582"/>
          </a:xfrm>
          <a:custGeom>
            <a:avLst/>
            <a:gdLst>
              <a:gd name="connsiteX0" fmla="*/ 32962 w 64655"/>
              <a:gd name="connsiteY0" fmla="*/ 1219583 h 1361164"/>
              <a:gd name="connsiteX1" fmla="*/ 64655 w 64655"/>
              <a:gd name="connsiteY1" fmla="*/ 1252159 h 1361164"/>
              <a:gd name="connsiteX2" fmla="*/ 64655 w 64655"/>
              <a:gd name="connsiteY2" fmla="*/ 1328588 h 1361164"/>
              <a:gd name="connsiteX3" fmla="*/ 32962 w 64655"/>
              <a:gd name="connsiteY3" fmla="*/ 1361164 h 1361164"/>
              <a:gd name="connsiteX4" fmla="*/ 0 w 64655"/>
              <a:gd name="connsiteY4" fmla="*/ 1328588 h 1361164"/>
              <a:gd name="connsiteX5" fmla="*/ 0 w 64655"/>
              <a:gd name="connsiteY5" fmla="*/ 1252159 h 1361164"/>
              <a:gd name="connsiteX6" fmla="*/ 32962 w 64655"/>
              <a:gd name="connsiteY6" fmla="*/ 1219583 h 1361164"/>
              <a:gd name="connsiteX7" fmla="*/ 32962 w 64655"/>
              <a:gd name="connsiteY7" fmla="*/ 894102 h 1361164"/>
              <a:gd name="connsiteX8" fmla="*/ 64655 w 64655"/>
              <a:gd name="connsiteY8" fmla="*/ 925227 h 1361164"/>
              <a:gd name="connsiteX9" fmla="*/ 64655 w 64655"/>
              <a:gd name="connsiteY9" fmla="*/ 1088324 h 1361164"/>
              <a:gd name="connsiteX10" fmla="*/ 32962 w 64655"/>
              <a:gd name="connsiteY10" fmla="*/ 1119449 h 1361164"/>
              <a:gd name="connsiteX11" fmla="*/ 0 w 64655"/>
              <a:gd name="connsiteY11" fmla="*/ 1088324 h 1361164"/>
              <a:gd name="connsiteX12" fmla="*/ 0 w 64655"/>
              <a:gd name="connsiteY12" fmla="*/ 925227 h 1361164"/>
              <a:gd name="connsiteX13" fmla="*/ 32962 w 64655"/>
              <a:gd name="connsiteY13" fmla="*/ 894102 h 1361164"/>
              <a:gd name="connsiteX14" fmla="*/ 32962 w 64655"/>
              <a:gd name="connsiteY14" fmla="*/ 566663 h 1361164"/>
              <a:gd name="connsiteX15" fmla="*/ 64655 w 64655"/>
              <a:gd name="connsiteY15" fmla="*/ 599034 h 1361164"/>
              <a:gd name="connsiteX16" fmla="*/ 64655 w 64655"/>
              <a:gd name="connsiteY16" fmla="*/ 762130 h 1361164"/>
              <a:gd name="connsiteX17" fmla="*/ 32962 w 64655"/>
              <a:gd name="connsiteY17" fmla="*/ 794501 h 1361164"/>
              <a:gd name="connsiteX18" fmla="*/ 0 w 64655"/>
              <a:gd name="connsiteY18" fmla="*/ 762130 h 1361164"/>
              <a:gd name="connsiteX19" fmla="*/ 0 w 64655"/>
              <a:gd name="connsiteY19" fmla="*/ 599034 h 1361164"/>
              <a:gd name="connsiteX20" fmla="*/ 32962 w 64655"/>
              <a:gd name="connsiteY20" fmla="*/ 566663 h 1361164"/>
              <a:gd name="connsiteX21" fmla="*/ 32962 w 64655"/>
              <a:gd name="connsiteY21" fmla="*/ 241715 h 1361164"/>
              <a:gd name="connsiteX22" fmla="*/ 64655 w 64655"/>
              <a:gd name="connsiteY22" fmla="*/ 272840 h 1361164"/>
              <a:gd name="connsiteX23" fmla="*/ 64655 w 64655"/>
              <a:gd name="connsiteY23" fmla="*/ 435937 h 1361164"/>
              <a:gd name="connsiteX24" fmla="*/ 32962 w 64655"/>
              <a:gd name="connsiteY24" fmla="*/ 467062 h 1361164"/>
              <a:gd name="connsiteX25" fmla="*/ 0 w 64655"/>
              <a:gd name="connsiteY25" fmla="*/ 435937 h 1361164"/>
              <a:gd name="connsiteX26" fmla="*/ 0 w 64655"/>
              <a:gd name="connsiteY26" fmla="*/ 272840 h 1361164"/>
              <a:gd name="connsiteX27" fmla="*/ 32962 w 64655"/>
              <a:gd name="connsiteY27" fmla="*/ 241715 h 1361164"/>
              <a:gd name="connsiteX28" fmla="*/ 32962 w 64655"/>
              <a:gd name="connsiteY28" fmla="*/ 0 h 1361164"/>
              <a:gd name="connsiteX29" fmla="*/ 64655 w 64655"/>
              <a:gd name="connsiteY29" fmla="*/ 32864 h 1361164"/>
              <a:gd name="connsiteX30" fmla="*/ 64655 w 64655"/>
              <a:gd name="connsiteY30" fmla="*/ 109970 h 1361164"/>
              <a:gd name="connsiteX31" fmla="*/ 32962 w 64655"/>
              <a:gd name="connsiteY31" fmla="*/ 141570 h 1361164"/>
              <a:gd name="connsiteX32" fmla="*/ 0 w 64655"/>
              <a:gd name="connsiteY32" fmla="*/ 109970 h 1361164"/>
              <a:gd name="connsiteX33" fmla="*/ 0 w 64655"/>
              <a:gd name="connsiteY33" fmla="*/ 32864 h 1361164"/>
              <a:gd name="connsiteX34" fmla="*/ 32962 w 64655"/>
              <a:gd name="connsiteY34" fmla="*/ 0 h 136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5" h="1361164">
                <a:moveTo>
                  <a:pt x="32962" y="1219583"/>
                </a:moveTo>
                <a:cubicBezTo>
                  <a:pt x="50710" y="1219583"/>
                  <a:pt x="64655" y="1234618"/>
                  <a:pt x="64655" y="1252159"/>
                </a:cubicBezTo>
                <a:lnTo>
                  <a:pt x="64655" y="1328588"/>
                </a:lnTo>
                <a:cubicBezTo>
                  <a:pt x="64655" y="1347382"/>
                  <a:pt x="50710" y="1361164"/>
                  <a:pt x="32962" y="1361164"/>
                </a:cubicBezTo>
                <a:cubicBezTo>
                  <a:pt x="15213" y="1361164"/>
                  <a:pt x="0" y="1347382"/>
                  <a:pt x="0" y="1328588"/>
                </a:cubicBezTo>
                <a:lnTo>
                  <a:pt x="0" y="1252159"/>
                </a:lnTo>
                <a:cubicBezTo>
                  <a:pt x="0" y="1234618"/>
                  <a:pt x="15213" y="1219583"/>
                  <a:pt x="32962" y="1219583"/>
                </a:cubicBezTo>
                <a:close/>
                <a:moveTo>
                  <a:pt x="32962" y="894102"/>
                </a:moveTo>
                <a:cubicBezTo>
                  <a:pt x="50710" y="894102"/>
                  <a:pt x="64655" y="907797"/>
                  <a:pt x="64655" y="925227"/>
                </a:cubicBezTo>
                <a:lnTo>
                  <a:pt x="64655" y="1088324"/>
                </a:lnTo>
                <a:cubicBezTo>
                  <a:pt x="64655" y="1105754"/>
                  <a:pt x="50710" y="1119449"/>
                  <a:pt x="32962" y="1119449"/>
                </a:cubicBezTo>
                <a:cubicBezTo>
                  <a:pt x="15213" y="1119449"/>
                  <a:pt x="0" y="1105754"/>
                  <a:pt x="0" y="1088324"/>
                </a:cubicBezTo>
                <a:lnTo>
                  <a:pt x="0" y="925227"/>
                </a:lnTo>
                <a:cubicBezTo>
                  <a:pt x="0" y="907797"/>
                  <a:pt x="15213" y="894102"/>
                  <a:pt x="32962" y="894102"/>
                </a:cubicBezTo>
                <a:close/>
                <a:moveTo>
                  <a:pt x="32962" y="566663"/>
                </a:moveTo>
                <a:cubicBezTo>
                  <a:pt x="50710" y="566663"/>
                  <a:pt x="64655" y="581603"/>
                  <a:pt x="64655" y="599034"/>
                </a:cubicBezTo>
                <a:lnTo>
                  <a:pt x="64655" y="762130"/>
                </a:lnTo>
                <a:cubicBezTo>
                  <a:pt x="64655" y="779560"/>
                  <a:pt x="50710" y="794501"/>
                  <a:pt x="32962" y="794501"/>
                </a:cubicBezTo>
                <a:cubicBezTo>
                  <a:pt x="15213" y="794501"/>
                  <a:pt x="0" y="779560"/>
                  <a:pt x="0" y="762130"/>
                </a:cubicBezTo>
                <a:lnTo>
                  <a:pt x="0" y="599034"/>
                </a:lnTo>
                <a:cubicBezTo>
                  <a:pt x="0" y="581603"/>
                  <a:pt x="15213" y="566663"/>
                  <a:pt x="32962" y="566663"/>
                </a:cubicBezTo>
                <a:close/>
                <a:moveTo>
                  <a:pt x="32962" y="241715"/>
                </a:moveTo>
                <a:cubicBezTo>
                  <a:pt x="50710" y="241715"/>
                  <a:pt x="64655" y="255410"/>
                  <a:pt x="64655" y="272840"/>
                </a:cubicBezTo>
                <a:lnTo>
                  <a:pt x="64655" y="435937"/>
                </a:lnTo>
                <a:cubicBezTo>
                  <a:pt x="64655" y="453367"/>
                  <a:pt x="50710" y="467062"/>
                  <a:pt x="32962" y="467062"/>
                </a:cubicBezTo>
                <a:cubicBezTo>
                  <a:pt x="15213" y="467062"/>
                  <a:pt x="0" y="453367"/>
                  <a:pt x="0" y="435937"/>
                </a:cubicBezTo>
                <a:lnTo>
                  <a:pt x="0" y="272840"/>
                </a:lnTo>
                <a:cubicBezTo>
                  <a:pt x="0" y="255410"/>
                  <a:pt x="15213" y="241715"/>
                  <a:pt x="32962" y="241715"/>
                </a:cubicBezTo>
                <a:close/>
                <a:moveTo>
                  <a:pt x="32962" y="0"/>
                </a:moveTo>
                <a:cubicBezTo>
                  <a:pt x="50710" y="0"/>
                  <a:pt x="64655" y="15168"/>
                  <a:pt x="64655" y="32864"/>
                </a:cubicBezTo>
                <a:lnTo>
                  <a:pt x="64655" y="109970"/>
                </a:lnTo>
                <a:cubicBezTo>
                  <a:pt x="64655" y="127666"/>
                  <a:pt x="50710" y="141570"/>
                  <a:pt x="32962" y="141570"/>
                </a:cubicBezTo>
                <a:cubicBezTo>
                  <a:pt x="15213" y="141570"/>
                  <a:pt x="0" y="127666"/>
                  <a:pt x="0" y="109970"/>
                </a:cubicBezTo>
                <a:lnTo>
                  <a:pt x="0" y="32864"/>
                </a:lnTo>
                <a:cubicBezTo>
                  <a:pt x="0" y="15168"/>
                  <a:pt x="15213" y="0"/>
                  <a:pt x="32962" y="0"/>
                </a:cubicBezTo>
                <a:close/>
              </a:path>
            </a:pathLst>
          </a:custGeom>
          <a:solidFill>
            <a:schemeClr val="accent4">
              <a:lumMod val="75000"/>
            </a:schemeClr>
          </a:solidFill>
          <a:ln w="28575">
            <a:solidFill>
              <a:schemeClr val="accent4">
                <a:lumMod val="75000"/>
              </a:schemeClr>
            </a:solid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1" name="Freeform 18">
            <a:extLst>
              <a:ext uri="{FF2B5EF4-FFF2-40B4-BE49-F238E27FC236}">
                <a16:creationId xmlns:a16="http://schemas.microsoft.com/office/drawing/2014/main" id="{45E25A59-B998-4435-BB68-FAD542A9194E}"/>
              </a:ext>
            </a:extLst>
          </p:cNvPr>
          <p:cNvSpPr>
            <a:spLocks noChangeArrowheads="1"/>
          </p:cNvSpPr>
          <p:nvPr/>
        </p:nvSpPr>
        <p:spPr bwMode="auto">
          <a:xfrm>
            <a:off x="6297726" y="2964537"/>
            <a:ext cx="32328" cy="677833"/>
          </a:xfrm>
          <a:custGeom>
            <a:avLst/>
            <a:gdLst>
              <a:gd name="connsiteX0" fmla="*/ 32962 w 64655"/>
              <a:gd name="connsiteY0" fmla="*/ 1214095 h 1355665"/>
              <a:gd name="connsiteX1" fmla="*/ 64655 w 64655"/>
              <a:gd name="connsiteY1" fmla="*/ 1245696 h 1355665"/>
              <a:gd name="connsiteX2" fmla="*/ 64655 w 64655"/>
              <a:gd name="connsiteY2" fmla="*/ 1322801 h 1355665"/>
              <a:gd name="connsiteX3" fmla="*/ 32962 w 64655"/>
              <a:gd name="connsiteY3" fmla="*/ 1355665 h 1355665"/>
              <a:gd name="connsiteX4" fmla="*/ 0 w 64655"/>
              <a:gd name="connsiteY4" fmla="*/ 1322801 h 1355665"/>
              <a:gd name="connsiteX5" fmla="*/ 0 w 64655"/>
              <a:gd name="connsiteY5" fmla="*/ 1245696 h 1355665"/>
              <a:gd name="connsiteX6" fmla="*/ 32962 w 64655"/>
              <a:gd name="connsiteY6" fmla="*/ 1214095 h 1355665"/>
              <a:gd name="connsiteX7" fmla="*/ 32962 w 64655"/>
              <a:gd name="connsiteY7" fmla="*/ 888615 h 1355665"/>
              <a:gd name="connsiteX8" fmla="*/ 64655 w 64655"/>
              <a:gd name="connsiteY8" fmla="*/ 919740 h 1355665"/>
              <a:gd name="connsiteX9" fmla="*/ 64655 w 64655"/>
              <a:gd name="connsiteY9" fmla="*/ 1081592 h 1355665"/>
              <a:gd name="connsiteX10" fmla="*/ 32962 w 64655"/>
              <a:gd name="connsiteY10" fmla="*/ 1113962 h 1355665"/>
              <a:gd name="connsiteX11" fmla="*/ 0 w 64655"/>
              <a:gd name="connsiteY11" fmla="*/ 1081592 h 1355665"/>
              <a:gd name="connsiteX12" fmla="*/ 0 w 64655"/>
              <a:gd name="connsiteY12" fmla="*/ 919740 h 1355665"/>
              <a:gd name="connsiteX13" fmla="*/ 32962 w 64655"/>
              <a:gd name="connsiteY13" fmla="*/ 888615 h 1355665"/>
              <a:gd name="connsiteX14" fmla="*/ 32962 w 64655"/>
              <a:gd name="connsiteY14" fmla="*/ 561177 h 1355665"/>
              <a:gd name="connsiteX15" fmla="*/ 64655 w 64655"/>
              <a:gd name="connsiteY15" fmla="*/ 593547 h 1355665"/>
              <a:gd name="connsiteX16" fmla="*/ 64655 w 64655"/>
              <a:gd name="connsiteY16" fmla="*/ 756644 h 1355665"/>
              <a:gd name="connsiteX17" fmla="*/ 32962 w 64655"/>
              <a:gd name="connsiteY17" fmla="*/ 787769 h 1355665"/>
              <a:gd name="connsiteX18" fmla="*/ 0 w 64655"/>
              <a:gd name="connsiteY18" fmla="*/ 756644 h 1355665"/>
              <a:gd name="connsiteX19" fmla="*/ 0 w 64655"/>
              <a:gd name="connsiteY19" fmla="*/ 593547 h 1355665"/>
              <a:gd name="connsiteX20" fmla="*/ 32962 w 64655"/>
              <a:gd name="connsiteY20" fmla="*/ 561177 h 1355665"/>
              <a:gd name="connsiteX21" fmla="*/ 32962 w 64655"/>
              <a:gd name="connsiteY21" fmla="*/ 236228 h 1355665"/>
              <a:gd name="connsiteX22" fmla="*/ 64655 w 64655"/>
              <a:gd name="connsiteY22" fmla="*/ 267354 h 1355665"/>
              <a:gd name="connsiteX23" fmla="*/ 64655 w 64655"/>
              <a:gd name="connsiteY23" fmla="*/ 430450 h 1355665"/>
              <a:gd name="connsiteX24" fmla="*/ 32962 w 64655"/>
              <a:gd name="connsiteY24" fmla="*/ 462821 h 1355665"/>
              <a:gd name="connsiteX25" fmla="*/ 0 w 64655"/>
              <a:gd name="connsiteY25" fmla="*/ 430450 h 1355665"/>
              <a:gd name="connsiteX26" fmla="*/ 0 w 64655"/>
              <a:gd name="connsiteY26" fmla="*/ 267354 h 1355665"/>
              <a:gd name="connsiteX27" fmla="*/ 32962 w 64655"/>
              <a:gd name="connsiteY27" fmla="*/ 236228 h 1355665"/>
              <a:gd name="connsiteX28" fmla="*/ 32962 w 64655"/>
              <a:gd name="connsiteY28" fmla="*/ 0 h 1355665"/>
              <a:gd name="connsiteX29" fmla="*/ 64655 w 64655"/>
              <a:gd name="connsiteY29" fmla="*/ 30657 h 1355665"/>
              <a:gd name="connsiteX30" fmla="*/ 64655 w 64655"/>
              <a:gd name="connsiteY30" fmla="*/ 105459 h 1355665"/>
              <a:gd name="connsiteX31" fmla="*/ 32962 w 64655"/>
              <a:gd name="connsiteY31" fmla="*/ 136116 h 1355665"/>
              <a:gd name="connsiteX32" fmla="*/ 0 w 64655"/>
              <a:gd name="connsiteY32" fmla="*/ 105459 h 1355665"/>
              <a:gd name="connsiteX33" fmla="*/ 0 w 64655"/>
              <a:gd name="connsiteY33" fmla="*/ 30657 h 1355665"/>
              <a:gd name="connsiteX34" fmla="*/ 32962 w 64655"/>
              <a:gd name="connsiteY34" fmla="*/ 0 h 135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5" h="1355665">
                <a:moveTo>
                  <a:pt x="32962" y="1214095"/>
                </a:moveTo>
                <a:cubicBezTo>
                  <a:pt x="49442" y="1214095"/>
                  <a:pt x="64655" y="1227999"/>
                  <a:pt x="64655" y="1245696"/>
                </a:cubicBezTo>
                <a:lnTo>
                  <a:pt x="64655" y="1322801"/>
                </a:lnTo>
                <a:cubicBezTo>
                  <a:pt x="64655" y="1340497"/>
                  <a:pt x="49442" y="1355665"/>
                  <a:pt x="32962" y="1355665"/>
                </a:cubicBezTo>
                <a:cubicBezTo>
                  <a:pt x="15213" y="1355665"/>
                  <a:pt x="0" y="1340497"/>
                  <a:pt x="0" y="1322801"/>
                </a:cubicBezTo>
                <a:lnTo>
                  <a:pt x="0" y="1245696"/>
                </a:lnTo>
                <a:cubicBezTo>
                  <a:pt x="0" y="1227999"/>
                  <a:pt x="15213" y="1214095"/>
                  <a:pt x="32962" y="1214095"/>
                </a:cubicBezTo>
                <a:close/>
                <a:moveTo>
                  <a:pt x="32962" y="888615"/>
                </a:moveTo>
                <a:cubicBezTo>
                  <a:pt x="49442" y="888615"/>
                  <a:pt x="64655" y="902310"/>
                  <a:pt x="64655" y="919740"/>
                </a:cubicBezTo>
                <a:lnTo>
                  <a:pt x="64655" y="1081592"/>
                </a:lnTo>
                <a:cubicBezTo>
                  <a:pt x="64655" y="1099022"/>
                  <a:pt x="49442" y="1113962"/>
                  <a:pt x="32962" y="1113962"/>
                </a:cubicBezTo>
                <a:cubicBezTo>
                  <a:pt x="15213" y="1113962"/>
                  <a:pt x="0" y="1099022"/>
                  <a:pt x="0" y="1081592"/>
                </a:cubicBezTo>
                <a:lnTo>
                  <a:pt x="0" y="919740"/>
                </a:lnTo>
                <a:cubicBezTo>
                  <a:pt x="0" y="902310"/>
                  <a:pt x="15213" y="888615"/>
                  <a:pt x="32962" y="888615"/>
                </a:cubicBezTo>
                <a:close/>
                <a:moveTo>
                  <a:pt x="32962" y="561177"/>
                </a:moveTo>
                <a:cubicBezTo>
                  <a:pt x="49442" y="561177"/>
                  <a:pt x="64655" y="576117"/>
                  <a:pt x="64655" y="593547"/>
                </a:cubicBezTo>
                <a:lnTo>
                  <a:pt x="64655" y="756644"/>
                </a:lnTo>
                <a:cubicBezTo>
                  <a:pt x="64655" y="774074"/>
                  <a:pt x="49442" y="787769"/>
                  <a:pt x="32962" y="787769"/>
                </a:cubicBezTo>
                <a:cubicBezTo>
                  <a:pt x="15213" y="787769"/>
                  <a:pt x="0" y="774074"/>
                  <a:pt x="0" y="756644"/>
                </a:cubicBezTo>
                <a:lnTo>
                  <a:pt x="0" y="593547"/>
                </a:lnTo>
                <a:cubicBezTo>
                  <a:pt x="0" y="576117"/>
                  <a:pt x="15213" y="561177"/>
                  <a:pt x="32962" y="561177"/>
                </a:cubicBezTo>
                <a:close/>
                <a:moveTo>
                  <a:pt x="32962" y="236228"/>
                </a:moveTo>
                <a:cubicBezTo>
                  <a:pt x="49442" y="236228"/>
                  <a:pt x="64655" y="249923"/>
                  <a:pt x="64655" y="267354"/>
                </a:cubicBezTo>
                <a:lnTo>
                  <a:pt x="64655" y="430450"/>
                </a:lnTo>
                <a:cubicBezTo>
                  <a:pt x="64655" y="447880"/>
                  <a:pt x="49442" y="462821"/>
                  <a:pt x="32962" y="462821"/>
                </a:cubicBezTo>
                <a:cubicBezTo>
                  <a:pt x="15213" y="462821"/>
                  <a:pt x="0" y="447880"/>
                  <a:pt x="0" y="430450"/>
                </a:cubicBezTo>
                <a:lnTo>
                  <a:pt x="0" y="267354"/>
                </a:lnTo>
                <a:cubicBezTo>
                  <a:pt x="0" y="249923"/>
                  <a:pt x="15213" y="236228"/>
                  <a:pt x="32962" y="236228"/>
                </a:cubicBezTo>
                <a:close/>
                <a:moveTo>
                  <a:pt x="32962" y="0"/>
                </a:moveTo>
                <a:cubicBezTo>
                  <a:pt x="49442" y="0"/>
                  <a:pt x="64655" y="13489"/>
                  <a:pt x="64655" y="30657"/>
                </a:cubicBezTo>
                <a:lnTo>
                  <a:pt x="64655" y="105459"/>
                </a:lnTo>
                <a:cubicBezTo>
                  <a:pt x="64655" y="122627"/>
                  <a:pt x="49442" y="136116"/>
                  <a:pt x="32962" y="136116"/>
                </a:cubicBezTo>
                <a:cubicBezTo>
                  <a:pt x="15213" y="136116"/>
                  <a:pt x="0" y="122627"/>
                  <a:pt x="0" y="105459"/>
                </a:cubicBezTo>
                <a:lnTo>
                  <a:pt x="0" y="30657"/>
                </a:lnTo>
                <a:cubicBezTo>
                  <a:pt x="0" y="13489"/>
                  <a:pt x="15213" y="0"/>
                  <a:pt x="32962" y="0"/>
                </a:cubicBezTo>
                <a:close/>
              </a:path>
            </a:pathLst>
          </a:custGeom>
          <a:solidFill>
            <a:schemeClr val="accent4">
              <a:lumMod val="75000"/>
            </a:schemeClr>
          </a:solidFill>
          <a:ln w="28575">
            <a:solidFill>
              <a:schemeClr val="accent4">
                <a:lumMod val="75000"/>
              </a:schemeClr>
            </a:solid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2" name="Freeform 19">
            <a:extLst>
              <a:ext uri="{FF2B5EF4-FFF2-40B4-BE49-F238E27FC236}">
                <a16:creationId xmlns:a16="http://schemas.microsoft.com/office/drawing/2014/main" id="{F8F32ECF-6790-46D1-B733-659D3BDF96D5}"/>
              </a:ext>
            </a:extLst>
          </p:cNvPr>
          <p:cNvSpPr>
            <a:spLocks noChangeArrowheads="1"/>
          </p:cNvSpPr>
          <p:nvPr/>
        </p:nvSpPr>
        <p:spPr bwMode="auto">
          <a:xfrm>
            <a:off x="7907356" y="4472538"/>
            <a:ext cx="32340" cy="680582"/>
          </a:xfrm>
          <a:custGeom>
            <a:avLst/>
            <a:gdLst>
              <a:gd name="connsiteX0" fmla="*/ 32340 w 64679"/>
              <a:gd name="connsiteY0" fmla="*/ 1219583 h 1361164"/>
              <a:gd name="connsiteX1" fmla="*/ 64679 w 64679"/>
              <a:gd name="connsiteY1" fmla="*/ 1252159 h 1361164"/>
              <a:gd name="connsiteX2" fmla="*/ 64679 w 64679"/>
              <a:gd name="connsiteY2" fmla="*/ 1328588 h 1361164"/>
              <a:gd name="connsiteX3" fmla="*/ 32340 w 64679"/>
              <a:gd name="connsiteY3" fmla="*/ 1361164 h 1361164"/>
              <a:gd name="connsiteX4" fmla="*/ 0 w 64679"/>
              <a:gd name="connsiteY4" fmla="*/ 1328588 h 1361164"/>
              <a:gd name="connsiteX5" fmla="*/ 0 w 64679"/>
              <a:gd name="connsiteY5" fmla="*/ 1252159 h 1361164"/>
              <a:gd name="connsiteX6" fmla="*/ 32340 w 64679"/>
              <a:gd name="connsiteY6" fmla="*/ 1219583 h 1361164"/>
              <a:gd name="connsiteX7" fmla="*/ 32340 w 64679"/>
              <a:gd name="connsiteY7" fmla="*/ 894102 h 1361164"/>
              <a:gd name="connsiteX8" fmla="*/ 64679 w 64679"/>
              <a:gd name="connsiteY8" fmla="*/ 925227 h 1361164"/>
              <a:gd name="connsiteX9" fmla="*/ 64679 w 64679"/>
              <a:gd name="connsiteY9" fmla="*/ 1088324 h 1361164"/>
              <a:gd name="connsiteX10" fmla="*/ 32340 w 64679"/>
              <a:gd name="connsiteY10" fmla="*/ 1119449 h 1361164"/>
              <a:gd name="connsiteX11" fmla="*/ 0 w 64679"/>
              <a:gd name="connsiteY11" fmla="*/ 1088324 h 1361164"/>
              <a:gd name="connsiteX12" fmla="*/ 0 w 64679"/>
              <a:gd name="connsiteY12" fmla="*/ 925227 h 1361164"/>
              <a:gd name="connsiteX13" fmla="*/ 32340 w 64679"/>
              <a:gd name="connsiteY13" fmla="*/ 894102 h 1361164"/>
              <a:gd name="connsiteX14" fmla="*/ 32340 w 64679"/>
              <a:gd name="connsiteY14" fmla="*/ 566663 h 1361164"/>
              <a:gd name="connsiteX15" fmla="*/ 64679 w 64679"/>
              <a:gd name="connsiteY15" fmla="*/ 599034 h 1361164"/>
              <a:gd name="connsiteX16" fmla="*/ 64679 w 64679"/>
              <a:gd name="connsiteY16" fmla="*/ 762130 h 1361164"/>
              <a:gd name="connsiteX17" fmla="*/ 32340 w 64679"/>
              <a:gd name="connsiteY17" fmla="*/ 794501 h 1361164"/>
              <a:gd name="connsiteX18" fmla="*/ 0 w 64679"/>
              <a:gd name="connsiteY18" fmla="*/ 762130 h 1361164"/>
              <a:gd name="connsiteX19" fmla="*/ 0 w 64679"/>
              <a:gd name="connsiteY19" fmla="*/ 599034 h 1361164"/>
              <a:gd name="connsiteX20" fmla="*/ 32340 w 64679"/>
              <a:gd name="connsiteY20" fmla="*/ 566663 h 1361164"/>
              <a:gd name="connsiteX21" fmla="*/ 32340 w 64679"/>
              <a:gd name="connsiteY21" fmla="*/ 241715 h 1361164"/>
              <a:gd name="connsiteX22" fmla="*/ 64679 w 64679"/>
              <a:gd name="connsiteY22" fmla="*/ 272840 h 1361164"/>
              <a:gd name="connsiteX23" fmla="*/ 64679 w 64679"/>
              <a:gd name="connsiteY23" fmla="*/ 435937 h 1361164"/>
              <a:gd name="connsiteX24" fmla="*/ 32340 w 64679"/>
              <a:gd name="connsiteY24" fmla="*/ 467062 h 1361164"/>
              <a:gd name="connsiteX25" fmla="*/ 0 w 64679"/>
              <a:gd name="connsiteY25" fmla="*/ 435937 h 1361164"/>
              <a:gd name="connsiteX26" fmla="*/ 0 w 64679"/>
              <a:gd name="connsiteY26" fmla="*/ 272840 h 1361164"/>
              <a:gd name="connsiteX27" fmla="*/ 32340 w 64679"/>
              <a:gd name="connsiteY27" fmla="*/ 241715 h 1361164"/>
              <a:gd name="connsiteX28" fmla="*/ 32340 w 64679"/>
              <a:gd name="connsiteY28" fmla="*/ 0 h 1361164"/>
              <a:gd name="connsiteX29" fmla="*/ 64679 w 64679"/>
              <a:gd name="connsiteY29" fmla="*/ 32864 h 1361164"/>
              <a:gd name="connsiteX30" fmla="*/ 64679 w 64679"/>
              <a:gd name="connsiteY30" fmla="*/ 109970 h 1361164"/>
              <a:gd name="connsiteX31" fmla="*/ 32340 w 64679"/>
              <a:gd name="connsiteY31" fmla="*/ 141570 h 1361164"/>
              <a:gd name="connsiteX32" fmla="*/ 0 w 64679"/>
              <a:gd name="connsiteY32" fmla="*/ 109970 h 1361164"/>
              <a:gd name="connsiteX33" fmla="*/ 0 w 64679"/>
              <a:gd name="connsiteY33" fmla="*/ 32864 h 1361164"/>
              <a:gd name="connsiteX34" fmla="*/ 32340 w 64679"/>
              <a:gd name="connsiteY34" fmla="*/ 0 h 136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79" h="1361164">
                <a:moveTo>
                  <a:pt x="32340" y="1219583"/>
                </a:moveTo>
                <a:cubicBezTo>
                  <a:pt x="49753" y="1219583"/>
                  <a:pt x="64679" y="1234618"/>
                  <a:pt x="64679" y="1252159"/>
                </a:cubicBezTo>
                <a:lnTo>
                  <a:pt x="64679" y="1328588"/>
                </a:lnTo>
                <a:cubicBezTo>
                  <a:pt x="64679" y="1347382"/>
                  <a:pt x="49753" y="1361164"/>
                  <a:pt x="32340" y="1361164"/>
                </a:cubicBezTo>
                <a:cubicBezTo>
                  <a:pt x="14926" y="1361164"/>
                  <a:pt x="0" y="1347382"/>
                  <a:pt x="0" y="1328588"/>
                </a:cubicBezTo>
                <a:lnTo>
                  <a:pt x="0" y="1252159"/>
                </a:lnTo>
                <a:cubicBezTo>
                  <a:pt x="0" y="1234618"/>
                  <a:pt x="14926" y="1219583"/>
                  <a:pt x="32340" y="1219583"/>
                </a:cubicBezTo>
                <a:close/>
                <a:moveTo>
                  <a:pt x="32340" y="894102"/>
                </a:moveTo>
                <a:cubicBezTo>
                  <a:pt x="49753" y="894102"/>
                  <a:pt x="64679" y="907797"/>
                  <a:pt x="64679" y="925227"/>
                </a:cubicBezTo>
                <a:lnTo>
                  <a:pt x="64679" y="1088324"/>
                </a:lnTo>
                <a:cubicBezTo>
                  <a:pt x="64679" y="1105754"/>
                  <a:pt x="49753" y="1119449"/>
                  <a:pt x="32340" y="1119449"/>
                </a:cubicBezTo>
                <a:cubicBezTo>
                  <a:pt x="14926" y="1119449"/>
                  <a:pt x="0" y="1105754"/>
                  <a:pt x="0" y="1088324"/>
                </a:cubicBezTo>
                <a:lnTo>
                  <a:pt x="0" y="925227"/>
                </a:lnTo>
                <a:cubicBezTo>
                  <a:pt x="0" y="907797"/>
                  <a:pt x="14926" y="894102"/>
                  <a:pt x="32340" y="894102"/>
                </a:cubicBezTo>
                <a:close/>
                <a:moveTo>
                  <a:pt x="32340" y="566663"/>
                </a:moveTo>
                <a:cubicBezTo>
                  <a:pt x="49753" y="566663"/>
                  <a:pt x="64679" y="581603"/>
                  <a:pt x="64679" y="599034"/>
                </a:cubicBezTo>
                <a:lnTo>
                  <a:pt x="64679" y="762130"/>
                </a:lnTo>
                <a:cubicBezTo>
                  <a:pt x="64679" y="779560"/>
                  <a:pt x="49753" y="794501"/>
                  <a:pt x="32340" y="794501"/>
                </a:cubicBezTo>
                <a:cubicBezTo>
                  <a:pt x="14926" y="794501"/>
                  <a:pt x="0" y="779560"/>
                  <a:pt x="0" y="762130"/>
                </a:cubicBezTo>
                <a:lnTo>
                  <a:pt x="0" y="599034"/>
                </a:lnTo>
                <a:cubicBezTo>
                  <a:pt x="0" y="581603"/>
                  <a:pt x="14926" y="566663"/>
                  <a:pt x="32340" y="566663"/>
                </a:cubicBezTo>
                <a:close/>
                <a:moveTo>
                  <a:pt x="32340" y="241715"/>
                </a:moveTo>
                <a:cubicBezTo>
                  <a:pt x="49753" y="241715"/>
                  <a:pt x="64679" y="255410"/>
                  <a:pt x="64679" y="272840"/>
                </a:cubicBezTo>
                <a:lnTo>
                  <a:pt x="64679" y="435937"/>
                </a:lnTo>
                <a:cubicBezTo>
                  <a:pt x="64679" y="453367"/>
                  <a:pt x="49753" y="467062"/>
                  <a:pt x="32340" y="467062"/>
                </a:cubicBezTo>
                <a:cubicBezTo>
                  <a:pt x="14926" y="467062"/>
                  <a:pt x="0" y="453367"/>
                  <a:pt x="0" y="435937"/>
                </a:cubicBezTo>
                <a:lnTo>
                  <a:pt x="0" y="272840"/>
                </a:lnTo>
                <a:cubicBezTo>
                  <a:pt x="0" y="255410"/>
                  <a:pt x="14926" y="241715"/>
                  <a:pt x="32340" y="241715"/>
                </a:cubicBezTo>
                <a:close/>
                <a:moveTo>
                  <a:pt x="32340" y="0"/>
                </a:moveTo>
                <a:cubicBezTo>
                  <a:pt x="49753" y="0"/>
                  <a:pt x="64679" y="15168"/>
                  <a:pt x="64679" y="32864"/>
                </a:cubicBezTo>
                <a:lnTo>
                  <a:pt x="64679" y="109970"/>
                </a:lnTo>
                <a:cubicBezTo>
                  <a:pt x="64679" y="127666"/>
                  <a:pt x="49753" y="141570"/>
                  <a:pt x="32340" y="141570"/>
                </a:cubicBezTo>
                <a:cubicBezTo>
                  <a:pt x="14926" y="141570"/>
                  <a:pt x="0" y="127666"/>
                  <a:pt x="0" y="109970"/>
                </a:cubicBezTo>
                <a:lnTo>
                  <a:pt x="0" y="32864"/>
                </a:lnTo>
                <a:cubicBezTo>
                  <a:pt x="0" y="15168"/>
                  <a:pt x="14926" y="0"/>
                  <a:pt x="32340" y="0"/>
                </a:cubicBezTo>
                <a:close/>
              </a:path>
            </a:pathLst>
          </a:custGeom>
          <a:solidFill>
            <a:schemeClr val="accent4">
              <a:lumMod val="75000"/>
            </a:schemeClr>
          </a:solidFill>
          <a:ln w="28575">
            <a:solidFill>
              <a:schemeClr val="accent4">
                <a:lumMod val="75000"/>
              </a:schemeClr>
            </a:solid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3" name="TextBox 12">
            <a:extLst>
              <a:ext uri="{FF2B5EF4-FFF2-40B4-BE49-F238E27FC236}">
                <a16:creationId xmlns:a16="http://schemas.microsoft.com/office/drawing/2014/main" id="{B549C9BE-BB18-45BE-A619-BF33CFE0AE91}"/>
              </a:ext>
            </a:extLst>
          </p:cNvPr>
          <p:cNvSpPr txBox="1"/>
          <p:nvPr/>
        </p:nvSpPr>
        <p:spPr>
          <a:xfrm>
            <a:off x="2096781" y="2002608"/>
            <a:ext cx="2062327" cy="126188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Arial"/>
              </a:rPr>
              <a:t>A eu une réunion d'initiation avec les responsables du programme SL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4" name="TextBox 13">
            <a:extLst>
              <a:ext uri="{FF2B5EF4-FFF2-40B4-BE49-F238E27FC236}">
                <a16:creationId xmlns:a16="http://schemas.microsoft.com/office/drawing/2014/main" id="{ED51A4E1-3EB2-4E6E-8443-5F9827F94223}"/>
              </a:ext>
            </a:extLst>
          </p:cNvPr>
          <p:cNvSpPr txBox="1"/>
          <p:nvPr/>
        </p:nvSpPr>
        <p:spPr>
          <a:xfrm>
            <a:off x="5595132" y="1885411"/>
            <a:ext cx="2303986" cy="83099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Arial"/>
              </a:rPr>
              <a:t>Collecte du plan d'intégration, NIS auprès des États membres</a:t>
            </a:r>
          </a:p>
        </p:txBody>
      </p:sp>
      <p:sp>
        <p:nvSpPr>
          <p:cNvPr id="15" name="TextBox 14">
            <a:extLst>
              <a:ext uri="{FF2B5EF4-FFF2-40B4-BE49-F238E27FC236}">
                <a16:creationId xmlns:a16="http://schemas.microsoft.com/office/drawing/2014/main" id="{D4D43DE5-EF74-4E47-9E19-6533840BC415}"/>
              </a:ext>
            </a:extLst>
          </p:cNvPr>
          <p:cNvSpPr txBox="1"/>
          <p:nvPr/>
        </p:nvSpPr>
        <p:spPr>
          <a:xfrm>
            <a:off x="3777785" y="5128857"/>
            <a:ext cx="2062327" cy="646331"/>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a:sym typeface="Arial"/>
              </a:rPr>
              <a:t>Développement d'un outil d'extraction de données</a:t>
            </a:r>
          </a:p>
        </p:txBody>
      </p:sp>
      <p:sp>
        <p:nvSpPr>
          <p:cNvPr id="16" name="TextBox 15">
            <a:extLst>
              <a:ext uri="{FF2B5EF4-FFF2-40B4-BE49-F238E27FC236}">
                <a16:creationId xmlns:a16="http://schemas.microsoft.com/office/drawing/2014/main" id="{59F473F7-304F-49EA-886B-83B99EC53F42}"/>
              </a:ext>
            </a:extLst>
          </p:cNvPr>
          <p:cNvSpPr txBox="1"/>
          <p:nvPr/>
        </p:nvSpPr>
        <p:spPr>
          <a:xfrm>
            <a:off x="6892362" y="5340745"/>
            <a:ext cx="2062327" cy="132343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15" normalizeH="0" baseline="0" noProof="0" dirty="0">
                <a:ln>
                  <a:noFill/>
                </a:ln>
                <a:solidFill>
                  <a:srgbClr val="242424"/>
                </a:solidFill>
                <a:effectLst/>
                <a:uLnTx/>
                <a:uFillTx/>
                <a:latin typeface="Arial" panose="020B0604020202020204" pitchFamily="34" charset="0"/>
                <a:ea typeface="Source Sans Pro" panose="020B0503030403020204" pitchFamily="34" charset="0"/>
                <a:cs typeface="Arial" panose="020B0604020202020204" pitchFamily="34" charset="0"/>
                <a:sym typeface="Arial"/>
              </a:rPr>
              <a:t>Analyse des documents politiques des États membres et des États membres regroupés sur la base de l'analyse</a:t>
            </a:r>
            <a:endParaRPr kumimoji="0" lang="en-US" sz="1600" b="0" i="0" u="none" strike="noStrike" kern="1200" cap="none" spc="-15" normalizeH="0" baseline="0" noProof="0" dirty="0">
              <a:ln>
                <a:noFill/>
              </a:ln>
              <a:solidFill>
                <a:srgbClr val="000000"/>
              </a:solidFill>
              <a:effectLst/>
              <a:uLnTx/>
              <a:uFillTx/>
              <a:latin typeface="Arial" panose="020B0604020202020204" pitchFamily="34" charset="0"/>
              <a:ea typeface="Source Sans Pro" panose="020B0503030403020204" pitchFamily="34" charset="0"/>
              <a:cs typeface="Arial" panose="020B0604020202020204" pitchFamily="34" charset="0"/>
              <a:sym typeface="Arial"/>
            </a:endParaRPr>
          </a:p>
        </p:txBody>
      </p:sp>
      <p:sp>
        <p:nvSpPr>
          <p:cNvPr id="17" name="TextBox 16">
            <a:extLst>
              <a:ext uri="{FF2B5EF4-FFF2-40B4-BE49-F238E27FC236}">
                <a16:creationId xmlns:a16="http://schemas.microsoft.com/office/drawing/2014/main" id="{46A98EF4-069E-4C05-92F8-D525D7DDCD0E}"/>
              </a:ext>
            </a:extLst>
          </p:cNvPr>
          <p:cNvSpPr txBox="1"/>
          <p:nvPr/>
        </p:nvSpPr>
        <p:spPr>
          <a:xfrm>
            <a:off x="2851251" y="4012508"/>
            <a:ext cx="606897" cy="1015663"/>
          </a:xfrm>
          <a:prstGeom prst="rect">
            <a:avLst/>
          </a:prstGeom>
          <a:noFill/>
        </p:spPr>
        <p:txBody>
          <a:bodyPr wrap="square" rtlCol="0" anchor="ctr">
            <a:spAutoFit/>
          </a:bodyPr>
          <a:lstStyle/>
          <a:p>
            <a:pPr marL="0" marR="0" lvl="0" indent="0" algn="ctr" defTabSz="914400" rtl="0" eaLnBrk="1" fontAlgn="auto" latinLnBrk="0" hangingPunct="1">
              <a:lnSpc>
                <a:spcPts val="7200"/>
              </a:lnSpc>
              <a:spcBef>
                <a:spcPts val="0"/>
              </a:spcBef>
              <a:spcAft>
                <a:spcPts val="0"/>
              </a:spcAft>
              <a:buClrTx/>
              <a:buSzTx/>
              <a:buFontTx/>
              <a:buNone/>
              <a:tabLst/>
              <a:defRPr/>
            </a:pPr>
            <a:r>
              <a:rPr kumimoji="0" lang="en-US" sz="6000" b="1" i="0" u="none" strike="noStrike" kern="1200" cap="none" spc="-145" normalizeH="0" baseline="0" noProof="0" dirty="0">
                <a:ln>
                  <a:noFill/>
                </a:ln>
                <a:solidFill>
                  <a:srgbClr val="FFFFFF"/>
                </a:solidFill>
                <a:effectLst/>
                <a:uLnTx/>
                <a:uFillTx/>
                <a:latin typeface="Source Sans Pro" panose="020B0503030403020204" pitchFamily="34" charset="0"/>
                <a:ea typeface="Source Sans Pro" panose="020B0503030403020204" pitchFamily="34" charset="0"/>
                <a:cs typeface="Arial"/>
                <a:sym typeface="Arial"/>
              </a:rPr>
              <a:t>UN</a:t>
            </a:r>
          </a:p>
        </p:txBody>
      </p:sp>
      <p:sp>
        <p:nvSpPr>
          <p:cNvPr id="18" name="TextBox 17">
            <a:extLst>
              <a:ext uri="{FF2B5EF4-FFF2-40B4-BE49-F238E27FC236}">
                <a16:creationId xmlns:a16="http://schemas.microsoft.com/office/drawing/2014/main" id="{98450361-4FEA-457E-8B6D-024AE6A2DDE8}"/>
              </a:ext>
            </a:extLst>
          </p:cNvPr>
          <p:cNvSpPr txBox="1"/>
          <p:nvPr/>
        </p:nvSpPr>
        <p:spPr>
          <a:xfrm>
            <a:off x="4427999" y="3056198"/>
            <a:ext cx="630942" cy="1015663"/>
          </a:xfrm>
          <a:prstGeom prst="rect">
            <a:avLst/>
          </a:prstGeom>
          <a:noFill/>
        </p:spPr>
        <p:txBody>
          <a:bodyPr wrap="square" rtlCol="0" anchor="ctr">
            <a:spAutoFit/>
          </a:bodyPr>
          <a:lstStyle/>
          <a:p>
            <a:pPr marL="0" marR="0" lvl="0" indent="0" algn="ctr" defTabSz="914400" rtl="0" eaLnBrk="1" fontAlgn="auto" latinLnBrk="0" hangingPunct="1">
              <a:lnSpc>
                <a:spcPts val="7200"/>
              </a:lnSpc>
              <a:spcBef>
                <a:spcPts val="0"/>
              </a:spcBef>
              <a:spcAft>
                <a:spcPts val="0"/>
              </a:spcAft>
              <a:buClrTx/>
              <a:buSzTx/>
              <a:buFontTx/>
              <a:buNone/>
              <a:tabLst/>
              <a:defRPr/>
            </a:pPr>
            <a:r>
              <a:rPr kumimoji="0" lang="en-US" sz="6000" b="1" i="0" u="none" strike="noStrike" kern="1200" cap="none" spc="-145" normalizeH="0" baseline="0" noProof="0" dirty="0">
                <a:ln>
                  <a:noFill/>
                </a:ln>
                <a:solidFill>
                  <a:srgbClr val="FFFFFF"/>
                </a:solidFill>
                <a:effectLst/>
                <a:uLnTx/>
                <a:uFillTx/>
                <a:latin typeface="Source Sans Pro" panose="020B0503030403020204" pitchFamily="34" charset="0"/>
                <a:ea typeface="Source Sans Pro" panose="020B0503030403020204" pitchFamily="34" charset="0"/>
                <a:cs typeface="Arial"/>
                <a:sym typeface="Arial"/>
              </a:rPr>
              <a:t>B</a:t>
            </a:r>
          </a:p>
        </p:txBody>
      </p:sp>
      <p:sp>
        <p:nvSpPr>
          <p:cNvPr id="19" name="TextBox 18">
            <a:extLst>
              <a:ext uri="{FF2B5EF4-FFF2-40B4-BE49-F238E27FC236}">
                <a16:creationId xmlns:a16="http://schemas.microsoft.com/office/drawing/2014/main" id="{18215082-1B18-4B91-A969-0AD680372C3B}"/>
              </a:ext>
            </a:extLst>
          </p:cNvPr>
          <p:cNvSpPr txBox="1"/>
          <p:nvPr/>
        </p:nvSpPr>
        <p:spPr>
          <a:xfrm>
            <a:off x="6027261" y="4012508"/>
            <a:ext cx="613309" cy="1015663"/>
          </a:xfrm>
          <a:prstGeom prst="rect">
            <a:avLst/>
          </a:prstGeom>
          <a:noFill/>
        </p:spPr>
        <p:txBody>
          <a:bodyPr wrap="square" rtlCol="0" anchor="ctr">
            <a:spAutoFit/>
          </a:bodyPr>
          <a:lstStyle/>
          <a:p>
            <a:pPr marL="0" marR="0" lvl="0" indent="0" algn="ctr" defTabSz="914400" rtl="0" eaLnBrk="1" fontAlgn="auto" latinLnBrk="0" hangingPunct="1">
              <a:lnSpc>
                <a:spcPts val="7200"/>
              </a:lnSpc>
              <a:spcBef>
                <a:spcPts val="0"/>
              </a:spcBef>
              <a:spcAft>
                <a:spcPts val="0"/>
              </a:spcAft>
              <a:buClrTx/>
              <a:buSzTx/>
              <a:buFontTx/>
              <a:buNone/>
              <a:tabLst/>
              <a:defRPr/>
            </a:pPr>
            <a:r>
              <a:rPr kumimoji="0" lang="en-US" sz="6000" b="1" i="0" u="none" strike="noStrike" kern="1200" cap="none" spc="-145" normalizeH="0" baseline="0" noProof="0" dirty="0">
                <a:ln>
                  <a:noFill/>
                </a:ln>
                <a:solidFill>
                  <a:srgbClr val="FFFFFF"/>
                </a:solidFill>
                <a:effectLst/>
                <a:uLnTx/>
                <a:uFillTx/>
                <a:latin typeface="Source Sans Pro" panose="020B0503030403020204" pitchFamily="34" charset="0"/>
                <a:ea typeface="Source Sans Pro" panose="020B0503030403020204" pitchFamily="34" charset="0"/>
                <a:cs typeface="Arial"/>
                <a:sym typeface="Arial"/>
              </a:rPr>
              <a:t>C</a:t>
            </a:r>
          </a:p>
        </p:txBody>
      </p:sp>
      <p:sp>
        <p:nvSpPr>
          <p:cNvPr id="20" name="TextBox 19">
            <a:extLst>
              <a:ext uri="{FF2B5EF4-FFF2-40B4-BE49-F238E27FC236}">
                <a16:creationId xmlns:a16="http://schemas.microsoft.com/office/drawing/2014/main" id="{071A1355-D173-4612-939B-D4D552AC66FD}"/>
              </a:ext>
            </a:extLst>
          </p:cNvPr>
          <p:cNvSpPr txBox="1"/>
          <p:nvPr/>
        </p:nvSpPr>
        <p:spPr>
          <a:xfrm>
            <a:off x="7532128" y="3056198"/>
            <a:ext cx="654988" cy="1015663"/>
          </a:xfrm>
          <a:prstGeom prst="rect">
            <a:avLst/>
          </a:prstGeom>
          <a:noFill/>
        </p:spPr>
        <p:txBody>
          <a:bodyPr wrap="square" rtlCol="0" anchor="ctr">
            <a:spAutoFit/>
          </a:bodyPr>
          <a:lstStyle/>
          <a:p>
            <a:pPr marL="0" marR="0" lvl="0" indent="0" algn="ctr" defTabSz="914400" rtl="0" eaLnBrk="1" fontAlgn="auto" latinLnBrk="0" hangingPunct="1">
              <a:lnSpc>
                <a:spcPts val="7200"/>
              </a:lnSpc>
              <a:spcBef>
                <a:spcPts val="0"/>
              </a:spcBef>
              <a:spcAft>
                <a:spcPts val="0"/>
              </a:spcAft>
              <a:buClrTx/>
              <a:buSzTx/>
              <a:buFontTx/>
              <a:buNone/>
              <a:tabLst/>
              <a:defRPr/>
            </a:pPr>
            <a:r>
              <a:rPr kumimoji="0" lang="en-US" sz="6000" b="1" i="0" u="none" strike="noStrike" kern="1200" cap="none" spc="-145" normalizeH="0" baseline="0" noProof="0" dirty="0">
                <a:ln>
                  <a:noFill/>
                </a:ln>
                <a:solidFill>
                  <a:srgbClr val="FFFFFF"/>
                </a:solidFill>
                <a:effectLst/>
                <a:uLnTx/>
                <a:uFillTx/>
                <a:latin typeface="Source Sans Pro" panose="020B0503030403020204" pitchFamily="34" charset="0"/>
                <a:ea typeface="Source Sans Pro" panose="020B0503030403020204" pitchFamily="34" charset="0"/>
                <a:cs typeface="Arial"/>
                <a:sym typeface="Arial"/>
              </a:rPr>
              <a:t>D</a:t>
            </a:r>
          </a:p>
        </p:txBody>
      </p:sp>
      <p:sp>
        <p:nvSpPr>
          <p:cNvPr id="2" name="Freeform 3">
            <a:extLst>
              <a:ext uri="{FF2B5EF4-FFF2-40B4-BE49-F238E27FC236}">
                <a16:creationId xmlns:a16="http://schemas.microsoft.com/office/drawing/2014/main" id="{8F69D589-983D-D56C-1BF9-522B719DB914}"/>
              </a:ext>
            </a:extLst>
          </p:cNvPr>
          <p:cNvSpPr>
            <a:spLocks noChangeArrowheads="1"/>
          </p:cNvSpPr>
          <p:nvPr/>
        </p:nvSpPr>
        <p:spPr bwMode="auto">
          <a:xfrm>
            <a:off x="8411731" y="3616905"/>
            <a:ext cx="2098563" cy="1796413"/>
          </a:xfrm>
          <a:custGeom>
            <a:avLst/>
            <a:gdLst>
              <a:gd name="T0" fmla="*/ 520 w 3368"/>
              <a:gd name="T1" fmla="*/ 547 h 2885"/>
              <a:gd name="T2" fmla="*/ 527 w 3368"/>
              <a:gd name="T3" fmla="*/ 582 h 2885"/>
              <a:gd name="T4" fmla="*/ 585 w 3368"/>
              <a:gd name="T5" fmla="*/ 620 h 2885"/>
              <a:gd name="T6" fmla="*/ 698 w 3368"/>
              <a:gd name="T7" fmla="*/ 637 h 2885"/>
              <a:gd name="T8" fmla="*/ 783 w 3368"/>
              <a:gd name="T9" fmla="*/ 668 h 2885"/>
              <a:gd name="T10" fmla="*/ 833 w 3368"/>
              <a:gd name="T11" fmla="*/ 708 h 2885"/>
              <a:gd name="T12" fmla="*/ 876 w 3368"/>
              <a:gd name="T13" fmla="*/ 787 h 2885"/>
              <a:gd name="T14" fmla="*/ 842 w 3368"/>
              <a:gd name="T15" fmla="*/ 968 h 2885"/>
              <a:gd name="T16" fmla="*/ 716 w 3368"/>
              <a:gd name="T17" fmla="*/ 1084 h 2885"/>
              <a:gd name="T18" fmla="*/ 674 w 3368"/>
              <a:gd name="T19" fmla="*/ 1095 h 2885"/>
              <a:gd name="T20" fmla="*/ 669 w 3368"/>
              <a:gd name="T21" fmla="*/ 1095 h 2885"/>
              <a:gd name="T22" fmla="*/ 668 w 3368"/>
              <a:gd name="T23" fmla="*/ 1095 h 2885"/>
              <a:gd name="T24" fmla="*/ 660 w 3368"/>
              <a:gd name="T25" fmla="*/ 1096 h 2885"/>
              <a:gd name="T26" fmla="*/ 653 w 3368"/>
              <a:gd name="T27" fmla="*/ 1096 h 2885"/>
              <a:gd name="T28" fmla="*/ 562 w 3368"/>
              <a:gd name="T29" fmla="*/ 1073 h 2885"/>
              <a:gd name="T30" fmla="*/ 553 w 3368"/>
              <a:gd name="T31" fmla="*/ 1068 h 2885"/>
              <a:gd name="T32" fmla="*/ 411 w 3368"/>
              <a:gd name="T33" fmla="*/ 922 h 2885"/>
              <a:gd name="T34" fmla="*/ 348 w 3368"/>
              <a:gd name="T35" fmla="*/ 891 h 2885"/>
              <a:gd name="T36" fmla="*/ 315 w 3368"/>
              <a:gd name="T37" fmla="*/ 901 h 2885"/>
              <a:gd name="T38" fmla="*/ 830 w 3368"/>
              <a:gd name="T39" fmla="*/ 2884 h 2885"/>
              <a:gd name="T40" fmla="*/ 3321 w 3368"/>
              <a:gd name="T41" fmla="*/ 1448 h 2885"/>
              <a:gd name="T42" fmla="*/ 3006 w 3368"/>
              <a:gd name="T43" fmla="*/ 904 h 2885"/>
              <a:gd name="T44" fmla="*/ 3005 w 3368"/>
              <a:gd name="T45" fmla="*/ 899 h 2885"/>
              <a:gd name="T46" fmla="*/ 3014 w 3368"/>
              <a:gd name="T47" fmla="*/ 837 h 2885"/>
              <a:gd name="T48" fmla="*/ 3015 w 3368"/>
              <a:gd name="T49" fmla="*/ 833 h 2885"/>
              <a:gd name="T50" fmla="*/ 3017 w 3368"/>
              <a:gd name="T51" fmla="*/ 830 h 2885"/>
              <a:gd name="T52" fmla="*/ 3099 w 3368"/>
              <a:gd name="T53" fmla="*/ 776 h 2885"/>
              <a:gd name="T54" fmla="*/ 3280 w 3368"/>
              <a:gd name="T55" fmla="*/ 732 h 2885"/>
              <a:gd name="T56" fmla="*/ 3288 w 3368"/>
              <a:gd name="T57" fmla="*/ 726 h 2885"/>
              <a:gd name="T58" fmla="*/ 3342 w 3368"/>
              <a:gd name="T59" fmla="*/ 671 h 2885"/>
              <a:gd name="T60" fmla="*/ 3345 w 3368"/>
              <a:gd name="T61" fmla="*/ 665 h 2885"/>
              <a:gd name="T62" fmla="*/ 3346 w 3368"/>
              <a:gd name="T63" fmla="*/ 664 h 2885"/>
              <a:gd name="T64" fmla="*/ 3348 w 3368"/>
              <a:gd name="T65" fmla="*/ 659 h 2885"/>
              <a:gd name="T66" fmla="*/ 3350 w 3368"/>
              <a:gd name="T67" fmla="*/ 655 h 2885"/>
              <a:gd name="T68" fmla="*/ 3351 w 3368"/>
              <a:gd name="T69" fmla="*/ 653 h 2885"/>
              <a:gd name="T70" fmla="*/ 3360 w 3368"/>
              <a:gd name="T71" fmla="*/ 622 h 2885"/>
              <a:gd name="T72" fmla="*/ 3327 w 3368"/>
              <a:gd name="T73" fmla="*/ 477 h 2885"/>
              <a:gd name="T74" fmla="*/ 3207 w 3368"/>
              <a:gd name="T75" fmla="*/ 373 h 2885"/>
              <a:gd name="T76" fmla="*/ 3134 w 3368"/>
              <a:gd name="T77" fmla="*/ 370 h 2885"/>
              <a:gd name="T78" fmla="*/ 3133 w 3368"/>
              <a:gd name="T79" fmla="*/ 370 h 2885"/>
              <a:gd name="T80" fmla="*/ 3126 w 3368"/>
              <a:gd name="T81" fmla="*/ 372 h 2885"/>
              <a:gd name="T82" fmla="*/ 3093 w 3368"/>
              <a:gd name="T83" fmla="*/ 385 h 2885"/>
              <a:gd name="T84" fmla="*/ 3085 w 3368"/>
              <a:gd name="T85" fmla="*/ 390 h 2885"/>
              <a:gd name="T86" fmla="*/ 3041 w 3368"/>
              <a:gd name="T87" fmla="*/ 422 h 2885"/>
              <a:gd name="T88" fmla="*/ 2956 w 3368"/>
              <a:gd name="T89" fmla="*/ 527 h 2885"/>
              <a:gd name="T90" fmla="*/ 2869 w 3368"/>
              <a:gd name="T91" fmla="*/ 572 h 2885"/>
              <a:gd name="T92" fmla="*/ 2863 w 3368"/>
              <a:gd name="T93" fmla="*/ 571 h 2885"/>
              <a:gd name="T94" fmla="*/ 2849 w 3368"/>
              <a:gd name="T95" fmla="*/ 570 h 2885"/>
              <a:gd name="T96" fmla="*/ 2801 w 3368"/>
              <a:gd name="T97" fmla="*/ 546 h 2885"/>
              <a:gd name="T98" fmla="*/ 2798 w 3368"/>
              <a:gd name="T99" fmla="*/ 542 h 2885"/>
              <a:gd name="T100" fmla="*/ 835 w 3368"/>
              <a:gd name="T101" fmla="*/ 1 h 2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68" h="2885">
                <a:moveTo>
                  <a:pt x="520" y="547"/>
                </a:moveTo>
                <a:lnTo>
                  <a:pt x="520" y="547"/>
                </a:lnTo>
                <a:cubicBezTo>
                  <a:pt x="519" y="559"/>
                  <a:pt x="522" y="571"/>
                  <a:pt x="527" y="582"/>
                </a:cubicBezTo>
                <a:lnTo>
                  <a:pt x="527" y="582"/>
                </a:lnTo>
                <a:cubicBezTo>
                  <a:pt x="539" y="604"/>
                  <a:pt x="560" y="618"/>
                  <a:pt x="585" y="620"/>
                </a:cubicBezTo>
                <a:lnTo>
                  <a:pt x="585" y="620"/>
                </a:lnTo>
                <a:cubicBezTo>
                  <a:pt x="625" y="622"/>
                  <a:pt x="664" y="629"/>
                  <a:pt x="698" y="637"/>
                </a:cubicBezTo>
                <a:lnTo>
                  <a:pt x="698" y="637"/>
                </a:lnTo>
                <a:cubicBezTo>
                  <a:pt x="732" y="645"/>
                  <a:pt x="761" y="656"/>
                  <a:pt x="783" y="668"/>
                </a:cubicBezTo>
                <a:lnTo>
                  <a:pt x="783" y="668"/>
                </a:lnTo>
                <a:cubicBezTo>
                  <a:pt x="802" y="680"/>
                  <a:pt x="819" y="693"/>
                  <a:pt x="833" y="708"/>
                </a:cubicBezTo>
                <a:lnTo>
                  <a:pt x="833" y="708"/>
                </a:lnTo>
                <a:cubicBezTo>
                  <a:pt x="854" y="731"/>
                  <a:pt x="868" y="757"/>
                  <a:pt x="876" y="787"/>
                </a:cubicBezTo>
                <a:lnTo>
                  <a:pt x="876" y="787"/>
                </a:lnTo>
                <a:cubicBezTo>
                  <a:pt x="890" y="843"/>
                  <a:pt x="878" y="906"/>
                  <a:pt x="842" y="968"/>
                </a:cubicBezTo>
                <a:lnTo>
                  <a:pt x="842" y="968"/>
                </a:lnTo>
                <a:cubicBezTo>
                  <a:pt x="809" y="1024"/>
                  <a:pt x="765" y="1066"/>
                  <a:pt x="716" y="1084"/>
                </a:cubicBezTo>
                <a:lnTo>
                  <a:pt x="716" y="1084"/>
                </a:lnTo>
                <a:cubicBezTo>
                  <a:pt x="703" y="1089"/>
                  <a:pt x="690" y="1093"/>
                  <a:pt x="677" y="1094"/>
                </a:cubicBezTo>
                <a:lnTo>
                  <a:pt x="674" y="1095"/>
                </a:lnTo>
                <a:lnTo>
                  <a:pt x="674" y="1095"/>
                </a:lnTo>
                <a:cubicBezTo>
                  <a:pt x="673" y="1095"/>
                  <a:pt x="671" y="1095"/>
                  <a:pt x="669" y="1095"/>
                </a:cubicBezTo>
                <a:lnTo>
                  <a:pt x="668" y="1095"/>
                </a:lnTo>
                <a:lnTo>
                  <a:pt x="668" y="1095"/>
                </a:lnTo>
                <a:cubicBezTo>
                  <a:pt x="666" y="1095"/>
                  <a:pt x="665" y="1095"/>
                  <a:pt x="663" y="1095"/>
                </a:cubicBezTo>
                <a:lnTo>
                  <a:pt x="660" y="1096"/>
                </a:lnTo>
                <a:lnTo>
                  <a:pt x="660" y="1096"/>
                </a:lnTo>
                <a:cubicBezTo>
                  <a:pt x="658" y="1096"/>
                  <a:pt x="655" y="1096"/>
                  <a:pt x="653" y="1096"/>
                </a:cubicBezTo>
                <a:lnTo>
                  <a:pt x="653" y="1096"/>
                </a:lnTo>
                <a:cubicBezTo>
                  <a:pt x="622" y="1096"/>
                  <a:pt x="592" y="1089"/>
                  <a:pt x="562" y="1073"/>
                </a:cubicBezTo>
                <a:lnTo>
                  <a:pt x="562" y="1073"/>
                </a:lnTo>
                <a:cubicBezTo>
                  <a:pt x="559" y="1072"/>
                  <a:pt x="556" y="1071"/>
                  <a:pt x="553" y="1068"/>
                </a:cubicBezTo>
                <a:lnTo>
                  <a:pt x="553" y="1068"/>
                </a:lnTo>
                <a:cubicBezTo>
                  <a:pt x="509" y="1043"/>
                  <a:pt x="455" y="989"/>
                  <a:pt x="411" y="922"/>
                </a:cubicBezTo>
                <a:lnTo>
                  <a:pt x="411" y="922"/>
                </a:lnTo>
                <a:cubicBezTo>
                  <a:pt x="397" y="902"/>
                  <a:pt x="373" y="890"/>
                  <a:pt x="348" y="891"/>
                </a:cubicBezTo>
                <a:lnTo>
                  <a:pt x="348" y="891"/>
                </a:lnTo>
                <a:cubicBezTo>
                  <a:pt x="336" y="891"/>
                  <a:pt x="325" y="895"/>
                  <a:pt x="315" y="901"/>
                </a:cubicBezTo>
                <a:lnTo>
                  <a:pt x="0" y="1446"/>
                </a:lnTo>
                <a:lnTo>
                  <a:pt x="830" y="2884"/>
                </a:lnTo>
                <a:lnTo>
                  <a:pt x="2493" y="2883"/>
                </a:lnTo>
                <a:lnTo>
                  <a:pt x="3321" y="1448"/>
                </a:lnTo>
                <a:lnTo>
                  <a:pt x="3006" y="904"/>
                </a:lnTo>
                <a:lnTo>
                  <a:pt x="3006" y="904"/>
                </a:lnTo>
                <a:cubicBezTo>
                  <a:pt x="3006" y="902"/>
                  <a:pt x="3005" y="900"/>
                  <a:pt x="3005" y="899"/>
                </a:cubicBezTo>
                <a:lnTo>
                  <a:pt x="3005" y="899"/>
                </a:lnTo>
                <a:cubicBezTo>
                  <a:pt x="3002" y="878"/>
                  <a:pt x="3004" y="857"/>
                  <a:pt x="3013" y="838"/>
                </a:cubicBezTo>
                <a:lnTo>
                  <a:pt x="3014" y="837"/>
                </a:lnTo>
                <a:lnTo>
                  <a:pt x="3014" y="837"/>
                </a:lnTo>
                <a:cubicBezTo>
                  <a:pt x="3014" y="836"/>
                  <a:pt x="3015" y="835"/>
                  <a:pt x="3015" y="833"/>
                </a:cubicBezTo>
                <a:lnTo>
                  <a:pt x="3015" y="833"/>
                </a:lnTo>
                <a:cubicBezTo>
                  <a:pt x="3016" y="832"/>
                  <a:pt x="3016" y="831"/>
                  <a:pt x="3017" y="830"/>
                </a:cubicBezTo>
                <a:lnTo>
                  <a:pt x="3017" y="830"/>
                </a:lnTo>
                <a:cubicBezTo>
                  <a:pt x="3033" y="799"/>
                  <a:pt x="3064" y="779"/>
                  <a:pt x="3099" y="776"/>
                </a:cubicBezTo>
                <a:lnTo>
                  <a:pt x="3099" y="776"/>
                </a:lnTo>
                <a:cubicBezTo>
                  <a:pt x="3173" y="772"/>
                  <a:pt x="3241" y="754"/>
                  <a:pt x="3280" y="732"/>
                </a:cubicBezTo>
                <a:lnTo>
                  <a:pt x="3280" y="732"/>
                </a:lnTo>
                <a:cubicBezTo>
                  <a:pt x="3283" y="730"/>
                  <a:pt x="3286" y="728"/>
                  <a:pt x="3288" y="726"/>
                </a:cubicBezTo>
                <a:lnTo>
                  <a:pt x="3288" y="726"/>
                </a:lnTo>
                <a:cubicBezTo>
                  <a:pt x="3312" y="711"/>
                  <a:pt x="3330" y="693"/>
                  <a:pt x="3342" y="671"/>
                </a:cubicBezTo>
                <a:lnTo>
                  <a:pt x="3342" y="671"/>
                </a:lnTo>
                <a:cubicBezTo>
                  <a:pt x="3343" y="669"/>
                  <a:pt x="3345" y="668"/>
                  <a:pt x="3345" y="665"/>
                </a:cubicBezTo>
                <a:lnTo>
                  <a:pt x="3345" y="665"/>
                </a:lnTo>
                <a:cubicBezTo>
                  <a:pt x="3345" y="665"/>
                  <a:pt x="3346" y="665"/>
                  <a:pt x="3346" y="664"/>
                </a:cubicBezTo>
                <a:lnTo>
                  <a:pt x="3348" y="659"/>
                </a:lnTo>
                <a:lnTo>
                  <a:pt x="3348" y="659"/>
                </a:lnTo>
                <a:cubicBezTo>
                  <a:pt x="3349" y="658"/>
                  <a:pt x="3349" y="657"/>
                  <a:pt x="3350" y="655"/>
                </a:cubicBezTo>
                <a:lnTo>
                  <a:pt x="3350" y="655"/>
                </a:lnTo>
                <a:lnTo>
                  <a:pt x="3351" y="653"/>
                </a:lnTo>
                <a:lnTo>
                  <a:pt x="3351" y="653"/>
                </a:lnTo>
                <a:cubicBezTo>
                  <a:pt x="3355" y="643"/>
                  <a:pt x="3358" y="633"/>
                  <a:pt x="3360" y="622"/>
                </a:cubicBezTo>
                <a:lnTo>
                  <a:pt x="3360" y="622"/>
                </a:lnTo>
                <a:cubicBezTo>
                  <a:pt x="3367" y="578"/>
                  <a:pt x="3355" y="526"/>
                  <a:pt x="3327" y="477"/>
                </a:cubicBezTo>
                <a:lnTo>
                  <a:pt x="3327" y="477"/>
                </a:lnTo>
                <a:cubicBezTo>
                  <a:pt x="3295" y="422"/>
                  <a:pt x="3253" y="386"/>
                  <a:pt x="3207" y="373"/>
                </a:cubicBezTo>
                <a:lnTo>
                  <a:pt x="3207" y="373"/>
                </a:lnTo>
                <a:cubicBezTo>
                  <a:pt x="3183" y="365"/>
                  <a:pt x="3159" y="365"/>
                  <a:pt x="3134" y="370"/>
                </a:cubicBezTo>
                <a:lnTo>
                  <a:pt x="3134" y="370"/>
                </a:lnTo>
                <a:cubicBezTo>
                  <a:pt x="3134" y="370"/>
                  <a:pt x="3134" y="370"/>
                  <a:pt x="3133" y="370"/>
                </a:cubicBezTo>
                <a:lnTo>
                  <a:pt x="3133" y="370"/>
                </a:lnTo>
                <a:cubicBezTo>
                  <a:pt x="3131" y="371"/>
                  <a:pt x="3128" y="371"/>
                  <a:pt x="3126" y="372"/>
                </a:cubicBezTo>
                <a:lnTo>
                  <a:pt x="3126" y="372"/>
                </a:lnTo>
                <a:cubicBezTo>
                  <a:pt x="3115" y="376"/>
                  <a:pt x="3104" y="380"/>
                  <a:pt x="3093" y="385"/>
                </a:cubicBezTo>
                <a:lnTo>
                  <a:pt x="3093" y="385"/>
                </a:lnTo>
                <a:cubicBezTo>
                  <a:pt x="3090" y="387"/>
                  <a:pt x="3088" y="388"/>
                  <a:pt x="3085" y="390"/>
                </a:cubicBezTo>
                <a:lnTo>
                  <a:pt x="3085" y="390"/>
                </a:lnTo>
                <a:cubicBezTo>
                  <a:pt x="3071" y="398"/>
                  <a:pt x="3057" y="409"/>
                  <a:pt x="3041" y="422"/>
                </a:cubicBezTo>
                <a:lnTo>
                  <a:pt x="3041" y="422"/>
                </a:lnTo>
                <a:cubicBezTo>
                  <a:pt x="3013" y="449"/>
                  <a:pt x="2983" y="485"/>
                  <a:pt x="2956" y="527"/>
                </a:cubicBezTo>
                <a:lnTo>
                  <a:pt x="2956" y="527"/>
                </a:lnTo>
                <a:cubicBezTo>
                  <a:pt x="2937" y="556"/>
                  <a:pt x="2904" y="573"/>
                  <a:pt x="2869" y="572"/>
                </a:cubicBezTo>
                <a:lnTo>
                  <a:pt x="2869" y="572"/>
                </a:lnTo>
                <a:cubicBezTo>
                  <a:pt x="2868" y="572"/>
                  <a:pt x="2866" y="572"/>
                  <a:pt x="2864" y="572"/>
                </a:cubicBezTo>
                <a:lnTo>
                  <a:pt x="2863" y="571"/>
                </a:lnTo>
                <a:lnTo>
                  <a:pt x="2863" y="571"/>
                </a:lnTo>
                <a:cubicBezTo>
                  <a:pt x="2858" y="571"/>
                  <a:pt x="2854" y="570"/>
                  <a:pt x="2849" y="570"/>
                </a:cubicBezTo>
                <a:lnTo>
                  <a:pt x="2849" y="570"/>
                </a:lnTo>
                <a:cubicBezTo>
                  <a:pt x="2831" y="566"/>
                  <a:pt x="2814" y="558"/>
                  <a:pt x="2801" y="546"/>
                </a:cubicBezTo>
                <a:lnTo>
                  <a:pt x="2801" y="546"/>
                </a:lnTo>
                <a:cubicBezTo>
                  <a:pt x="2800" y="545"/>
                  <a:pt x="2799" y="543"/>
                  <a:pt x="2798" y="542"/>
                </a:cubicBezTo>
                <a:lnTo>
                  <a:pt x="2485" y="0"/>
                </a:lnTo>
                <a:lnTo>
                  <a:pt x="835" y="1"/>
                </a:lnTo>
                <a:lnTo>
                  <a:pt x="520" y="547"/>
                </a:lnTo>
              </a:path>
            </a:pathLst>
          </a:custGeom>
          <a:solidFill>
            <a:srgbClr val="9F2525"/>
          </a:solidFill>
          <a:ln>
            <a:noFill/>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noFill/>
                </a:ln>
                <a:solidFill>
                  <a:srgbClr val="FFFFFF"/>
                </a:solidFill>
                <a:effectLst/>
                <a:uLnTx/>
                <a:uFillTx/>
                <a:latin typeface="Arial"/>
                <a:ea typeface="+mn-ea"/>
                <a:cs typeface="Arial"/>
                <a:sym typeface="Arial"/>
              </a:rPr>
              <a:t>E</a:t>
            </a:r>
          </a:p>
        </p:txBody>
      </p:sp>
      <p:sp>
        <p:nvSpPr>
          <p:cNvPr id="21" name="TextBox 20">
            <a:extLst>
              <a:ext uri="{FF2B5EF4-FFF2-40B4-BE49-F238E27FC236}">
                <a16:creationId xmlns:a16="http://schemas.microsoft.com/office/drawing/2014/main" id="{4D871195-DF14-342E-F528-7E6CA9C6F814}"/>
              </a:ext>
            </a:extLst>
          </p:cNvPr>
          <p:cNvSpPr txBox="1"/>
          <p:nvPr/>
        </p:nvSpPr>
        <p:spPr>
          <a:xfrm>
            <a:off x="8937411" y="2066871"/>
            <a:ext cx="2303986" cy="83099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a:ea typeface="+mn-ea"/>
                <a:cs typeface="Arial"/>
                <a:sym typeface="Arial"/>
              </a:rPr>
              <a:t>Microplan</a:t>
            </a:r>
            <a:r>
              <a:rPr kumimoji="0" lang="en-US" sz="1600" b="0" i="0" u="none" strike="noStrike" kern="1200" cap="none" spc="0" normalizeH="0" baseline="0" noProof="0" dirty="0">
                <a:ln>
                  <a:noFill/>
                </a:ln>
                <a:solidFill>
                  <a:srgbClr val="000000"/>
                </a:solidFill>
                <a:effectLst/>
                <a:uLnTx/>
                <a:uFillTx/>
                <a:latin typeface="Arial"/>
                <a:ea typeface="+mn-ea"/>
                <a:cs typeface="Arial"/>
                <a:sym typeface="Arial"/>
              </a:rPr>
              <a:t>atelier de co-création d'activités (16 MS)</a:t>
            </a:r>
          </a:p>
        </p:txBody>
      </p:sp>
      <p:sp>
        <p:nvSpPr>
          <p:cNvPr id="22" name="Freeform 18">
            <a:extLst>
              <a:ext uri="{FF2B5EF4-FFF2-40B4-BE49-F238E27FC236}">
                <a16:creationId xmlns:a16="http://schemas.microsoft.com/office/drawing/2014/main" id="{2F10E1CF-6F90-F784-239E-7EE18C6FC646}"/>
              </a:ext>
            </a:extLst>
          </p:cNvPr>
          <p:cNvSpPr>
            <a:spLocks noChangeArrowheads="1"/>
          </p:cNvSpPr>
          <p:nvPr/>
        </p:nvSpPr>
        <p:spPr bwMode="auto">
          <a:xfrm>
            <a:off x="9562483" y="2872527"/>
            <a:ext cx="32328" cy="677833"/>
          </a:xfrm>
          <a:custGeom>
            <a:avLst/>
            <a:gdLst>
              <a:gd name="connsiteX0" fmla="*/ 32962 w 64655"/>
              <a:gd name="connsiteY0" fmla="*/ 1214095 h 1355665"/>
              <a:gd name="connsiteX1" fmla="*/ 64655 w 64655"/>
              <a:gd name="connsiteY1" fmla="*/ 1245696 h 1355665"/>
              <a:gd name="connsiteX2" fmla="*/ 64655 w 64655"/>
              <a:gd name="connsiteY2" fmla="*/ 1322801 h 1355665"/>
              <a:gd name="connsiteX3" fmla="*/ 32962 w 64655"/>
              <a:gd name="connsiteY3" fmla="*/ 1355665 h 1355665"/>
              <a:gd name="connsiteX4" fmla="*/ 0 w 64655"/>
              <a:gd name="connsiteY4" fmla="*/ 1322801 h 1355665"/>
              <a:gd name="connsiteX5" fmla="*/ 0 w 64655"/>
              <a:gd name="connsiteY5" fmla="*/ 1245696 h 1355665"/>
              <a:gd name="connsiteX6" fmla="*/ 32962 w 64655"/>
              <a:gd name="connsiteY6" fmla="*/ 1214095 h 1355665"/>
              <a:gd name="connsiteX7" fmla="*/ 32962 w 64655"/>
              <a:gd name="connsiteY7" fmla="*/ 888615 h 1355665"/>
              <a:gd name="connsiteX8" fmla="*/ 64655 w 64655"/>
              <a:gd name="connsiteY8" fmla="*/ 919740 h 1355665"/>
              <a:gd name="connsiteX9" fmla="*/ 64655 w 64655"/>
              <a:gd name="connsiteY9" fmla="*/ 1081592 h 1355665"/>
              <a:gd name="connsiteX10" fmla="*/ 32962 w 64655"/>
              <a:gd name="connsiteY10" fmla="*/ 1113962 h 1355665"/>
              <a:gd name="connsiteX11" fmla="*/ 0 w 64655"/>
              <a:gd name="connsiteY11" fmla="*/ 1081592 h 1355665"/>
              <a:gd name="connsiteX12" fmla="*/ 0 w 64655"/>
              <a:gd name="connsiteY12" fmla="*/ 919740 h 1355665"/>
              <a:gd name="connsiteX13" fmla="*/ 32962 w 64655"/>
              <a:gd name="connsiteY13" fmla="*/ 888615 h 1355665"/>
              <a:gd name="connsiteX14" fmla="*/ 32962 w 64655"/>
              <a:gd name="connsiteY14" fmla="*/ 561177 h 1355665"/>
              <a:gd name="connsiteX15" fmla="*/ 64655 w 64655"/>
              <a:gd name="connsiteY15" fmla="*/ 593547 h 1355665"/>
              <a:gd name="connsiteX16" fmla="*/ 64655 w 64655"/>
              <a:gd name="connsiteY16" fmla="*/ 756644 h 1355665"/>
              <a:gd name="connsiteX17" fmla="*/ 32962 w 64655"/>
              <a:gd name="connsiteY17" fmla="*/ 787769 h 1355665"/>
              <a:gd name="connsiteX18" fmla="*/ 0 w 64655"/>
              <a:gd name="connsiteY18" fmla="*/ 756644 h 1355665"/>
              <a:gd name="connsiteX19" fmla="*/ 0 w 64655"/>
              <a:gd name="connsiteY19" fmla="*/ 593547 h 1355665"/>
              <a:gd name="connsiteX20" fmla="*/ 32962 w 64655"/>
              <a:gd name="connsiteY20" fmla="*/ 561177 h 1355665"/>
              <a:gd name="connsiteX21" fmla="*/ 32962 w 64655"/>
              <a:gd name="connsiteY21" fmla="*/ 236228 h 1355665"/>
              <a:gd name="connsiteX22" fmla="*/ 64655 w 64655"/>
              <a:gd name="connsiteY22" fmla="*/ 267354 h 1355665"/>
              <a:gd name="connsiteX23" fmla="*/ 64655 w 64655"/>
              <a:gd name="connsiteY23" fmla="*/ 430450 h 1355665"/>
              <a:gd name="connsiteX24" fmla="*/ 32962 w 64655"/>
              <a:gd name="connsiteY24" fmla="*/ 462821 h 1355665"/>
              <a:gd name="connsiteX25" fmla="*/ 0 w 64655"/>
              <a:gd name="connsiteY25" fmla="*/ 430450 h 1355665"/>
              <a:gd name="connsiteX26" fmla="*/ 0 w 64655"/>
              <a:gd name="connsiteY26" fmla="*/ 267354 h 1355665"/>
              <a:gd name="connsiteX27" fmla="*/ 32962 w 64655"/>
              <a:gd name="connsiteY27" fmla="*/ 236228 h 1355665"/>
              <a:gd name="connsiteX28" fmla="*/ 32962 w 64655"/>
              <a:gd name="connsiteY28" fmla="*/ 0 h 1355665"/>
              <a:gd name="connsiteX29" fmla="*/ 64655 w 64655"/>
              <a:gd name="connsiteY29" fmla="*/ 30657 h 1355665"/>
              <a:gd name="connsiteX30" fmla="*/ 64655 w 64655"/>
              <a:gd name="connsiteY30" fmla="*/ 105459 h 1355665"/>
              <a:gd name="connsiteX31" fmla="*/ 32962 w 64655"/>
              <a:gd name="connsiteY31" fmla="*/ 136116 h 1355665"/>
              <a:gd name="connsiteX32" fmla="*/ 0 w 64655"/>
              <a:gd name="connsiteY32" fmla="*/ 105459 h 1355665"/>
              <a:gd name="connsiteX33" fmla="*/ 0 w 64655"/>
              <a:gd name="connsiteY33" fmla="*/ 30657 h 1355665"/>
              <a:gd name="connsiteX34" fmla="*/ 32962 w 64655"/>
              <a:gd name="connsiteY34" fmla="*/ 0 h 135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5" h="1355665">
                <a:moveTo>
                  <a:pt x="32962" y="1214095"/>
                </a:moveTo>
                <a:cubicBezTo>
                  <a:pt x="49442" y="1214095"/>
                  <a:pt x="64655" y="1227999"/>
                  <a:pt x="64655" y="1245696"/>
                </a:cubicBezTo>
                <a:lnTo>
                  <a:pt x="64655" y="1322801"/>
                </a:lnTo>
                <a:cubicBezTo>
                  <a:pt x="64655" y="1340497"/>
                  <a:pt x="49442" y="1355665"/>
                  <a:pt x="32962" y="1355665"/>
                </a:cubicBezTo>
                <a:cubicBezTo>
                  <a:pt x="15213" y="1355665"/>
                  <a:pt x="0" y="1340497"/>
                  <a:pt x="0" y="1322801"/>
                </a:cubicBezTo>
                <a:lnTo>
                  <a:pt x="0" y="1245696"/>
                </a:lnTo>
                <a:cubicBezTo>
                  <a:pt x="0" y="1227999"/>
                  <a:pt x="15213" y="1214095"/>
                  <a:pt x="32962" y="1214095"/>
                </a:cubicBezTo>
                <a:close/>
                <a:moveTo>
                  <a:pt x="32962" y="888615"/>
                </a:moveTo>
                <a:cubicBezTo>
                  <a:pt x="49442" y="888615"/>
                  <a:pt x="64655" y="902310"/>
                  <a:pt x="64655" y="919740"/>
                </a:cubicBezTo>
                <a:lnTo>
                  <a:pt x="64655" y="1081592"/>
                </a:lnTo>
                <a:cubicBezTo>
                  <a:pt x="64655" y="1099022"/>
                  <a:pt x="49442" y="1113962"/>
                  <a:pt x="32962" y="1113962"/>
                </a:cubicBezTo>
                <a:cubicBezTo>
                  <a:pt x="15213" y="1113962"/>
                  <a:pt x="0" y="1099022"/>
                  <a:pt x="0" y="1081592"/>
                </a:cubicBezTo>
                <a:lnTo>
                  <a:pt x="0" y="919740"/>
                </a:lnTo>
                <a:cubicBezTo>
                  <a:pt x="0" y="902310"/>
                  <a:pt x="15213" y="888615"/>
                  <a:pt x="32962" y="888615"/>
                </a:cubicBezTo>
                <a:close/>
                <a:moveTo>
                  <a:pt x="32962" y="561177"/>
                </a:moveTo>
                <a:cubicBezTo>
                  <a:pt x="49442" y="561177"/>
                  <a:pt x="64655" y="576117"/>
                  <a:pt x="64655" y="593547"/>
                </a:cubicBezTo>
                <a:lnTo>
                  <a:pt x="64655" y="756644"/>
                </a:lnTo>
                <a:cubicBezTo>
                  <a:pt x="64655" y="774074"/>
                  <a:pt x="49442" y="787769"/>
                  <a:pt x="32962" y="787769"/>
                </a:cubicBezTo>
                <a:cubicBezTo>
                  <a:pt x="15213" y="787769"/>
                  <a:pt x="0" y="774074"/>
                  <a:pt x="0" y="756644"/>
                </a:cubicBezTo>
                <a:lnTo>
                  <a:pt x="0" y="593547"/>
                </a:lnTo>
                <a:cubicBezTo>
                  <a:pt x="0" y="576117"/>
                  <a:pt x="15213" y="561177"/>
                  <a:pt x="32962" y="561177"/>
                </a:cubicBezTo>
                <a:close/>
                <a:moveTo>
                  <a:pt x="32962" y="236228"/>
                </a:moveTo>
                <a:cubicBezTo>
                  <a:pt x="49442" y="236228"/>
                  <a:pt x="64655" y="249923"/>
                  <a:pt x="64655" y="267354"/>
                </a:cubicBezTo>
                <a:lnTo>
                  <a:pt x="64655" y="430450"/>
                </a:lnTo>
                <a:cubicBezTo>
                  <a:pt x="64655" y="447880"/>
                  <a:pt x="49442" y="462821"/>
                  <a:pt x="32962" y="462821"/>
                </a:cubicBezTo>
                <a:cubicBezTo>
                  <a:pt x="15213" y="462821"/>
                  <a:pt x="0" y="447880"/>
                  <a:pt x="0" y="430450"/>
                </a:cubicBezTo>
                <a:lnTo>
                  <a:pt x="0" y="267354"/>
                </a:lnTo>
                <a:cubicBezTo>
                  <a:pt x="0" y="249923"/>
                  <a:pt x="15213" y="236228"/>
                  <a:pt x="32962" y="236228"/>
                </a:cubicBezTo>
                <a:close/>
                <a:moveTo>
                  <a:pt x="32962" y="0"/>
                </a:moveTo>
                <a:cubicBezTo>
                  <a:pt x="49442" y="0"/>
                  <a:pt x="64655" y="13489"/>
                  <a:pt x="64655" y="30657"/>
                </a:cubicBezTo>
                <a:lnTo>
                  <a:pt x="64655" y="105459"/>
                </a:lnTo>
                <a:cubicBezTo>
                  <a:pt x="64655" y="122627"/>
                  <a:pt x="49442" y="136116"/>
                  <a:pt x="32962" y="136116"/>
                </a:cubicBezTo>
                <a:cubicBezTo>
                  <a:pt x="15213" y="136116"/>
                  <a:pt x="0" y="122627"/>
                  <a:pt x="0" y="105459"/>
                </a:cubicBezTo>
                <a:lnTo>
                  <a:pt x="0" y="30657"/>
                </a:lnTo>
                <a:cubicBezTo>
                  <a:pt x="0" y="13489"/>
                  <a:pt x="15213" y="0"/>
                  <a:pt x="32962" y="0"/>
                </a:cubicBezTo>
                <a:close/>
              </a:path>
            </a:pathLst>
          </a:custGeom>
          <a:solidFill>
            <a:schemeClr val="accent4">
              <a:lumMod val="75000"/>
            </a:schemeClr>
          </a:solidFill>
          <a:ln w="28575">
            <a:solidFill>
              <a:schemeClr val="accent4">
                <a:lumMod val="75000"/>
              </a:schemeClr>
            </a:solid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942393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04059E-38F3-4682-A449-1A3F0D40614B}"/>
              </a:ext>
            </a:extLst>
          </p:cNvPr>
          <p:cNvSpPr>
            <a:spLocks noGrp="1"/>
          </p:cNvSpPr>
          <p:nvPr>
            <p:ph type="body" sz="quarter" idx="10"/>
          </p:nvPr>
        </p:nvSpPr>
        <p:spPr/>
        <p:txBody>
          <a:bodyPr/>
          <a:lstStyle/>
          <a:p>
            <a:pPr algn="l" rtl="0"/>
            <a:endParaRPr lang="en-US"/>
          </a:p>
        </p:txBody>
      </p:sp>
      <p:sp>
        <p:nvSpPr>
          <p:cNvPr id="3" name="Title 2">
            <a:extLst>
              <a:ext uri="{FF2B5EF4-FFF2-40B4-BE49-F238E27FC236}">
                <a16:creationId xmlns:a16="http://schemas.microsoft.com/office/drawing/2014/main" id="{FF705949-C936-4B92-8F14-D86B06005294}"/>
              </a:ext>
            </a:extLst>
          </p:cNvPr>
          <p:cNvSpPr>
            <a:spLocks noGrp="1"/>
          </p:cNvSpPr>
          <p:nvPr>
            <p:ph type="title"/>
          </p:nvPr>
        </p:nvSpPr>
        <p:spPr>
          <a:xfrm>
            <a:off x="1741359" y="211941"/>
            <a:ext cx="9418242" cy="731520"/>
          </a:xfrm>
        </p:spPr>
        <p:txBody>
          <a:bodyPr/>
          <a:lstStyle/>
          <a:p>
            <a:pPr algn="l" rtl="0"/>
            <a:r>
              <a:rPr lang="en-US" dirty="0"/>
              <a:t>Objectif A : Terminer le travail – Protéger les groupes prioritaires</a:t>
            </a:r>
          </a:p>
        </p:txBody>
      </p:sp>
      <p:sp>
        <p:nvSpPr>
          <p:cNvPr id="4" name="Subtitle 3">
            <a:extLst>
              <a:ext uri="{FF2B5EF4-FFF2-40B4-BE49-F238E27FC236}">
                <a16:creationId xmlns:a16="http://schemas.microsoft.com/office/drawing/2014/main" id="{D057F0E4-918C-41EB-B69C-421D1A4287F7}"/>
              </a:ext>
            </a:extLst>
          </p:cNvPr>
          <p:cNvSpPr>
            <a:spLocks noGrp="1"/>
          </p:cNvSpPr>
          <p:nvPr>
            <p:ph type="subTitle" idx="1"/>
          </p:nvPr>
        </p:nvSpPr>
        <p:spPr>
          <a:xfrm>
            <a:off x="554735" y="919249"/>
            <a:ext cx="7398819" cy="435098"/>
          </a:xfrm>
        </p:spPr>
        <p:txBody>
          <a:bodyPr/>
          <a:lstStyle/>
          <a:p>
            <a:pPr algn="l" rtl="0">
              <a:buNone/>
            </a:pPr>
            <a:br>
              <a:rPr lang="en-US" dirty="0"/>
            </a:br>
            <a:endParaRPr lang="en-US" dirty="0"/>
          </a:p>
          <a:p>
            <a:pPr algn="l" rtl="0">
              <a:buNone/>
            </a:pPr>
            <a:endParaRPr lang="en-US" dirty="0"/>
          </a:p>
        </p:txBody>
      </p:sp>
      <p:sp>
        <p:nvSpPr>
          <p:cNvPr id="6" name="Rectangle 5">
            <a:extLst>
              <a:ext uri="{FF2B5EF4-FFF2-40B4-BE49-F238E27FC236}">
                <a16:creationId xmlns:a16="http://schemas.microsoft.com/office/drawing/2014/main" id="{69A6AE75-FFBF-4B1A-9460-5A5E4993917A}"/>
              </a:ext>
            </a:extLst>
          </p:cNvPr>
          <p:cNvSpPr>
            <a:spLocks/>
          </p:cNvSpPr>
          <p:nvPr/>
        </p:nvSpPr>
        <p:spPr>
          <a:xfrm>
            <a:off x="1857375" y="2732341"/>
            <a:ext cx="9847114" cy="2053230"/>
          </a:xfrm>
          <a:prstGeom prst="rect">
            <a:avLst/>
          </a:prstGeom>
          <a:solidFill>
            <a:schemeClr val="accent3">
              <a:lumMod val="20000"/>
              <a:lumOff val="80000"/>
              <a:alpha val="2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algn="l" rtl="0">
              <a:spcBef>
                <a:spcPts val="300"/>
              </a:spcBef>
              <a:spcAft>
                <a:spcPts val="300"/>
              </a:spcAft>
            </a:pPr>
            <a:endParaRPr lang="de-DE" sz="1400" dirty="0" err="1">
              <a:solidFill>
                <a:srgbClr val="000000"/>
              </a:solidFill>
            </a:endParaRPr>
          </a:p>
        </p:txBody>
      </p:sp>
      <p:sp>
        <p:nvSpPr>
          <p:cNvPr id="7" name="Title 4">
            <a:extLst>
              <a:ext uri="{FF2B5EF4-FFF2-40B4-BE49-F238E27FC236}">
                <a16:creationId xmlns:a16="http://schemas.microsoft.com/office/drawing/2014/main" id="{5F8E6523-4FDC-4CE6-AAEF-BDFAF31590E5}"/>
              </a:ext>
            </a:extLst>
          </p:cNvPr>
          <p:cNvSpPr txBox="1">
            <a:spLocks/>
          </p:cNvSpPr>
          <p:nvPr/>
        </p:nvSpPr>
        <p:spPr>
          <a:xfrm>
            <a:off x="1653170" y="134291"/>
            <a:ext cx="9102813" cy="769441"/>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5"/>
                </a:solidFill>
                <a:latin typeface="+mj-lt"/>
                <a:ea typeface="+mj-ea"/>
                <a:cs typeface="+mj-cs"/>
              </a:defRPr>
            </a:lvl1pPr>
          </a:lstStyle>
          <a:p>
            <a:pPr algn="l" rtl="0">
              <a:buClrTx/>
              <a:buFontTx/>
            </a:pPr>
            <a:endParaRPr lang="en-US" dirty="0"/>
          </a:p>
        </p:txBody>
      </p:sp>
      <p:sp>
        <p:nvSpPr>
          <p:cNvPr id="8" name="Rectangle 7">
            <a:extLst>
              <a:ext uri="{FF2B5EF4-FFF2-40B4-BE49-F238E27FC236}">
                <a16:creationId xmlns:a16="http://schemas.microsoft.com/office/drawing/2014/main" id="{F291B310-15FB-4339-8E1F-9D85D7A01C74}"/>
              </a:ext>
            </a:extLst>
          </p:cNvPr>
          <p:cNvSpPr>
            <a:spLocks/>
          </p:cNvSpPr>
          <p:nvPr/>
        </p:nvSpPr>
        <p:spPr>
          <a:xfrm>
            <a:off x="224118" y="1580303"/>
            <a:ext cx="1842807" cy="449888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eaLnBrk="1" fontAlgn="auto" hangingPunct="1">
              <a:spcBef>
                <a:spcPts val="300"/>
              </a:spcBef>
              <a:spcAft>
                <a:spcPts val="300"/>
              </a:spcAft>
            </a:pPr>
            <a:r>
              <a:rPr lang="en-US" sz="1200" b="1" dirty="0">
                <a:solidFill>
                  <a:srgbClr val="FFFFFF"/>
                </a:solidFill>
              </a:rPr>
              <a:t>Services de vaccination dans les établissements de soins de santé primaires</a:t>
            </a:r>
            <a:endParaRPr lang="en-GB" sz="1200" b="1" dirty="0">
              <a:solidFill>
                <a:srgbClr val="FFFFFF"/>
              </a:solidFill>
            </a:endParaRPr>
          </a:p>
        </p:txBody>
      </p:sp>
      <p:sp>
        <p:nvSpPr>
          <p:cNvPr id="9" name="TextBox 8">
            <a:extLst>
              <a:ext uri="{FF2B5EF4-FFF2-40B4-BE49-F238E27FC236}">
                <a16:creationId xmlns:a16="http://schemas.microsoft.com/office/drawing/2014/main" id="{30248172-83E5-4281-9683-10E50A364D35}"/>
              </a:ext>
            </a:extLst>
          </p:cNvPr>
          <p:cNvSpPr txBox="1"/>
          <p:nvPr/>
        </p:nvSpPr>
        <p:spPr>
          <a:xfrm>
            <a:off x="2181225" y="1698002"/>
            <a:ext cx="9523264" cy="4501232"/>
          </a:xfrm>
          <a:prstGeom prst="rect">
            <a:avLst/>
          </a:prstGeom>
          <a:noFill/>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lvl="1" indent="0" algn="l" rtl="0">
              <a:spcAft>
                <a:spcPts val="600"/>
              </a:spcAft>
              <a:buClr>
                <a:srgbClr val="000000"/>
              </a:buClr>
              <a:buNone/>
              <a:tabLst>
                <a:tab pos="457200" algn="l"/>
              </a:tabLst>
              <a:defRPr/>
            </a:pPr>
            <a:r>
              <a:rPr lang="en-GB" sz="2000" kern="1200" dirty="0">
                <a:latin typeface="+mj-lt"/>
                <a:ea typeface="+mn-ea"/>
                <a:cs typeface="+mn-cs"/>
              </a:rPr>
              <a:t>Soutenir la mise à jour des plans nationaux de vaccination pour intégrer la vaccination contre le COVID-19 dans l'IR tout en renforçant les systèmes de santé</a:t>
            </a:r>
          </a:p>
          <a:p>
            <a:pPr marL="0" lvl="1" indent="0" algn="l" rtl="0">
              <a:spcAft>
                <a:spcPts val="600"/>
              </a:spcAft>
              <a:buClr>
                <a:srgbClr val="000000"/>
              </a:buClr>
              <a:buNone/>
              <a:tabLst>
                <a:tab pos="457200" algn="l"/>
              </a:tabLst>
              <a:defRPr/>
            </a:pPr>
            <a:r>
              <a:rPr lang="en-GB" sz="2000" kern="1200" dirty="0">
                <a:latin typeface="+mj-lt"/>
                <a:ea typeface="+mn-ea"/>
                <a:cs typeface="+mn-cs"/>
              </a:rPr>
              <a:t>Renforcement des capacités des agents de santé en matière de prestation de services intégrés</a:t>
            </a:r>
          </a:p>
          <a:p>
            <a:pPr marL="0" lvl="1" indent="0" algn="l" rtl="0">
              <a:spcAft>
                <a:spcPts val="600"/>
              </a:spcAft>
              <a:buClr>
                <a:srgbClr val="000000"/>
              </a:buClr>
              <a:buNone/>
              <a:tabLst>
                <a:tab pos="457200" algn="l"/>
              </a:tabLst>
              <a:defRPr/>
            </a:pPr>
            <a:r>
              <a:rPr lang="en-US" sz="2000" kern="1200" dirty="0">
                <a:latin typeface="+mj-lt"/>
                <a:ea typeface="+mn-ea"/>
                <a:cs typeface="+mn-cs"/>
              </a:rPr>
              <a:t>Fournir des services de vaccination intégrés dans les institutions et dans les zones difficiles d'accès</a:t>
            </a:r>
          </a:p>
          <a:p>
            <a:pPr marL="0" lvl="1" indent="0" algn="l" rtl="0">
              <a:spcAft>
                <a:spcPts val="600"/>
              </a:spcAft>
              <a:buClr>
                <a:srgbClr val="000000"/>
              </a:buClr>
              <a:buNone/>
              <a:tabLst>
                <a:tab pos="457200" algn="l"/>
              </a:tabLst>
              <a:defRPr/>
            </a:pPr>
            <a:r>
              <a:rPr lang="en-US" sz="2000" kern="1200" dirty="0">
                <a:latin typeface="+mj-lt"/>
                <a:ea typeface="+mn-ea"/>
                <a:cs typeface="+mn-cs"/>
              </a:rPr>
              <a:t>Faciliter les équipes mobiles pour mener des campagnes de vaccination intégrées</a:t>
            </a:r>
          </a:p>
          <a:p>
            <a:pPr marL="0" lvl="1" indent="0" algn="l" rtl="0">
              <a:spcAft>
                <a:spcPts val="600"/>
              </a:spcAft>
              <a:buClr>
                <a:srgbClr val="000000"/>
              </a:buClr>
              <a:buNone/>
              <a:tabLst>
                <a:tab pos="457200" algn="l"/>
              </a:tabLst>
              <a:defRPr/>
            </a:pPr>
            <a:r>
              <a:rPr lang="en-GB" sz="2000" kern="1200" dirty="0">
                <a:latin typeface="+mj-lt"/>
                <a:ea typeface="+mn-ea"/>
                <a:cs typeface="+mn-cs"/>
              </a:rPr>
              <a:t>Procurer les fournitures nécessaires à la prestation de services, telles que la chaîne du froid et d'autres équipements.</a:t>
            </a:r>
          </a:p>
          <a:p>
            <a:pPr marL="0" lvl="1" indent="0" algn="l" rtl="0">
              <a:spcAft>
                <a:spcPts val="600"/>
              </a:spcAft>
              <a:buClr>
                <a:srgbClr val="000000"/>
              </a:buClr>
              <a:buNone/>
              <a:tabLst>
                <a:tab pos="457200" algn="l"/>
              </a:tabLst>
              <a:defRPr/>
            </a:pPr>
            <a:r>
              <a:rPr lang="en-GB" sz="2000" kern="1200" dirty="0">
                <a:latin typeface="+mj-lt"/>
                <a:ea typeface="+mn-ea"/>
                <a:cs typeface="+mn-cs"/>
              </a:rPr>
              <a:t>Renforcer les outils de collecte de données existants pour permettre la capture des données</a:t>
            </a:r>
          </a:p>
          <a:p>
            <a:pPr algn="l" rtl="0">
              <a:buNone/>
            </a:pPr>
            <a:r>
              <a:rPr lang="en-US" sz="2000" kern="1200" dirty="0">
                <a:latin typeface="+mj-lt"/>
                <a:ea typeface="+mn-ea"/>
                <a:cs typeface="+mn-cs"/>
              </a:rPr>
              <a:t>Identifier la liste d'attente et suivre tous les enfants sans dose et ceux qui ont abandonné avec des vaccins salvateurs vivants</a:t>
            </a:r>
          </a:p>
        </p:txBody>
      </p:sp>
      <p:cxnSp>
        <p:nvCxnSpPr>
          <p:cNvPr id="10" name="Straight Connector 9">
            <a:extLst>
              <a:ext uri="{FF2B5EF4-FFF2-40B4-BE49-F238E27FC236}">
                <a16:creationId xmlns:a16="http://schemas.microsoft.com/office/drawing/2014/main" id="{6976740C-436C-4359-94A4-0D1C33939C3C}"/>
              </a:ext>
            </a:extLst>
          </p:cNvPr>
          <p:cNvCxnSpPr>
            <a:cxnSpLocks/>
          </p:cNvCxnSpPr>
          <p:nvPr/>
        </p:nvCxnSpPr>
        <p:spPr>
          <a:xfrm>
            <a:off x="224118" y="1517445"/>
            <a:ext cx="11704320" cy="392"/>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03C529B-8FD1-4AB8-BEBC-FC5D76F4032D}"/>
              </a:ext>
            </a:extLst>
          </p:cNvPr>
          <p:cNvSpPr txBox="1">
            <a:spLocks/>
          </p:cNvSpPr>
          <p:nvPr/>
        </p:nvSpPr>
        <p:spPr>
          <a:xfrm>
            <a:off x="224118" y="1302265"/>
            <a:ext cx="1082870"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cteur d'activité</a:t>
            </a:r>
          </a:p>
        </p:txBody>
      </p:sp>
      <p:sp>
        <p:nvSpPr>
          <p:cNvPr id="12" name="TextBox 11">
            <a:extLst>
              <a:ext uri="{FF2B5EF4-FFF2-40B4-BE49-F238E27FC236}">
                <a16:creationId xmlns:a16="http://schemas.microsoft.com/office/drawing/2014/main" id="{65364D5F-6482-4E84-8BB5-F1EFD9B21FBC}"/>
              </a:ext>
            </a:extLst>
          </p:cNvPr>
          <p:cNvSpPr txBox="1">
            <a:spLocks/>
          </p:cNvSpPr>
          <p:nvPr/>
        </p:nvSpPr>
        <p:spPr>
          <a:xfrm>
            <a:off x="1857375" y="1302265"/>
            <a:ext cx="9856089"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tivité</a:t>
            </a:r>
          </a:p>
        </p:txBody>
      </p:sp>
      <p:cxnSp>
        <p:nvCxnSpPr>
          <p:cNvPr id="20" name="Straight Connector 19">
            <a:extLst>
              <a:ext uri="{FF2B5EF4-FFF2-40B4-BE49-F238E27FC236}">
                <a16:creationId xmlns:a16="http://schemas.microsoft.com/office/drawing/2014/main" id="{E1713807-7300-47CF-A765-9611D1B9419B}"/>
              </a:ext>
            </a:extLst>
          </p:cNvPr>
          <p:cNvCxnSpPr>
            <a:cxnSpLocks/>
          </p:cNvCxnSpPr>
          <p:nvPr/>
        </p:nvCxnSpPr>
        <p:spPr>
          <a:xfrm>
            <a:off x="278839" y="6280466"/>
            <a:ext cx="11704320" cy="392"/>
          </a:xfrm>
          <a:prstGeom prst="line">
            <a:avLst/>
          </a:prstGeom>
          <a:ln w="6350" cap="flat">
            <a:solidFill>
              <a:schemeClr val="bg1">
                <a:lumMod val="6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15381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04059E-38F3-4682-A449-1A3F0D40614B}"/>
              </a:ext>
            </a:extLst>
          </p:cNvPr>
          <p:cNvSpPr>
            <a:spLocks noGrp="1"/>
          </p:cNvSpPr>
          <p:nvPr>
            <p:ph type="body" sz="quarter" idx="10"/>
          </p:nvPr>
        </p:nvSpPr>
        <p:spPr/>
        <p:txBody>
          <a:bodyPr/>
          <a:lstStyle/>
          <a:p>
            <a:pPr algn="l" rtl="0"/>
            <a:endParaRPr lang="en-US"/>
          </a:p>
        </p:txBody>
      </p:sp>
      <p:sp>
        <p:nvSpPr>
          <p:cNvPr id="3" name="Title 2">
            <a:extLst>
              <a:ext uri="{FF2B5EF4-FFF2-40B4-BE49-F238E27FC236}">
                <a16:creationId xmlns:a16="http://schemas.microsoft.com/office/drawing/2014/main" id="{FF705949-C936-4B92-8F14-D86B06005294}"/>
              </a:ext>
            </a:extLst>
          </p:cNvPr>
          <p:cNvSpPr>
            <a:spLocks noGrp="1"/>
          </p:cNvSpPr>
          <p:nvPr>
            <p:ph type="title"/>
          </p:nvPr>
        </p:nvSpPr>
        <p:spPr>
          <a:xfrm>
            <a:off x="1800225" y="74280"/>
            <a:ext cx="9355489" cy="731520"/>
          </a:xfrm>
        </p:spPr>
        <p:txBody>
          <a:bodyPr/>
          <a:lstStyle/>
          <a:p>
            <a:pPr algn="l" rtl="0"/>
            <a:r>
              <a:rPr lang="en-US" dirty="0"/>
              <a:t>Objectif A : Terminer le travail – Protéger les groupes prioritaires</a:t>
            </a:r>
          </a:p>
        </p:txBody>
      </p:sp>
      <p:sp>
        <p:nvSpPr>
          <p:cNvPr id="4" name="Subtitle 3">
            <a:extLst>
              <a:ext uri="{FF2B5EF4-FFF2-40B4-BE49-F238E27FC236}">
                <a16:creationId xmlns:a16="http://schemas.microsoft.com/office/drawing/2014/main" id="{D057F0E4-918C-41EB-B69C-421D1A4287F7}"/>
              </a:ext>
            </a:extLst>
          </p:cNvPr>
          <p:cNvSpPr>
            <a:spLocks noGrp="1"/>
          </p:cNvSpPr>
          <p:nvPr>
            <p:ph type="subTitle" idx="1"/>
          </p:nvPr>
        </p:nvSpPr>
        <p:spPr>
          <a:xfrm>
            <a:off x="554735" y="919249"/>
            <a:ext cx="7398819" cy="435098"/>
          </a:xfrm>
        </p:spPr>
        <p:txBody>
          <a:bodyPr/>
          <a:lstStyle/>
          <a:p>
            <a:pPr algn="l" rtl="0">
              <a:buNone/>
            </a:pPr>
            <a:br>
              <a:rPr lang="en-US" dirty="0"/>
            </a:br>
            <a:endParaRPr lang="en-US" dirty="0"/>
          </a:p>
          <a:p>
            <a:pPr algn="l" rtl="0">
              <a:buNone/>
            </a:pPr>
            <a:endParaRPr lang="en-US" dirty="0"/>
          </a:p>
        </p:txBody>
      </p:sp>
      <p:sp>
        <p:nvSpPr>
          <p:cNvPr id="6" name="Rectangle 5">
            <a:extLst>
              <a:ext uri="{FF2B5EF4-FFF2-40B4-BE49-F238E27FC236}">
                <a16:creationId xmlns:a16="http://schemas.microsoft.com/office/drawing/2014/main" id="{69A6AE75-FFBF-4B1A-9460-5A5E4993917A}"/>
              </a:ext>
            </a:extLst>
          </p:cNvPr>
          <p:cNvSpPr>
            <a:spLocks/>
          </p:cNvSpPr>
          <p:nvPr/>
        </p:nvSpPr>
        <p:spPr>
          <a:xfrm>
            <a:off x="1857375" y="2579942"/>
            <a:ext cx="9847114" cy="2053230"/>
          </a:xfrm>
          <a:prstGeom prst="rect">
            <a:avLst/>
          </a:prstGeom>
          <a:solidFill>
            <a:schemeClr val="accent3">
              <a:lumMod val="20000"/>
              <a:lumOff val="80000"/>
              <a:alpha val="2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algn="l" rtl="0">
              <a:spcBef>
                <a:spcPts val="300"/>
              </a:spcBef>
              <a:spcAft>
                <a:spcPts val="300"/>
              </a:spcAft>
            </a:pPr>
            <a:endParaRPr lang="de-DE" sz="1400" dirty="0" err="1">
              <a:solidFill>
                <a:srgbClr val="000000"/>
              </a:solidFill>
            </a:endParaRPr>
          </a:p>
        </p:txBody>
      </p:sp>
      <p:sp>
        <p:nvSpPr>
          <p:cNvPr id="7" name="Title 4">
            <a:extLst>
              <a:ext uri="{FF2B5EF4-FFF2-40B4-BE49-F238E27FC236}">
                <a16:creationId xmlns:a16="http://schemas.microsoft.com/office/drawing/2014/main" id="{5F8E6523-4FDC-4CE6-AAEF-BDFAF31590E5}"/>
              </a:ext>
            </a:extLst>
          </p:cNvPr>
          <p:cNvSpPr txBox="1">
            <a:spLocks/>
          </p:cNvSpPr>
          <p:nvPr/>
        </p:nvSpPr>
        <p:spPr>
          <a:xfrm>
            <a:off x="1653170" y="134291"/>
            <a:ext cx="9102813" cy="769441"/>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5"/>
                </a:solidFill>
                <a:latin typeface="+mj-lt"/>
                <a:ea typeface="+mj-ea"/>
                <a:cs typeface="+mj-cs"/>
              </a:defRPr>
            </a:lvl1pPr>
          </a:lstStyle>
          <a:p>
            <a:pPr algn="l" rtl="0">
              <a:buClrTx/>
              <a:buFontTx/>
            </a:pPr>
            <a:endParaRPr lang="en-US" dirty="0"/>
          </a:p>
        </p:txBody>
      </p:sp>
      <p:sp>
        <p:nvSpPr>
          <p:cNvPr id="8" name="Rectangle 7">
            <a:extLst>
              <a:ext uri="{FF2B5EF4-FFF2-40B4-BE49-F238E27FC236}">
                <a16:creationId xmlns:a16="http://schemas.microsoft.com/office/drawing/2014/main" id="{F291B310-15FB-4339-8E1F-9D85D7A01C74}"/>
              </a:ext>
            </a:extLst>
          </p:cNvPr>
          <p:cNvSpPr>
            <a:spLocks/>
          </p:cNvSpPr>
          <p:nvPr/>
        </p:nvSpPr>
        <p:spPr>
          <a:xfrm>
            <a:off x="224118" y="1427904"/>
            <a:ext cx="1429053" cy="474598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eaLnBrk="1" fontAlgn="auto" hangingPunct="1">
              <a:spcBef>
                <a:spcPts val="300"/>
              </a:spcBef>
              <a:spcAft>
                <a:spcPts val="300"/>
              </a:spcAft>
            </a:pPr>
            <a:r>
              <a:rPr lang="en-US" b="1" dirty="0">
                <a:solidFill>
                  <a:srgbClr val="FFFFFF"/>
                </a:solidFill>
              </a:rPr>
              <a:t>RCCE pour le programme intégré de vaccination des adultes</a:t>
            </a:r>
            <a:endParaRPr lang="en-GB" b="1" dirty="0">
              <a:solidFill>
                <a:srgbClr val="FFFFFF"/>
              </a:solidFill>
            </a:endParaRPr>
          </a:p>
        </p:txBody>
      </p:sp>
      <p:sp>
        <p:nvSpPr>
          <p:cNvPr id="9" name="TextBox 8">
            <a:extLst>
              <a:ext uri="{FF2B5EF4-FFF2-40B4-BE49-F238E27FC236}">
                <a16:creationId xmlns:a16="http://schemas.microsoft.com/office/drawing/2014/main" id="{30248172-83E5-4281-9683-10E50A364D35}"/>
              </a:ext>
            </a:extLst>
          </p:cNvPr>
          <p:cNvSpPr txBox="1"/>
          <p:nvPr/>
        </p:nvSpPr>
        <p:spPr>
          <a:xfrm>
            <a:off x="1800225" y="1398911"/>
            <a:ext cx="9847114" cy="4339650"/>
          </a:xfrm>
          <a:prstGeom prst="rect">
            <a:avLst/>
          </a:prstGeom>
          <a:noFill/>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algn="l" rtl="0">
              <a:buNone/>
            </a:pPr>
            <a:r>
              <a:rPr lang="en-US" kern="1200" dirty="0">
                <a:latin typeface="+mj-lt"/>
                <a:ea typeface="+mn-ea"/>
                <a:cs typeface="+mn-cs"/>
              </a:rPr>
              <a:t>Élaborer une stratégie de communication intégrée sur la vaccination</a:t>
            </a:r>
          </a:p>
          <a:p>
            <a:pPr algn="l" rtl="0">
              <a:buNone/>
            </a:pPr>
            <a:r>
              <a:rPr lang="en-US" kern="1200" dirty="0">
                <a:latin typeface="+mj-lt"/>
                <a:ea typeface="+mn-ea"/>
                <a:cs typeface="+mn-cs"/>
              </a:rPr>
              <a:t>Examiner/mettre à jour les supports de communication et les politiques sur le changement de comportement social sur les services de vaccination de routine afin d'intégrer le COVID 19 et d'autres vaccins.</a:t>
            </a:r>
          </a:p>
          <a:p>
            <a:pPr algn="l" rtl="0">
              <a:buNone/>
            </a:pPr>
            <a:r>
              <a:rPr lang="en-US" kern="1200" dirty="0">
                <a:latin typeface="+mj-lt"/>
                <a:ea typeface="+mn-ea"/>
                <a:cs typeface="+mn-cs"/>
              </a:rPr>
              <a:t>Formation des praticiens </a:t>
            </a:r>
            <a:r>
              <a:rPr lang="en-US" kern="1200">
                <a:latin typeface="+mj-lt"/>
                <a:ea typeface="+mn-ea"/>
                <a:cs typeface="+mn-cs"/>
              </a:rPr>
              <a:t>et des ASB </a:t>
            </a:r>
            <a:r>
              <a:rPr lang="en-US" kern="1200" dirty="0">
                <a:latin typeface="+mj-lt"/>
                <a:ea typeface="+mn-ea"/>
                <a:cs typeface="+mn-cs"/>
              </a:rPr>
              <a:t>du RCCE à tous les niveaux sur la sensibilisation et le reporting communautaires</a:t>
            </a:r>
          </a:p>
          <a:p>
            <a:pPr algn="l" rtl="0">
              <a:buNone/>
            </a:pPr>
            <a:r>
              <a:rPr lang="en-GB" kern="1200" dirty="0">
                <a:latin typeface="+mj-lt"/>
              </a:rPr>
              <a:t>Développer des outils et des activités de communication pour soutenir le plaidoyer en faveur de l'adoption du vaccin auprès des groupes prioritaires et l'engagement communautaire</a:t>
            </a:r>
            <a:endParaRPr lang="en-US" kern="1200" dirty="0">
              <a:latin typeface="+mj-lt"/>
              <a:ea typeface="+mn-ea"/>
              <a:cs typeface="+mn-cs"/>
            </a:endParaRPr>
          </a:p>
          <a:p>
            <a:pPr algn="l" rtl="0">
              <a:buNone/>
            </a:pPr>
            <a:r>
              <a:rPr lang="en-GB" kern="1200" dirty="0">
                <a:latin typeface="+mj-lt"/>
              </a:rPr>
              <a:t>Tirer parti des plateformes existantes dans le pays et dans la communauté pour sensibiliser à la vaccination</a:t>
            </a:r>
            <a:endParaRPr lang="en-US" kern="1200" dirty="0">
              <a:latin typeface="+mj-lt"/>
              <a:ea typeface="+mn-ea"/>
              <a:cs typeface="+mn-cs"/>
            </a:endParaRPr>
          </a:p>
          <a:p>
            <a:pPr algn="l" rtl="0">
              <a:buNone/>
            </a:pPr>
            <a:r>
              <a:rPr lang="en-US" kern="1200" dirty="0">
                <a:latin typeface="+mj-lt"/>
                <a:ea typeface="+mn-ea"/>
                <a:cs typeface="+mn-cs"/>
              </a:rPr>
              <a:t>Sensibilisation et plaidoyer auprès des dirigeants de haut niveau aux niveaux national et infranational pour promouvoir la vaccination</a:t>
            </a:r>
          </a:p>
          <a:p>
            <a:pPr algn="l" rtl="0">
              <a:buNone/>
            </a:pPr>
            <a:r>
              <a:rPr lang="en-GB" kern="1200" dirty="0">
                <a:latin typeface="+mj-lt"/>
              </a:rPr>
              <a:t>Préparer des communications adaptées (pour les groupes prioritaires) et pertinentes concernant le COVID-19</a:t>
            </a:r>
            <a:endParaRPr lang="en-US" kern="1200" dirty="0">
              <a:latin typeface="+mj-lt"/>
              <a:ea typeface="+mn-ea"/>
              <a:cs typeface="+mn-cs"/>
            </a:endParaRPr>
          </a:p>
          <a:p>
            <a:pPr algn="l" rtl="0">
              <a:buNone/>
            </a:pPr>
            <a:r>
              <a:rPr lang="en-US" kern="1200" dirty="0">
                <a:latin typeface="+mj-lt"/>
                <a:ea typeface="+mn-ea"/>
                <a:cs typeface="+mn-cs"/>
              </a:rPr>
              <a:t>Conduire</a:t>
            </a:r>
            <a:r>
              <a:rPr lang="en-US" kern="1200" dirty="0">
                <a:solidFill>
                  <a:schemeClr val="tx1"/>
                </a:solidFill>
                <a:cs typeface="Arial"/>
              </a:rPr>
              <a:t>campagnes</a:t>
            </a:r>
            <a:r>
              <a:rPr lang="en-US" kern="1200" dirty="0">
                <a:latin typeface="+mj-lt"/>
                <a:ea typeface="+mn-ea"/>
                <a:cs typeface="+mn-cs"/>
              </a:rPr>
              <a:t>à la radio et à la télévision sur la vaccination intégrée</a:t>
            </a:r>
          </a:p>
          <a:p>
            <a:pPr algn="l" rtl="0">
              <a:buNone/>
            </a:pPr>
            <a:r>
              <a:rPr lang="en-US" kern="1200" dirty="0">
                <a:solidFill>
                  <a:schemeClr val="tx1"/>
                </a:solidFill>
                <a:cs typeface="Arial"/>
              </a:rPr>
              <a:t>Établir des systèmes de retour d'information, y compris des systèmes de retour d'information communautaire, pour surveiller, évaluer et adapter en permanence les stratégies de vaccination</a:t>
            </a:r>
            <a:r>
              <a:rPr lang="en-US" sz="1800" kern="1200" dirty="0">
                <a:solidFill>
                  <a:schemeClr val="tx1"/>
                </a:solidFill>
                <a:cs typeface="Arial"/>
              </a:rPr>
              <a:t>.</a:t>
            </a:r>
            <a:endParaRPr lang="en-GB" sz="1800" kern="1200" dirty="0">
              <a:solidFill>
                <a:schemeClr val="tx1"/>
              </a:solidFill>
              <a:cs typeface="Arial"/>
            </a:endParaRPr>
          </a:p>
        </p:txBody>
      </p:sp>
      <p:cxnSp>
        <p:nvCxnSpPr>
          <p:cNvPr id="10" name="Straight Connector 9">
            <a:extLst>
              <a:ext uri="{FF2B5EF4-FFF2-40B4-BE49-F238E27FC236}">
                <a16:creationId xmlns:a16="http://schemas.microsoft.com/office/drawing/2014/main" id="{6976740C-436C-4359-94A4-0D1C33939C3C}"/>
              </a:ext>
            </a:extLst>
          </p:cNvPr>
          <p:cNvCxnSpPr>
            <a:cxnSpLocks/>
          </p:cNvCxnSpPr>
          <p:nvPr/>
        </p:nvCxnSpPr>
        <p:spPr>
          <a:xfrm>
            <a:off x="224118" y="1389566"/>
            <a:ext cx="11704320" cy="392"/>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03C529B-8FD1-4AB8-BEBC-FC5D76F4032D}"/>
              </a:ext>
            </a:extLst>
          </p:cNvPr>
          <p:cNvSpPr txBox="1">
            <a:spLocks/>
          </p:cNvSpPr>
          <p:nvPr/>
        </p:nvSpPr>
        <p:spPr>
          <a:xfrm>
            <a:off x="224118" y="1140521"/>
            <a:ext cx="1082870"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cteur d'activité</a:t>
            </a:r>
          </a:p>
        </p:txBody>
      </p:sp>
      <p:sp>
        <p:nvSpPr>
          <p:cNvPr id="12" name="TextBox 11">
            <a:extLst>
              <a:ext uri="{FF2B5EF4-FFF2-40B4-BE49-F238E27FC236}">
                <a16:creationId xmlns:a16="http://schemas.microsoft.com/office/drawing/2014/main" id="{65364D5F-6482-4E84-8BB5-F1EFD9B21FBC}"/>
              </a:ext>
            </a:extLst>
          </p:cNvPr>
          <p:cNvSpPr txBox="1">
            <a:spLocks/>
          </p:cNvSpPr>
          <p:nvPr/>
        </p:nvSpPr>
        <p:spPr>
          <a:xfrm>
            <a:off x="1800225" y="1149866"/>
            <a:ext cx="9856089"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tivité</a:t>
            </a:r>
          </a:p>
        </p:txBody>
      </p:sp>
      <p:cxnSp>
        <p:nvCxnSpPr>
          <p:cNvPr id="20" name="Straight Connector 19">
            <a:extLst>
              <a:ext uri="{FF2B5EF4-FFF2-40B4-BE49-F238E27FC236}">
                <a16:creationId xmlns:a16="http://schemas.microsoft.com/office/drawing/2014/main" id="{E1713807-7300-47CF-A765-9611D1B9419B}"/>
              </a:ext>
            </a:extLst>
          </p:cNvPr>
          <p:cNvCxnSpPr>
            <a:cxnSpLocks/>
          </p:cNvCxnSpPr>
          <p:nvPr/>
        </p:nvCxnSpPr>
        <p:spPr>
          <a:xfrm>
            <a:off x="224118" y="6222163"/>
            <a:ext cx="11704320" cy="392"/>
          </a:xfrm>
          <a:prstGeom prst="line">
            <a:avLst/>
          </a:prstGeom>
          <a:ln w="6350" cap="flat">
            <a:solidFill>
              <a:schemeClr val="bg1">
                <a:lumMod val="6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89216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04059E-38F3-4682-A449-1A3F0D40614B}"/>
              </a:ext>
            </a:extLst>
          </p:cNvPr>
          <p:cNvSpPr>
            <a:spLocks noGrp="1"/>
          </p:cNvSpPr>
          <p:nvPr>
            <p:ph type="body" sz="quarter" idx="10"/>
          </p:nvPr>
        </p:nvSpPr>
        <p:spPr/>
        <p:txBody>
          <a:bodyPr/>
          <a:lstStyle/>
          <a:p>
            <a:pPr algn="l" rtl="0"/>
            <a:endParaRPr lang="en-US"/>
          </a:p>
        </p:txBody>
      </p:sp>
      <p:sp>
        <p:nvSpPr>
          <p:cNvPr id="3" name="Title 2">
            <a:extLst>
              <a:ext uri="{FF2B5EF4-FFF2-40B4-BE49-F238E27FC236}">
                <a16:creationId xmlns:a16="http://schemas.microsoft.com/office/drawing/2014/main" id="{FF705949-C936-4B92-8F14-D86B06005294}"/>
              </a:ext>
            </a:extLst>
          </p:cNvPr>
          <p:cNvSpPr>
            <a:spLocks noGrp="1"/>
          </p:cNvSpPr>
          <p:nvPr>
            <p:ph type="title"/>
          </p:nvPr>
        </p:nvSpPr>
        <p:spPr>
          <a:xfrm>
            <a:off x="1800225" y="119304"/>
            <a:ext cx="9714077" cy="731520"/>
          </a:xfrm>
        </p:spPr>
        <p:txBody>
          <a:bodyPr/>
          <a:lstStyle/>
          <a:p>
            <a:pPr algn="l" rtl="0"/>
            <a:r>
              <a:rPr lang="en-US" dirty="0"/>
              <a:t>Objectif A : Terminer le travail – Protéger les groupes prioritaires</a:t>
            </a:r>
          </a:p>
        </p:txBody>
      </p:sp>
      <p:sp>
        <p:nvSpPr>
          <p:cNvPr id="4" name="Subtitle 3">
            <a:extLst>
              <a:ext uri="{FF2B5EF4-FFF2-40B4-BE49-F238E27FC236}">
                <a16:creationId xmlns:a16="http://schemas.microsoft.com/office/drawing/2014/main" id="{D057F0E4-918C-41EB-B69C-421D1A4287F7}"/>
              </a:ext>
            </a:extLst>
          </p:cNvPr>
          <p:cNvSpPr>
            <a:spLocks noGrp="1"/>
          </p:cNvSpPr>
          <p:nvPr>
            <p:ph type="subTitle" idx="1"/>
          </p:nvPr>
        </p:nvSpPr>
        <p:spPr>
          <a:xfrm>
            <a:off x="554735" y="919249"/>
            <a:ext cx="7398819" cy="435098"/>
          </a:xfrm>
        </p:spPr>
        <p:txBody>
          <a:bodyPr/>
          <a:lstStyle/>
          <a:p>
            <a:pPr algn="l" rtl="0">
              <a:buNone/>
            </a:pPr>
            <a:br>
              <a:rPr lang="en-US" dirty="0"/>
            </a:br>
            <a:endParaRPr lang="en-US" dirty="0"/>
          </a:p>
          <a:p>
            <a:pPr algn="l" rtl="0">
              <a:buNone/>
            </a:pPr>
            <a:endParaRPr lang="en-US" dirty="0"/>
          </a:p>
        </p:txBody>
      </p:sp>
      <p:sp>
        <p:nvSpPr>
          <p:cNvPr id="6" name="Rectangle 5">
            <a:extLst>
              <a:ext uri="{FF2B5EF4-FFF2-40B4-BE49-F238E27FC236}">
                <a16:creationId xmlns:a16="http://schemas.microsoft.com/office/drawing/2014/main" id="{69A6AE75-FFBF-4B1A-9460-5A5E4993917A}"/>
              </a:ext>
            </a:extLst>
          </p:cNvPr>
          <p:cNvSpPr>
            <a:spLocks/>
          </p:cNvSpPr>
          <p:nvPr/>
        </p:nvSpPr>
        <p:spPr>
          <a:xfrm>
            <a:off x="1857375" y="2732341"/>
            <a:ext cx="9847114" cy="2053230"/>
          </a:xfrm>
          <a:prstGeom prst="rect">
            <a:avLst/>
          </a:prstGeom>
          <a:solidFill>
            <a:schemeClr val="accent3">
              <a:lumMod val="20000"/>
              <a:lumOff val="80000"/>
              <a:alpha val="2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algn="l" rtl="0">
              <a:spcBef>
                <a:spcPts val="300"/>
              </a:spcBef>
              <a:spcAft>
                <a:spcPts val="300"/>
              </a:spcAft>
            </a:pPr>
            <a:endParaRPr lang="de-DE" sz="1400" dirty="0" err="1">
              <a:solidFill>
                <a:srgbClr val="000000"/>
              </a:solidFill>
            </a:endParaRPr>
          </a:p>
        </p:txBody>
      </p:sp>
      <p:sp>
        <p:nvSpPr>
          <p:cNvPr id="7" name="Title 4">
            <a:extLst>
              <a:ext uri="{FF2B5EF4-FFF2-40B4-BE49-F238E27FC236}">
                <a16:creationId xmlns:a16="http://schemas.microsoft.com/office/drawing/2014/main" id="{5F8E6523-4FDC-4CE6-AAEF-BDFAF31590E5}"/>
              </a:ext>
            </a:extLst>
          </p:cNvPr>
          <p:cNvSpPr txBox="1">
            <a:spLocks/>
          </p:cNvSpPr>
          <p:nvPr/>
        </p:nvSpPr>
        <p:spPr>
          <a:xfrm>
            <a:off x="1653170" y="134291"/>
            <a:ext cx="9102813" cy="769441"/>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5"/>
                </a:solidFill>
                <a:latin typeface="+mj-lt"/>
                <a:ea typeface="+mj-ea"/>
                <a:cs typeface="+mj-cs"/>
              </a:defRPr>
            </a:lvl1pPr>
          </a:lstStyle>
          <a:p>
            <a:pPr algn="l" rtl="0">
              <a:buClrTx/>
              <a:buFontTx/>
            </a:pPr>
            <a:endParaRPr lang="en-US" dirty="0"/>
          </a:p>
        </p:txBody>
      </p:sp>
      <p:sp>
        <p:nvSpPr>
          <p:cNvPr id="8" name="Rectangle 7">
            <a:extLst>
              <a:ext uri="{FF2B5EF4-FFF2-40B4-BE49-F238E27FC236}">
                <a16:creationId xmlns:a16="http://schemas.microsoft.com/office/drawing/2014/main" id="{F291B310-15FB-4339-8E1F-9D85D7A01C74}"/>
              </a:ext>
            </a:extLst>
          </p:cNvPr>
          <p:cNvSpPr>
            <a:spLocks/>
          </p:cNvSpPr>
          <p:nvPr/>
        </p:nvSpPr>
        <p:spPr>
          <a:xfrm>
            <a:off x="224118" y="1580303"/>
            <a:ext cx="1909480" cy="42890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eaLnBrk="1" fontAlgn="auto" hangingPunct="1">
              <a:spcBef>
                <a:spcPts val="300"/>
              </a:spcBef>
              <a:spcAft>
                <a:spcPts val="300"/>
              </a:spcAft>
            </a:pPr>
            <a:r>
              <a:rPr lang="en-US" b="1" dirty="0" err="1">
                <a:solidFill>
                  <a:srgbClr val="FFFFFF"/>
                </a:solidFill>
              </a:rPr>
              <a:t>Géocartographie</a:t>
            </a:r>
            <a:r>
              <a:rPr lang="en-US" b="1" dirty="0">
                <a:solidFill>
                  <a:srgbClr val="FFFFFF"/>
                </a:solidFill>
              </a:rPr>
              <a:t> et base de données pour les travailleurs de la santé et les ASC</a:t>
            </a:r>
            <a:endParaRPr lang="en-GB" b="1" dirty="0">
              <a:solidFill>
                <a:srgbClr val="FFFFFF"/>
              </a:solidFill>
            </a:endParaRPr>
          </a:p>
        </p:txBody>
      </p:sp>
      <p:sp>
        <p:nvSpPr>
          <p:cNvPr id="9" name="TextBox 8">
            <a:extLst>
              <a:ext uri="{FF2B5EF4-FFF2-40B4-BE49-F238E27FC236}">
                <a16:creationId xmlns:a16="http://schemas.microsoft.com/office/drawing/2014/main" id="{30248172-83E5-4281-9683-10E50A364D35}"/>
              </a:ext>
            </a:extLst>
          </p:cNvPr>
          <p:cNvSpPr txBox="1"/>
          <p:nvPr/>
        </p:nvSpPr>
        <p:spPr>
          <a:xfrm>
            <a:off x="2190749" y="1634455"/>
            <a:ext cx="9456589" cy="4775666"/>
          </a:xfrm>
          <a:prstGeom prst="rect">
            <a:avLst/>
          </a:prstGeom>
          <a:noFill/>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algn="l" rtl="0">
              <a:buNone/>
            </a:pPr>
            <a:r>
              <a:rPr lang="en-US" sz="2000" kern="1200" dirty="0">
                <a:latin typeface="Arial"/>
                <a:ea typeface="+mn-ea"/>
                <a:cs typeface="+mn-cs"/>
              </a:rPr>
              <a:t>Soutenir la géocartographie des agents de santé et des ASC</a:t>
            </a:r>
          </a:p>
          <a:p>
            <a:pPr marL="171450" indent="-171450" algn="l" rtl="0">
              <a:buFont typeface="Arial" panose="020B0604020202020204" pitchFamily="34" charset="0"/>
              <a:buChar char="•"/>
            </a:pPr>
            <a:endParaRPr lang="en-US" sz="2000" kern="1200" dirty="0">
              <a:latin typeface="Arial"/>
              <a:ea typeface="+mn-ea"/>
              <a:cs typeface="+mn-cs"/>
            </a:endParaRPr>
          </a:p>
          <a:p>
            <a:pPr algn="l" rtl="0">
              <a:buNone/>
            </a:pPr>
            <a:r>
              <a:rPr lang="en-US" sz="2000" kern="1200" dirty="0">
                <a:latin typeface="Arial"/>
                <a:ea typeface="+mn-ea"/>
                <a:cs typeface="+mn-cs"/>
              </a:rPr>
              <a:t>Appui à la Géo Cartographie des établissements de Santé</a:t>
            </a:r>
          </a:p>
          <a:p>
            <a:pPr marL="171450" indent="-171450" algn="l" rtl="0">
              <a:buFont typeface="Arial" panose="020B0604020202020204" pitchFamily="34" charset="0"/>
              <a:buChar char="•"/>
            </a:pPr>
            <a:endParaRPr lang="en-US" sz="2000" kern="1200" dirty="0">
              <a:latin typeface="Arial"/>
              <a:ea typeface="+mn-ea"/>
              <a:cs typeface="+mn-cs"/>
            </a:endParaRPr>
          </a:p>
          <a:p>
            <a:pPr algn="l" rtl="0">
              <a:buNone/>
            </a:pPr>
            <a:r>
              <a:rPr lang="en-US" sz="2000" kern="1200" dirty="0">
                <a:latin typeface="Arial"/>
                <a:ea typeface="+mn-ea"/>
                <a:cs typeface="+mn-cs"/>
              </a:rPr>
              <a:t>Développement d’une base de données sur les agents de santé et les agents de santé communautaires</a:t>
            </a:r>
          </a:p>
          <a:p>
            <a:pPr marL="171450" indent="-171450" algn="l" rtl="0">
              <a:buFont typeface="Arial" panose="020B0604020202020204" pitchFamily="34" charset="0"/>
              <a:buChar char="•"/>
            </a:pPr>
            <a:endParaRPr lang="en-US" sz="2000" kern="1200" dirty="0">
              <a:latin typeface="Arial"/>
              <a:ea typeface="+mn-ea"/>
              <a:cs typeface="+mn-cs"/>
            </a:endParaRPr>
          </a:p>
          <a:p>
            <a:pPr algn="l" rtl="0">
              <a:buNone/>
            </a:pPr>
            <a:r>
              <a:rPr lang="en-US" sz="2000" kern="1200" dirty="0">
                <a:latin typeface="Arial"/>
                <a:ea typeface="+mn-ea"/>
                <a:cs typeface="+mn-cs"/>
              </a:rPr>
              <a:t>Élaboration de listes principales d'établissements de santé (HFML) pour informer sur la disponibilité des services de santé</a:t>
            </a:r>
          </a:p>
          <a:p>
            <a:pPr marL="171450" indent="-171450" algn="l" rtl="0">
              <a:buFont typeface="Arial" panose="020B0604020202020204" pitchFamily="34" charset="0"/>
              <a:buChar char="•"/>
            </a:pPr>
            <a:endParaRPr lang="en-US" sz="2000" kern="1200" dirty="0">
              <a:latin typeface="Arial"/>
              <a:ea typeface="+mn-ea"/>
              <a:cs typeface="+mn-cs"/>
            </a:endParaRPr>
          </a:p>
          <a:p>
            <a:pPr algn="l" rtl="0">
              <a:buNone/>
            </a:pPr>
            <a:r>
              <a:rPr lang="en-US" sz="2000" kern="1200" dirty="0">
                <a:latin typeface="Arial"/>
                <a:ea typeface="+mn-ea"/>
                <a:cs typeface="+mn-cs"/>
              </a:rPr>
              <a:t>Surveiller la couverture et l’accessibilité des soins de santé primaires en exploitant les données géospatiales et démographiques</a:t>
            </a:r>
            <a:r>
              <a:rPr lang="en-US" kern="1200" dirty="0">
                <a:latin typeface="Arial"/>
                <a:ea typeface="+mn-ea"/>
                <a:cs typeface="+mn-cs"/>
              </a:rPr>
              <a:t>.</a:t>
            </a:r>
            <a:endParaRPr lang="en-GB" kern="1200" dirty="0">
              <a:latin typeface="Arial"/>
              <a:ea typeface="+mn-ea"/>
              <a:cs typeface="+mn-cs"/>
            </a:endParaRPr>
          </a:p>
          <a:p>
            <a:pPr marL="228600" marR="0" lvl="1" indent="-228600" algn="l" defTabSz="914400" rtl="0" eaLnBrk="1" fontAlgn="auto" latinLnBrk="0" hangingPunct="1">
              <a:lnSpc>
                <a:spcPct val="100000"/>
              </a:lnSpc>
              <a:spcBef>
                <a:spcPts val="0"/>
              </a:spcBef>
              <a:spcAft>
                <a:spcPts val="700"/>
              </a:spcAft>
              <a:buClr>
                <a:srgbClr val="000000"/>
              </a:buClr>
              <a:buSzPct val="110000"/>
              <a:buFont typeface="Arial" panose="020B0604020202020204" pitchFamily="34" charset="0"/>
              <a:buChar char="•"/>
              <a:tabLst>
                <a:tab pos="457200" algn="l"/>
              </a:tabLst>
              <a:defRPr/>
            </a:pPr>
            <a:endParaRPr kumimoji="0" lang="en-GB" sz="1100" b="0" i="0" u="none" strike="noStrike" kern="1200" cap="none" spc="0" normalizeH="0" baseline="0" noProof="0" dirty="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700"/>
              </a:spcAft>
              <a:buClr>
                <a:srgbClr val="000000"/>
              </a:buClr>
              <a:buSzPct val="110000"/>
              <a:buFont typeface="Arial" panose="020B0604020202020204" pitchFamily="34" charset="0"/>
              <a:buChar char="•"/>
              <a:tabLst>
                <a:tab pos="457200" algn="l"/>
              </a:tabLst>
              <a:defRPr/>
            </a:pPr>
            <a:endParaRPr kumimoji="0" lang="en-GB" sz="1100" b="0" i="0" u="none" strike="noStrike" kern="1200" cap="none" spc="0" normalizeH="0" baseline="0" noProof="0" dirty="0">
              <a:ln>
                <a:noFill/>
              </a:ln>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6976740C-436C-4359-94A4-0D1C33939C3C}"/>
              </a:ext>
            </a:extLst>
          </p:cNvPr>
          <p:cNvCxnSpPr>
            <a:cxnSpLocks/>
          </p:cNvCxnSpPr>
          <p:nvPr/>
        </p:nvCxnSpPr>
        <p:spPr>
          <a:xfrm>
            <a:off x="224118" y="1541621"/>
            <a:ext cx="11704320" cy="392"/>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03C529B-8FD1-4AB8-BEBC-FC5D76F4032D}"/>
              </a:ext>
            </a:extLst>
          </p:cNvPr>
          <p:cNvSpPr txBox="1">
            <a:spLocks/>
          </p:cNvSpPr>
          <p:nvPr/>
        </p:nvSpPr>
        <p:spPr>
          <a:xfrm>
            <a:off x="224118" y="1302265"/>
            <a:ext cx="1082870"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cteur d'activité</a:t>
            </a:r>
          </a:p>
        </p:txBody>
      </p:sp>
      <p:sp>
        <p:nvSpPr>
          <p:cNvPr id="12" name="TextBox 11">
            <a:extLst>
              <a:ext uri="{FF2B5EF4-FFF2-40B4-BE49-F238E27FC236}">
                <a16:creationId xmlns:a16="http://schemas.microsoft.com/office/drawing/2014/main" id="{65364D5F-6482-4E84-8BB5-F1EFD9B21FBC}"/>
              </a:ext>
            </a:extLst>
          </p:cNvPr>
          <p:cNvSpPr txBox="1">
            <a:spLocks/>
          </p:cNvSpPr>
          <p:nvPr/>
        </p:nvSpPr>
        <p:spPr>
          <a:xfrm>
            <a:off x="1800225" y="1302265"/>
            <a:ext cx="9856089"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tivité</a:t>
            </a:r>
          </a:p>
        </p:txBody>
      </p:sp>
      <p:cxnSp>
        <p:nvCxnSpPr>
          <p:cNvPr id="20" name="Straight Connector 19">
            <a:extLst>
              <a:ext uri="{FF2B5EF4-FFF2-40B4-BE49-F238E27FC236}">
                <a16:creationId xmlns:a16="http://schemas.microsoft.com/office/drawing/2014/main" id="{E1713807-7300-47CF-A765-9611D1B9419B}"/>
              </a:ext>
            </a:extLst>
          </p:cNvPr>
          <p:cNvCxnSpPr>
            <a:cxnSpLocks/>
          </p:cNvCxnSpPr>
          <p:nvPr/>
        </p:nvCxnSpPr>
        <p:spPr>
          <a:xfrm>
            <a:off x="243840" y="6060522"/>
            <a:ext cx="11704320" cy="392"/>
          </a:xfrm>
          <a:prstGeom prst="line">
            <a:avLst/>
          </a:prstGeom>
          <a:ln w="6350" cap="flat">
            <a:solidFill>
              <a:schemeClr val="bg1">
                <a:lumMod val="6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3869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70758FEA-0361-40B7-B71B-744529B58221}"/>
              </a:ext>
            </a:extLst>
          </p:cNvPr>
          <p:cNvGraphicFramePr>
            <a:graphicFrameLocks noChangeAspect="1"/>
          </p:cNvGraphicFramePr>
          <p:nvPr>
            <p:custDataLst>
              <p:tags r:id="rId1"/>
            </p:custDataLst>
            <p:extLst>
              <p:ext uri="{D42A27DB-BD31-4B8C-83A1-F6EECF244321}">
                <p14:modId xmlns:p14="http://schemas.microsoft.com/office/powerpoint/2010/main" val="2541768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5" name="Object 6" hidden="1">
                        <a:extLst>
                          <a:ext uri="{FF2B5EF4-FFF2-40B4-BE49-F238E27FC236}">
                            <a16:creationId xmlns:a16="http://schemas.microsoft.com/office/drawing/2014/main" id="{70758FEA-0361-40B7-B71B-744529B5822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9" name="Sticky">
            <a:extLst>
              <a:ext uri="{FF2B5EF4-FFF2-40B4-BE49-F238E27FC236}">
                <a16:creationId xmlns:a16="http://schemas.microsoft.com/office/drawing/2014/main" id="{086AF8B6-8076-46F7-915F-0BD0DBC98A34}"/>
              </a:ext>
            </a:extLst>
          </p:cNvPr>
          <p:cNvSpPr/>
          <p:nvPr>
            <p:custDataLst>
              <p:tags r:id="rId2"/>
            </p:custDataLst>
          </p:nvPr>
        </p:nvSpPr>
        <p:spPr>
          <a:xfrm>
            <a:off x="10287000" y="-15370"/>
            <a:ext cx="1905000" cy="411899"/>
          </a:xfrm>
          <a:prstGeom prst="foldedCorner">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À confirmer si absent</a:t>
            </a:r>
          </a:p>
        </p:txBody>
      </p:sp>
      <p:pic>
        <p:nvPicPr>
          <p:cNvPr id="31" name="Rectangle 1">
            <a:extLst>
              <a:ext uri="{FF2B5EF4-FFF2-40B4-BE49-F238E27FC236}">
                <a16:creationId xmlns:a16="http://schemas.microsoft.com/office/drawing/2014/main" id="{73AE865C-A59E-47A0-90A2-F106DFD6E73A}"/>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bwMode="ltGray">
          <a:xfrm>
            <a:off x="0" y="9397"/>
            <a:ext cx="12192000" cy="6858000"/>
          </a:xfrm>
          <a:prstGeom prst="rect">
            <a:avLst/>
          </a:prstGeom>
        </p:spPr>
      </p:pic>
      <p:sp>
        <p:nvSpPr>
          <p:cNvPr id="27" name="Rectangle 26">
            <a:extLst>
              <a:ext uri="{FF2B5EF4-FFF2-40B4-BE49-F238E27FC236}">
                <a16:creationId xmlns:a16="http://schemas.microsoft.com/office/drawing/2014/main" id="{35786E05-032C-DC3F-491A-E86B7F4A0F08}"/>
              </a:ext>
            </a:extLst>
          </p:cNvPr>
          <p:cNvSpPr>
            <a:spLocks/>
          </p:cNvSpPr>
          <p:nvPr/>
        </p:nvSpPr>
        <p:spPr>
          <a:xfrm>
            <a:off x="689277" y="142826"/>
            <a:ext cx="3725706" cy="5754949"/>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2. Slide Title">
            <a:extLst>
              <a:ext uri="{FF2B5EF4-FFF2-40B4-BE49-F238E27FC236}">
                <a16:creationId xmlns:a16="http://schemas.microsoft.com/office/drawing/2014/main" id="{591B436A-E1DA-CC7B-A11B-54B05373719D}"/>
              </a:ext>
            </a:extLst>
          </p:cNvPr>
          <p:cNvSpPr txBox="1">
            <a:spLocks/>
          </p:cNvSpPr>
          <p:nvPr>
            <p:custDataLst>
              <p:tags r:id="rId3"/>
            </p:custDataLst>
          </p:nvPr>
        </p:nvSpPr>
        <p:spPr>
          <a:xfrm>
            <a:off x="752130" y="3432169"/>
            <a:ext cx="3600000" cy="553998"/>
          </a:xfrm>
          <a:prstGeom prst="rect">
            <a:avLst/>
          </a:prstGeom>
        </p:spPr>
        <p:txBody>
          <a:bodyPr vert="horz" wrap="square" lIns="0" tIns="0" rIns="365760" bIns="0" rtlCol="0" anchor="ctr" anchorCtr="0">
            <a:sp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err="1">
                <a:ln w="6350" cap="flat">
                  <a:noFill/>
                  <a:miter lim="800000"/>
                </a:ln>
                <a:solidFill>
                  <a:srgbClr val="FFFFFF"/>
                </a:solidFill>
                <a:effectLst/>
                <a:uLnTx/>
                <a:uFillTx/>
                <a:latin typeface="Arial"/>
                <a:ea typeface="+mj-ea"/>
                <a:cs typeface="+mj-cs"/>
              </a:rPr>
              <a:t>Objectifs</a:t>
            </a:r>
            <a:r>
              <a:rPr kumimoji="0" lang="en-US" sz="3600" b="1" i="0" u="none" strike="noStrike" kern="1200" cap="none" spc="0" normalizeH="0" baseline="0" noProof="0" dirty="0">
                <a:ln w="6350" cap="flat">
                  <a:noFill/>
                  <a:miter lim="800000"/>
                </a:ln>
                <a:solidFill>
                  <a:srgbClr val="FFFFFF"/>
                </a:solidFill>
                <a:effectLst/>
                <a:uLnTx/>
                <a:uFillTx/>
                <a:latin typeface="Arial"/>
                <a:ea typeface="+mj-ea"/>
                <a:cs typeface="+mj-cs"/>
              </a:rPr>
              <a:t> </a:t>
            </a:r>
            <a:r>
              <a:rPr kumimoji="0" lang="en-US" sz="3600" b="1" i="0" u="none" strike="noStrike" kern="1200" cap="none" spc="0" normalizeH="0" baseline="0" noProof="0" dirty="0" err="1">
                <a:ln w="6350" cap="flat">
                  <a:noFill/>
                  <a:miter lim="800000"/>
                </a:ln>
                <a:solidFill>
                  <a:srgbClr val="FFFFFF"/>
                </a:solidFill>
                <a:effectLst/>
                <a:uLnTx/>
                <a:uFillTx/>
                <a:latin typeface="Arial"/>
                <a:ea typeface="+mj-ea"/>
                <a:cs typeface="+mj-cs"/>
              </a:rPr>
              <a:t>clés</a:t>
            </a:r>
            <a:endParaRPr kumimoji="0" lang="en-GB" sz="3600" b="0" i="0" u="none" strike="noStrike" kern="1200" cap="none" spc="0" normalizeH="0" baseline="0" noProof="0" dirty="0">
              <a:ln w="6350" cap="flat">
                <a:noFill/>
                <a:miter lim="800000"/>
              </a:ln>
              <a:solidFill>
                <a:srgbClr val="FFFFFF"/>
              </a:solidFill>
              <a:effectLst/>
              <a:uLnTx/>
              <a:uFillTx/>
              <a:latin typeface="Arial"/>
              <a:ea typeface="+mj-ea"/>
              <a:cs typeface="+mj-cs"/>
            </a:endParaRPr>
          </a:p>
        </p:txBody>
      </p:sp>
      <p:sp>
        <p:nvSpPr>
          <p:cNvPr id="41" name="Rectangle 40">
            <a:extLst>
              <a:ext uri="{FF2B5EF4-FFF2-40B4-BE49-F238E27FC236}">
                <a16:creationId xmlns:a16="http://schemas.microsoft.com/office/drawing/2014/main" id="{666AE90A-45DE-742B-30D8-3A6F3555BBC7}"/>
              </a:ext>
            </a:extLst>
          </p:cNvPr>
          <p:cNvSpPr>
            <a:spLocks/>
          </p:cNvSpPr>
          <p:nvPr/>
        </p:nvSpPr>
        <p:spPr>
          <a:xfrm>
            <a:off x="689277" y="5661043"/>
            <a:ext cx="3725706" cy="9390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42" name="CustomIcon">
            <a:extLst>
              <a:ext uri="{FF2B5EF4-FFF2-40B4-BE49-F238E27FC236}">
                <a16:creationId xmlns:a16="http://schemas.microsoft.com/office/drawing/2014/main" id="{548D50DC-0DA8-AD91-261E-C4C03BA02BF8}"/>
              </a:ext>
            </a:extLst>
          </p:cNvPr>
          <p:cNvPicPr>
            <a:picLocks noChangeAspect="1"/>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1939066" y="1332336"/>
            <a:ext cx="1226128" cy="1226128"/>
          </a:xfrm>
          <a:prstGeom prst="rect">
            <a:avLst/>
          </a:prstGeom>
        </p:spPr>
      </p:pic>
      <p:grpSp>
        <p:nvGrpSpPr>
          <p:cNvPr id="71" name="Group 70">
            <a:extLst>
              <a:ext uri="{FF2B5EF4-FFF2-40B4-BE49-F238E27FC236}">
                <a16:creationId xmlns:a16="http://schemas.microsoft.com/office/drawing/2014/main" id="{2801F72B-23C4-B028-31BF-9F2A97AFC4E0}"/>
              </a:ext>
            </a:extLst>
          </p:cNvPr>
          <p:cNvGrpSpPr/>
          <p:nvPr/>
        </p:nvGrpSpPr>
        <p:grpSpPr>
          <a:xfrm>
            <a:off x="4759621" y="611456"/>
            <a:ext cx="6875166" cy="654684"/>
            <a:chOff x="4759621" y="997350"/>
            <a:chExt cx="6875166" cy="654684"/>
          </a:xfrm>
        </p:grpSpPr>
        <p:sp>
          <p:nvSpPr>
            <p:cNvPr id="52" name="TextBox 51">
              <a:extLst>
                <a:ext uri="{FF2B5EF4-FFF2-40B4-BE49-F238E27FC236}">
                  <a16:creationId xmlns:a16="http://schemas.microsoft.com/office/drawing/2014/main" id="{E0B6AD6A-7C68-48FA-9BD2-7F2C1713FFDF}"/>
                </a:ext>
              </a:extLst>
            </p:cNvPr>
            <p:cNvSpPr txBox="1">
              <a:spLocks/>
            </p:cNvSpPr>
            <p:nvPr/>
          </p:nvSpPr>
          <p:spPr>
            <a:xfrm>
              <a:off x="5495635" y="1170804"/>
              <a:ext cx="6139152" cy="307777"/>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dirty="0">
                  <a:ln>
                    <a:noFill/>
                  </a:ln>
                  <a:solidFill>
                    <a:srgbClr val="FFFFFF"/>
                  </a:solidFill>
                  <a:effectLst/>
                  <a:uLnTx/>
                  <a:uFillTx/>
                  <a:latin typeface="Arial"/>
                  <a:ea typeface="+mn-ea"/>
                  <a:cs typeface="Times New Roman" panose="02020603050405020304" pitchFamily="18" charset="0"/>
                </a:rPr>
                <a:t>Fournir </a:t>
              </a:r>
              <a:r>
                <a:rPr kumimoji="0" lang="en-US" sz="2000" b="1" i="0" u="none" strike="noStrike" kern="1200" cap="none" spc="0" normalizeH="0" baseline="0" noProof="0" dirty="0" err="1">
                  <a:ln>
                    <a:noFill/>
                  </a:ln>
                  <a:solidFill>
                    <a:srgbClr val="FFFFFF"/>
                  </a:solidFill>
                  <a:effectLst/>
                  <a:uLnTx/>
                  <a:uFillTx/>
                  <a:latin typeface="Arial"/>
                  <a:ea typeface="+mn-ea"/>
                  <a:cs typeface="Times New Roman" panose="02020603050405020304" pitchFamily="18" charset="0"/>
                </a:rPr>
                <a:t>une</a:t>
              </a:r>
              <a:r>
                <a:rPr kumimoji="0" lang="en-US" sz="2000" b="1" i="0" u="none" strike="noStrike" kern="1200" cap="none" spc="0" normalizeH="0" baseline="0" noProof="0" dirty="0">
                  <a:ln>
                    <a:noFill/>
                  </a:ln>
                  <a:solidFill>
                    <a:srgbClr val="FFFFFF"/>
                  </a:solidFill>
                  <a:effectLst/>
                  <a:uLnTx/>
                  <a:uFillTx/>
                  <a:latin typeface="Arial"/>
                  <a:ea typeface="+mn-ea"/>
                  <a:cs typeface="Times New Roman" panose="02020603050405020304" pitchFamily="18" charset="0"/>
                </a:rPr>
                <a:t> </a:t>
              </a:r>
              <a:r>
                <a:rPr lang="en-US" sz="2000" b="1" dirty="0" err="1">
                  <a:solidFill>
                    <a:srgbClr val="FFFFFF"/>
                  </a:solidFill>
                  <a:latin typeface="Arial"/>
                  <a:cs typeface="Times New Roman" panose="02020603050405020304" pitchFamily="18" charset="0"/>
                </a:rPr>
                <a:t>aperçu</a:t>
              </a:r>
              <a:r>
                <a:rPr lang="en-US" sz="2000" b="1" dirty="0">
                  <a:solidFill>
                    <a:srgbClr val="FFFFFF"/>
                  </a:solidFill>
                  <a:latin typeface="Arial"/>
                  <a:cs typeface="Times New Roman" panose="02020603050405020304" pitchFamily="18" charset="0"/>
                </a:rPr>
                <a:t> sur Africa CDC</a:t>
              </a:r>
              <a:endParaRPr kumimoji="0" lang="en-US" sz="2000" b="1" i="0" u="none" strike="noStrike" kern="1200" cap="none" spc="0" normalizeH="0" baseline="0" noProof="0" dirty="0">
                <a:ln>
                  <a:noFill/>
                </a:ln>
                <a:solidFill>
                  <a:srgbClr val="FFFFFF"/>
                </a:solidFill>
                <a:effectLst/>
                <a:uLnTx/>
                <a:uFillTx/>
                <a:latin typeface="Arial"/>
                <a:ea typeface="+mn-ea"/>
                <a:cs typeface="Times New Roman" panose="02020603050405020304" pitchFamily="18" charset="0"/>
              </a:endParaRPr>
            </a:p>
          </p:txBody>
        </p:sp>
        <p:grpSp>
          <p:nvGrpSpPr>
            <p:cNvPr id="46" name="CustomIcon">
              <a:extLst>
                <a:ext uri="{FF2B5EF4-FFF2-40B4-BE49-F238E27FC236}">
                  <a16:creationId xmlns:a16="http://schemas.microsoft.com/office/drawing/2014/main" id="{CC70488B-4D28-F1A5-5D1C-391ADCADB1E6}"/>
                </a:ext>
              </a:extLst>
            </p:cNvPr>
            <p:cNvGrpSpPr>
              <a:grpSpLocks/>
            </p:cNvGrpSpPr>
            <p:nvPr>
              <p:custDataLst>
                <p:tags r:id="rId6"/>
              </p:custDataLst>
            </p:nvPr>
          </p:nvGrpSpPr>
          <p:grpSpPr>
            <a:xfrm>
              <a:off x="4759621" y="997350"/>
              <a:ext cx="654684" cy="654684"/>
              <a:chOff x="-205105" y="-205105"/>
              <a:chExt cx="1019810" cy="1019810"/>
            </a:xfrm>
          </p:grpSpPr>
          <p:sp>
            <p:nvSpPr>
              <p:cNvPr id="43" name="Oval 42">
                <a:extLst>
                  <a:ext uri="{FF2B5EF4-FFF2-40B4-BE49-F238E27FC236}">
                    <a16:creationId xmlns:a16="http://schemas.microsoft.com/office/drawing/2014/main" id="{783D588C-AA56-A93A-DD7C-42BEA44D5FB8}"/>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err="1">
                  <a:solidFill>
                    <a:schemeClr val="bg1"/>
                  </a:solidFill>
                </a:endParaRPr>
              </a:p>
            </p:txBody>
          </p:sp>
          <p:pic>
            <p:nvPicPr>
              <p:cNvPr id="45" name="Graphic 44">
                <a:extLst>
                  <a:ext uri="{FF2B5EF4-FFF2-40B4-BE49-F238E27FC236}">
                    <a16:creationId xmlns:a16="http://schemas.microsoft.com/office/drawing/2014/main" id="{A571E71B-8E4C-C6C3-36FA-C6D72167BDE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grpSp>
        <p:nvGrpSpPr>
          <p:cNvPr id="72" name="Group 71">
            <a:extLst>
              <a:ext uri="{FF2B5EF4-FFF2-40B4-BE49-F238E27FC236}">
                <a16:creationId xmlns:a16="http://schemas.microsoft.com/office/drawing/2014/main" id="{17A42C1F-7401-0F13-6337-39E8C6EB8448}"/>
              </a:ext>
            </a:extLst>
          </p:cNvPr>
          <p:cNvGrpSpPr/>
          <p:nvPr/>
        </p:nvGrpSpPr>
        <p:grpSpPr>
          <a:xfrm>
            <a:off x="4759621" y="1434905"/>
            <a:ext cx="6875166" cy="654684"/>
            <a:chOff x="4759621" y="1975779"/>
            <a:chExt cx="6875166" cy="654684"/>
          </a:xfrm>
        </p:grpSpPr>
        <p:sp>
          <p:nvSpPr>
            <p:cNvPr id="48" name="TextBox 47">
              <a:extLst>
                <a:ext uri="{FF2B5EF4-FFF2-40B4-BE49-F238E27FC236}">
                  <a16:creationId xmlns:a16="http://schemas.microsoft.com/office/drawing/2014/main" id="{5BDB470F-7838-4AAF-A473-11543F9A778D}"/>
                </a:ext>
              </a:extLst>
            </p:cNvPr>
            <p:cNvSpPr txBox="1">
              <a:spLocks/>
            </p:cNvSpPr>
            <p:nvPr/>
          </p:nvSpPr>
          <p:spPr>
            <a:xfrm>
              <a:off x="5495635" y="1995345"/>
              <a:ext cx="6139152" cy="615553"/>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Donner un </a:t>
              </a:r>
              <a:r>
                <a:rPr kumimoji="0" lang="en-US" sz="2000" b="0" i="0" u="none" strike="noStrike" kern="1200" cap="none" spc="0" normalizeH="0" baseline="0" noProof="0" dirty="0" err="1">
                  <a:ln>
                    <a:noFill/>
                  </a:ln>
                  <a:solidFill>
                    <a:srgbClr val="FFFFFF"/>
                  </a:solidFill>
                  <a:effectLst/>
                  <a:uLnTx/>
                  <a:uFillTx/>
                  <a:latin typeface="Arial"/>
                  <a:ea typeface="+mn-ea"/>
                  <a:cs typeface="Arial" panose="020B0604020202020204" pitchFamily="34" charset="0"/>
                </a:rPr>
                <a:t>aperçu</a:t>
              </a:r>
              <a:r>
                <a:rPr kumimoji="0" lang="en-US" sz="2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du </a:t>
              </a:r>
              <a:r>
                <a:rPr kumimoji="0" lang="en-US" sz="2000" b="1" i="0" u="none" strike="noStrike" kern="1200" cap="none" spc="0" normalizeH="0" baseline="0" noProof="0" dirty="0" err="1">
                  <a:ln>
                    <a:noFill/>
                  </a:ln>
                  <a:solidFill>
                    <a:srgbClr val="FFFFFF"/>
                  </a:solidFill>
                  <a:effectLst/>
                  <a:uLnTx/>
                  <a:uFillTx/>
                  <a:latin typeface="Arial"/>
                  <a:ea typeface="+mn-ea"/>
                  <a:cs typeface="Times New Roman" panose="02020603050405020304" pitchFamily="18" charset="0"/>
                </a:rPr>
                <a:t>Programme</a:t>
              </a:r>
              <a:r>
                <a:rPr kumimoji="0" lang="en-US" sz="2000" b="1" i="0" u="none" strike="noStrike" kern="1200" cap="none" spc="0" normalizeH="0" baseline="0" noProof="0" dirty="0">
                  <a:ln>
                    <a:noFill/>
                  </a:ln>
                  <a:solidFill>
                    <a:srgbClr val="FFFFFF"/>
                  </a:solidFill>
                  <a:effectLst/>
                  <a:uLnTx/>
                  <a:uFillTx/>
                  <a:latin typeface="Arial"/>
                  <a:ea typeface="+mn-ea"/>
                  <a:cs typeface="Times New Roman" panose="02020603050405020304" pitchFamily="18" charset="0"/>
                </a:rPr>
                <a:t> SLL et ses principales parties prenantes</a:t>
              </a:r>
            </a:p>
          </p:txBody>
        </p:sp>
        <p:grpSp>
          <p:nvGrpSpPr>
            <p:cNvPr id="51" name="CustomIcon">
              <a:extLst>
                <a:ext uri="{FF2B5EF4-FFF2-40B4-BE49-F238E27FC236}">
                  <a16:creationId xmlns:a16="http://schemas.microsoft.com/office/drawing/2014/main" id="{CF318799-81CE-8E9E-98BE-4237CA4986C6}"/>
                </a:ext>
              </a:extLst>
            </p:cNvPr>
            <p:cNvGrpSpPr>
              <a:grpSpLocks/>
            </p:cNvGrpSpPr>
            <p:nvPr>
              <p:custDataLst>
                <p:tags r:id="rId5"/>
              </p:custDataLst>
            </p:nvPr>
          </p:nvGrpSpPr>
          <p:grpSpPr>
            <a:xfrm>
              <a:off x="4759621" y="1975779"/>
              <a:ext cx="654684" cy="654684"/>
              <a:chOff x="-205105" y="-205105"/>
              <a:chExt cx="1019810" cy="1019810"/>
            </a:xfrm>
          </p:grpSpPr>
          <p:sp>
            <p:nvSpPr>
              <p:cNvPr id="47" name="Oval 46">
                <a:extLst>
                  <a:ext uri="{FF2B5EF4-FFF2-40B4-BE49-F238E27FC236}">
                    <a16:creationId xmlns:a16="http://schemas.microsoft.com/office/drawing/2014/main" id="{9BA9BC46-74ED-EF37-B6AB-7E4709E67946}"/>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err="1">
                  <a:solidFill>
                    <a:schemeClr val="bg1"/>
                  </a:solidFill>
                </a:endParaRPr>
              </a:p>
            </p:txBody>
          </p:sp>
          <p:pic>
            <p:nvPicPr>
              <p:cNvPr id="50" name="Graphic 49">
                <a:extLst>
                  <a:ext uri="{FF2B5EF4-FFF2-40B4-BE49-F238E27FC236}">
                    <a16:creationId xmlns:a16="http://schemas.microsoft.com/office/drawing/2014/main" id="{476EF8E1-51EC-A487-1596-AEA2D83E661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pSp>
      <p:grpSp>
        <p:nvGrpSpPr>
          <p:cNvPr id="12" name="Group 11">
            <a:extLst>
              <a:ext uri="{FF2B5EF4-FFF2-40B4-BE49-F238E27FC236}">
                <a16:creationId xmlns:a16="http://schemas.microsoft.com/office/drawing/2014/main" id="{7E3A4B18-539F-BC54-55EC-3B423C1E309A}"/>
              </a:ext>
            </a:extLst>
          </p:cNvPr>
          <p:cNvGrpSpPr/>
          <p:nvPr/>
        </p:nvGrpSpPr>
        <p:grpSpPr>
          <a:xfrm>
            <a:off x="4759621" y="5117198"/>
            <a:ext cx="6875166" cy="654684"/>
            <a:chOff x="4759621" y="4911067"/>
            <a:chExt cx="6875166" cy="654684"/>
          </a:xfrm>
        </p:grpSpPr>
        <p:sp>
          <p:nvSpPr>
            <p:cNvPr id="13" name="TextBox 12">
              <a:extLst>
                <a:ext uri="{FF2B5EF4-FFF2-40B4-BE49-F238E27FC236}">
                  <a16:creationId xmlns:a16="http://schemas.microsoft.com/office/drawing/2014/main" id="{F8FAD721-3876-7692-F6D5-CA0ADBDFF182}"/>
                </a:ext>
              </a:extLst>
            </p:cNvPr>
            <p:cNvSpPr txBox="1">
              <a:spLocks/>
            </p:cNvSpPr>
            <p:nvPr/>
          </p:nvSpPr>
          <p:spPr>
            <a:xfrm>
              <a:off x="5495635" y="5084521"/>
              <a:ext cx="6139152" cy="307777"/>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Times New Roman" panose="02020603050405020304" pitchFamily="18" charset="0"/>
              </a:endParaRPr>
            </a:p>
          </p:txBody>
        </p:sp>
        <p:sp>
          <p:nvSpPr>
            <p:cNvPr id="15" name="Oval 14">
              <a:extLst>
                <a:ext uri="{FF2B5EF4-FFF2-40B4-BE49-F238E27FC236}">
                  <a16:creationId xmlns:a16="http://schemas.microsoft.com/office/drawing/2014/main" id="{DD8EBCF2-A623-BFA0-316D-993AD6974A6E}"/>
                </a:ext>
              </a:extLst>
            </p:cNvPr>
            <p:cNvSpPr>
              <a:spLocks noChangeAspect="1"/>
            </p:cNvSpPr>
            <p:nvPr/>
          </p:nvSpPr>
          <p:spPr>
            <a:xfrm>
              <a:off x="4759621" y="4911067"/>
              <a:ext cx="654684" cy="6546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err="1">
                <a:solidFill>
                  <a:schemeClr val="bg1"/>
                </a:solidFill>
              </a:endParaRPr>
            </a:p>
          </p:txBody>
        </p:sp>
      </p:grpSp>
    </p:spTree>
    <p:extLst>
      <p:ext uri="{BB962C8B-B14F-4D97-AF65-F5344CB8AC3E}">
        <p14:creationId xmlns:p14="http://schemas.microsoft.com/office/powerpoint/2010/main" val="17803926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04059E-38F3-4682-A449-1A3F0D40614B}"/>
              </a:ext>
            </a:extLst>
          </p:cNvPr>
          <p:cNvSpPr>
            <a:spLocks noGrp="1"/>
          </p:cNvSpPr>
          <p:nvPr>
            <p:ph type="body" sz="quarter" idx="10"/>
          </p:nvPr>
        </p:nvSpPr>
        <p:spPr/>
        <p:txBody>
          <a:bodyPr/>
          <a:lstStyle/>
          <a:p>
            <a:pPr algn="l" rtl="0"/>
            <a:endParaRPr lang="en-US"/>
          </a:p>
        </p:txBody>
      </p:sp>
      <p:sp>
        <p:nvSpPr>
          <p:cNvPr id="3" name="Title 2">
            <a:extLst>
              <a:ext uri="{FF2B5EF4-FFF2-40B4-BE49-F238E27FC236}">
                <a16:creationId xmlns:a16="http://schemas.microsoft.com/office/drawing/2014/main" id="{FF705949-C936-4B92-8F14-D86B06005294}"/>
              </a:ext>
            </a:extLst>
          </p:cNvPr>
          <p:cNvSpPr>
            <a:spLocks noGrp="1"/>
          </p:cNvSpPr>
          <p:nvPr>
            <p:ph type="title"/>
          </p:nvPr>
        </p:nvSpPr>
        <p:spPr>
          <a:xfrm>
            <a:off x="1653169" y="405235"/>
            <a:ext cx="9633395" cy="731520"/>
          </a:xfrm>
        </p:spPr>
        <p:txBody>
          <a:bodyPr/>
          <a:lstStyle/>
          <a:p>
            <a:pPr algn="l" rtl="0"/>
            <a:r>
              <a:rPr lang="en-US" dirty="0"/>
              <a:t>Objectif A : Terminer le travail – Protéger les groupes prioritaires</a:t>
            </a:r>
          </a:p>
        </p:txBody>
      </p:sp>
      <p:sp>
        <p:nvSpPr>
          <p:cNvPr id="4" name="Subtitle 3">
            <a:extLst>
              <a:ext uri="{FF2B5EF4-FFF2-40B4-BE49-F238E27FC236}">
                <a16:creationId xmlns:a16="http://schemas.microsoft.com/office/drawing/2014/main" id="{D057F0E4-918C-41EB-B69C-421D1A4287F7}"/>
              </a:ext>
            </a:extLst>
          </p:cNvPr>
          <p:cNvSpPr>
            <a:spLocks noGrp="1"/>
          </p:cNvSpPr>
          <p:nvPr>
            <p:ph type="subTitle" idx="1"/>
          </p:nvPr>
        </p:nvSpPr>
        <p:spPr>
          <a:xfrm>
            <a:off x="554735" y="919249"/>
            <a:ext cx="7398819" cy="435098"/>
          </a:xfrm>
        </p:spPr>
        <p:txBody>
          <a:bodyPr/>
          <a:lstStyle/>
          <a:p>
            <a:pPr algn="l" rtl="0">
              <a:buNone/>
            </a:pPr>
            <a:br>
              <a:rPr lang="en-US" dirty="0"/>
            </a:br>
            <a:endParaRPr lang="en-US" dirty="0"/>
          </a:p>
          <a:p>
            <a:pPr algn="l" rtl="0">
              <a:buNone/>
            </a:pPr>
            <a:endParaRPr lang="en-US" dirty="0"/>
          </a:p>
        </p:txBody>
      </p:sp>
      <p:sp>
        <p:nvSpPr>
          <p:cNvPr id="6" name="Rectangle 5">
            <a:extLst>
              <a:ext uri="{FF2B5EF4-FFF2-40B4-BE49-F238E27FC236}">
                <a16:creationId xmlns:a16="http://schemas.microsoft.com/office/drawing/2014/main" id="{69A6AE75-FFBF-4B1A-9460-5A5E4993917A}"/>
              </a:ext>
            </a:extLst>
          </p:cNvPr>
          <p:cNvSpPr>
            <a:spLocks/>
          </p:cNvSpPr>
          <p:nvPr/>
        </p:nvSpPr>
        <p:spPr>
          <a:xfrm>
            <a:off x="1857375" y="2732341"/>
            <a:ext cx="9847114" cy="2053230"/>
          </a:xfrm>
          <a:prstGeom prst="rect">
            <a:avLst/>
          </a:prstGeom>
          <a:solidFill>
            <a:schemeClr val="accent3">
              <a:lumMod val="20000"/>
              <a:lumOff val="80000"/>
              <a:alpha val="2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algn="l" rtl="0">
              <a:spcBef>
                <a:spcPts val="300"/>
              </a:spcBef>
              <a:spcAft>
                <a:spcPts val="300"/>
              </a:spcAft>
            </a:pPr>
            <a:endParaRPr lang="de-DE" sz="1400" dirty="0" err="1">
              <a:solidFill>
                <a:srgbClr val="000000"/>
              </a:solidFill>
            </a:endParaRPr>
          </a:p>
        </p:txBody>
      </p:sp>
      <p:sp>
        <p:nvSpPr>
          <p:cNvPr id="7" name="Title 4">
            <a:extLst>
              <a:ext uri="{FF2B5EF4-FFF2-40B4-BE49-F238E27FC236}">
                <a16:creationId xmlns:a16="http://schemas.microsoft.com/office/drawing/2014/main" id="{5F8E6523-4FDC-4CE6-AAEF-BDFAF31590E5}"/>
              </a:ext>
            </a:extLst>
          </p:cNvPr>
          <p:cNvSpPr txBox="1">
            <a:spLocks/>
          </p:cNvSpPr>
          <p:nvPr/>
        </p:nvSpPr>
        <p:spPr>
          <a:xfrm>
            <a:off x="1653170" y="134291"/>
            <a:ext cx="9102813" cy="769441"/>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5"/>
                </a:solidFill>
                <a:latin typeface="+mj-lt"/>
                <a:ea typeface="+mj-ea"/>
                <a:cs typeface="+mj-cs"/>
              </a:defRPr>
            </a:lvl1pPr>
          </a:lstStyle>
          <a:p>
            <a:pPr algn="l" rtl="0">
              <a:buClrTx/>
              <a:buFontTx/>
            </a:pPr>
            <a:endParaRPr lang="en-US" dirty="0"/>
          </a:p>
        </p:txBody>
      </p:sp>
      <p:sp>
        <p:nvSpPr>
          <p:cNvPr id="8" name="Rectangle 7">
            <a:extLst>
              <a:ext uri="{FF2B5EF4-FFF2-40B4-BE49-F238E27FC236}">
                <a16:creationId xmlns:a16="http://schemas.microsoft.com/office/drawing/2014/main" id="{F291B310-15FB-4339-8E1F-9D85D7A01C74}"/>
              </a:ext>
            </a:extLst>
          </p:cNvPr>
          <p:cNvSpPr>
            <a:spLocks/>
          </p:cNvSpPr>
          <p:nvPr/>
        </p:nvSpPr>
        <p:spPr>
          <a:xfrm>
            <a:off x="224118" y="1580303"/>
            <a:ext cx="1429053" cy="452916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eaLnBrk="1" fontAlgn="auto" hangingPunct="1">
              <a:spcBef>
                <a:spcPts val="300"/>
              </a:spcBef>
              <a:spcAft>
                <a:spcPts val="300"/>
              </a:spcAft>
            </a:pPr>
            <a:r>
              <a:rPr lang="en-US" b="1" dirty="0">
                <a:solidFill>
                  <a:srgbClr val="FFFFFF"/>
                </a:solidFill>
              </a:rPr>
              <a:t>Prévention et contrôle des infections (IPC1)</a:t>
            </a:r>
            <a:endParaRPr lang="en-GB" b="1" dirty="0">
              <a:solidFill>
                <a:srgbClr val="FFFFFF"/>
              </a:solidFill>
            </a:endParaRPr>
          </a:p>
        </p:txBody>
      </p:sp>
      <p:sp>
        <p:nvSpPr>
          <p:cNvPr id="9" name="TextBox 8">
            <a:extLst>
              <a:ext uri="{FF2B5EF4-FFF2-40B4-BE49-F238E27FC236}">
                <a16:creationId xmlns:a16="http://schemas.microsoft.com/office/drawing/2014/main" id="{30248172-83E5-4281-9683-10E50A364D35}"/>
              </a:ext>
            </a:extLst>
          </p:cNvPr>
          <p:cNvSpPr txBox="1"/>
          <p:nvPr/>
        </p:nvSpPr>
        <p:spPr>
          <a:xfrm>
            <a:off x="1857375" y="1647396"/>
            <a:ext cx="9731098" cy="4462760"/>
          </a:xfrm>
          <a:prstGeom prst="rect">
            <a:avLst/>
          </a:prstGeom>
          <a:noFill/>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algn="l" rtl="0">
              <a:buNone/>
            </a:pPr>
            <a:r>
              <a:rPr lang="en-US" sz="2000" dirty="0">
                <a:cs typeface="Arial" charset="0"/>
              </a:rPr>
              <a:t>Soutenir l’institutionnalisation de la formation IPC</a:t>
            </a:r>
          </a:p>
          <a:p>
            <a:pPr marL="171450" indent="-171450" algn="l" rtl="0">
              <a:buFont typeface="Arial" panose="020B0604020202020204" pitchFamily="34" charset="0"/>
              <a:buChar char="•"/>
            </a:pPr>
            <a:endParaRPr lang="en-US" sz="2000" dirty="0">
              <a:cs typeface="Arial" charset="0"/>
            </a:endParaRPr>
          </a:p>
          <a:p>
            <a:pPr algn="l" rtl="0">
              <a:buNone/>
            </a:pPr>
            <a:r>
              <a:rPr lang="en-US" sz="2000" dirty="0">
                <a:cs typeface="Arial" charset="0"/>
              </a:rPr>
              <a:t>Intégration de l'IPC dans le cadre du package de formation des ASC et des soignants</a:t>
            </a:r>
          </a:p>
          <a:p>
            <a:pPr marL="171450" indent="-171450" algn="l" rtl="0">
              <a:buFont typeface="Arial" panose="020B0604020202020204" pitchFamily="34" charset="0"/>
              <a:buChar char="•"/>
            </a:pPr>
            <a:endParaRPr lang="en-US" sz="2000" dirty="0">
              <a:cs typeface="Arial" charset="0"/>
            </a:endParaRPr>
          </a:p>
          <a:p>
            <a:pPr algn="l" rtl="0">
              <a:buNone/>
            </a:pPr>
            <a:r>
              <a:rPr lang="en-US" sz="2000" dirty="0">
                <a:cs typeface="Arial" charset="0"/>
              </a:rPr>
              <a:t>Développer du matériel SOP et l'intégrer dans le matériel de formation existant</a:t>
            </a:r>
          </a:p>
          <a:p>
            <a:pPr marL="171450" indent="-171450" algn="l" rtl="0">
              <a:buFont typeface="Arial" panose="020B0604020202020204" pitchFamily="34" charset="0"/>
              <a:buChar char="•"/>
            </a:pPr>
            <a:endParaRPr lang="en-US" sz="2000" dirty="0">
              <a:cs typeface="Arial" charset="0"/>
            </a:endParaRPr>
          </a:p>
          <a:p>
            <a:pPr algn="l" rtl="0">
              <a:buNone/>
            </a:pPr>
            <a:r>
              <a:rPr lang="en-US" sz="2000" dirty="0">
                <a:cs typeface="Arial" charset="0"/>
              </a:rPr>
              <a:t>Élaborer ou mettre à jour les manuels de formation sur l'IPC</a:t>
            </a:r>
          </a:p>
          <a:p>
            <a:pPr marL="171450" indent="-171450" algn="l" rtl="0">
              <a:buFont typeface="Arial" panose="020B0604020202020204" pitchFamily="34" charset="0"/>
              <a:buChar char="•"/>
            </a:pPr>
            <a:endParaRPr lang="en-US" sz="2000" dirty="0">
              <a:cs typeface="Arial" charset="0"/>
            </a:endParaRPr>
          </a:p>
          <a:p>
            <a:pPr algn="l" rtl="0">
              <a:buNone/>
            </a:pPr>
            <a:r>
              <a:rPr lang="en-US" sz="2000" dirty="0">
                <a:cs typeface="Arial" charset="0"/>
              </a:rPr>
              <a:t>Renforcement des capacités des agents de santé et des ASC en PCI</a:t>
            </a:r>
          </a:p>
          <a:p>
            <a:pPr marL="171450" indent="-171450" algn="l" rtl="0">
              <a:buFont typeface="Arial" panose="020B0604020202020204" pitchFamily="34" charset="0"/>
              <a:buChar char="•"/>
            </a:pPr>
            <a:endParaRPr lang="en-US" sz="2000" dirty="0">
              <a:cs typeface="Arial" charset="0"/>
            </a:endParaRPr>
          </a:p>
          <a:p>
            <a:pPr algn="l" rtl="0">
              <a:buNone/>
            </a:pPr>
            <a:r>
              <a:rPr lang="en-ZA" sz="2000" dirty="0">
                <a:cs typeface="Arial" charset="0"/>
              </a:rPr>
              <a:t>Évaluation des mesures de prévention et de contrôle des infections pour les travailleurs de la santé dans les établissements de santé</a:t>
            </a:r>
          </a:p>
        </p:txBody>
      </p:sp>
      <p:cxnSp>
        <p:nvCxnSpPr>
          <p:cNvPr id="10" name="Straight Connector 9">
            <a:extLst>
              <a:ext uri="{FF2B5EF4-FFF2-40B4-BE49-F238E27FC236}">
                <a16:creationId xmlns:a16="http://schemas.microsoft.com/office/drawing/2014/main" id="{6976740C-436C-4359-94A4-0D1C33939C3C}"/>
              </a:ext>
            </a:extLst>
          </p:cNvPr>
          <p:cNvCxnSpPr>
            <a:cxnSpLocks/>
          </p:cNvCxnSpPr>
          <p:nvPr/>
        </p:nvCxnSpPr>
        <p:spPr>
          <a:xfrm>
            <a:off x="224118" y="1499483"/>
            <a:ext cx="11704320" cy="392"/>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03C529B-8FD1-4AB8-BEBC-FC5D76F4032D}"/>
              </a:ext>
            </a:extLst>
          </p:cNvPr>
          <p:cNvSpPr txBox="1">
            <a:spLocks/>
          </p:cNvSpPr>
          <p:nvPr/>
        </p:nvSpPr>
        <p:spPr>
          <a:xfrm>
            <a:off x="224118" y="1302265"/>
            <a:ext cx="1082870"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cteur d'activité</a:t>
            </a:r>
          </a:p>
        </p:txBody>
      </p:sp>
      <p:sp>
        <p:nvSpPr>
          <p:cNvPr id="12" name="TextBox 11">
            <a:extLst>
              <a:ext uri="{FF2B5EF4-FFF2-40B4-BE49-F238E27FC236}">
                <a16:creationId xmlns:a16="http://schemas.microsoft.com/office/drawing/2014/main" id="{65364D5F-6482-4E84-8BB5-F1EFD9B21FBC}"/>
              </a:ext>
            </a:extLst>
          </p:cNvPr>
          <p:cNvSpPr txBox="1">
            <a:spLocks/>
          </p:cNvSpPr>
          <p:nvPr/>
        </p:nvSpPr>
        <p:spPr>
          <a:xfrm>
            <a:off x="1857375" y="1314817"/>
            <a:ext cx="9856089"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tivité</a:t>
            </a:r>
          </a:p>
        </p:txBody>
      </p:sp>
      <p:cxnSp>
        <p:nvCxnSpPr>
          <p:cNvPr id="20" name="Straight Connector 19">
            <a:extLst>
              <a:ext uri="{FF2B5EF4-FFF2-40B4-BE49-F238E27FC236}">
                <a16:creationId xmlns:a16="http://schemas.microsoft.com/office/drawing/2014/main" id="{E1713807-7300-47CF-A765-9611D1B9419B}"/>
              </a:ext>
            </a:extLst>
          </p:cNvPr>
          <p:cNvCxnSpPr>
            <a:cxnSpLocks/>
          </p:cNvCxnSpPr>
          <p:nvPr/>
        </p:nvCxnSpPr>
        <p:spPr>
          <a:xfrm>
            <a:off x="224118" y="6189896"/>
            <a:ext cx="11704320" cy="392"/>
          </a:xfrm>
          <a:prstGeom prst="line">
            <a:avLst/>
          </a:prstGeom>
          <a:ln w="6350" cap="flat">
            <a:solidFill>
              <a:schemeClr val="bg1">
                <a:lumMod val="6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4705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04059E-38F3-4682-A449-1A3F0D40614B}"/>
              </a:ext>
            </a:extLst>
          </p:cNvPr>
          <p:cNvSpPr>
            <a:spLocks noGrp="1"/>
          </p:cNvSpPr>
          <p:nvPr>
            <p:ph type="body" sz="quarter" idx="10"/>
          </p:nvPr>
        </p:nvSpPr>
        <p:spPr/>
        <p:txBody>
          <a:bodyPr/>
          <a:lstStyle/>
          <a:p>
            <a:pPr algn="l" rtl="0"/>
            <a:endParaRPr lang="en-US"/>
          </a:p>
        </p:txBody>
      </p:sp>
      <p:sp>
        <p:nvSpPr>
          <p:cNvPr id="3" name="Title 2">
            <a:extLst>
              <a:ext uri="{FF2B5EF4-FFF2-40B4-BE49-F238E27FC236}">
                <a16:creationId xmlns:a16="http://schemas.microsoft.com/office/drawing/2014/main" id="{FF705949-C936-4B92-8F14-D86B06005294}"/>
              </a:ext>
            </a:extLst>
          </p:cNvPr>
          <p:cNvSpPr>
            <a:spLocks noGrp="1"/>
          </p:cNvSpPr>
          <p:nvPr>
            <p:ph type="title"/>
          </p:nvPr>
        </p:nvSpPr>
        <p:spPr>
          <a:xfrm>
            <a:off x="1653170" y="405235"/>
            <a:ext cx="9570642" cy="731520"/>
          </a:xfrm>
        </p:spPr>
        <p:txBody>
          <a:bodyPr/>
          <a:lstStyle/>
          <a:p>
            <a:pPr algn="l" rtl="0"/>
            <a:r>
              <a:rPr lang="en-US" dirty="0"/>
              <a:t>Objectif A : Terminer le travail – Protéger les groupes prioritaires</a:t>
            </a:r>
          </a:p>
        </p:txBody>
      </p:sp>
      <p:sp>
        <p:nvSpPr>
          <p:cNvPr id="4" name="Subtitle 3">
            <a:extLst>
              <a:ext uri="{FF2B5EF4-FFF2-40B4-BE49-F238E27FC236}">
                <a16:creationId xmlns:a16="http://schemas.microsoft.com/office/drawing/2014/main" id="{D057F0E4-918C-41EB-B69C-421D1A4287F7}"/>
              </a:ext>
            </a:extLst>
          </p:cNvPr>
          <p:cNvSpPr>
            <a:spLocks noGrp="1"/>
          </p:cNvSpPr>
          <p:nvPr>
            <p:ph type="subTitle" idx="1"/>
          </p:nvPr>
        </p:nvSpPr>
        <p:spPr>
          <a:xfrm>
            <a:off x="554735" y="919249"/>
            <a:ext cx="7398819" cy="435098"/>
          </a:xfrm>
        </p:spPr>
        <p:txBody>
          <a:bodyPr/>
          <a:lstStyle/>
          <a:p>
            <a:pPr algn="l" rtl="0">
              <a:buNone/>
            </a:pPr>
            <a:br>
              <a:rPr lang="en-US" dirty="0"/>
            </a:br>
            <a:endParaRPr lang="en-US" dirty="0"/>
          </a:p>
          <a:p>
            <a:pPr algn="l" rtl="0">
              <a:buNone/>
            </a:pPr>
            <a:endParaRPr lang="en-US" dirty="0"/>
          </a:p>
        </p:txBody>
      </p:sp>
      <p:sp>
        <p:nvSpPr>
          <p:cNvPr id="6" name="Rectangle 5">
            <a:extLst>
              <a:ext uri="{FF2B5EF4-FFF2-40B4-BE49-F238E27FC236}">
                <a16:creationId xmlns:a16="http://schemas.microsoft.com/office/drawing/2014/main" id="{69A6AE75-FFBF-4B1A-9460-5A5E4993917A}"/>
              </a:ext>
            </a:extLst>
          </p:cNvPr>
          <p:cNvSpPr>
            <a:spLocks/>
          </p:cNvSpPr>
          <p:nvPr/>
        </p:nvSpPr>
        <p:spPr>
          <a:xfrm>
            <a:off x="1857375" y="2732341"/>
            <a:ext cx="9847114" cy="2053230"/>
          </a:xfrm>
          <a:prstGeom prst="rect">
            <a:avLst/>
          </a:prstGeom>
          <a:solidFill>
            <a:schemeClr val="accent3">
              <a:lumMod val="20000"/>
              <a:lumOff val="80000"/>
              <a:alpha val="2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algn="l" rtl="0">
              <a:spcBef>
                <a:spcPts val="300"/>
              </a:spcBef>
              <a:spcAft>
                <a:spcPts val="300"/>
              </a:spcAft>
            </a:pPr>
            <a:endParaRPr lang="de-DE" sz="1400" dirty="0" err="1">
              <a:solidFill>
                <a:srgbClr val="000000"/>
              </a:solidFill>
            </a:endParaRPr>
          </a:p>
        </p:txBody>
      </p:sp>
      <p:sp>
        <p:nvSpPr>
          <p:cNvPr id="7" name="Title 4">
            <a:extLst>
              <a:ext uri="{FF2B5EF4-FFF2-40B4-BE49-F238E27FC236}">
                <a16:creationId xmlns:a16="http://schemas.microsoft.com/office/drawing/2014/main" id="{5F8E6523-4FDC-4CE6-AAEF-BDFAF31590E5}"/>
              </a:ext>
            </a:extLst>
          </p:cNvPr>
          <p:cNvSpPr txBox="1">
            <a:spLocks/>
          </p:cNvSpPr>
          <p:nvPr/>
        </p:nvSpPr>
        <p:spPr>
          <a:xfrm>
            <a:off x="1653170" y="134291"/>
            <a:ext cx="9102813" cy="769441"/>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5"/>
                </a:solidFill>
                <a:latin typeface="+mj-lt"/>
                <a:ea typeface="+mj-ea"/>
                <a:cs typeface="+mj-cs"/>
              </a:defRPr>
            </a:lvl1pPr>
          </a:lstStyle>
          <a:p>
            <a:pPr algn="l" rtl="0">
              <a:buClrTx/>
              <a:buFontTx/>
            </a:pPr>
            <a:endParaRPr lang="en-US" dirty="0"/>
          </a:p>
        </p:txBody>
      </p:sp>
      <p:sp>
        <p:nvSpPr>
          <p:cNvPr id="8" name="Rectangle 7">
            <a:extLst>
              <a:ext uri="{FF2B5EF4-FFF2-40B4-BE49-F238E27FC236}">
                <a16:creationId xmlns:a16="http://schemas.microsoft.com/office/drawing/2014/main" id="{F291B310-15FB-4339-8E1F-9D85D7A01C74}"/>
              </a:ext>
            </a:extLst>
          </p:cNvPr>
          <p:cNvSpPr>
            <a:spLocks/>
          </p:cNvSpPr>
          <p:nvPr/>
        </p:nvSpPr>
        <p:spPr>
          <a:xfrm>
            <a:off x="224118" y="1580303"/>
            <a:ext cx="1429053" cy="398850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eaLnBrk="1" fontAlgn="auto" hangingPunct="1">
              <a:spcBef>
                <a:spcPts val="300"/>
              </a:spcBef>
              <a:spcAft>
                <a:spcPts val="300"/>
              </a:spcAft>
            </a:pPr>
            <a:r>
              <a:rPr lang="en-US" b="1" dirty="0">
                <a:solidFill>
                  <a:srgbClr val="FFFFFF"/>
                </a:solidFill>
              </a:rPr>
              <a:t>Prévention et contrôle des infections (IPC 2)</a:t>
            </a:r>
            <a:endParaRPr lang="en-GB" b="1" dirty="0">
              <a:solidFill>
                <a:srgbClr val="FFFFFF"/>
              </a:solidFill>
            </a:endParaRPr>
          </a:p>
        </p:txBody>
      </p:sp>
      <p:sp>
        <p:nvSpPr>
          <p:cNvPr id="9" name="TextBox 8">
            <a:extLst>
              <a:ext uri="{FF2B5EF4-FFF2-40B4-BE49-F238E27FC236}">
                <a16:creationId xmlns:a16="http://schemas.microsoft.com/office/drawing/2014/main" id="{30248172-83E5-4281-9683-10E50A364D35}"/>
              </a:ext>
            </a:extLst>
          </p:cNvPr>
          <p:cNvSpPr txBox="1"/>
          <p:nvPr/>
        </p:nvSpPr>
        <p:spPr>
          <a:xfrm>
            <a:off x="1800225" y="1648964"/>
            <a:ext cx="9847114" cy="2685351"/>
          </a:xfrm>
          <a:prstGeom prst="rect">
            <a:avLst/>
          </a:prstGeom>
          <a:noFill/>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algn="l" rtl="0">
              <a:buNone/>
            </a:pPr>
            <a:r>
              <a:rPr lang="en-ZA" sz="2000" kern="1200" dirty="0">
                <a:latin typeface="Arial"/>
                <a:ea typeface="+mn-ea"/>
                <a:cs typeface="+mn-cs"/>
              </a:rPr>
              <a:t>Attribution de matériel de PCI aux établissements de santé ayant bénéficié d'évaluations des pratiques de PCI</a:t>
            </a:r>
          </a:p>
          <a:p>
            <a:pPr marL="171450" indent="-171450" algn="l" rtl="0">
              <a:buFont typeface="Arial" panose="020B0604020202020204" pitchFamily="34" charset="0"/>
              <a:buChar char="•"/>
            </a:pPr>
            <a:endParaRPr lang="en-ZA" sz="2000" kern="1200" dirty="0">
              <a:latin typeface="Arial"/>
              <a:ea typeface="+mn-ea"/>
              <a:cs typeface="+mn-cs"/>
            </a:endParaRPr>
          </a:p>
          <a:p>
            <a:pPr algn="l" rtl="0">
              <a:buNone/>
            </a:pPr>
            <a:r>
              <a:rPr lang="en-ZA" sz="2000" kern="1200" dirty="0">
                <a:latin typeface="Arial"/>
                <a:ea typeface="+mn-ea"/>
                <a:cs typeface="+mn-cs"/>
              </a:rPr>
              <a:t>Achat d’EPI pour les travailleurs de la santé</a:t>
            </a:r>
          </a:p>
          <a:p>
            <a:pPr marL="171450" indent="-171450" algn="l" rtl="0">
              <a:buFont typeface="Arial" panose="020B0604020202020204" pitchFamily="34" charset="0"/>
              <a:buChar char="•"/>
            </a:pPr>
            <a:endParaRPr lang="en-ZA" sz="2000" kern="1200" dirty="0">
              <a:latin typeface="Arial"/>
              <a:ea typeface="+mn-ea"/>
              <a:cs typeface="+mn-cs"/>
            </a:endParaRPr>
          </a:p>
          <a:p>
            <a:pPr algn="l" rtl="0">
              <a:buNone/>
            </a:pPr>
            <a:r>
              <a:rPr lang="en-ZA" sz="2000" kern="1200" dirty="0">
                <a:latin typeface="Arial"/>
                <a:ea typeface="+mn-ea"/>
                <a:cs typeface="+mn-cs"/>
              </a:rPr>
              <a:t>Achat d’EPI pour les ASC</a:t>
            </a:r>
            <a:endParaRPr lang="en-GB" sz="2000" kern="1200" dirty="0">
              <a:latin typeface="Arial"/>
              <a:ea typeface="+mn-ea"/>
              <a:cs typeface="+mn-cs"/>
            </a:endParaRPr>
          </a:p>
          <a:p>
            <a:pPr marL="171450" indent="-171450" algn="l" rtl="0">
              <a:buFont typeface="Arial" panose="020B0604020202020204" pitchFamily="34" charset="0"/>
              <a:buChar char="•"/>
            </a:pPr>
            <a:endParaRPr kumimoji="0" lang="en-GB" b="0" i="0" u="none" strike="noStrike" kern="1200" cap="none" spc="0" normalizeH="0" baseline="0" noProof="0" dirty="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700"/>
              </a:spcAft>
              <a:buClr>
                <a:srgbClr val="000000"/>
              </a:buClr>
              <a:buSzPct val="110000"/>
              <a:buFont typeface="Arial" panose="020B0604020202020204" pitchFamily="34" charset="0"/>
              <a:buChar char="•"/>
              <a:tabLst>
                <a:tab pos="457200" algn="l"/>
              </a:tabLst>
              <a:defRPr/>
            </a:pPr>
            <a:endParaRPr kumimoji="0" lang="en-GB" sz="1100" b="0" i="0" u="none" strike="noStrike" kern="1200" cap="none" spc="0" normalizeH="0" baseline="0" noProof="0" dirty="0">
              <a:ln>
                <a:noFill/>
              </a:ln>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6976740C-436C-4359-94A4-0D1C33939C3C}"/>
              </a:ext>
            </a:extLst>
          </p:cNvPr>
          <p:cNvCxnSpPr>
            <a:cxnSpLocks/>
          </p:cNvCxnSpPr>
          <p:nvPr/>
        </p:nvCxnSpPr>
        <p:spPr>
          <a:xfrm>
            <a:off x="224118" y="1533029"/>
            <a:ext cx="11704320" cy="392"/>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03C529B-8FD1-4AB8-BEBC-FC5D76F4032D}"/>
              </a:ext>
            </a:extLst>
          </p:cNvPr>
          <p:cNvSpPr txBox="1">
            <a:spLocks/>
          </p:cNvSpPr>
          <p:nvPr/>
        </p:nvSpPr>
        <p:spPr>
          <a:xfrm>
            <a:off x="224118" y="1302265"/>
            <a:ext cx="1082870"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cteur d'activité</a:t>
            </a:r>
          </a:p>
        </p:txBody>
      </p:sp>
      <p:sp>
        <p:nvSpPr>
          <p:cNvPr id="12" name="TextBox 11">
            <a:extLst>
              <a:ext uri="{FF2B5EF4-FFF2-40B4-BE49-F238E27FC236}">
                <a16:creationId xmlns:a16="http://schemas.microsoft.com/office/drawing/2014/main" id="{65364D5F-6482-4E84-8BB5-F1EFD9B21FBC}"/>
              </a:ext>
            </a:extLst>
          </p:cNvPr>
          <p:cNvSpPr txBox="1">
            <a:spLocks/>
          </p:cNvSpPr>
          <p:nvPr/>
        </p:nvSpPr>
        <p:spPr>
          <a:xfrm>
            <a:off x="1800225" y="1302265"/>
            <a:ext cx="9856089"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tivité</a:t>
            </a:r>
          </a:p>
        </p:txBody>
      </p:sp>
      <p:cxnSp>
        <p:nvCxnSpPr>
          <p:cNvPr id="20" name="Straight Connector 19">
            <a:extLst>
              <a:ext uri="{FF2B5EF4-FFF2-40B4-BE49-F238E27FC236}">
                <a16:creationId xmlns:a16="http://schemas.microsoft.com/office/drawing/2014/main" id="{E1713807-7300-47CF-A765-9611D1B9419B}"/>
              </a:ext>
            </a:extLst>
          </p:cNvPr>
          <p:cNvCxnSpPr>
            <a:cxnSpLocks/>
          </p:cNvCxnSpPr>
          <p:nvPr/>
        </p:nvCxnSpPr>
        <p:spPr>
          <a:xfrm>
            <a:off x="224118" y="5615688"/>
            <a:ext cx="11704320" cy="392"/>
          </a:xfrm>
          <a:prstGeom prst="line">
            <a:avLst/>
          </a:prstGeom>
          <a:ln w="6350" cap="flat">
            <a:solidFill>
              <a:schemeClr val="bg1">
                <a:lumMod val="6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86131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78E2C1A1-098B-ABFF-9973-96E7F72735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6" hidden="1">
                        <a:extLst>
                          <a:ext uri="{FF2B5EF4-FFF2-40B4-BE49-F238E27FC236}">
                            <a16:creationId xmlns:a16="http://schemas.microsoft.com/office/drawing/2014/main" id="{78E2C1A1-098B-ABFF-9973-96E7F72735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559CC6C-622A-8AC1-CA5D-653CC66C65DF}"/>
              </a:ext>
            </a:extLst>
          </p:cNvPr>
          <p:cNvSpPr>
            <a:spLocks noGrp="1"/>
          </p:cNvSpPr>
          <p:nvPr>
            <p:ph type="body" sz="quarter" idx="10"/>
          </p:nvPr>
        </p:nvSpPr>
        <p:spPr/>
        <p:txBody>
          <a:bodyPr/>
          <a:lstStyle/>
          <a:p>
            <a:pPr algn="l" rtl="0"/>
            <a:endParaRPr lang="en-US"/>
          </a:p>
        </p:txBody>
      </p:sp>
      <p:cxnSp>
        <p:nvCxnSpPr>
          <p:cNvPr id="11" name="Straight Connector 10">
            <a:extLst>
              <a:ext uri="{FF2B5EF4-FFF2-40B4-BE49-F238E27FC236}">
                <a16:creationId xmlns:a16="http://schemas.microsoft.com/office/drawing/2014/main" id="{41D25A09-B9E4-E9DE-AA5E-F32452D5E839}"/>
              </a:ext>
            </a:extLst>
          </p:cNvPr>
          <p:cNvCxnSpPr>
            <a:cxnSpLocks/>
          </p:cNvCxnSpPr>
          <p:nvPr/>
        </p:nvCxnSpPr>
        <p:spPr>
          <a:xfrm>
            <a:off x="554736" y="1565724"/>
            <a:ext cx="11082528" cy="392"/>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4A94B3C-7B4E-F08C-10B9-984F0EA51508}"/>
              </a:ext>
            </a:extLst>
          </p:cNvPr>
          <p:cNvSpPr txBox="1"/>
          <p:nvPr/>
        </p:nvSpPr>
        <p:spPr>
          <a:xfrm>
            <a:off x="554737" y="1309587"/>
            <a:ext cx="2090493" cy="215444"/>
          </a:xfrm>
          <a:prstGeom prst="rect">
            <a:avLst/>
          </a:prstGeom>
        </p:spPr>
        <p:txBody>
          <a:bodyPr vert="horz" wrap="square" lIns="0" tIns="0" rIns="0" bIns="0" rtlCol="0" anchor="b">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cteur d'activité</a:t>
            </a:r>
          </a:p>
        </p:txBody>
      </p:sp>
      <p:sp>
        <p:nvSpPr>
          <p:cNvPr id="26" name="TextBox 25">
            <a:extLst>
              <a:ext uri="{FF2B5EF4-FFF2-40B4-BE49-F238E27FC236}">
                <a16:creationId xmlns:a16="http://schemas.microsoft.com/office/drawing/2014/main" id="{495E5AE8-FA1E-E600-320F-79C0F5F12BE0}"/>
              </a:ext>
            </a:extLst>
          </p:cNvPr>
          <p:cNvSpPr txBox="1">
            <a:spLocks/>
          </p:cNvSpPr>
          <p:nvPr/>
        </p:nvSpPr>
        <p:spPr>
          <a:xfrm>
            <a:off x="2105309" y="1329934"/>
            <a:ext cx="4816134" cy="215444"/>
          </a:xfrm>
          <a:prstGeom prst="rect">
            <a:avLst/>
          </a:prstGeom>
        </p:spPr>
        <p:txBody>
          <a:bodyPr vert="horz" wrap="square" lIns="0" tIns="0" rIns="0" bIns="0" rtlCol="0" anchor="b">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tivité</a:t>
            </a:r>
          </a:p>
        </p:txBody>
      </p:sp>
      <p:grpSp>
        <p:nvGrpSpPr>
          <p:cNvPr id="12" name="Group 11">
            <a:extLst>
              <a:ext uri="{FF2B5EF4-FFF2-40B4-BE49-F238E27FC236}">
                <a16:creationId xmlns:a16="http://schemas.microsoft.com/office/drawing/2014/main" id="{0558AE97-DFB5-BC8E-72B6-CF9EF7F855C5}"/>
              </a:ext>
            </a:extLst>
          </p:cNvPr>
          <p:cNvGrpSpPr/>
          <p:nvPr/>
        </p:nvGrpSpPr>
        <p:grpSpPr>
          <a:xfrm>
            <a:off x="554735" y="1585773"/>
            <a:ext cx="11397688" cy="4234002"/>
            <a:chOff x="554735" y="5067340"/>
            <a:chExt cx="11397688" cy="3495829"/>
          </a:xfrm>
        </p:grpSpPr>
        <p:sp>
          <p:nvSpPr>
            <p:cNvPr id="14" name="Rectangle 13">
              <a:extLst>
                <a:ext uri="{FF2B5EF4-FFF2-40B4-BE49-F238E27FC236}">
                  <a16:creationId xmlns:a16="http://schemas.microsoft.com/office/drawing/2014/main" id="{91449F52-3237-1275-8ABA-E9FD46252AAD}"/>
                </a:ext>
              </a:extLst>
            </p:cNvPr>
            <p:cNvSpPr>
              <a:spLocks/>
            </p:cNvSpPr>
            <p:nvPr/>
          </p:nvSpPr>
          <p:spPr>
            <a:xfrm>
              <a:off x="554735" y="5098609"/>
              <a:ext cx="1415011" cy="346142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b="1" dirty="0">
                  <a:solidFill>
                    <a:schemeClr val="bg1"/>
                  </a:solidFill>
                  <a:latin typeface="Arial"/>
                </a:rPr>
                <a:t>Achats et logistique</a:t>
              </a:r>
              <a:endParaRPr kumimoji="0" lang="en-GB" b="1" i="0" u="none" strike="noStrike" kern="1200" cap="none" spc="0" normalizeH="0" baseline="0" noProof="0" dirty="0">
                <a:ln>
                  <a:noFill/>
                </a:ln>
                <a:solidFill>
                  <a:schemeClr val="bg1"/>
                </a:solidFill>
                <a:effectLst/>
                <a:uLnTx/>
                <a:uFillTx/>
                <a:latin typeface="Arial"/>
                <a:ea typeface="+mn-ea"/>
                <a:cs typeface="+mn-cs"/>
              </a:endParaRPr>
            </a:p>
          </p:txBody>
        </p:sp>
        <p:sp>
          <p:nvSpPr>
            <p:cNvPr id="16" name="TextBox 15">
              <a:extLst>
                <a:ext uri="{FF2B5EF4-FFF2-40B4-BE49-F238E27FC236}">
                  <a16:creationId xmlns:a16="http://schemas.microsoft.com/office/drawing/2014/main" id="{0A216C4B-CBC6-47FD-FE68-D8F87A68F2FA}"/>
                </a:ext>
              </a:extLst>
            </p:cNvPr>
            <p:cNvSpPr txBox="1"/>
            <p:nvPr/>
          </p:nvSpPr>
          <p:spPr>
            <a:xfrm>
              <a:off x="2105309" y="5067340"/>
              <a:ext cx="9847114" cy="3495829"/>
            </a:xfrm>
            <a:prstGeom prst="rect">
              <a:avLst/>
            </a:prstGeom>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lang="en-GB" sz="1800" dirty="0">
                  <a:latin typeface="Arial"/>
                </a:rPr>
                <a:t>Maintenir</a:t>
              </a:r>
              <a:r>
                <a:rPr kumimoji="0" lang="en-GB" sz="1800" i="0" u="none" strike="noStrike" kern="1200" cap="none" spc="0" normalizeH="0" baseline="0" noProof="0" dirty="0">
                  <a:ln>
                    <a:noFill/>
                  </a:ln>
                  <a:effectLst/>
                  <a:uLnTx/>
                  <a:uFillTx/>
                  <a:latin typeface="Arial"/>
                  <a:ea typeface="+mn-ea"/>
                  <a:cs typeface="+mn-cs"/>
                </a:rPr>
                <a:t>capacité de stockage de la chaîne du froid à tous les niveaux, c'est-à-dire central, siège, régional, États membres</a:t>
              </a:r>
            </a:p>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kumimoji="0" lang="en-GB" sz="1800" i="0" u="none" strike="noStrike" kern="1200" cap="none" spc="0" normalizeH="0" baseline="0" noProof="0" dirty="0">
                  <a:ln>
                    <a:noFill/>
                  </a:ln>
                  <a:effectLst/>
                  <a:uLnTx/>
                  <a:uFillTx/>
                  <a:latin typeface="Arial"/>
                  <a:ea typeface="+mn-ea"/>
                  <a:cs typeface="+mn-cs"/>
                </a:rPr>
                <a:t>Continuer à acheter et à commander du matériel de laboratoire pour la génomique</a:t>
              </a:r>
            </a:p>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kumimoji="0" lang="en-GB" sz="1800" i="0" u="none" strike="noStrike" kern="1200" cap="none" spc="0" normalizeH="0" baseline="0" noProof="0" dirty="0">
                  <a:ln>
                    <a:noFill/>
                  </a:ln>
                  <a:effectLst/>
                  <a:uLnTx/>
                  <a:uFillTx/>
                  <a:latin typeface="Arial"/>
                  <a:ea typeface="+mn-ea"/>
                  <a:cs typeface="+mn-cs"/>
                </a:rPr>
                <a:t>Continuer à acheter des équipements/ressources pour les activités non liées à la COVID-19 pendant la prestation de services intégrés (au cas par cas)</a:t>
              </a:r>
            </a:p>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kumimoji="0" lang="en-GB" sz="1800" i="0" u="none" strike="noStrike" kern="1200" cap="none" spc="0" normalizeH="0" baseline="0" noProof="0" dirty="0">
                  <a:ln>
                    <a:noFill/>
                  </a:ln>
                  <a:effectLst/>
                  <a:uLnTx/>
                  <a:uFillTx/>
                  <a:latin typeface="Arial"/>
                  <a:ea typeface="+mn-ea"/>
                  <a:cs typeface="+mn-cs"/>
                </a:rPr>
                <a:t>Formation du personnel de la chaîne d'approvisionnement des États membres sur la gestion intégrée des stocks de vaccins, la planification des approvisionnements, le stockage et le transport/expédition des vaccins dans le pays, y compris les formateurs de formateurs</a:t>
              </a:r>
            </a:p>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kumimoji="0" lang="en-GB" sz="1800" i="0" u="none" strike="noStrike" kern="1200" cap="none" spc="0" normalizeH="0" baseline="0" noProof="0" dirty="0">
                  <a:ln>
                    <a:noFill/>
                  </a:ln>
                  <a:effectLst/>
                  <a:uLnTx/>
                  <a:uFillTx/>
                  <a:latin typeface="Arial"/>
                  <a:ea typeface="+mn-ea"/>
                  <a:cs typeface="+mn-cs"/>
                </a:rPr>
                <a:t>Identifier, intégrer et renforcer les partenaires logistiques africains pour soutenir la livraison des produits sur le continent.</a:t>
              </a:r>
            </a:p>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kumimoji="0" lang="en-GB" sz="1800" i="0" u="none" strike="noStrike" kern="1200" cap="none" spc="0" normalizeH="0" baseline="0" noProof="0" dirty="0">
                  <a:ln>
                    <a:noFill/>
                  </a:ln>
                  <a:effectLst/>
                  <a:uLnTx/>
                  <a:uFillTx/>
                  <a:latin typeface="Arial"/>
                  <a:ea typeface="+mn-ea"/>
                  <a:cs typeface="+mn-cs"/>
                </a:rPr>
                <a:t>Construire</a:t>
              </a:r>
              <a:r>
                <a:rPr lang="en-GB" sz="1800" dirty="0">
                  <a:latin typeface="Arial"/>
                </a:rPr>
                <a:t>systèmes de données interopérables au niveau national</a:t>
              </a:r>
              <a:endParaRPr kumimoji="0" lang="en-GB" sz="1800" i="0" u="none" strike="noStrike" kern="1200" cap="none" spc="0" normalizeH="0" baseline="0" noProof="0" dirty="0">
                <a:ln>
                  <a:noFill/>
                </a:ln>
                <a:effectLst/>
                <a:uLnTx/>
                <a:uFillTx/>
                <a:latin typeface="Arial"/>
                <a:ea typeface="+mn-ea"/>
                <a:cs typeface="+mn-cs"/>
              </a:endParaRPr>
            </a:p>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kumimoji="0" lang="en-GB" sz="1800" i="0" u="none" strike="noStrike" kern="1200" cap="none" spc="0" normalizeH="0" baseline="0" noProof="0" dirty="0">
                  <a:ln>
                    <a:noFill/>
                  </a:ln>
                  <a:effectLst/>
                  <a:uLnTx/>
                  <a:uFillTx/>
                  <a:latin typeface="Arial"/>
                  <a:ea typeface="+mn-ea"/>
                  <a:cs typeface="+mn-cs"/>
                </a:rPr>
                <a:t>Durabilité de la propriété/gestion d’actifs de tout investissement,</a:t>
              </a:r>
            </a:p>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kumimoji="0" lang="en-GB" sz="1800" i="0" u="none" strike="noStrike" kern="1200" cap="none" spc="0" normalizeH="0" baseline="0" noProof="0" dirty="0">
                  <a:ln>
                    <a:noFill/>
                  </a:ln>
                  <a:effectLst/>
                  <a:uLnTx/>
                  <a:uFillTx/>
                  <a:latin typeface="Arial"/>
                  <a:ea typeface="+mn-ea"/>
                  <a:cs typeface="+mn-cs"/>
                </a:rPr>
                <a:t>Stocker les vaccins et les consommables auxiliaires</a:t>
              </a:r>
              <a:endParaRPr kumimoji="0" lang="en-GB" sz="1800" b="1" i="0" u="none" strike="noStrike" kern="1200" cap="none" spc="0" normalizeH="0" baseline="0" noProof="0" dirty="0">
                <a:ln>
                  <a:noFill/>
                </a:ln>
                <a:solidFill>
                  <a:srgbClr val="FF0000"/>
                </a:solidFill>
                <a:effectLst/>
                <a:uLnTx/>
                <a:uFillTx/>
                <a:latin typeface="Arial"/>
                <a:ea typeface="+mn-ea"/>
                <a:cs typeface="+mn-cs"/>
              </a:endParaRPr>
            </a:p>
          </p:txBody>
        </p:sp>
      </p:grpSp>
      <p:sp>
        <p:nvSpPr>
          <p:cNvPr id="6" name="Title 2">
            <a:extLst>
              <a:ext uri="{FF2B5EF4-FFF2-40B4-BE49-F238E27FC236}">
                <a16:creationId xmlns:a16="http://schemas.microsoft.com/office/drawing/2014/main" id="{8BA72B17-37DC-DF4D-04D8-0815994F9DD3}"/>
              </a:ext>
            </a:extLst>
          </p:cNvPr>
          <p:cNvSpPr>
            <a:spLocks noGrp="1"/>
          </p:cNvSpPr>
          <p:nvPr>
            <p:ph type="title"/>
          </p:nvPr>
        </p:nvSpPr>
        <p:spPr>
          <a:xfrm>
            <a:off x="1653170" y="405235"/>
            <a:ext cx="9570642" cy="731520"/>
          </a:xfrm>
        </p:spPr>
        <p:txBody>
          <a:bodyPr/>
          <a:lstStyle/>
          <a:p>
            <a:pPr algn="l" rtl="0"/>
            <a:r>
              <a:rPr lang="en-US" dirty="0"/>
              <a:t>Objectif A : Terminer le travail – Protéger les groupes prioritaires</a:t>
            </a:r>
          </a:p>
        </p:txBody>
      </p:sp>
    </p:spTree>
    <p:extLst>
      <p:ext uri="{BB962C8B-B14F-4D97-AF65-F5344CB8AC3E}">
        <p14:creationId xmlns:p14="http://schemas.microsoft.com/office/powerpoint/2010/main" val="24482140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04059E-38F3-4682-A449-1A3F0D40614B}"/>
              </a:ext>
            </a:extLst>
          </p:cNvPr>
          <p:cNvSpPr>
            <a:spLocks noGrp="1"/>
          </p:cNvSpPr>
          <p:nvPr>
            <p:ph type="body" sz="quarter" idx="10"/>
          </p:nvPr>
        </p:nvSpPr>
        <p:spPr/>
        <p:txBody>
          <a:bodyPr/>
          <a:lstStyle/>
          <a:p>
            <a:pPr algn="l" rtl="0"/>
            <a:endParaRPr lang="en-US"/>
          </a:p>
        </p:txBody>
      </p:sp>
      <p:sp>
        <p:nvSpPr>
          <p:cNvPr id="3" name="Title 2">
            <a:extLst>
              <a:ext uri="{FF2B5EF4-FFF2-40B4-BE49-F238E27FC236}">
                <a16:creationId xmlns:a16="http://schemas.microsoft.com/office/drawing/2014/main" id="{FF705949-C936-4B92-8F14-D86B06005294}"/>
              </a:ext>
            </a:extLst>
          </p:cNvPr>
          <p:cNvSpPr>
            <a:spLocks noGrp="1"/>
          </p:cNvSpPr>
          <p:nvPr>
            <p:ph type="title"/>
          </p:nvPr>
        </p:nvSpPr>
        <p:spPr>
          <a:xfrm>
            <a:off x="1653169" y="405235"/>
            <a:ext cx="9552711" cy="731520"/>
          </a:xfrm>
        </p:spPr>
        <p:txBody>
          <a:bodyPr/>
          <a:lstStyle/>
          <a:p>
            <a:pPr algn="l" rtl="0"/>
            <a:r>
              <a:rPr lang="en-US" dirty="0"/>
              <a:t>Objectif A : Terminer le travail – Protéger les groupes prioritaires</a:t>
            </a:r>
          </a:p>
        </p:txBody>
      </p:sp>
      <p:sp>
        <p:nvSpPr>
          <p:cNvPr id="4" name="Subtitle 3">
            <a:extLst>
              <a:ext uri="{FF2B5EF4-FFF2-40B4-BE49-F238E27FC236}">
                <a16:creationId xmlns:a16="http://schemas.microsoft.com/office/drawing/2014/main" id="{D057F0E4-918C-41EB-B69C-421D1A4287F7}"/>
              </a:ext>
            </a:extLst>
          </p:cNvPr>
          <p:cNvSpPr>
            <a:spLocks noGrp="1"/>
          </p:cNvSpPr>
          <p:nvPr>
            <p:ph type="subTitle" idx="1"/>
          </p:nvPr>
        </p:nvSpPr>
        <p:spPr>
          <a:xfrm>
            <a:off x="1436016" y="385183"/>
            <a:ext cx="9769865" cy="917081"/>
          </a:xfrm>
        </p:spPr>
        <p:txBody>
          <a:bodyPr/>
          <a:lstStyle/>
          <a:p>
            <a:pPr algn="l" rtl="0">
              <a:buNone/>
            </a:pPr>
            <a:br>
              <a:rPr lang="en-US" dirty="0"/>
            </a:br>
            <a:endParaRPr lang="en-US" dirty="0"/>
          </a:p>
          <a:p>
            <a:pPr algn="l" rtl="0">
              <a:buNone/>
            </a:pPr>
            <a:endParaRPr lang="en-US" dirty="0"/>
          </a:p>
        </p:txBody>
      </p:sp>
      <p:sp>
        <p:nvSpPr>
          <p:cNvPr id="6" name="Rectangle 5">
            <a:extLst>
              <a:ext uri="{FF2B5EF4-FFF2-40B4-BE49-F238E27FC236}">
                <a16:creationId xmlns:a16="http://schemas.microsoft.com/office/drawing/2014/main" id="{69A6AE75-FFBF-4B1A-9460-5A5E4993917A}"/>
              </a:ext>
            </a:extLst>
          </p:cNvPr>
          <p:cNvSpPr>
            <a:spLocks/>
          </p:cNvSpPr>
          <p:nvPr/>
        </p:nvSpPr>
        <p:spPr>
          <a:xfrm>
            <a:off x="1857375" y="2732341"/>
            <a:ext cx="9847114" cy="2053230"/>
          </a:xfrm>
          <a:prstGeom prst="rect">
            <a:avLst/>
          </a:prstGeom>
          <a:solidFill>
            <a:schemeClr val="accent3">
              <a:lumMod val="20000"/>
              <a:lumOff val="80000"/>
              <a:alpha val="2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algn="l" rtl="0">
              <a:spcBef>
                <a:spcPts val="300"/>
              </a:spcBef>
              <a:spcAft>
                <a:spcPts val="300"/>
              </a:spcAft>
            </a:pPr>
            <a:endParaRPr lang="de-DE" sz="1400" dirty="0" err="1">
              <a:solidFill>
                <a:srgbClr val="000000"/>
              </a:solidFill>
            </a:endParaRPr>
          </a:p>
        </p:txBody>
      </p:sp>
      <p:sp>
        <p:nvSpPr>
          <p:cNvPr id="7" name="Title 4">
            <a:extLst>
              <a:ext uri="{FF2B5EF4-FFF2-40B4-BE49-F238E27FC236}">
                <a16:creationId xmlns:a16="http://schemas.microsoft.com/office/drawing/2014/main" id="{5F8E6523-4FDC-4CE6-AAEF-BDFAF31590E5}"/>
              </a:ext>
            </a:extLst>
          </p:cNvPr>
          <p:cNvSpPr txBox="1">
            <a:spLocks/>
          </p:cNvSpPr>
          <p:nvPr/>
        </p:nvSpPr>
        <p:spPr>
          <a:xfrm>
            <a:off x="1653170" y="134291"/>
            <a:ext cx="9102813" cy="769441"/>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5"/>
                </a:solidFill>
                <a:latin typeface="+mj-lt"/>
                <a:ea typeface="+mj-ea"/>
                <a:cs typeface="+mj-cs"/>
              </a:defRPr>
            </a:lvl1pPr>
          </a:lstStyle>
          <a:p>
            <a:pPr algn="l" rtl="0">
              <a:buClrTx/>
              <a:buFontTx/>
            </a:pPr>
            <a:endParaRPr lang="en-US" dirty="0"/>
          </a:p>
        </p:txBody>
      </p:sp>
      <p:sp>
        <p:nvSpPr>
          <p:cNvPr id="8" name="Rectangle 7">
            <a:extLst>
              <a:ext uri="{FF2B5EF4-FFF2-40B4-BE49-F238E27FC236}">
                <a16:creationId xmlns:a16="http://schemas.microsoft.com/office/drawing/2014/main" id="{F291B310-15FB-4339-8E1F-9D85D7A01C74}"/>
              </a:ext>
            </a:extLst>
          </p:cNvPr>
          <p:cNvSpPr>
            <a:spLocks/>
          </p:cNvSpPr>
          <p:nvPr/>
        </p:nvSpPr>
        <p:spPr>
          <a:xfrm>
            <a:off x="224118" y="1580303"/>
            <a:ext cx="1429053" cy="34246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eaLnBrk="1" fontAlgn="auto" hangingPunct="1">
              <a:spcBef>
                <a:spcPts val="300"/>
              </a:spcBef>
              <a:spcAft>
                <a:spcPts val="300"/>
              </a:spcAft>
            </a:pPr>
            <a:r>
              <a:rPr lang="en-US" b="1" dirty="0">
                <a:solidFill>
                  <a:srgbClr val="FFFFFF"/>
                </a:solidFill>
              </a:rPr>
              <a:t>Surveillance des MAPI</a:t>
            </a:r>
            <a:endParaRPr lang="en-GB" b="1" dirty="0">
              <a:solidFill>
                <a:srgbClr val="FFFFFF"/>
              </a:solidFill>
            </a:endParaRPr>
          </a:p>
        </p:txBody>
      </p:sp>
      <p:sp>
        <p:nvSpPr>
          <p:cNvPr id="9" name="TextBox 8">
            <a:extLst>
              <a:ext uri="{FF2B5EF4-FFF2-40B4-BE49-F238E27FC236}">
                <a16:creationId xmlns:a16="http://schemas.microsoft.com/office/drawing/2014/main" id="{30248172-83E5-4281-9683-10E50A364D35}"/>
              </a:ext>
            </a:extLst>
          </p:cNvPr>
          <p:cNvSpPr txBox="1"/>
          <p:nvPr/>
        </p:nvSpPr>
        <p:spPr>
          <a:xfrm>
            <a:off x="1889751" y="1634921"/>
            <a:ext cx="9847114" cy="3957494"/>
          </a:xfrm>
          <a:prstGeom prst="rect">
            <a:avLst/>
          </a:prstGeom>
          <a:noFill/>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algn="l" rtl="0">
              <a:buNone/>
            </a:pPr>
            <a:r>
              <a:rPr lang="en-US" sz="2000" kern="1200" dirty="0">
                <a:cs typeface="Arial"/>
              </a:rPr>
              <a:t>Formation et renforcement des capacités du responsable de la pharmacovigilance aux niveaux national et infranational</a:t>
            </a:r>
          </a:p>
          <a:p>
            <a:pPr marL="171450" indent="-171450" algn="l" rtl="0">
              <a:buFont typeface="Arial" panose="020B0604020202020204" pitchFamily="34" charset="0"/>
              <a:buChar char="•"/>
            </a:pPr>
            <a:endParaRPr lang="en-US" sz="2000" kern="1200" dirty="0">
              <a:cs typeface="Arial"/>
            </a:endParaRPr>
          </a:p>
          <a:p>
            <a:pPr algn="l" rtl="0">
              <a:buNone/>
            </a:pPr>
            <a:r>
              <a:rPr lang="en-US" sz="2000" kern="1200" dirty="0">
                <a:solidFill>
                  <a:schemeClr val="tx1"/>
                </a:solidFill>
                <a:cs typeface="Arial"/>
              </a:rPr>
              <a:t>Développement et impression d'outils MAPI</a:t>
            </a:r>
          </a:p>
          <a:p>
            <a:pPr marL="171450" indent="-171450" algn="l" rtl="0">
              <a:buFont typeface="Arial" panose="020B0604020202020204" pitchFamily="34" charset="0"/>
              <a:buChar char="•"/>
            </a:pPr>
            <a:endParaRPr lang="en-US" sz="2000" kern="1200" dirty="0">
              <a:cs typeface="Arial"/>
            </a:endParaRPr>
          </a:p>
          <a:p>
            <a:pPr marL="0" lvl="1" indent="0" algn="l" rtl="0">
              <a:spcBef>
                <a:spcPts val="300"/>
              </a:spcBef>
              <a:buSzPct val="100000"/>
              <a:buNone/>
              <a:tabLst>
                <a:tab pos="457200" algn="l"/>
              </a:tabLst>
              <a:defRPr/>
            </a:pPr>
            <a:r>
              <a:rPr lang="en-GB" sz="2000" kern="1200" dirty="0">
                <a:solidFill>
                  <a:schemeClr val="tx1"/>
                </a:solidFill>
              </a:rPr>
              <a:t>Renforcer</a:t>
            </a:r>
            <a:r>
              <a:rPr lang="en-US" sz="2000" kern="1200" dirty="0">
                <a:solidFill>
                  <a:schemeClr val="tx1"/>
                </a:solidFill>
              </a:rPr>
              <a:t>Développement et impression d'outils MAPI</a:t>
            </a:r>
            <a:r>
              <a:rPr lang="en-GB" sz="2000" kern="1200" dirty="0">
                <a:solidFill>
                  <a:schemeClr val="tx1"/>
                </a:solidFill>
              </a:rPr>
              <a:t>et surveillance de la sécurité</a:t>
            </a:r>
          </a:p>
          <a:p>
            <a:pPr lvl="1" algn="l" rtl="0">
              <a:spcAft>
                <a:spcPts val="600"/>
              </a:spcAft>
              <a:buClr>
                <a:srgbClr val="000000"/>
              </a:buClr>
              <a:buFont typeface="Arial" panose="020B0604020202020204" pitchFamily="34" charset="0"/>
              <a:buChar char="•"/>
              <a:tabLst>
                <a:tab pos="457200" algn="l"/>
              </a:tabLst>
              <a:defRPr/>
            </a:pPr>
            <a:endParaRPr lang="en-GB" sz="2000" kern="1200" dirty="0"/>
          </a:p>
          <a:p>
            <a:pPr marL="0" lvl="1" indent="0" algn="l" rtl="0">
              <a:spcAft>
                <a:spcPts val="600"/>
              </a:spcAft>
              <a:buClr>
                <a:srgbClr val="000000"/>
              </a:buClr>
              <a:buNone/>
              <a:tabLst>
                <a:tab pos="457200" algn="l"/>
              </a:tabLst>
              <a:defRPr/>
            </a:pPr>
            <a:r>
              <a:rPr lang="en-GB" sz="2000" kern="1200" dirty="0"/>
              <a:t>Développer des stratégies globales qui amélioreront/promouvoiront l’utilisation de la plateforme de reporting dans le traitement des données MAPI/AESI</a:t>
            </a:r>
          </a:p>
          <a:p>
            <a:pPr marL="228600" marR="0" lvl="1" indent="-228600" algn="l" defTabSz="914400" rtl="0" eaLnBrk="1" fontAlgn="auto" latinLnBrk="0" hangingPunct="1">
              <a:lnSpc>
                <a:spcPct val="100000"/>
              </a:lnSpc>
              <a:spcBef>
                <a:spcPts val="0"/>
              </a:spcBef>
              <a:spcAft>
                <a:spcPts val="700"/>
              </a:spcAft>
              <a:buClr>
                <a:srgbClr val="000000"/>
              </a:buClr>
              <a:buSzPct val="110000"/>
              <a:buFont typeface="Arial" panose="020B0604020202020204" pitchFamily="34" charset="0"/>
              <a:buChar char="•"/>
              <a:tabLst>
                <a:tab pos="457200" algn="l"/>
              </a:tabLst>
              <a:defRPr/>
            </a:pPr>
            <a:endParaRPr lang="en-GB" sz="1100" kern="1200" dirty="0">
              <a:latin typeface="Arial"/>
              <a:ea typeface="+mn-ea"/>
              <a:cs typeface="+mn-cs"/>
            </a:endParaRPr>
          </a:p>
          <a:p>
            <a:pPr marL="228600" marR="0" lvl="1" indent="-228600" algn="l" defTabSz="914400" rtl="0" eaLnBrk="1" fontAlgn="auto" latinLnBrk="0" hangingPunct="1">
              <a:lnSpc>
                <a:spcPct val="100000"/>
              </a:lnSpc>
              <a:spcBef>
                <a:spcPts val="0"/>
              </a:spcBef>
              <a:spcAft>
                <a:spcPts val="700"/>
              </a:spcAft>
              <a:buClr>
                <a:srgbClr val="000000"/>
              </a:buClr>
              <a:buSzPct val="110000"/>
              <a:buFont typeface="Arial" panose="020B0604020202020204" pitchFamily="34" charset="0"/>
              <a:buChar char="•"/>
              <a:tabLst>
                <a:tab pos="457200" algn="l"/>
              </a:tabLst>
              <a:defRPr/>
            </a:pPr>
            <a:endParaRPr kumimoji="0" lang="en-GB" sz="1100" b="0" i="0" u="none" strike="noStrike" kern="1200" cap="none" spc="0" normalizeH="0" baseline="0" noProof="0" dirty="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700"/>
              </a:spcAft>
              <a:buClr>
                <a:srgbClr val="000000"/>
              </a:buClr>
              <a:buSzPct val="110000"/>
              <a:buFont typeface="Arial" panose="020B0604020202020204" pitchFamily="34" charset="0"/>
              <a:buChar char="•"/>
              <a:tabLst>
                <a:tab pos="457200" algn="l"/>
              </a:tabLst>
              <a:defRPr/>
            </a:pPr>
            <a:endParaRPr kumimoji="0" lang="en-GB" sz="1100" b="0" i="0" u="none" strike="noStrike" kern="1200" cap="none" spc="0" normalizeH="0" baseline="0" noProof="0" dirty="0">
              <a:ln>
                <a:noFill/>
              </a:ln>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6976740C-436C-4359-94A4-0D1C33939C3C}"/>
              </a:ext>
            </a:extLst>
          </p:cNvPr>
          <p:cNvCxnSpPr>
            <a:cxnSpLocks/>
          </p:cNvCxnSpPr>
          <p:nvPr/>
        </p:nvCxnSpPr>
        <p:spPr>
          <a:xfrm>
            <a:off x="224118" y="1517585"/>
            <a:ext cx="11704320" cy="392"/>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03C529B-8FD1-4AB8-BEBC-FC5D76F4032D}"/>
              </a:ext>
            </a:extLst>
          </p:cNvPr>
          <p:cNvSpPr txBox="1">
            <a:spLocks/>
          </p:cNvSpPr>
          <p:nvPr/>
        </p:nvSpPr>
        <p:spPr>
          <a:xfrm>
            <a:off x="229919" y="1302265"/>
            <a:ext cx="1082870"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cteur d'activité</a:t>
            </a:r>
          </a:p>
        </p:txBody>
      </p:sp>
      <p:sp>
        <p:nvSpPr>
          <p:cNvPr id="12" name="TextBox 11">
            <a:extLst>
              <a:ext uri="{FF2B5EF4-FFF2-40B4-BE49-F238E27FC236}">
                <a16:creationId xmlns:a16="http://schemas.microsoft.com/office/drawing/2014/main" id="{65364D5F-6482-4E84-8BB5-F1EFD9B21FBC}"/>
              </a:ext>
            </a:extLst>
          </p:cNvPr>
          <p:cNvSpPr txBox="1">
            <a:spLocks/>
          </p:cNvSpPr>
          <p:nvPr/>
        </p:nvSpPr>
        <p:spPr>
          <a:xfrm>
            <a:off x="1889751" y="1336581"/>
            <a:ext cx="9856089"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tivité</a:t>
            </a:r>
          </a:p>
        </p:txBody>
      </p:sp>
      <p:cxnSp>
        <p:nvCxnSpPr>
          <p:cNvPr id="20" name="Straight Connector 19">
            <a:extLst>
              <a:ext uri="{FF2B5EF4-FFF2-40B4-BE49-F238E27FC236}">
                <a16:creationId xmlns:a16="http://schemas.microsoft.com/office/drawing/2014/main" id="{E1713807-7300-47CF-A765-9611D1B9419B}"/>
              </a:ext>
            </a:extLst>
          </p:cNvPr>
          <p:cNvCxnSpPr>
            <a:cxnSpLocks/>
          </p:cNvCxnSpPr>
          <p:nvPr/>
        </p:nvCxnSpPr>
        <p:spPr>
          <a:xfrm>
            <a:off x="224118" y="5067266"/>
            <a:ext cx="11704320" cy="392"/>
          </a:xfrm>
          <a:prstGeom prst="line">
            <a:avLst/>
          </a:prstGeom>
          <a:ln w="6350" cap="flat">
            <a:solidFill>
              <a:schemeClr val="bg1">
                <a:lumMod val="6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56523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04059E-38F3-4682-A449-1A3F0D40614B}"/>
              </a:ext>
            </a:extLst>
          </p:cNvPr>
          <p:cNvSpPr>
            <a:spLocks noGrp="1"/>
          </p:cNvSpPr>
          <p:nvPr>
            <p:ph type="body" sz="quarter" idx="10"/>
          </p:nvPr>
        </p:nvSpPr>
        <p:spPr/>
        <p:txBody>
          <a:bodyPr/>
          <a:lstStyle/>
          <a:p>
            <a:pPr algn="l" rtl="0"/>
            <a:endParaRPr lang="en-US"/>
          </a:p>
        </p:txBody>
      </p:sp>
      <p:sp>
        <p:nvSpPr>
          <p:cNvPr id="3" name="Title 2">
            <a:extLst>
              <a:ext uri="{FF2B5EF4-FFF2-40B4-BE49-F238E27FC236}">
                <a16:creationId xmlns:a16="http://schemas.microsoft.com/office/drawing/2014/main" id="{FF705949-C936-4B92-8F14-D86B06005294}"/>
              </a:ext>
            </a:extLst>
          </p:cNvPr>
          <p:cNvSpPr>
            <a:spLocks noGrp="1"/>
          </p:cNvSpPr>
          <p:nvPr>
            <p:ph type="title"/>
          </p:nvPr>
        </p:nvSpPr>
        <p:spPr>
          <a:xfrm>
            <a:off x="1874396" y="467701"/>
            <a:ext cx="9714077" cy="731520"/>
          </a:xfrm>
        </p:spPr>
        <p:txBody>
          <a:bodyPr/>
          <a:lstStyle/>
          <a:p>
            <a:pPr algn="l" rtl="0"/>
            <a:r>
              <a:rPr lang="en-US" dirty="0"/>
              <a:t>Objectif B : Intégrer la gestion du Covid-19 dans la vaccination de routine</a:t>
            </a:r>
          </a:p>
        </p:txBody>
      </p:sp>
      <p:sp>
        <p:nvSpPr>
          <p:cNvPr id="4" name="Subtitle 3">
            <a:extLst>
              <a:ext uri="{FF2B5EF4-FFF2-40B4-BE49-F238E27FC236}">
                <a16:creationId xmlns:a16="http://schemas.microsoft.com/office/drawing/2014/main" id="{D057F0E4-918C-41EB-B69C-421D1A4287F7}"/>
              </a:ext>
            </a:extLst>
          </p:cNvPr>
          <p:cNvSpPr>
            <a:spLocks noGrp="1"/>
          </p:cNvSpPr>
          <p:nvPr>
            <p:ph type="subTitle" idx="1"/>
          </p:nvPr>
        </p:nvSpPr>
        <p:spPr>
          <a:xfrm>
            <a:off x="1653169" y="248624"/>
            <a:ext cx="9785795" cy="866681"/>
          </a:xfrm>
        </p:spPr>
        <p:txBody>
          <a:bodyPr/>
          <a:lstStyle/>
          <a:p>
            <a:pPr algn="l" rtl="0">
              <a:buNone/>
            </a:pPr>
            <a:br>
              <a:rPr lang="en-US" dirty="0"/>
            </a:br>
            <a:endParaRPr lang="en-US" dirty="0"/>
          </a:p>
        </p:txBody>
      </p:sp>
      <p:sp>
        <p:nvSpPr>
          <p:cNvPr id="6" name="Rectangle 5">
            <a:extLst>
              <a:ext uri="{FF2B5EF4-FFF2-40B4-BE49-F238E27FC236}">
                <a16:creationId xmlns:a16="http://schemas.microsoft.com/office/drawing/2014/main" id="{69A6AE75-FFBF-4B1A-9460-5A5E4993917A}"/>
              </a:ext>
            </a:extLst>
          </p:cNvPr>
          <p:cNvSpPr>
            <a:spLocks/>
          </p:cNvSpPr>
          <p:nvPr/>
        </p:nvSpPr>
        <p:spPr>
          <a:xfrm>
            <a:off x="1857375" y="2732341"/>
            <a:ext cx="9847114" cy="2053230"/>
          </a:xfrm>
          <a:prstGeom prst="rect">
            <a:avLst/>
          </a:prstGeom>
          <a:solidFill>
            <a:schemeClr val="accent3">
              <a:lumMod val="20000"/>
              <a:lumOff val="80000"/>
              <a:alpha val="2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algn="l" rtl="0">
              <a:spcBef>
                <a:spcPts val="300"/>
              </a:spcBef>
              <a:spcAft>
                <a:spcPts val="300"/>
              </a:spcAft>
            </a:pPr>
            <a:endParaRPr lang="de-DE" sz="1400" dirty="0" err="1">
              <a:solidFill>
                <a:srgbClr val="000000"/>
              </a:solidFill>
            </a:endParaRPr>
          </a:p>
        </p:txBody>
      </p:sp>
      <p:sp>
        <p:nvSpPr>
          <p:cNvPr id="7" name="Title 4">
            <a:extLst>
              <a:ext uri="{FF2B5EF4-FFF2-40B4-BE49-F238E27FC236}">
                <a16:creationId xmlns:a16="http://schemas.microsoft.com/office/drawing/2014/main" id="{5F8E6523-4FDC-4CE6-AAEF-BDFAF31590E5}"/>
              </a:ext>
            </a:extLst>
          </p:cNvPr>
          <p:cNvSpPr txBox="1">
            <a:spLocks/>
          </p:cNvSpPr>
          <p:nvPr/>
        </p:nvSpPr>
        <p:spPr>
          <a:xfrm>
            <a:off x="1653170" y="134291"/>
            <a:ext cx="9102813" cy="1243875"/>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5"/>
                </a:solidFill>
                <a:latin typeface="+mj-lt"/>
                <a:ea typeface="+mj-ea"/>
                <a:cs typeface="+mj-cs"/>
              </a:defRPr>
            </a:lvl1pPr>
          </a:lstStyle>
          <a:p>
            <a:pPr algn="l" rtl="0">
              <a:buClrTx/>
              <a:buFontTx/>
            </a:pPr>
            <a:endParaRPr lang="en-US" dirty="0"/>
          </a:p>
        </p:txBody>
      </p:sp>
      <p:sp>
        <p:nvSpPr>
          <p:cNvPr id="8" name="Rectangle 7">
            <a:extLst>
              <a:ext uri="{FF2B5EF4-FFF2-40B4-BE49-F238E27FC236}">
                <a16:creationId xmlns:a16="http://schemas.microsoft.com/office/drawing/2014/main" id="{F291B310-15FB-4339-8E1F-9D85D7A01C74}"/>
              </a:ext>
            </a:extLst>
          </p:cNvPr>
          <p:cNvSpPr>
            <a:spLocks/>
          </p:cNvSpPr>
          <p:nvPr/>
        </p:nvSpPr>
        <p:spPr>
          <a:xfrm>
            <a:off x="224118" y="1580303"/>
            <a:ext cx="1429053" cy="445469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eaLnBrk="1" fontAlgn="auto" hangingPunct="1">
              <a:spcBef>
                <a:spcPts val="300"/>
              </a:spcBef>
              <a:spcAft>
                <a:spcPts val="300"/>
              </a:spcAft>
            </a:pPr>
            <a:r>
              <a:rPr lang="en-GB" b="1" dirty="0">
                <a:solidFill>
                  <a:srgbClr val="FFFFFF"/>
                </a:solidFill>
              </a:rPr>
              <a:t>Vaccination tout au long de la vie</a:t>
            </a:r>
          </a:p>
        </p:txBody>
      </p:sp>
      <p:sp>
        <p:nvSpPr>
          <p:cNvPr id="9" name="TextBox 8">
            <a:extLst>
              <a:ext uri="{FF2B5EF4-FFF2-40B4-BE49-F238E27FC236}">
                <a16:creationId xmlns:a16="http://schemas.microsoft.com/office/drawing/2014/main" id="{30248172-83E5-4281-9683-10E50A364D35}"/>
              </a:ext>
            </a:extLst>
          </p:cNvPr>
          <p:cNvSpPr txBox="1"/>
          <p:nvPr/>
        </p:nvSpPr>
        <p:spPr>
          <a:xfrm>
            <a:off x="1800225" y="1647616"/>
            <a:ext cx="9847114" cy="4616648"/>
          </a:xfrm>
          <a:prstGeom prst="rect">
            <a:avLst/>
          </a:prstGeom>
          <a:noFill/>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algn="l" rtl="0">
              <a:buNone/>
            </a:pPr>
            <a:r>
              <a:rPr lang="en-US" sz="2000" kern="1200" dirty="0"/>
              <a:t>Développement de politiques de vaccination intégrées tout au long de la vie pour intégrer le COVID 19 et d'autres vaccins dans l'IR</a:t>
            </a:r>
          </a:p>
          <a:p>
            <a:pPr marL="171450" indent="-171450" algn="l" rtl="0">
              <a:buFont typeface="Arial" panose="020B0604020202020204" pitchFamily="34" charset="0"/>
              <a:buChar char="•"/>
            </a:pPr>
            <a:endParaRPr lang="en-US" sz="2000" kern="1200" dirty="0"/>
          </a:p>
          <a:p>
            <a:pPr algn="l" rtl="0">
              <a:buNone/>
            </a:pPr>
            <a:r>
              <a:rPr lang="en-US" sz="2000" kern="1200" dirty="0"/>
              <a:t>Élaboration de stratégies et de lignes directrices de vaccination intégrées tout au long de la vie</a:t>
            </a:r>
          </a:p>
          <a:p>
            <a:pPr marL="171450" indent="-171450" algn="l" rtl="0">
              <a:buFont typeface="Arial" panose="020B0604020202020204" pitchFamily="34" charset="0"/>
              <a:buChar char="•"/>
            </a:pPr>
            <a:endParaRPr lang="en-US" sz="2000" kern="1200" dirty="0"/>
          </a:p>
          <a:p>
            <a:pPr algn="l" rtl="0">
              <a:buNone/>
            </a:pPr>
            <a:r>
              <a:rPr lang="en-US" sz="2000" kern="1200" dirty="0"/>
              <a:t>Développement d’outils de vaccination intégrés tout au long de la vie</a:t>
            </a:r>
          </a:p>
          <a:p>
            <a:pPr marL="171450" indent="-171450" algn="l" rtl="0">
              <a:buFont typeface="Arial" panose="020B0604020202020204" pitchFamily="34" charset="0"/>
              <a:buChar char="•"/>
            </a:pPr>
            <a:endParaRPr lang="en-US" sz="2000" kern="1200" dirty="0"/>
          </a:p>
          <a:p>
            <a:pPr algn="l" rtl="0">
              <a:buNone/>
            </a:pPr>
            <a:r>
              <a:rPr lang="en-US" sz="2000" kern="1200" dirty="0"/>
              <a:t>Formation et partage d’expériences des gestionnaires de santé, des agents de santé et des ASC </a:t>
            </a:r>
            <a:r>
              <a:rPr lang="en-US" sz="2000" kern="1200" dirty="0" err="1"/>
              <a:t>en</a:t>
            </a:r>
            <a:r>
              <a:rPr lang="en-US" sz="2000" kern="1200" dirty="0"/>
              <a:t> le </a:t>
            </a:r>
            <a:r>
              <a:rPr lang="en-US" sz="2000" kern="1200" dirty="0" err="1"/>
              <a:t>cours</a:t>
            </a:r>
            <a:r>
              <a:rPr lang="en-US" sz="2000" kern="1200" dirty="0"/>
              <a:t> de la vie </a:t>
            </a:r>
            <a:r>
              <a:rPr lang="en-US" sz="2000" kern="1200" dirty="0" err="1"/>
              <a:t>immunisation</a:t>
            </a:r>
            <a:endParaRPr lang="en-US" sz="2000" kern="1200" dirty="0"/>
          </a:p>
          <a:p>
            <a:pPr marL="171450" indent="-171450" algn="l" rtl="0">
              <a:buFont typeface="Arial" panose="020B0604020202020204" pitchFamily="34" charset="0"/>
              <a:buChar char="•"/>
            </a:pPr>
            <a:endParaRPr lang="en-US" sz="2000" kern="1200" dirty="0"/>
          </a:p>
          <a:p>
            <a:pPr algn="l" rtl="0">
              <a:buNone/>
            </a:pPr>
            <a:r>
              <a:rPr lang="en-US" sz="2000" kern="1200" dirty="0"/>
              <a:t>Réunion d'examen documentaire des données de vaccination au niveau national pour suivre les progrès de l'approche tout au long de la vie</a:t>
            </a:r>
          </a:p>
        </p:txBody>
      </p:sp>
      <p:cxnSp>
        <p:nvCxnSpPr>
          <p:cNvPr id="10" name="Straight Connector 9">
            <a:extLst>
              <a:ext uri="{FF2B5EF4-FFF2-40B4-BE49-F238E27FC236}">
                <a16:creationId xmlns:a16="http://schemas.microsoft.com/office/drawing/2014/main" id="{6976740C-436C-4359-94A4-0D1C33939C3C}"/>
              </a:ext>
            </a:extLst>
          </p:cNvPr>
          <p:cNvCxnSpPr>
            <a:cxnSpLocks/>
          </p:cNvCxnSpPr>
          <p:nvPr/>
        </p:nvCxnSpPr>
        <p:spPr>
          <a:xfrm>
            <a:off x="222096" y="1518099"/>
            <a:ext cx="11704320" cy="392"/>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03C529B-8FD1-4AB8-BEBC-FC5D76F4032D}"/>
              </a:ext>
            </a:extLst>
          </p:cNvPr>
          <p:cNvSpPr txBox="1">
            <a:spLocks/>
          </p:cNvSpPr>
          <p:nvPr/>
        </p:nvSpPr>
        <p:spPr>
          <a:xfrm>
            <a:off x="224118" y="1287132"/>
            <a:ext cx="1082870"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cteur d'activité</a:t>
            </a:r>
          </a:p>
        </p:txBody>
      </p:sp>
      <p:sp>
        <p:nvSpPr>
          <p:cNvPr id="12" name="TextBox 11">
            <a:extLst>
              <a:ext uri="{FF2B5EF4-FFF2-40B4-BE49-F238E27FC236}">
                <a16:creationId xmlns:a16="http://schemas.microsoft.com/office/drawing/2014/main" id="{65364D5F-6482-4E84-8BB5-F1EFD9B21FBC}"/>
              </a:ext>
            </a:extLst>
          </p:cNvPr>
          <p:cNvSpPr txBox="1">
            <a:spLocks/>
          </p:cNvSpPr>
          <p:nvPr/>
        </p:nvSpPr>
        <p:spPr>
          <a:xfrm>
            <a:off x="1800225" y="1302265"/>
            <a:ext cx="9856089" cy="184666"/>
          </a:xfrm>
          <a:prstGeom prst="rect">
            <a:avLst/>
          </a:prstGeom>
        </p:spPr>
        <p:txBody>
          <a:bodyPr vert="horz" wrap="square" lIns="0" tIns="0" rIns="0" bIns="0" rtlCol="0" anchor="b">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tivité</a:t>
            </a:r>
          </a:p>
        </p:txBody>
      </p:sp>
      <p:cxnSp>
        <p:nvCxnSpPr>
          <p:cNvPr id="20" name="Straight Connector 19">
            <a:extLst>
              <a:ext uri="{FF2B5EF4-FFF2-40B4-BE49-F238E27FC236}">
                <a16:creationId xmlns:a16="http://schemas.microsoft.com/office/drawing/2014/main" id="{E1713807-7300-47CF-A765-9611D1B9419B}"/>
              </a:ext>
            </a:extLst>
          </p:cNvPr>
          <p:cNvCxnSpPr>
            <a:cxnSpLocks/>
          </p:cNvCxnSpPr>
          <p:nvPr/>
        </p:nvCxnSpPr>
        <p:spPr>
          <a:xfrm>
            <a:off x="222096" y="6263872"/>
            <a:ext cx="11704320" cy="392"/>
          </a:xfrm>
          <a:prstGeom prst="line">
            <a:avLst/>
          </a:prstGeom>
          <a:ln w="6350" cap="flat">
            <a:solidFill>
              <a:schemeClr val="bg1">
                <a:lumMod val="6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8802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78E2C1A1-098B-ABFF-9973-96E7F72735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6" hidden="1">
                        <a:extLst>
                          <a:ext uri="{FF2B5EF4-FFF2-40B4-BE49-F238E27FC236}">
                            <a16:creationId xmlns:a16="http://schemas.microsoft.com/office/drawing/2014/main" id="{78E2C1A1-098B-ABFF-9973-96E7F72735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7518C32A-8082-6058-DFC5-B1F2C3FC3ACF}"/>
              </a:ext>
            </a:extLst>
          </p:cNvPr>
          <p:cNvSpPr>
            <a:spLocks noGrp="1"/>
          </p:cNvSpPr>
          <p:nvPr>
            <p:ph type="body" sz="quarter" idx="10"/>
          </p:nvPr>
        </p:nvSpPr>
        <p:spPr/>
        <p:txBody>
          <a:bodyPr/>
          <a:lstStyle/>
          <a:p>
            <a:pPr algn="l" rtl="0"/>
            <a:endParaRPr lang="en-US"/>
          </a:p>
        </p:txBody>
      </p:sp>
      <p:sp>
        <p:nvSpPr>
          <p:cNvPr id="5" name="2. Slide Title">
            <a:extLst>
              <a:ext uri="{FF2B5EF4-FFF2-40B4-BE49-F238E27FC236}">
                <a16:creationId xmlns:a16="http://schemas.microsoft.com/office/drawing/2014/main" id="{4C18F506-BF68-D7C1-05A9-C3175F505FC2}"/>
              </a:ext>
            </a:extLst>
          </p:cNvPr>
          <p:cNvSpPr>
            <a:spLocks noGrp="1"/>
          </p:cNvSpPr>
          <p:nvPr>
            <p:ph type="title"/>
            <p:custDataLst>
              <p:tags r:id="rId2"/>
            </p:custDataLst>
          </p:nvPr>
        </p:nvSpPr>
        <p:spPr>
          <a:xfrm>
            <a:off x="2955982" y="161335"/>
            <a:ext cx="8016818" cy="731520"/>
          </a:xfrm>
        </p:spPr>
        <p:txBody>
          <a:bodyPr vert="horz"/>
          <a:lstStyle/>
          <a:p>
            <a:pPr algn="l" rtl="0"/>
            <a:r>
              <a:rPr lang="en-GB" dirty="0"/>
              <a:t>Objectif C : Se préparer à la prochaine pandémie</a:t>
            </a:r>
            <a:endParaRPr lang="de-DE" dirty="0"/>
          </a:p>
        </p:txBody>
      </p:sp>
      <p:cxnSp>
        <p:nvCxnSpPr>
          <p:cNvPr id="11" name="Straight Connector 10">
            <a:extLst>
              <a:ext uri="{FF2B5EF4-FFF2-40B4-BE49-F238E27FC236}">
                <a16:creationId xmlns:a16="http://schemas.microsoft.com/office/drawing/2014/main" id="{41D25A09-B9E4-E9DE-AA5E-F32452D5E839}"/>
              </a:ext>
            </a:extLst>
          </p:cNvPr>
          <p:cNvCxnSpPr>
            <a:cxnSpLocks/>
          </p:cNvCxnSpPr>
          <p:nvPr/>
        </p:nvCxnSpPr>
        <p:spPr>
          <a:xfrm>
            <a:off x="554736" y="1471940"/>
            <a:ext cx="11082528" cy="392"/>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4A94B3C-7B4E-F08C-10B9-984F0EA51508}"/>
              </a:ext>
            </a:extLst>
          </p:cNvPr>
          <p:cNvSpPr txBox="1"/>
          <p:nvPr/>
        </p:nvSpPr>
        <p:spPr>
          <a:xfrm>
            <a:off x="554737" y="1215803"/>
            <a:ext cx="2090493" cy="215444"/>
          </a:xfrm>
          <a:prstGeom prst="rect">
            <a:avLst/>
          </a:prstGeom>
        </p:spPr>
        <p:txBody>
          <a:bodyPr vert="horz" wrap="square" lIns="0" tIns="0" rIns="0" bIns="0" rtlCol="0" anchor="b">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cteur d'activité</a:t>
            </a:r>
          </a:p>
        </p:txBody>
      </p:sp>
      <p:sp>
        <p:nvSpPr>
          <p:cNvPr id="26" name="TextBox 25">
            <a:extLst>
              <a:ext uri="{FF2B5EF4-FFF2-40B4-BE49-F238E27FC236}">
                <a16:creationId xmlns:a16="http://schemas.microsoft.com/office/drawing/2014/main" id="{495E5AE8-FA1E-E600-320F-79C0F5F12BE0}"/>
              </a:ext>
            </a:extLst>
          </p:cNvPr>
          <p:cNvSpPr txBox="1">
            <a:spLocks/>
          </p:cNvSpPr>
          <p:nvPr/>
        </p:nvSpPr>
        <p:spPr>
          <a:xfrm>
            <a:off x="2240126" y="1219685"/>
            <a:ext cx="4816134" cy="215444"/>
          </a:xfrm>
          <a:prstGeom prst="rect">
            <a:avLst/>
          </a:prstGeom>
        </p:spPr>
        <p:txBody>
          <a:bodyPr vert="horz" wrap="square" lIns="0" tIns="0" rIns="0" bIns="0" rtlCol="0" anchor="b">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tivité</a:t>
            </a:r>
          </a:p>
        </p:txBody>
      </p:sp>
      <p:sp>
        <p:nvSpPr>
          <p:cNvPr id="13" name="Rectangle 12">
            <a:extLst>
              <a:ext uri="{FF2B5EF4-FFF2-40B4-BE49-F238E27FC236}">
                <a16:creationId xmlns:a16="http://schemas.microsoft.com/office/drawing/2014/main" id="{CF118716-C1C7-DC4E-75AC-EFC0FD92D4D3}"/>
              </a:ext>
            </a:extLst>
          </p:cNvPr>
          <p:cNvSpPr>
            <a:spLocks/>
          </p:cNvSpPr>
          <p:nvPr/>
        </p:nvSpPr>
        <p:spPr>
          <a:xfrm>
            <a:off x="554735" y="1546053"/>
            <a:ext cx="1568712" cy="163587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rial"/>
                <a:ea typeface="+mn-ea"/>
                <a:cs typeface="+mn-cs"/>
              </a:rPr>
              <a:t>Renforcer la génomique des pathogèn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rial"/>
                <a:ea typeface="+mn-ea"/>
                <a:cs typeface="+mn-cs"/>
              </a:rPr>
              <a:t>bioinformatique et donné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rial"/>
                <a:ea typeface="+mn-ea"/>
                <a:cs typeface="+mn-cs"/>
              </a:rPr>
              <a:t>capacité</a:t>
            </a:r>
          </a:p>
        </p:txBody>
      </p:sp>
      <p:sp>
        <p:nvSpPr>
          <p:cNvPr id="15" name="TextBox 14">
            <a:extLst>
              <a:ext uri="{FF2B5EF4-FFF2-40B4-BE49-F238E27FC236}">
                <a16:creationId xmlns:a16="http://schemas.microsoft.com/office/drawing/2014/main" id="{13B80F60-226A-8EC9-BF23-FC15B78966F7}"/>
              </a:ext>
            </a:extLst>
          </p:cNvPr>
          <p:cNvSpPr txBox="1"/>
          <p:nvPr/>
        </p:nvSpPr>
        <p:spPr>
          <a:xfrm>
            <a:off x="2240127" y="1527627"/>
            <a:ext cx="9847114" cy="1815882"/>
          </a:xfrm>
          <a:prstGeom prst="rect">
            <a:avLst/>
          </a:prstGeom>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lvl="1" indent="0" algn="l" rtl="0">
              <a:spcAft>
                <a:spcPts val="600"/>
              </a:spcAft>
              <a:buClr>
                <a:srgbClr val="000000"/>
              </a:buClr>
              <a:buNone/>
              <a:tabLst>
                <a:tab pos="457200" algn="l"/>
              </a:tabLst>
              <a:defRPr/>
            </a:pPr>
            <a:r>
              <a:rPr lang="en-US" sz="1800" kern="1200" dirty="0">
                <a:latin typeface="Arial"/>
                <a:ea typeface="+mn-ea"/>
                <a:cs typeface="+mn-cs"/>
              </a:rPr>
              <a:t>Renforcer les capacités fondamentales de diagnostic moléculaire et de génomique pour soutenir la détection des épidémies et le séquençage génomique des cas d’utilisation prioritaires nationaux et régionaux</a:t>
            </a:r>
          </a:p>
          <a:p>
            <a:pPr marL="0" lvl="1" indent="0" algn="l" rtl="0">
              <a:spcAft>
                <a:spcPts val="600"/>
              </a:spcAft>
              <a:buClr>
                <a:srgbClr val="000000"/>
              </a:buClr>
              <a:buNone/>
              <a:tabLst>
                <a:tab pos="457200" algn="l"/>
              </a:tabLst>
              <a:defRPr/>
            </a:pPr>
            <a:r>
              <a:rPr lang="en-US" sz="1800" kern="1200" dirty="0">
                <a:latin typeface="Arial"/>
                <a:ea typeface="+mn-ea"/>
                <a:cs typeface="+mn-cs"/>
              </a:rPr>
              <a:t>Développer une main-d'œuvre qualifiée dans les États membres de l'UA grâce à des formations et des bourses pour le séquençage, la génomique translationnelle et la bioinformatique,</a:t>
            </a:r>
          </a:p>
          <a:p>
            <a:pPr marL="0" lvl="1" indent="0" algn="l" rtl="0" fontAlgn="auto">
              <a:spcAft>
                <a:spcPts val="600"/>
              </a:spcAft>
              <a:buClr>
                <a:srgbClr val="000000"/>
              </a:buClr>
              <a:buNone/>
              <a:tabLst>
                <a:tab pos="457200" algn="l"/>
              </a:tabLst>
              <a:defRPr/>
            </a:pPr>
            <a:r>
              <a:rPr lang="en-US" sz="1800" kern="1200" dirty="0">
                <a:latin typeface="Arial"/>
                <a:ea typeface="+mn-ea"/>
                <a:cs typeface="+mn-cs"/>
              </a:rPr>
              <a:t>Promouvoir le partage en temps opportun de données de qualité garantie via la plateforme de partage et d'archivage de données sur les agents pathogènes du CDC d'Afrique pour l'action de santé publique.</a:t>
            </a:r>
            <a:endParaRPr kumimoji="0" lang="en-GB" sz="1800" b="0" u="none" strike="noStrike" kern="1200" cap="none" spc="0" normalizeH="0" baseline="0" noProof="0" dirty="0">
              <a:ln>
                <a:noFill/>
              </a:ln>
              <a:effectLst/>
              <a:uLnTx/>
              <a:uFillTx/>
              <a:latin typeface="Arial"/>
              <a:ea typeface="+mn-ea"/>
              <a:cs typeface="+mn-cs"/>
            </a:endParaRPr>
          </a:p>
        </p:txBody>
      </p:sp>
      <p:grpSp>
        <p:nvGrpSpPr>
          <p:cNvPr id="3" name="Group 2">
            <a:extLst>
              <a:ext uri="{FF2B5EF4-FFF2-40B4-BE49-F238E27FC236}">
                <a16:creationId xmlns:a16="http://schemas.microsoft.com/office/drawing/2014/main" id="{A2379E4E-137C-BD99-BBB3-B114169920D7}"/>
              </a:ext>
            </a:extLst>
          </p:cNvPr>
          <p:cNvGrpSpPr/>
          <p:nvPr/>
        </p:nvGrpSpPr>
        <p:grpSpPr>
          <a:xfrm>
            <a:off x="554734" y="4101739"/>
            <a:ext cx="11532507" cy="1536576"/>
            <a:chOff x="554737" y="4993504"/>
            <a:chExt cx="11532506" cy="1536576"/>
          </a:xfrm>
        </p:grpSpPr>
        <p:sp>
          <p:nvSpPr>
            <p:cNvPr id="4" name="Rectangle 3">
              <a:extLst>
                <a:ext uri="{FF2B5EF4-FFF2-40B4-BE49-F238E27FC236}">
                  <a16:creationId xmlns:a16="http://schemas.microsoft.com/office/drawing/2014/main" id="{15D50DF0-1900-0E38-75E9-515777241360}"/>
                </a:ext>
              </a:extLst>
            </p:cNvPr>
            <p:cNvSpPr>
              <a:spLocks/>
            </p:cNvSpPr>
            <p:nvPr/>
          </p:nvSpPr>
          <p:spPr>
            <a:xfrm>
              <a:off x="554737" y="4993504"/>
              <a:ext cx="1568712" cy="153657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rial"/>
                  <a:ea typeface="+mn-ea"/>
                  <a:cs typeface="+mn-cs"/>
                </a:rPr>
                <a:t>Renforcer le public na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rial"/>
                  <a:ea typeface="+mn-ea"/>
                  <a:cs typeface="+mn-cs"/>
                </a:rPr>
                <a:t>Établissements de santé</a:t>
              </a:r>
            </a:p>
          </p:txBody>
        </p:sp>
        <p:sp>
          <p:nvSpPr>
            <p:cNvPr id="6" name="TextBox 5">
              <a:extLst>
                <a:ext uri="{FF2B5EF4-FFF2-40B4-BE49-F238E27FC236}">
                  <a16:creationId xmlns:a16="http://schemas.microsoft.com/office/drawing/2014/main" id="{B837D450-6E24-E136-4EFB-D229698E029A}"/>
                </a:ext>
              </a:extLst>
            </p:cNvPr>
            <p:cNvSpPr txBox="1"/>
            <p:nvPr/>
          </p:nvSpPr>
          <p:spPr>
            <a:xfrm>
              <a:off x="2240129" y="5001600"/>
              <a:ext cx="9847114" cy="1300356"/>
            </a:xfrm>
            <a:prstGeom prst="rect">
              <a:avLst/>
            </a:prstGeom>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228600" lvl="1" indent="-228600" defTabSz="91440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dirty="0">
                  <a:latin typeface="+mn-lt"/>
                </a:defRPr>
              </a:lvl2pPr>
              <a:lvl3pPr marL="438912" lvl="2" indent="-210312" defTabSz="91440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dirty="0">
                  <a:latin typeface="+mn-lt"/>
                </a:defRPr>
              </a:lvl3pPr>
              <a:lvl4pPr marL="594360" lvl="3" indent="-155448"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4pPr>
              <a:lvl5pPr marL="813816" lvl="4" indent="-146304" defTabSz="91440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kumimoji="0" lang="en-GB" sz="1800" b="0" i="0" u="none" strike="noStrike" kern="1200" cap="none" spc="0" normalizeH="0" baseline="0" noProof="0" dirty="0">
                  <a:ln>
                    <a:noFill/>
                  </a:ln>
                  <a:effectLst/>
                  <a:uLnTx/>
                  <a:uFillTx/>
                  <a:latin typeface="Arial"/>
                  <a:ea typeface="+mn-ea"/>
                  <a:cs typeface="+mn-cs"/>
                </a:rPr>
                <a:t>Renforcer les capacités des INSP pour pouvoir soutenir la gestion des programmes de santé publique :</a:t>
              </a:r>
            </a:p>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kumimoji="0" lang="en-GB" sz="1800" b="0" i="0" u="none" strike="noStrike" kern="1200" cap="none" spc="0" normalizeH="0" baseline="0" noProof="0" dirty="0">
                  <a:ln>
                    <a:noFill/>
                  </a:ln>
                  <a:effectLst/>
                  <a:uLnTx/>
                  <a:uFillTx/>
                  <a:latin typeface="Arial"/>
                  <a:ea typeface="+mn-ea"/>
                  <a:cs typeface="+mn-cs"/>
                </a:rPr>
                <a:t>Construire des référentiels nationaux de données de santé robustes</a:t>
              </a:r>
            </a:p>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kumimoji="0" lang="en-GB" sz="1800" b="0" i="0" u="none" strike="noStrike" kern="1200" cap="none" spc="0" normalizeH="0" baseline="0" noProof="0" dirty="0">
                  <a:ln>
                    <a:noFill/>
                  </a:ln>
                  <a:effectLst/>
                  <a:uLnTx/>
                  <a:uFillTx/>
                  <a:latin typeface="Arial"/>
                  <a:ea typeface="+mn-ea"/>
                  <a:cs typeface="+mn-cs"/>
                </a:rPr>
                <a:t>Favoriser les capacités d’analyse avancée et de sciences métriques</a:t>
              </a:r>
            </a:p>
            <a:p>
              <a:pPr marL="0" marR="0" lvl="1" indent="0" algn="l" defTabSz="914400" rtl="0" eaLnBrk="1" fontAlgn="auto" latinLnBrk="0" hangingPunct="1">
                <a:lnSpc>
                  <a:spcPct val="100000"/>
                </a:lnSpc>
                <a:spcBef>
                  <a:spcPts val="0"/>
                </a:spcBef>
                <a:spcAft>
                  <a:spcPts val="500"/>
                </a:spcAft>
                <a:buClr>
                  <a:srgbClr val="000000"/>
                </a:buClr>
                <a:buSzPct val="110000"/>
                <a:buNone/>
                <a:tabLst>
                  <a:tab pos="457200" algn="l"/>
                </a:tabLst>
                <a:defRPr/>
              </a:pPr>
              <a:r>
                <a:rPr kumimoji="0" lang="en-GB" sz="1800" b="0" i="0" u="none" strike="noStrike" kern="1200" cap="none" spc="0" normalizeH="0" baseline="0" noProof="0" dirty="0">
                  <a:ln>
                    <a:noFill/>
                  </a:ln>
                  <a:effectLst/>
                  <a:uLnTx/>
                  <a:uFillTx/>
                  <a:latin typeface="Arial"/>
                  <a:ea typeface="+mn-ea"/>
                  <a:cs typeface="+mn-cs"/>
                </a:rPr>
                <a:t>Intégrer des activités complètes de surveillance des maladies</a:t>
              </a:r>
            </a:p>
          </p:txBody>
        </p:sp>
      </p:grpSp>
      <p:cxnSp>
        <p:nvCxnSpPr>
          <p:cNvPr id="9" name="Straight Connector 8">
            <a:extLst>
              <a:ext uri="{FF2B5EF4-FFF2-40B4-BE49-F238E27FC236}">
                <a16:creationId xmlns:a16="http://schemas.microsoft.com/office/drawing/2014/main" id="{FF883030-4BDD-1EA9-0AE0-24BA15D0ABE6}"/>
              </a:ext>
            </a:extLst>
          </p:cNvPr>
          <p:cNvCxnSpPr>
            <a:cxnSpLocks/>
          </p:cNvCxnSpPr>
          <p:nvPr/>
        </p:nvCxnSpPr>
        <p:spPr>
          <a:xfrm>
            <a:off x="473455" y="3951724"/>
            <a:ext cx="11082528" cy="392"/>
          </a:xfrm>
          <a:prstGeom prst="line">
            <a:avLst/>
          </a:prstGeom>
          <a:ln w="6350" cap="flat">
            <a:solidFill>
              <a:schemeClr val="bg1">
                <a:lumMod val="6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33019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2" hidden="1">
            <a:extLst>
              <a:ext uri="{FF2B5EF4-FFF2-40B4-BE49-F238E27FC236}">
                <a16:creationId xmlns:a16="http://schemas.microsoft.com/office/drawing/2014/main" id="{48217ECF-6065-4908-BFF6-83EFE2FA3C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5" name="Object 2" hidden="1">
                        <a:extLst>
                          <a:ext uri="{FF2B5EF4-FFF2-40B4-BE49-F238E27FC236}">
                            <a16:creationId xmlns:a16="http://schemas.microsoft.com/office/drawing/2014/main" id="{48217ECF-6065-4908-BFF6-83EFE2FA3C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0" name="Rectangle 3">
            <a:extLst>
              <a:ext uri="{FF2B5EF4-FFF2-40B4-BE49-F238E27FC236}">
                <a16:creationId xmlns:a16="http://schemas.microsoft.com/office/drawing/2014/main" id="{BAD11B94-61A1-4E36-AC65-511FFBFB2B4A}"/>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31" name="Rectangle 30">
            <a:extLst>
              <a:ext uri="{FF2B5EF4-FFF2-40B4-BE49-F238E27FC236}">
                <a16:creationId xmlns:a16="http://schemas.microsoft.com/office/drawing/2014/main" id="{56E771CA-A731-4754-918B-083AC60F3B1B}"/>
              </a:ext>
            </a:extLst>
          </p:cNvPr>
          <p:cNvSpPr>
            <a:spLocks/>
          </p:cNvSpPr>
          <p:nvPr/>
        </p:nvSpPr>
        <p:spPr>
          <a:xfrm>
            <a:off x="689276" y="-1"/>
            <a:ext cx="4494495" cy="6179019"/>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7A13D1BA-3A45-480F-ACA2-5930946358F0}"/>
              </a:ext>
            </a:extLst>
          </p:cNvPr>
          <p:cNvSpPr>
            <a:spLocks/>
          </p:cNvSpPr>
          <p:nvPr/>
        </p:nvSpPr>
        <p:spPr>
          <a:xfrm>
            <a:off x="689276" y="6179018"/>
            <a:ext cx="4494495" cy="9390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 name="2. Slide Title">
            <a:extLst>
              <a:ext uri="{FF2B5EF4-FFF2-40B4-BE49-F238E27FC236}">
                <a16:creationId xmlns:a16="http://schemas.microsoft.com/office/drawing/2014/main" id="{F1DE3857-E625-42D2-B3C4-0BF31CD976FB}"/>
              </a:ext>
            </a:extLst>
          </p:cNvPr>
          <p:cNvSpPr>
            <a:spLocks noGrp="1"/>
          </p:cNvSpPr>
          <p:nvPr>
            <p:ph type="title"/>
            <p:custDataLst>
              <p:tags r:id="rId2"/>
            </p:custDataLst>
          </p:nvPr>
        </p:nvSpPr>
        <p:spPr>
          <a:xfrm>
            <a:off x="844538" y="268379"/>
            <a:ext cx="4166422" cy="147732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lgn="l" rtl="0"/>
            <a:r>
              <a:rPr lang="en-US" sz="3200" dirty="0">
                <a:solidFill>
                  <a:schemeClr val="bg1"/>
                </a:solidFill>
              </a:rPr>
              <a:t>Africa CDC est une institution de l'Union africaine</a:t>
            </a:r>
          </a:p>
        </p:txBody>
      </p:sp>
      <p:sp>
        <p:nvSpPr>
          <p:cNvPr id="124" name="Subtitle 2">
            <a:extLst>
              <a:ext uri="{FF2B5EF4-FFF2-40B4-BE49-F238E27FC236}">
                <a16:creationId xmlns:a16="http://schemas.microsoft.com/office/drawing/2014/main" id="{855FF381-161C-401B-8ADF-22A248438CA0}"/>
              </a:ext>
            </a:extLst>
          </p:cNvPr>
          <p:cNvSpPr>
            <a:spLocks noGrp="1"/>
          </p:cNvSpPr>
          <p:nvPr>
            <p:ph type="subTitle" idx="1"/>
          </p:nvPr>
        </p:nvSpPr>
        <p:spPr>
          <a:xfrm>
            <a:off x="897638" y="1864850"/>
            <a:ext cx="4113322" cy="1477328"/>
          </a:xfrm>
        </p:spPr>
        <p:txBody>
          <a:bodyPr/>
          <a:lstStyle/>
          <a:p>
            <a:pPr algn="l" rtl="0">
              <a:spcBef>
                <a:spcPts val="600"/>
              </a:spcBef>
            </a:pPr>
            <a:r>
              <a:rPr lang="en-US" sz="1800" dirty="0">
                <a:solidFill>
                  <a:schemeClr val="bg1"/>
                </a:solidFill>
              </a:rPr>
              <a:t>Il a été créé pour soutenir les initiatives de santé publique des États membres et renforcer la capacité de leurs institutions de santé publique à détecter, prévenir, contrôler et répondre rapidement et efficacement aux menaces de maladies.</a:t>
            </a:r>
            <a:endParaRPr lang="en-GB" sz="1800" dirty="0">
              <a:solidFill>
                <a:schemeClr val="bg1"/>
              </a:solidFill>
            </a:endParaRPr>
          </a:p>
        </p:txBody>
      </p:sp>
      <p:sp>
        <p:nvSpPr>
          <p:cNvPr id="132" name="Freeform 135">
            <a:extLst>
              <a:ext uri="{FF2B5EF4-FFF2-40B4-BE49-F238E27FC236}">
                <a16:creationId xmlns:a16="http://schemas.microsoft.com/office/drawing/2014/main" id="{EEBFE4E5-2A8A-457C-A8D6-61BEE3DF6A39}"/>
              </a:ext>
            </a:extLst>
          </p:cNvPr>
          <p:cNvSpPr>
            <a:spLocks noEditPoints="1"/>
          </p:cNvSpPr>
          <p:nvPr/>
        </p:nvSpPr>
        <p:spPr bwMode="gray">
          <a:xfrm>
            <a:off x="1785170" y="2912195"/>
            <a:ext cx="3225790" cy="3043212"/>
          </a:xfrm>
          <a:custGeom>
            <a:avLst/>
            <a:gdLst>
              <a:gd name="T0" fmla="*/ 2905 w 3887"/>
              <a:gd name="T1" fmla="*/ 3365 h 3667"/>
              <a:gd name="T2" fmla="*/ 3056 w 3887"/>
              <a:gd name="T3" fmla="*/ 2956 h 3667"/>
              <a:gd name="T4" fmla="*/ 3231 w 3887"/>
              <a:gd name="T5" fmla="*/ 2771 h 3667"/>
              <a:gd name="T6" fmla="*/ 3337 w 3887"/>
              <a:gd name="T7" fmla="*/ 2587 h 3667"/>
              <a:gd name="T8" fmla="*/ 3299 w 3887"/>
              <a:gd name="T9" fmla="*/ 2400 h 3667"/>
              <a:gd name="T10" fmla="*/ 3264 w 3887"/>
              <a:gd name="T11" fmla="*/ 2159 h 3667"/>
              <a:gd name="T12" fmla="*/ 3413 w 3887"/>
              <a:gd name="T13" fmla="*/ 1951 h 3667"/>
              <a:gd name="T14" fmla="*/ 3865 w 3887"/>
              <a:gd name="T15" fmla="*/ 1298 h 3667"/>
              <a:gd name="T16" fmla="*/ 3483 w 3887"/>
              <a:gd name="T17" fmla="*/ 1283 h 3667"/>
              <a:gd name="T18" fmla="*/ 3315 w 3887"/>
              <a:gd name="T19" fmla="*/ 1124 h 3667"/>
              <a:gd name="T20" fmla="*/ 3168 w 3887"/>
              <a:gd name="T21" fmla="*/ 874 h 3667"/>
              <a:gd name="T22" fmla="*/ 3029 w 3887"/>
              <a:gd name="T23" fmla="*/ 594 h 3667"/>
              <a:gd name="T24" fmla="*/ 3017 w 3887"/>
              <a:gd name="T25" fmla="*/ 495 h 3667"/>
              <a:gd name="T26" fmla="*/ 2808 w 3887"/>
              <a:gd name="T27" fmla="*/ 316 h 3667"/>
              <a:gd name="T28" fmla="*/ 2293 w 3887"/>
              <a:gd name="T29" fmla="*/ 292 h 3667"/>
              <a:gd name="T30" fmla="*/ 1824 w 3887"/>
              <a:gd name="T31" fmla="*/ 146 h 3667"/>
              <a:gd name="T32" fmla="*/ 1642 w 3887"/>
              <a:gd name="T33" fmla="*/ 31 h 3667"/>
              <a:gd name="T34" fmla="*/ 1230 w 3887"/>
              <a:gd name="T35" fmla="*/ 95 h 3667"/>
              <a:gd name="T36" fmla="*/ 816 w 3887"/>
              <a:gd name="T37" fmla="*/ 258 h 3667"/>
              <a:gd name="T38" fmla="*/ 440 w 3887"/>
              <a:gd name="T39" fmla="*/ 772 h 3667"/>
              <a:gd name="T40" fmla="*/ 431 w 3887"/>
              <a:gd name="T41" fmla="*/ 1186 h 3667"/>
              <a:gd name="T42" fmla="*/ 457 w 3887"/>
              <a:gd name="T43" fmla="*/ 1293 h 3667"/>
              <a:gd name="T44" fmla="*/ 520 w 3887"/>
              <a:gd name="T45" fmla="*/ 1313 h 3667"/>
              <a:gd name="T46" fmla="*/ 530 w 3887"/>
              <a:gd name="T47" fmla="*/ 1339 h 3667"/>
              <a:gd name="T48" fmla="*/ 601 w 3887"/>
              <a:gd name="T49" fmla="*/ 1417 h 3667"/>
              <a:gd name="T50" fmla="*/ 651 w 3887"/>
              <a:gd name="T51" fmla="*/ 1509 h 3667"/>
              <a:gd name="T52" fmla="*/ 1195 w 3887"/>
              <a:gd name="T53" fmla="*/ 1655 h 3667"/>
              <a:gd name="T54" fmla="*/ 1601 w 3887"/>
              <a:gd name="T55" fmla="*/ 1677 h 3667"/>
              <a:gd name="T56" fmla="*/ 1718 w 3887"/>
              <a:gd name="T57" fmla="*/ 1658 h 3667"/>
              <a:gd name="T58" fmla="*/ 1785 w 3887"/>
              <a:gd name="T59" fmla="*/ 1759 h 3667"/>
              <a:gd name="T60" fmla="*/ 1735 w 3887"/>
              <a:gd name="T61" fmla="*/ 1941 h 3667"/>
              <a:gd name="T62" fmla="*/ 1958 w 3887"/>
              <a:gd name="T63" fmla="*/ 2346 h 3667"/>
              <a:gd name="T64" fmla="*/ 1881 w 3887"/>
              <a:gd name="T65" fmla="*/ 2701 h 3667"/>
              <a:gd name="T66" fmla="*/ 2062 w 3887"/>
              <a:gd name="T67" fmla="*/ 3290 h 3667"/>
              <a:gd name="T68" fmla="*/ 2244 w 3887"/>
              <a:gd name="T69" fmla="*/ 3644 h 3667"/>
              <a:gd name="T70" fmla="*/ 2990 w 3887"/>
              <a:gd name="T71" fmla="*/ 495 h 3667"/>
              <a:gd name="T72" fmla="*/ 3223 w 3887"/>
              <a:gd name="T73" fmla="*/ 975 h 3667"/>
              <a:gd name="T74" fmla="*/ 124 w 3887"/>
              <a:gd name="T75" fmla="*/ 1078 h 3667"/>
              <a:gd name="T76" fmla="*/ 3306 w 3887"/>
              <a:gd name="T77" fmla="*/ 1106 h 3667"/>
              <a:gd name="T78" fmla="*/ 93 w 3887"/>
              <a:gd name="T79" fmla="*/ 1146 h 3667"/>
              <a:gd name="T80" fmla="*/ 442 w 3887"/>
              <a:gd name="T81" fmla="*/ 1208 h 3667"/>
              <a:gd name="T82" fmla="*/ 437 w 3887"/>
              <a:gd name="T83" fmla="*/ 1267 h 3667"/>
              <a:gd name="T84" fmla="*/ 469 w 3887"/>
              <a:gd name="T85" fmla="*/ 1323 h 3667"/>
              <a:gd name="T86" fmla="*/ 477 w 3887"/>
              <a:gd name="T87" fmla="*/ 1339 h 3667"/>
              <a:gd name="T88" fmla="*/ 620 w 3887"/>
              <a:gd name="T89" fmla="*/ 1451 h 3667"/>
              <a:gd name="T90" fmla="*/ 1696 w 3887"/>
              <a:gd name="T91" fmla="*/ 1647 h 3667"/>
              <a:gd name="T92" fmla="*/ 1642 w 3887"/>
              <a:gd name="T93" fmla="*/ 1667 h 3667"/>
              <a:gd name="T94" fmla="*/ 1655 w 3887"/>
              <a:gd name="T95" fmla="*/ 1672 h 3667"/>
              <a:gd name="T96" fmla="*/ 1756 w 3887"/>
              <a:gd name="T97" fmla="*/ 1701 h 3667"/>
              <a:gd name="T98" fmla="*/ 3384 w 3887"/>
              <a:gd name="T99" fmla="*/ 1990 h 3667"/>
              <a:gd name="T100" fmla="*/ 3272 w 3887"/>
              <a:gd name="T101" fmla="*/ 2199 h 3667"/>
              <a:gd name="T102" fmla="*/ 3301 w 3887"/>
              <a:gd name="T103" fmla="*/ 2303 h 3667"/>
              <a:gd name="T104" fmla="*/ 3661 w 3887"/>
              <a:gd name="T105" fmla="*/ 3172 h 3667"/>
              <a:gd name="T106" fmla="*/ 3811 w 3887"/>
              <a:gd name="T107" fmla="*/ 2686 h 3667"/>
              <a:gd name="T108" fmla="*/ 3779 w 3887"/>
              <a:gd name="T109" fmla="*/ 2507 h 3667"/>
              <a:gd name="T110" fmla="*/ 3714 w 3887"/>
              <a:gd name="T111" fmla="*/ 2587 h 3667"/>
              <a:gd name="T112" fmla="*/ 3668 w 3887"/>
              <a:gd name="T113" fmla="*/ 2686 h 3667"/>
              <a:gd name="T114" fmla="*/ 3532 w 3887"/>
              <a:gd name="T115" fmla="*/ 2730 h 3667"/>
              <a:gd name="T116" fmla="*/ 3481 w 3887"/>
              <a:gd name="T117" fmla="*/ 3002 h 3667"/>
              <a:gd name="T118" fmla="*/ 3342 w 3887"/>
              <a:gd name="T119" fmla="*/ 2526 h 3667"/>
              <a:gd name="T120" fmla="*/ 3726 w 3887"/>
              <a:gd name="T121" fmla="*/ 2580 h 3667"/>
              <a:gd name="T122" fmla="*/ 3636 w 3887"/>
              <a:gd name="T123" fmla="*/ 2708 h 3667"/>
              <a:gd name="T124" fmla="*/ 3510 w 3887"/>
              <a:gd name="T125" fmla="*/ 2788 h 3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87" h="3667">
                <a:moveTo>
                  <a:pt x="1735" y="0"/>
                </a:moveTo>
                <a:lnTo>
                  <a:pt x="1737" y="0"/>
                </a:lnTo>
                <a:lnTo>
                  <a:pt x="1735" y="0"/>
                </a:lnTo>
                <a:close/>
                <a:moveTo>
                  <a:pt x="2300" y="3666"/>
                </a:moveTo>
                <a:lnTo>
                  <a:pt x="2300" y="3664"/>
                </a:lnTo>
                <a:lnTo>
                  <a:pt x="2301" y="3662"/>
                </a:lnTo>
                <a:lnTo>
                  <a:pt x="2305" y="3659"/>
                </a:lnTo>
                <a:lnTo>
                  <a:pt x="2308" y="3659"/>
                </a:lnTo>
                <a:lnTo>
                  <a:pt x="2310" y="3657"/>
                </a:lnTo>
                <a:lnTo>
                  <a:pt x="2317" y="3654"/>
                </a:lnTo>
                <a:lnTo>
                  <a:pt x="2318" y="3650"/>
                </a:lnTo>
                <a:lnTo>
                  <a:pt x="2323" y="3649"/>
                </a:lnTo>
                <a:lnTo>
                  <a:pt x="2330" y="3647"/>
                </a:lnTo>
                <a:lnTo>
                  <a:pt x="2339" y="3649"/>
                </a:lnTo>
                <a:lnTo>
                  <a:pt x="2340" y="3647"/>
                </a:lnTo>
                <a:lnTo>
                  <a:pt x="2340" y="3645"/>
                </a:lnTo>
                <a:lnTo>
                  <a:pt x="2344" y="3644"/>
                </a:lnTo>
                <a:lnTo>
                  <a:pt x="2352" y="3644"/>
                </a:lnTo>
                <a:lnTo>
                  <a:pt x="2363" y="3647"/>
                </a:lnTo>
                <a:lnTo>
                  <a:pt x="2369" y="3644"/>
                </a:lnTo>
                <a:lnTo>
                  <a:pt x="2374" y="3642"/>
                </a:lnTo>
                <a:lnTo>
                  <a:pt x="2383" y="3645"/>
                </a:lnTo>
                <a:lnTo>
                  <a:pt x="2390" y="3644"/>
                </a:lnTo>
                <a:lnTo>
                  <a:pt x="2393" y="3642"/>
                </a:lnTo>
                <a:lnTo>
                  <a:pt x="2393" y="3640"/>
                </a:lnTo>
                <a:lnTo>
                  <a:pt x="2395" y="3640"/>
                </a:lnTo>
                <a:lnTo>
                  <a:pt x="2393" y="3639"/>
                </a:lnTo>
                <a:lnTo>
                  <a:pt x="2395" y="3637"/>
                </a:lnTo>
                <a:lnTo>
                  <a:pt x="2407" y="3633"/>
                </a:lnTo>
                <a:lnTo>
                  <a:pt x="2403" y="3632"/>
                </a:lnTo>
                <a:lnTo>
                  <a:pt x="2405" y="3630"/>
                </a:lnTo>
                <a:lnTo>
                  <a:pt x="2407" y="3628"/>
                </a:lnTo>
                <a:lnTo>
                  <a:pt x="2412" y="3627"/>
                </a:lnTo>
                <a:lnTo>
                  <a:pt x="2417" y="3628"/>
                </a:lnTo>
                <a:lnTo>
                  <a:pt x="2422" y="3627"/>
                </a:lnTo>
                <a:lnTo>
                  <a:pt x="2427" y="3625"/>
                </a:lnTo>
                <a:lnTo>
                  <a:pt x="2437" y="3627"/>
                </a:lnTo>
                <a:lnTo>
                  <a:pt x="2448" y="3630"/>
                </a:lnTo>
                <a:lnTo>
                  <a:pt x="2448" y="3628"/>
                </a:lnTo>
                <a:lnTo>
                  <a:pt x="2449" y="3628"/>
                </a:lnTo>
                <a:lnTo>
                  <a:pt x="2470" y="3630"/>
                </a:lnTo>
                <a:lnTo>
                  <a:pt x="2468" y="3630"/>
                </a:lnTo>
                <a:lnTo>
                  <a:pt x="2468" y="3628"/>
                </a:lnTo>
                <a:lnTo>
                  <a:pt x="2468" y="3627"/>
                </a:lnTo>
                <a:lnTo>
                  <a:pt x="2470" y="3625"/>
                </a:lnTo>
                <a:lnTo>
                  <a:pt x="2475" y="3625"/>
                </a:lnTo>
                <a:lnTo>
                  <a:pt x="2476" y="3623"/>
                </a:lnTo>
                <a:lnTo>
                  <a:pt x="2482" y="3623"/>
                </a:lnTo>
                <a:lnTo>
                  <a:pt x="2493" y="3627"/>
                </a:lnTo>
                <a:lnTo>
                  <a:pt x="2509" y="3627"/>
                </a:lnTo>
                <a:lnTo>
                  <a:pt x="2516" y="3630"/>
                </a:lnTo>
                <a:lnTo>
                  <a:pt x="2519" y="3630"/>
                </a:lnTo>
                <a:lnTo>
                  <a:pt x="2524" y="3633"/>
                </a:lnTo>
                <a:lnTo>
                  <a:pt x="2529" y="3633"/>
                </a:lnTo>
                <a:lnTo>
                  <a:pt x="2531" y="3633"/>
                </a:lnTo>
                <a:lnTo>
                  <a:pt x="2533" y="3633"/>
                </a:lnTo>
                <a:lnTo>
                  <a:pt x="2541" y="3635"/>
                </a:lnTo>
                <a:lnTo>
                  <a:pt x="2543" y="3635"/>
                </a:lnTo>
                <a:lnTo>
                  <a:pt x="2541" y="3633"/>
                </a:lnTo>
                <a:lnTo>
                  <a:pt x="2541" y="3632"/>
                </a:lnTo>
                <a:lnTo>
                  <a:pt x="2546" y="3628"/>
                </a:lnTo>
                <a:lnTo>
                  <a:pt x="2546" y="3625"/>
                </a:lnTo>
                <a:lnTo>
                  <a:pt x="2551" y="3623"/>
                </a:lnTo>
                <a:lnTo>
                  <a:pt x="2560" y="3623"/>
                </a:lnTo>
                <a:lnTo>
                  <a:pt x="2570" y="3627"/>
                </a:lnTo>
                <a:lnTo>
                  <a:pt x="2573" y="3627"/>
                </a:lnTo>
                <a:lnTo>
                  <a:pt x="2578" y="3627"/>
                </a:lnTo>
                <a:lnTo>
                  <a:pt x="2582" y="3627"/>
                </a:lnTo>
                <a:lnTo>
                  <a:pt x="2584" y="3627"/>
                </a:lnTo>
                <a:lnTo>
                  <a:pt x="2585" y="3627"/>
                </a:lnTo>
                <a:lnTo>
                  <a:pt x="2584" y="3623"/>
                </a:lnTo>
                <a:lnTo>
                  <a:pt x="2580" y="3621"/>
                </a:lnTo>
                <a:lnTo>
                  <a:pt x="2580" y="3620"/>
                </a:lnTo>
                <a:lnTo>
                  <a:pt x="2584" y="3615"/>
                </a:lnTo>
                <a:lnTo>
                  <a:pt x="2590" y="3611"/>
                </a:lnTo>
                <a:lnTo>
                  <a:pt x="2595" y="3610"/>
                </a:lnTo>
                <a:lnTo>
                  <a:pt x="2602" y="3610"/>
                </a:lnTo>
                <a:lnTo>
                  <a:pt x="2607" y="3610"/>
                </a:lnTo>
                <a:lnTo>
                  <a:pt x="2618" y="3613"/>
                </a:lnTo>
                <a:lnTo>
                  <a:pt x="2619" y="3613"/>
                </a:lnTo>
                <a:lnTo>
                  <a:pt x="2624" y="3613"/>
                </a:lnTo>
                <a:lnTo>
                  <a:pt x="2629" y="3611"/>
                </a:lnTo>
                <a:lnTo>
                  <a:pt x="2638" y="3606"/>
                </a:lnTo>
                <a:lnTo>
                  <a:pt x="2645" y="3606"/>
                </a:lnTo>
                <a:lnTo>
                  <a:pt x="2648" y="3603"/>
                </a:lnTo>
                <a:lnTo>
                  <a:pt x="2652" y="3603"/>
                </a:lnTo>
                <a:lnTo>
                  <a:pt x="2653" y="3601"/>
                </a:lnTo>
                <a:lnTo>
                  <a:pt x="2657" y="3601"/>
                </a:lnTo>
                <a:lnTo>
                  <a:pt x="2658" y="3598"/>
                </a:lnTo>
                <a:lnTo>
                  <a:pt x="2662" y="3598"/>
                </a:lnTo>
                <a:lnTo>
                  <a:pt x="2677" y="3587"/>
                </a:lnTo>
                <a:lnTo>
                  <a:pt x="2682" y="3584"/>
                </a:lnTo>
                <a:lnTo>
                  <a:pt x="2687" y="3581"/>
                </a:lnTo>
                <a:lnTo>
                  <a:pt x="2697" y="3576"/>
                </a:lnTo>
                <a:lnTo>
                  <a:pt x="2699" y="3572"/>
                </a:lnTo>
                <a:lnTo>
                  <a:pt x="2706" y="3569"/>
                </a:lnTo>
                <a:lnTo>
                  <a:pt x="2709" y="3564"/>
                </a:lnTo>
                <a:lnTo>
                  <a:pt x="2721" y="3559"/>
                </a:lnTo>
                <a:lnTo>
                  <a:pt x="2723" y="3555"/>
                </a:lnTo>
                <a:lnTo>
                  <a:pt x="2728" y="3553"/>
                </a:lnTo>
                <a:lnTo>
                  <a:pt x="2733" y="3548"/>
                </a:lnTo>
                <a:lnTo>
                  <a:pt x="2735" y="3548"/>
                </a:lnTo>
                <a:lnTo>
                  <a:pt x="2735" y="3547"/>
                </a:lnTo>
                <a:lnTo>
                  <a:pt x="2740" y="3543"/>
                </a:lnTo>
                <a:lnTo>
                  <a:pt x="2742" y="3540"/>
                </a:lnTo>
                <a:lnTo>
                  <a:pt x="2747" y="3538"/>
                </a:lnTo>
                <a:lnTo>
                  <a:pt x="2747" y="3535"/>
                </a:lnTo>
                <a:lnTo>
                  <a:pt x="2750" y="3535"/>
                </a:lnTo>
                <a:lnTo>
                  <a:pt x="2754" y="3530"/>
                </a:lnTo>
                <a:lnTo>
                  <a:pt x="2757" y="3528"/>
                </a:lnTo>
                <a:lnTo>
                  <a:pt x="2759" y="3523"/>
                </a:lnTo>
                <a:lnTo>
                  <a:pt x="2762" y="3521"/>
                </a:lnTo>
                <a:lnTo>
                  <a:pt x="2764" y="3521"/>
                </a:lnTo>
                <a:lnTo>
                  <a:pt x="2765" y="3516"/>
                </a:lnTo>
                <a:lnTo>
                  <a:pt x="2769" y="3514"/>
                </a:lnTo>
                <a:lnTo>
                  <a:pt x="2771" y="3513"/>
                </a:lnTo>
                <a:lnTo>
                  <a:pt x="2771" y="3511"/>
                </a:lnTo>
                <a:lnTo>
                  <a:pt x="2772" y="3509"/>
                </a:lnTo>
                <a:lnTo>
                  <a:pt x="2774" y="3508"/>
                </a:lnTo>
                <a:lnTo>
                  <a:pt x="2781" y="3506"/>
                </a:lnTo>
                <a:lnTo>
                  <a:pt x="2786" y="3501"/>
                </a:lnTo>
                <a:lnTo>
                  <a:pt x="2789" y="3496"/>
                </a:lnTo>
                <a:lnTo>
                  <a:pt x="2791" y="3496"/>
                </a:lnTo>
                <a:lnTo>
                  <a:pt x="2794" y="3496"/>
                </a:lnTo>
                <a:lnTo>
                  <a:pt x="2796" y="3494"/>
                </a:lnTo>
                <a:lnTo>
                  <a:pt x="2806" y="3484"/>
                </a:lnTo>
                <a:lnTo>
                  <a:pt x="2808" y="3482"/>
                </a:lnTo>
                <a:lnTo>
                  <a:pt x="2815" y="3475"/>
                </a:lnTo>
                <a:lnTo>
                  <a:pt x="2823" y="3465"/>
                </a:lnTo>
                <a:lnTo>
                  <a:pt x="2830" y="3453"/>
                </a:lnTo>
                <a:lnTo>
                  <a:pt x="2840" y="3439"/>
                </a:lnTo>
                <a:lnTo>
                  <a:pt x="2847" y="3424"/>
                </a:lnTo>
                <a:lnTo>
                  <a:pt x="2857" y="3416"/>
                </a:lnTo>
                <a:lnTo>
                  <a:pt x="2856" y="3414"/>
                </a:lnTo>
                <a:lnTo>
                  <a:pt x="2857" y="3411"/>
                </a:lnTo>
                <a:lnTo>
                  <a:pt x="2862" y="3400"/>
                </a:lnTo>
                <a:lnTo>
                  <a:pt x="2871" y="3390"/>
                </a:lnTo>
                <a:lnTo>
                  <a:pt x="2883" y="3380"/>
                </a:lnTo>
                <a:lnTo>
                  <a:pt x="2891" y="3370"/>
                </a:lnTo>
                <a:lnTo>
                  <a:pt x="2905" y="3365"/>
                </a:lnTo>
                <a:lnTo>
                  <a:pt x="2920" y="3353"/>
                </a:lnTo>
                <a:lnTo>
                  <a:pt x="2924" y="3348"/>
                </a:lnTo>
                <a:lnTo>
                  <a:pt x="2925" y="3346"/>
                </a:lnTo>
                <a:lnTo>
                  <a:pt x="2927" y="3339"/>
                </a:lnTo>
                <a:lnTo>
                  <a:pt x="2932" y="3327"/>
                </a:lnTo>
                <a:lnTo>
                  <a:pt x="2935" y="3312"/>
                </a:lnTo>
                <a:lnTo>
                  <a:pt x="2939" y="3297"/>
                </a:lnTo>
                <a:lnTo>
                  <a:pt x="2939" y="3295"/>
                </a:lnTo>
                <a:lnTo>
                  <a:pt x="2947" y="3276"/>
                </a:lnTo>
                <a:lnTo>
                  <a:pt x="2949" y="3263"/>
                </a:lnTo>
                <a:lnTo>
                  <a:pt x="2951" y="3256"/>
                </a:lnTo>
                <a:lnTo>
                  <a:pt x="2949" y="3252"/>
                </a:lnTo>
                <a:lnTo>
                  <a:pt x="2951" y="3242"/>
                </a:lnTo>
                <a:lnTo>
                  <a:pt x="2951" y="3239"/>
                </a:lnTo>
                <a:lnTo>
                  <a:pt x="2952" y="3223"/>
                </a:lnTo>
                <a:lnTo>
                  <a:pt x="2951" y="3225"/>
                </a:lnTo>
                <a:lnTo>
                  <a:pt x="2949" y="3229"/>
                </a:lnTo>
                <a:lnTo>
                  <a:pt x="2947" y="3232"/>
                </a:lnTo>
                <a:lnTo>
                  <a:pt x="2949" y="3234"/>
                </a:lnTo>
                <a:lnTo>
                  <a:pt x="2946" y="3234"/>
                </a:lnTo>
                <a:lnTo>
                  <a:pt x="2941" y="3229"/>
                </a:lnTo>
                <a:lnTo>
                  <a:pt x="2939" y="3229"/>
                </a:lnTo>
                <a:lnTo>
                  <a:pt x="2937" y="3225"/>
                </a:lnTo>
                <a:lnTo>
                  <a:pt x="2935" y="3220"/>
                </a:lnTo>
                <a:lnTo>
                  <a:pt x="2934" y="3220"/>
                </a:lnTo>
                <a:lnTo>
                  <a:pt x="2932" y="3218"/>
                </a:lnTo>
                <a:lnTo>
                  <a:pt x="2929" y="3218"/>
                </a:lnTo>
                <a:lnTo>
                  <a:pt x="2930" y="3220"/>
                </a:lnTo>
                <a:lnTo>
                  <a:pt x="2929" y="3220"/>
                </a:lnTo>
                <a:lnTo>
                  <a:pt x="2929" y="3218"/>
                </a:lnTo>
                <a:lnTo>
                  <a:pt x="2930" y="3215"/>
                </a:lnTo>
                <a:lnTo>
                  <a:pt x="2934" y="3218"/>
                </a:lnTo>
                <a:lnTo>
                  <a:pt x="2939" y="3213"/>
                </a:lnTo>
                <a:lnTo>
                  <a:pt x="2941" y="3210"/>
                </a:lnTo>
                <a:lnTo>
                  <a:pt x="2942" y="3213"/>
                </a:lnTo>
                <a:lnTo>
                  <a:pt x="2942" y="3210"/>
                </a:lnTo>
                <a:lnTo>
                  <a:pt x="2942" y="3206"/>
                </a:lnTo>
                <a:lnTo>
                  <a:pt x="2947" y="3198"/>
                </a:lnTo>
                <a:lnTo>
                  <a:pt x="2958" y="3189"/>
                </a:lnTo>
                <a:lnTo>
                  <a:pt x="2966" y="3186"/>
                </a:lnTo>
                <a:lnTo>
                  <a:pt x="2981" y="3179"/>
                </a:lnTo>
                <a:lnTo>
                  <a:pt x="2998" y="3172"/>
                </a:lnTo>
                <a:lnTo>
                  <a:pt x="3005" y="3171"/>
                </a:lnTo>
                <a:lnTo>
                  <a:pt x="3017" y="3166"/>
                </a:lnTo>
                <a:lnTo>
                  <a:pt x="3022" y="3164"/>
                </a:lnTo>
                <a:lnTo>
                  <a:pt x="3027" y="3162"/>
                </a:lnTo>
                <a:lnTo>
                  <a:pt x="3046" y="3155"/>
                </a:lnTo>
                <a:lnTo>
                  <a:pt x="3060" y="3150"/>
                </a:lnTo>
                <a:lnTo>
                  <a:pt x="3063" y="3147"/>
                </a:lnTo>
                <a:lnTo>
                  <a:pt x="3066" y="3145"/>
                </a:lnTo>
                <a:lnTo>
                  <a:pt x="3066" y="3142"/>
                </a:lnTo>
                <a:lnTo>
                  <a:pt x="3077" y="3130"/>
                </a:lnTo>
                <a:lnTo>
                  <a:pt x="3082" y="3123"/>
                </a:lnTo>
                <a:lnTo>
                  <a:pt x="3082" y="3118"/>
                </a:lnTo>
                <a:lnTo>
                  <a:pt x="3085" y="3111"/>
                </a:lnTo>
                <a:lnTo>
                  <a:pt x="3083" y="3109"/>
                </a:lnTo>
                <a:lnTo>
                  <a:pt x="3083" y="3108"/>
                </a:lnTo>
                <a:lnTo>
                  <a:pt x="3082" y="3106"/>
                </a:lnTo>
                <a:lnTo>
                  <a:pt x="3082" y="3109"/>
                </a:lnTo>
                <a:lnTo>
                  <a:pt x="3080" y="3111"/>
                </a:lnTo>
                <a:lnTo>
                  <a:pt x="3078" y="3109"/>
                </a:lnTo>
                <a:lnTo>
                  <a:pt x="3078" y="3111"/>
                </a:lnTo>
                <a:lnTo>
                  <a:pt x="3077" y="3109"/>
                </a:lnTo>
                <a:lnTo>
                  <a:pt x="3077" y="3111"/>
                </a:lnTo>
                <a:lnTo>
                  <a:pt x="3075" y="3111"/>
                </a:lnTo>
                <a:lnTo>
                  <a:pt x="3077" y="3113"/>
                </a:lnTo>
                <a:lnTo>
                  <a:pt x="3075" y="3115"/>
                </a:lnTo>
                <a:lnTo>
                  <a:pt x="3073" y="3118"/>
                </a:lnTo>
                <a:lnTo>
                  <a:pt x="3073" y="3115"/>
                </a:lnTo>
                <a:lnTo>
                  <a:pt x="3073" y="3113"/>
                </a:lnTo>
                <a:lnTo>
                  <a:pt x="3073" y="3111"/>
                </a:lnTo>
                <a:lnTo>
                  <a:pt x="3075" y="3103"/>
                </a:lnTo>
                <a:lnTo>
                  <a:pt x="3073" y="3103"/>
                </a:lnTo>
                <a:lnTo>
                  <a:pt x="3073" y="3101"/>
                </a:lnTo>
                <a:lnTo>
                  <a:pt x="3077" y="3101"/>
                </a:lnTo>
                <a:lnTo>
                  <a:pt x="3077" y="3104"/>
                </a:lnTo>
                <a:lnTo>
                  <a:pt x="3078" y="3099"/>
                </a:lnTo>
                <a:lnTo>
                  <a:pt x="3078" y="3092"/>
                </a:lnTo>
                <a:lnTo>
                  <a:pt x="3082" y="3082"/>
                </a:lnTo>
                <a:lnTo>
                  <a:pt x="3080" y="3075"/>
                </a:lnTo>
                <a:lnTo>
                  <a:pt x="3082" y="3072"/>
                </a:lnTo>
                <a:lnTo>
                  <a:pt x="3087" y="3065"/>
                </a:lnTo>
                <a:lnTo>
                  <a:pt x="3087" y="3064"/>
                </a:lnTo>
                <a:lnTo>
                  <a:pt x="3083" y="3062"/>
                </a:lnTo>
                <a:lnTo>
                  <a:pt x="3085" y="3064"/>
                </a:lnTo>
                <a:lnTo>
                  <a:pt x="3083" y="3064"/>
                </a:lnTo>
                <a:lnTo>
                  <a:pt x="3082" y="3057"/>
                </a:lnTo>
                <a:lnTo>
                  <a:pt x="3082" y="3047"/>
                </a:lnTo>
                <a:lnTo>
                  <a:pt x="3083" y="3038"/>
                </a:lnTo>
                <a:lnTo>
                  <a:pt x="3083" y="3033"/>
                </a:lnTo>
                <a:lnTo>
                  <a:pt x="3083" y="3030"/>
                </a:lnTo>
                <a:lnTo>
                  <a:pt x="3083" y="3024"/>
                </a:lnTo>
                <a:lnTo>
                  <a:pt x="3083" y="3026"/>
                </a:lnTo>
                <a:lnTo>
                  <a:pt x="3083" y="3033"/>
                </a:lnTo>
                <a:lnTo>
                  <a:pt x="3082" y="3026"/>
                </a:lnTo>
                <a:lnTo>
                  <a:pt x="3080" y="3021"/>
                </a:lnTo>
                <a:lnTo>
                  <a:pt x="3078" y="3023"/>
                </a:lnTo>
                <a:lnTo>
                  <a:pt x="3078" y="3024"/>
                </a:lnTo>
                <a:lnTo>
                  <a:pt x="3077" y="3024"/>
                </a:lnTo>
                <a:lnTo>
                  <a:pt x="3077" y="3026"/>
                </a:lnTo>
                <a:lnTo>
                  <a:pt x="3077" y="3028"/>
                </a:lnTo>
                <a:lnTo>
                  <a:pt x="3077" y="3026"/>
                </a:lnTo>
                <a:lnTo>
                  <a:pt x="3075" y="3028"/>
                </a:lnTo>
                <a:lnTo>
                  <a:pt x="3075" y="3026"/>
                </a:lnTo>
                <a:lnTo>
                  <a:pt x="3073" y="3026"/>
                </a:lnTo>
                <a:lnTo>
                  <a:pt x="3073" y="3016"/>
                </a:lnTo>
                <a:lnTo>
                  <a:pt x="3071" y="3014"/>
                </a:lnTo>
                <a:lnTo>
                  <a:pt x="3073" y="3013"/>
                </a:lnTo>
                <a:lnTo>
                  <a:pt x="3070" y="3007"/>
                </a:lnTo>
                <a:lnTo>
                  <a:pt x="3070" y="2997"/>
                </a:lnTo>
                <a:lnTo>
                  <a:pt x="3063" y="2987"/>
                </a:lnTo>
                <a:lnTo>
                  <a:pt x="3061" y="2982"/>
                </a:lnTo>
                <a:lnTo>
                  <a:pt x="3061" y="2978"/>
                </a:lnTo>
                <a:lnTo>
                  <a:pt x="3060" y="2982"/>
                </a:lnTo>
                <a:lnTo>
                  <a:pt x="3060" y="2980"/>
                </a:lnTo>
                <a:lnTo>
                  <a:pt x="3060" y="2978"/>
                </a:lnTo>
                <a:lnTo>
                  <a:pt x="3058" y="2977"/>
                </a:lnTo>
                <a:lnTo>
                  <a:pt x="3060" y="2978"/>
                </a:lnTo>
                <a:lnTo>
                  <a:pt x="3061" y="2978"/>
                </a:lnTo>
                <a:lnTo>
                  <a:pt x="3061" y="2977"/>
                </a:lnTo>
                <a:lnTo>
                  <a:pt x="3061" y="2975"/>
                </a:lnTo>
                <a:lnTo>
                  <a:pt x="3061" y="2977"/>
                </a:lnTo>
                <a:lnTo>
                  <a:pt x="3060" y="2975"/>
                </a:lnTo>
                <a:lnTo>
                  <a:pt x="3060" y="2973"/>
                </a:lnTo>
                <a:lnTo>
                  <a:pt x="3060" y="2972"/>
                </a:lnTo>
                <a:lnTo>
                  <a:pt x="3056" y="2972"/>
                </a:lnTo>
                <a:lnTo>
                  <a:pt x="3058" y="2970"/>
                </a:lnTo>
                <a:lnTo>
                  <a:pt x="3060" y="2970"/>
                </a:lnTo>
                <a:lnTo>
                  <a:pt x="3061" y="2970"/>
                </a:lnTo>
                <a:lnTo>
                  <a:pt x="3061" y="2968"/>
                </a:lnTo>
                <a:lnTo>
                  <a:pt x="3060" y="2967"/>
                </a:lnTo>
                <a:lnTo>
                  <a:pt x="3061" y="2967"/>
                </a:lnTo>
                <a:lnTo>
                  <a:pt x="3063" y="2963"/>
                </a:lnTo>
                <a:lnTo>
                  <a:pt x="3061" y="2961"/>
                </a:lnTo>
                <a:lnTo>
                  <a:pt x="3058" y="2961"/>
                </a:lnTo>
                <a:lnTo>
                  <a:pt x="3060" y="2960"/>
                </a:lnTo>
                <a:lnTo>
                  <a:pt x="3058" y="2956"/>
                </a:lnTo>
                <a:lnTo>
                  <a:pt x="3058" y="2958"/>
                </a:lnTo>
                <a:lnTo>
                  <a:pt x="3056" y="2958"/>
                </a:lnTo>
                <a:lnTo>
                  <a:pt x="3056" y="2956"/>
                </a:lnTo>
                <a:lnTo>
                  <a:pt x="3054" y="2956"/>
                </a:lnTo>
                <a:lnTo>
                  <a:pt x="3056" y="2955"/>
                </a:lnTo>
                <a:lnTo>
                  <a:pt x="3058" y="2955"/>
                </a:lnTo>
                <a:lnTo>
                  <a:pt x="3056" y="2953"/>
                </a:lnTo>
                <a:lnTo>
                  <a:pt x="3056" y="2955"/>
                </a:lnTo>
                <a:lnTo>
                  <a:pt x="3056" y="2953"/>
                </a:lnTo>
                <a:lnTo>
                  <a:pt x="3056" y="2951"/>
                </a:lnTo>
                <a:lnTo>
                  <a:pt x="3054" y="2953"/>
                </a:lnTo>
                <a:lnTo>
                  <a:pt x="3056" y="2951"/>
                </a:lnTo>
                <a:lnTo>
                  <a:pt x="3054" y="2951"/>
                </a:lnTo>
                <a:lnTo>
                  <a:pt x="3053" y="2950"/>
                </a:lnTo>
                <a:lnTo>
                  <a:pt x="3051" y="2950"/>
                </a:lnTo>
                <a:lnTo>
                  <a:pt x="3051" y="2951"/>
                </a:lnTo>
                <a:lnTo>
                  <a:pt x="3051" y="2953"/>
                </a:lnTo>
                <a:lnTo>
                  <a:pt x="3049" y="2953"/>
                </a:lnTo>
                <a:lnTo>
                  <a:pt x="3051" y="2953"/>
                </a:lnTo>
                <a:lnTo>
                  <a:pt x="3049" y="2950"/>
                </a:lnTo>
                <a:lnTo>
                  <a:pt x="3051" y="2948"/>
                </a:lnTo>
                <a:lnTo>
                  <a:pt x="3049" y="2950"/>
                </a:lnTo>
                <a:lnTo>
                  <a:pt x="3049" y="2951"/>
                </a:lnTo>
                <a:lnTo>
                  <a:pt x="3049" y="2950"/>
                </a:lnTo>
                <a:lnTo>
                  <a:pt x="3046" y="2950"/>
                </a:lnTo>
                <a:lnTo>
                  <a:pt x="3046" y="2951"/>
                </a:lnTo>
                <a:lnTo>
                  <a:pt x="3046" y="2950"/>
                </a:lnTo>
                <a:lnTo>
                  <a:pt x="3048" y="2950"/>
                </a:lnTo>
                <a:lnTo>
                  <a:pt x="3046" y="2950"/>
                </a:lnTo>
                <a:lnTo>
                  <a:pt x="3048" y="2950"/>
                </a:lnTo>
                <a:lnTo>
                  <a:pt x="3048" y="2948"/>
                </a:lnTo>
                <a:lnTo>
                  <a:pt x="3049" y="2948"/>
                </a:lnTo>
                <a:lnTo>
                  <a:pt x="3048" y="2948"/>
                </a:lnTo>
                <a:lnTo>
                  <a:pt x="3049" y="2946"/>
                </a:lnTo>
                <a:lnTo>
                  <a:pt x="3046" y="2944"/>
                </a:lnTo>
                <a:lnTo>
                  <a:pt x="3044" y="2944"/>
                </a:lnTo>
                <a:lnTo>
                  <a:pt x="3046" y="2944"/>
                </a:lnTo>
                <a:lnTo>
                  <a:pt x="3044" y="2943"/>
                </a:lnTo>
                <a:lnTo>
                  <a:pt x="3043" y="2943"/>
                </a:lnTo>
                <a:lnTo>
                  <a:pt x="3044" y="2943"/>
                </a:lnTo>
                <a:lnTo>
                  <a:pt x="3043" y="2941"/>
                </a:lnTo>
                <a:lnTo>
                  <a:pt x="3041" y="2941"/>
                </a:lnTo>
                <a:lnTo>
                  <a:pt x="3043" y="2939"/>
                </a:lnTo>
                <a:lnTo>
                  <a:pt x="3041" y="2938"/>
                </a:lnTo>
                <a:lnTo>
                  <a:pt x="3039" y="2936"/>
                </a:lnTo>
                <a:lnTo>
                  <a:pt x="3041" y="2934"/>
                </a:lnTo>
                <a:lnTo>
                  <a:pt x="3041" y="2933"/>
                </a:lnTo>
                <a:lnTo>
                  <a:pt x="3039" y="2933"/>
                </a:lnTo>
                <a:lnTo>
                  <a:pt x="3039" y="2931"/>
                </a:lnTo>
                <a:lnTo>
                  <a:pt x="3039" y="2933"/>
                </a:lnTo>
                <a:lnTo>
                  <a:pt x="3041" y="2931"/>
                </a:lnTo>
                <a:lnTo>
                  <a:pt x="3043" y="2927"/>
                </a:lnTo>
                <a:lnTo>
                  <a:pt x="3043" y="2926"/>
                </a:lnTo>
                <a:lnTo>
                  <a:pt x="3041" y="2924"/>
                </a:lnTo>
                <a:lnTo>
                  <a:pt x="3041" y="2922"/>
                </a:lnTo>
                <a:lnTo>
                  <a:pt x="3043" y="2922"/>
                </a:lnTo>
                <a:lnTo>
                  <a:pt x="3044" y="2924"/>
                </a:lnTo>
                <a:lnTo>
                  <a:pt x="3044" y="2922"/>
                </a:lnTo>
                <a:lnTo>
                  <a:pt x="3043" y="2916"/>
                </a:lnTo>
                <a:lnTo>
                  <a:pt x="3044" y="2912"/>
                </a:lnTo>
                <a:lnTo>
                  <a:pt x="3043" y="2909"/>
                </a:lnTo>
                <a:lnTo>
                  <a:pt x="3044" y="2907"/>
                </a:lnTo>
                <a:lnTo>
                  <a:pt x="3044" y="2904"/>
                </a:lnTo>
                <a:lnTo>
                  <a:pt x="3044" y="2902"/>
                </a:lnTo>
                <a:lnTo>
                  <a:pt x="3046" y="2904"/>
                </a:lnTo>
                <a:lnTo>
                  <a:pt x="3048" y="2907"/>
                </a:lnTo>
                <a:lnTo>
                  <a:pt x="3051" y="2907"/>
                </a:lnTo>
                <a:lnTo>
                  <a:pt x="3061" y="2900"/>
                </a:lnTo>
                <a:lnTo>
                  <a:pt x="3063" y="2897"/>
                </a:lnTo>
                <a:lnTo>
                  <a:pt x="3063" y="2899"/>
                </a:lnTo>
                <a:lnTo>
                  <a:pt x="3077" y="2887"/>
                </a:lnTo>
                <a:lnTo>
                  <a:pt x="3082" y="2880"/>
                </a:lnTo>
                <a:lnTo>
                  <a:pt x="3090" y="2871"/>
                </a:lnTo>
                <a:lnTo>
                  <a:pt x="3090" y="2870"/>
                </a:lnTo>
                <a:lnTo>
                  <a:pt x="3092" y="2870"/>
                </a:lnTo>
                <a:lnTo>
                  <a:pt x="3094" y="2870"/>
                </a:lnTo>
                <a:lnTo>
                  <a:pt x="3092" y="2870"/>
                </a:lnTo>
                <a:lnTo>
                  <a:pt x="3092" y="2868"/>
                </a:lnTo>
                <a:lnTo>
                  <a:pt x="3102" y="2863"/>
                </a:lnTo>
                <a:lnTo>
                  <a:pt x="3100" y="2863"/>
                </a:lnTo>
                <a:lnTo>
                  <a:pt x="3100" y="2861"/>
                </a:lnTo>
                <a:lnTo>
                  <a:pt x="3102" y="2863"/>
                </a:lnTo>
                <a:lnTo>
                  <a:pt x="3104" y="2863"/>
                </a:lnTo>
                <a:lnTo>
                  <a:pt x="3104" y="2859"/>
                </a:lnTo>
                <a:lnTo>
                  <a:pt x="3107" y="2859"/>
                </a:lnTo>
                <a:lnTo>
                  <a:pt x="3109" y="2858"/>
                </a:lnTo>
                <a:lnTo>
                  <a:pt x="3107" y="2856"/>
                </a:lnTo>
                <a:lnTo>
                  <a:pt x="3109" y="2856"/>
                </a:lnTo>
                <a:lnTo>
                  <a:pt x="3109" y="2858"/>
                </a:lnTo>
                <a:lnTo>
                  <a:pt x="3107" y="2859"/>
                </a:lnTo>
                <a:lnTo>
                  <a:pt x="3105" y="2861"/>
                </a:lnTo>
                <a:lnTo>
                  <a:pt x="3107" y="2861"/>
                </a:lnTo>
                <a:lnTo>
                  <a:pt x="3109" y="2861"/>
                </a:lnTo>
                <a:lnTo>
                  <a:pt x="3109" y="2859"/>
                </a:lnTo>
                <a:lnTo>
                  <a:pt x="3111" y="2859"/>
                </a:lnTo>
                <a:lnTo>
                  <a:pt x="3112" y="2859"/>
                </a:lnTo>
                <a:lnTo>
                  <a:pt x="3111" y="2861"/>
                </a:lnTo>
                <a:lnTo>
                  <a:pt x="3112" y="2859"/>
                </a:lnTo>
                <a:lnTo>
                  <a:pt x="3114" y="2858"/>
                </a:lnTo>
                <a:lnTo>
                  <a:pt x="3114" y="2859"/>
                </a:lnTo>
                <a:lnTo>
                  <a:pt x="3116" y="2859"/>
                </a:lnTo>
                <a:lnTo>
                  <a:pt x="3121" y="2858"/>
                </a:lnTo>
                <a:lnTo>
                  <a:pt x="3122" y="2858"/>
                </a:lnTo>
                <a:lnTo>
                  <a:pt x="3126" y="2854"/>
                </a:lnTo>
                <a:lnTo>
                  <a:pt x="3126" y="2853"/>
                </a:lnTo>
                <a:lnTo>
                  <a:pt x="3128" y="2851"/>
                </a:lnTo>
                <a:lnTo>
                  <a:pt x="3124" y="2853"/>
                </a:lnTo>
                <a:lnTo>
                  <a:pt x="3126" y="2849"/>
                </a:lnTo>
                <a:lnTo>
                  <a:pt x="3128" y="2848"/>
                </a:lnTo>
                <a:lnTo>
                  <a:pt x="3129" y="2846"/>
                </a:lnTo>
                <a:lnTo>
                  <a:pt x="3128" y="2846"/>
                </a:lnTo>
                <a:lnTo>
                  <a:pt x="3129" y="2846"/>
                </a:lnTo>
                <a:lnTo>
                  <a:pt x="3131" y="2844"/>
                </a:lnTo>
                <a:lnTo>
                  <a:pt x="3129" y="2842"/>
                </a:lnTo>
                <a:lnTo>
                  <a:pt x="3133" y="2842"/>
                </a:lnTo>
                <a:lnTo>
                  <a:pt x="3133" y="2841"/>
                </a:lnTo>
                <a:lnTo>
                  <a:pt x="3138" y="2836"/>
                </a:lnTo>
                <a:lnTo>
                  <a:pt x="3138" y="2834"/>
                </a:lnTo>
                <a:lnTo>
                  <a:pt x="3139" y="2834"/>
                </a:lnTo>
                <a:lnTo>
                  <a:pt x="3139" y="2832"/>
                </a:lnTo>
                <a:lnTo>
                  <a:pt x="3141" y="2834"/>
                </a:lnTo>
                <a:lnTo>
                  <a:pt x="3141" y="2832"/>
                </a:lnTo>
                <a:lnTo>
                  <a:pt x="3150" y="2825"/>
                </a:lnTo>
                <a:lnTo>
                  <a:pt x="3150" y="2824"/>
                </a:lnTo>
                <a:lnTo>
                  <a:pt x="3148" y="2824"/>
                </a:lnTo>
                <a:lnTo>
                  <a:pt x="3148" y="2825"/>
                </a:lnTo>
                <a:lnTo>
                  <a:pt x="3146" y="2825"/>
                </a:lnTo>
                <a:lnTo>
                  <a:pt x="3146" y="2824"/>
                </a:lnTo>
                <a:lnTo>
                  <a:pt x="3150" y="2822"/>
                </a:lnTo>
                <a:lnTo>
                  <a:pt x="3151" y="2822"/>
                </a:lnTo>
                <a:lnTo>
                  <a:pt x="3156" y="2817"/>
                </a:lnTo>
                <a:lnTo>
                  <a:pt x="3156" y="2815"/>
                </a:lnTo>
                <a:lnTo>
                  <a:pt x="3163" y="2805"/>
                </a:lnTo>
                <a:lnTo>
                  <a:pt x="3168" y="2802"/>
                </a:lnTo>
                <a:lnTo>
                  <a:pt x="3173" y="2796"/>
                </a:lnTo>
                <a:lnTo>
                  <a:pt x="3189" y="2790"/>
                </a:lnTo>
                <a:lnTo>
                  <a:pt x="3192" y="2788"/>
                </a:lnTo>
                <a:lnTo>
                  <a:pt x="3192" y="2786"/>
                </a:lnTo>
                <a:lnTo>
                  <a:pt x="3194" y="2788"/>
                </a:lnTo>
                <a:lnTo>
                  <a:pt x="3206" y="2781"/>
                </a:lnTo>
                <a:lnTo>
                  <a:pt x="3218" y="2778"/>
                </a:lnTo>
                <a:lnTo>
                  <a:pt x="3219" y="2776"/>
                </a:lnTo>
                <a:lnTo>
                  <a:pt x="3231" y="2771"/>
                </a:lnTo>
                <a:lnTo>
                  <a:pt x="3243" y="2768"/>
                </a:lnTo>
                <a:lnTo>
                  <a:pt x="3250" y="2766"/>
                </a:lnTo>
                <a:lnTo>
                  <a:pt x="3258" y="2764"/>
                </a:lnTo>
                <a:lnTo>
                  <a:pt x="3262" y="2764"/>
                </a:lnTo>
                <a:lnTo>
                  <a:pt x="3265" y="2761"/>
                </a:lnTo>
                <a:lnTo>
                  <a:pt x="3264" y="2759"/>
                </a:lnTo>
                <a:lnTo>
                  <a:pt x="3265" y="2757"/>
                </a:lnTo>
                <a:lnTo>
                  <a:pt x="3265" y="2759"/>
                </a:lnTo>
                <a:lnTo>
                  <a:pt x="3267" y="2756"/>
                </a:lnTo>
                <a:lnTo>
                  <a:pt x="3272" y="2752"/>
                </a:lnTo>
                <a:lnTo>
                  <a:pt x="3284" y="2747"/>
                </a:lnTo>
                <a:lnTo>
                  <a:pt x="3287" y="2744"/>
                </a:lnTo>
                <a:lnTo>
                  <a:pt x="3303" y="2735"/>
                </a:lnTo>
                <a:lnTo>
                  <a:pt x="3301" y="2734"/>
                </a:lnTo>
                <a:lnTo>
                  <a:pt x="3304" y="2734"/>
                </a:lnTo>
                <a:lnTo>
                  <a:pt x="3304" y="2732"/>
                </a:lnTo>
                <a:lnTo>
                  <a:pt x="3304" y="2734"/>
                </a:lnTo>
                <a:lnTo>
                  <a:pt x="3304" y="2732"/>
                </a:lnTo>
                <a:lnTo>
                  <a:pt x="3303" y="2732"/>
                </a:lnTo>
                <a:lnTo>
                  <a:pt x="3304" y="2732"/>
                </a:lnTo>
                <a:lnTo>
                  <a:pt x="3308" y="2728"/>
                </a:lnTo>
                <a:lnTo>
                  <a:pt x="3306" y="2728"/>
                </a:lnTo>
                <a:lnTo>
                  <a:pt x="3304" y="2727"/>
                </a:lnTo>
                <a:lnTo>
                  <a:pt x="3301" y="2727"/>
                </a:lnTo>
                <a:lnTo>
                  <a:pt x="3299" y="2727"/>
                </a:lnTo>
                <a:lnTo>
                  <a:pt x="3306" y="2725"/>
                </a:lnTo>
                <a:lnTo>
                  <a:pt x="3308" y="2725"/>
                </a:lnTo>
                <a:lnTo>
                  <a:pt x="3311" y="2722"/>
                </a:lnTo>
                <a:lnTo>
                  <a:pt x="3311" y="2718"/>
                </a:lnTo>
                <a:lnTo>
                  <a:pt x="3315" y="2717"/>
                </a:lnTo>
                <a:lnTo>
                  <a:pt x="3315" y="2715"/>
                </a:lnTo>
                <a:lnTo>
                  <a:pt x="3316" y="2713"/>
                </a:lnTo>
                <a:lnTo>
                  <a:pt x="3316" y="2711"/>
                </a:lnTo>
                <a:lnTo>
                  <a:pt x="3315" y="2710"/>
                </a:lnTo>
                <a:lnTo>
                  <a:pt x="3318" y="2710"/>
                </a:lnTo>
                <a:lnTo>
                  <a:pt x="3326" y="2700"/>
                </a:lnTo>
                <a:lnTo>
                  <a:pt x="3332" y="2693"/>
                </a:lnTo>
                <a:lnTo>
                  <a:pt x="3335" y="2689"/>
                </a:lnTo>
                <a:lnTo>
                  <a:pt x="3338" y="2686"/>
                </a:lnTo>
                <a:lnTo>
                  <a:pt x="3338" y="2684"/>
                </a:lnTo>
                <a:lnTo>
                  <a:pt x="3337" y="2684"/>
                </a:lnTo>
                <a:lnTo>
                  <a:pt x="3338" y="2684"/>
                </a:lnTo>
                <a:lnTo>
                  <a:pt x="3338" y="2682"/>
                </a:lnTo>
                <a:lnTo>
                  <a:pt x="3342" y="2679"/>
                </a:lnTo>
                <a:lnTo>
                  <a:pt x="3340" y="2681"/>
                </a:lnTo>
                <a:lnTo>
                  <a:pt x="3343" y="2676"/>
                </a:lnTo>
                <a:lnTo>
                  <a:pt x="3343" y="2671"/>
                </a:lnTo>
                <a:lnTo>
                  <a:pt x="3342" y="2669"/>
                </a:lnTo>
                <a:lnTo>
                  <a:pt x="3342" y="2671"/>
                </a:lnTo>
                <a:lnTo>
                  <a:pt x="3340" y="2669"/>
                </a:lnTo>
                <a:lnTo>
                  <a:pt x="3338" y="2671"/>
                </a:lnTo>
                <a:lnTo>
                  <a:pt x="3340" y="2671"/>
                </a:lnTo>
                <a:lnTo>
                  <a:pt x="3338" y="2672"/>
                </a:lnTo>
                <a:lnTo>
                  <a:pt x="3335" y="2671"/>
                </a:lnTo>
                <a:lnTo>
                  <a:pt x="3335" y="2672"/>
                </a:lnTo>
                <a:lnTo>
                  <a:pt x="3335" y="2671"/>
                </a:lnTo>
                <a:lnTo>
                  <a:pt x="3337" y="2669"/>
                </a:lnTo>
                <a:lnTo>
                  <a:pt x="3338" y="2667"/>
                </a:lnTo>
                <a:lnTo>
                  <a:pt x="3338" y="2669"/>
                </a:lnTo>
                <a:lnTo>
                  <a:pt x="3342" y="2665"/>
                </a:lnTo>
                <a:lnTo>
                  <a:pt x="3345" y="2665"/>
                </a:lnTo>
                <a:lnTo>
                  <a:pt x="3345" y="2664"/>
                </a:lnTo>
                <a:lnTo>
                  <a:pt x="3343" y="2662"/>
                </a:lnTo>
                <a:lnTo>
                  <a:pt x="3343" y="2660"/>
                </a:lnTo>
                <a:lnTo>
                  <a:pt x="3343" y="2662"/>
                </a:lnTo>
                <a:lnTo>
                  <a:pt x="3342" y="2662"/>
                </a:lnTo>
                <a:lnTo>
                  <a:pt x="3342" y="2660"/>
                </a:lnTo>
                <a:lnTo>
                  <a:pt x="3342" y="2659"/>
                </a:lnTo>
                <a:lnTo>
                  <a:pt x="3343" y="2660"/>
                </a:lnTo>
                <a:lnTo>
                  <a:pt x="3347" y="2660"/>
                </a:lnTo>
                <a:lnTo>
                  <a:pt x="3347" y="2662"/>
                </a:lnTo>
                <a:lnTo>
                  <a:pt x="3349" y="2662"/>
                </a:lnTo>
                <a:lnTo>
                  <a:pt x="3347" y="2659"/>
                </a:lnTo>
                <a:lnTo>
                  <a:pt x="3345" y="2659"/>
                </a:lnTo>
                <a:lnTo>
                  <a:pt x="3342" y="2657"/>
                </a:lnTo>
                <a:lnTo>
                  <a:pt x="3342" y="2655"/>
                </a:lnTo>
                <a:lnTo>
                  <a:pt x="3342" y="2654"/>
                </a:lnTo>
                <a:lnTo>
                  <a:pt x="3343" y="2657"/>
                </a:lnTo>
                <a:lnTo>
                  <a:pt x="3347" y="2655"/>
                </a:lnTo>
                <a:lnTo>
                  <a:pt x="3350" y="2654"/>
                </a:lnTo>
                <a:lnTo>
                  <a:pt x="3352" y="2654"/>
                </a:lnTo>
                <a:lnTo>
                  <a:pt x="3352" y="2652"/>
                </a:lnTo>
                <a:lnTo>
                  <a:pt x="3350" y="2652"/>
                </a:lnTo>
                <a:lnTo>
                  <a:pt x="3352" y="2650"/>
                </a:lnTo>
                <a:lnTo>
                  <a:pt x="3352" y="2645"/>
                </a:lnTo>
                <a:lnTo>
                  <a:pt x="3350" y="2643"/>
                </a:lnTo>
                <a:lnTo>
                  <a:pt x="3352" y="2638"/>
                </a:lnTo>
                <a:lnTo>
                  <a:pt x="3350" y="2638"/>
                </a:lnTo>
                <a:lnTo>
                  <a:pt x="3349" y="2640"/>
                </a:lnTo>
                <a:lnTo>
                  <a:pt x="3349" y="2638"/>
                </a:lnTo>
                <a:lnTo>
                  <a:pt x="3352" y="2637"/>
                </a:lnTo>
                <a:lnTo>
                  <a:pt x="3350" y="2631"/>
                </a:lnTo>
                <a:lnTo>
                  <a:pt x="3345" y="2633"/>
                </a:lnTo>
                <a:lnTo>
                  <a:pt x="3343" y="2635"/>
                </a:lnTo>
                <a:lnTo>
                  <a:pt x="3343" y="2640"/>
                </a:lnTo>
                <a:lnTo>
                  <a:pt x="3340" y="2642"/>
                </a:lnTo>
                <a:lnTo>
                  <a:pt x="3342" y="2638"/>
                </a:lnTo>
                <a:lnTo>
                  <a:pt x="3340" y="2637"/>
                </a:lnTo>
                <a:lnTo>
                  <a:pt x="3343" y="2635"/>
                </a:lnTo>
                <a:lnTo>
                  <a:pt x="3342" y="2637"/>
                </a:lnTo>
                <a:lnTo>
                  <a:pt x="3342" y="2635"/>
                </a:lnTo>
                <a:lnTo>
                  <a:pt x="3343" y="2635"/>
                </a:lnTo>
                <a:lnTo>
                  <a:pt x="3342" y="2633"/>
                </a:lnTo>
                <a:lnTo>
                  <a:pt x="3342" y="2630"/>
                </a:lnTo>
                <a:lnTo>
                  <a:pt x="3340" y="2628"/>
                </a:lnTo>
                <a:lnTo>
                  <a:pt x="3342" y="2628"/>
                </a:lnTo>
                <a:lnTo>
                  <a:pt x="3343" y="2630"/>
                </a:lnTo>
                <a:lnTo>
                  <a:pt x="3347" y="2628"/>
                </a:lnTo>
                <a:lnTo>
                  <a:pt x="3347" y="2625"/>
                </a:lnTo>
                <a:lnTo>
                  <a:pt x="3345" y="2625"/>
                </a:lnTo>
                <a:lnTo>
                  <a:pt x="3345" y="2621"/>
                </a:lnTo>
                <a:lnTo>
                  <a:pt x="3342" y="2621"/>
                </a:lnTo>
                <a:lnTo>
                  <a:pt x="3340" y="2623"/>
                </a:lnTo>
                <a:lnTo>
                  <a:pt x="3340" y="2625"/>
                </a:lnTo>
                <a:lnTo>
                  <a:pt x="3338" y="2623"/>
                </a:lnTo>
                <a:lnTo>
                  <a:pt x="3340" y="2623"/>
                </a:lnTo>
                <a:lnTo>
                  <a:pt x="3338" y="2621"/>
                </a:lnTo>
                <a:lnTo>
                  <a:pt x="3338" y="2623"/>
                </a:lnTo>
                <a:lnTo>
                  <a:pt x="3337" y="2623"/>
                </a:lnTo>
                <a:lnTo>
                  <a:pt x="3338" y="2621"/>
                </a:lnTo>
                <a:lnTo>
                  <a:pt x="3337" y="2620"/>
                </a:lnTo>
                <a:lnTo>
                  <a:pt x="3340" y="2618"/>
                </a:lnTo>
                <a:lnTo>
                  <a:pt x="3340" y="2616"/>
                </a:lnTo>
                <a:lnTo>
                  <a:pt x="3338" y="2616"/>
                </a:lnTo>
                <a:lnTo>
                  <a:pt x="3342" y="2614"/>
                </a:lnTo>
                <a:lnTo>
                  <a:pt x="3342" y="2613"/>
                </a:lnTo>
                <a:lnTo>
                  <a:pt x="3342" y="2611"/>
                </a:lnTo>
                <a:lnTo>
                  <a:pt x="3340" y="2611"/>
                </a:lnTo>
                <a:lnTo>
                  <a:pt x="3338" y="2611"/>
                </a:lnTo>
                <a:lnTo>
                  <a:pt x="3338" y="2609"/>
                </a:lnTo>
                <a:lnTo>
                  <a:pt x="3342" y="2609"/>
                </a:lnTo>
                <a:lnTo>
                  <a:pt x="3340" y="2608"/>
                </a:lnTo>
                <a:lnTo>
                  <a:pt x="3340" y="2606"/>
                </a:lnTo>
                <a:lnTo>
                  <a:pt x="3338" y="2596"/>
                </a:lnTo>
                <a:lnTo>
                  <a:pt x="3337" y="2594"/>
                </a:lnTo>
                <a:lnTo>
                  <a:pt x="3337" y="2592"/>
                </a:lnTo>
                <a:lnTo>
                  <a:pt x="3340" y="2591"/>
                </a:lnTo>
                <a:lnTo>
                  <a:pt x="3340" y="2589"/>
                </a:lnTo>
                <a:lnTo>
                  <a:pt x="3338" y="2589"/>
                </a:lnTo>
                <a:lnTo>
                  <a:pt x="3337" y="2587"/>
                </a:lnTo>
                <a:lnTo>
                  <a:pt x="3337" y="2582"/>
                </a:lnTo>
                <a:lnTo>
                  <a:pt x="3338" y="2580"/>
                </a:lnTo>
                <a:lnTo>
                  <a:pt x="3338" y="2579"/>
                </a:lnTo>
                <a:lnTo>
                  <a:pt x="3337" y="2575"/>
                </a:lnTo>
                <a:lnTo>
                  <a:pt x="3338" y="2574"/>
                </a:lnTo>
                <a:lnTo>
                  <a:pt x="3338" y="2569"/>
                </a:lnTo>
                <a:lnTo>
                  <a:pt x="3337" y="2565"/>
                </a:lnTo>
                <a:lnTo>
                  <a:pt x="3338" y="2558"/>
                </a:lnTo>
                <a:lnTo>
                  <a:pt x="3337" y="2558"/>
                </a:lnTo>
                <a:lnTo>
                  <a:pt x="3335" y="2558"/>
                </a:lnTo>
                <a:lnTo>
                  <a:pt x="3333" y="2558"/>
                </a:lnTo>
                <a:lnTo>
                  <a:pt x="3335" y="2560"/>
                </a:lnTo>
                <a:lnTo>
                  <a:pt x="3335" y="2563"/>
                </a:lnTo>
                <a:lnTo>
                  <a:pt x="3333" y="2562"/>
                </a:lnTo>
                <a:lnTo>
                  <a:pt x="3332" y="2562"/>
                </a:lnTo>
                <a:lnTo>
                  <a:pt x="3330" y="2558"/>
                </a:lnTo>
                <a:lnTo>
                  <a:pt x="3330" y="2557"/>
                </a:lnTo>
                <a:lnTo>
                  <a:pt x="3333" y="2555"/>
                </a:lnTo>
                <a:lnTo>
                  <a:pt x="3335" y="2555"/>
                </a:lnTo>
                <a:lnTo>
                  <a:pt x="3335" y="2557"/>
                </a:lnTo>
                <a:lnTo>
                  <a:pt x="3337" y="2552"/>
                </a:lnTo>
                <a:lnTo>
                  <a:pt x="3338" y="2552"/>
                </a:lnTo>
                <a:lnTo>
                  <a:pt x="3338" y="2550"/>
                </a:lnTo>
                <a:lnTo>
                  <a:pt x="3338" y="2552"/>
                </a:lnTo>
                <a:lnTo>
                  <a:pt x="3340" y="2550"/>
                </a:lnTo>
                <a:lnTo>
                  <a:pt x="3342" y="2548"/>
                </a:lnTo>
                <a:lnTo>
                  <a:pt x="3340" y="2548"/>
                </a:lnTo>
                <a:lnTo>
                  <a:pt x="3340" y="2546"/>
                </a:lnTo>
                <a:lnTo>
                  <a:pt x="3340" y="2545"/>
                </a:lnTo>
                <a:lnTo>
                  <a:pt x="3338" y="2546"/>
                </a:lnTo>
                <a:lnTo>
                  <a:pt x="3338" y="2543"/>
                </a:lnTo>
                <a:lnTo>
                  <a:pt x="3340" y="2543"/>
                </a:lnTo>
                <a:lnTo>
                  <a:pt x="3340" y="2541"/>
                </a:lnTo>
                <a:lnTo>
                  <a:pt x="3340" y="2543"/>
                </a:lnTo>
                <a:lnTo>
                  <a:pt x="3338" y="2541"/>
                </a:lnTo>
                <a:lnTo>
                  <a:pt x="3337" y="2538"/>
                </a:lnTo>
                <a:lnTo>
                  <a:pt x="3338" y="2536"/>
                </a:lnTo>
                <a:lnTo>
                  <a:pt x="3335" y="2536"/>
                </a:lnTo>
                <a:lnTo>
                  <a:pt x="3333" y="2538"/>
                </a:lnTo>
                <a:lnTo>
                  <a:pt x="3335" y="2536"/>
                </a:lnTo>
                <a:lnTo>
                  <a:pt x="3333" y="2535"/>
                </a:lnTo>
                <a:lnTo>
                  <a:pt x="3335" y="2531"/>
                </a:lnTo>
                <a:lnTo>
                  <a:pt x="3338" y="2529"/>
                </a:lnTo>
                <a:lnTo>
                  <a:pt x="3337" y="2529"/>
                </a:lnTo>
                <a:lnTo>
                  <a:pt x="3335" y="2529"/>
                </a:lnTo>
                <a:lnTo>
                  <a:pt x="3333" y="2529"/>
                </a:lnTo>
                <a:lnTo>
                  <a:pt x="3335" y="2526"/>
                </a:lnTo>
                <a:lnTo>
                  <a:pt x="3335" y="2523"/>
                </a:lnTo>
                <a:lnTo>
                  <a:pt x="3335" y="2521"/>
                </a:lnTo>
                <a:lnTo>
                  <a:pt x="3335" y="2519"/>
                </a:lnTo>
                <a:lnTo>
                  <a:pt x="3335" y="2517"/>
                </a:lnTo>
                <a:lnTo>
                  <a:pt x="3335" y="2514"/>
                </a:lnTo>
                <a:lnTo>
                  <a:pt x="3335" y="2512"/>
                </a:lnTo>
                <a:lnTo>
                  <a:pt x="3335" y="2511"/>
                </a:lnTo>
                <a:lnTo>
                  <a:pt x="3337" y="2509"/>
                </a:lnTo>
                <a:lnTo>
                  <a:pt x="3335" y="2507"/>
                </a:lnTo>
                <a:lnTo>
                  <a:pt x="3333" y="2504"/>
                </a:lnTo>
                <a:lnTo>
                  <a:pt x="3335" y="2502"/>
                </a:lnTo>
                <a:lnTo>
                  <a:pt x="3333" y="2500"/>
                </a:lnTo>
                <a:lnTo>
                  <a:pt x="3333" y="2497"/>
                </a:lnTo>
                <a:lnTo>
                  <a:pt x="3332" y="2495"/>
                </a:lnTo>
                <a:lnTo>
                  <a:pt x="3332" y="2494"/>
                </a:lnTo>
                <a:lnTo>
                  <a:pt x="3332" y="2492"/>
                </a:lnTo>
                <a:lnTo>
                  <a:pt x="3333" y="2490"/>
                </a:lnTo>
                <a:lnTo>
                  <a:pt x="3332" y="2489"/>
                </a:lnTo>
                <a:lnTo>
                  <a:pt x="3330" y="2487"/>
                </a:lnTo>
                <a:lnTo>
                  <a:pt x="3332" y="2485"/>
                </a:lnTo>
                <a:lnTo>
                  <a:pt x="3333" y="2483"/>
                </a:lnTo>
                <a:lnTo>
                  <a:pt x="3333" y="2482"/>
                </a:lnTo>
                <a:lnTo>
                  <a:pt x="3333" y="2480"/>
                </a:lnTo>
                <a:lnTo>
                  <a:pt x="3332" y="2480"/>
                </a:lnTo>
                <a:lnTo>
                  <a:pt x="3332" y="2478"/>
                </a:lnTo>
                <a:lnTo>
                  <a:pt x="3332" y="2480"/>
                </a:lnTo>
                <a:lnTo>
                  <a:pt x="3330" y="2478"/>
                </a:lnTo>
                <a:lnTo>
                  <a:pt x="3330" y="2477"/>
                </a:lnTo>
                <a:lnTo>
                  <a:pt x="3328" y="2477"/>
                </a:lnTo>
                <a:lnTo>
                  <a:pt x="3328" y="2475"/>
                </a:lnTo>
                <a:lnTo>
                  <a:pt x="3330" y="2473"/>
                </a:lnTo>
                <a:lnTo>
                  <a:pt x="3332" y="2470"/>
                </a:lnTo>
                <a:lnTo>
                  <a:pt x="3335" y="2468"/>
                </a:lnTo>
                <a:lnTo>
                  <a:pt x="3335" y="2466"/>
                </a:lnTo>
                <a:lnTo>
                  <a:pt x="3337" y="2463"/>
                </a:lnTo>
                <a:lnTo>
                  <a:pt x="3338" y="2461"/>
                </a:lnTo>
                <a:lnTo>
                  <a:pt x="3335" y="2460"/>
                </a:lnTo>
                <a:lnTo>
                  <a:pt x="3335" y="2458"/>
                </a:lnTo>
                <a:lnTo>
                  <a:pt x="3335" y="2456"/>
                </a:lnTo>
                <a:lnTo>
                  <a:pt x="3335" y="2455"/>
                </a:lnTo>
                <a:lnTo>
                  <a:pt x="3340" y="2453"/>
                </a:lnTo>
                <a:lnTo>
                  <a:pt x="3340" y="2451"/>
                </a:lnTo>
                <a:lnTo>
                  <a:pt x="3338" y="2449"/>
                </a:lnTo>
                <a:lnTo>
                  <a:pt x="3333" y="2446"/>
                </a:lnTo>
                <a:lnTo>
                  <a:pt x="3338" y="2443"/>
                </a:lnTo>
                <a:lnTo>
                  <a:pt x="3342" y="2444"/>
                </a:lnTo>
                <a:lnTo>
                  <a:pt x="3342" y="2443"/>
                </a:lnTo>
                <a:lnTo>
                  <a:pt x="3338" y="2441"/>
                </a:lnTo>
                <a:lnTo>
                  <a:pt x="3338" y="2439"/>
                </a:lnTo>
                <a:lnTo>
                  <a:pt x="3335" y="2436"/>
                </a:lnTo>
                <a:lnTo>
                  <a:pt x="3337" y="2436"/>
                </a:lnTo>
                <a:lnTo>
                  <a:pt x="3337" y="2432"/>
                </a:lnTo>
                <a:lnTo>
                  <a:pt x="3332" y="2432"/>
                </a:lnTo>
                <a:lnTo>
                  <a:pt x="3330" y="2427"/>
                </a:lnTo>
                <a:lnTo>
                  <a:pt x="3332" y="2426"/>
                </a:lnTo>
                <a:lnTo>
                  <a:pt x="3330" y="2424"/>
                </a:lnTo>
                <a:lnTo>
                  <a:pt x="3328" y="2426"/>
                </a:lnTo>
                <a:lnTo>
                  <a:pt x="3330" y="2426"/>
                </a:lnTo>
                <a:lnTo>
                  <a:pt x="3330" y="2427"/>
                </a:lnTo>
                <a:lnTo>
                  <a:pt x="3326" y="2426"/>
                </a:lnTo>
                <a:lnTo>
                  <a:pt x="3325" y="2422"/>
                </a:lnTo>
                <a:lnTo>
                  <a:pt x="3321" y="2421"/>
                </a:lnTo>
                <a:lnTo>
                  <a:pt x="3321" y="2419"/>
                </a:lnTo>
                <a:lnTo>
                  <a:pt x="3320" y="2422"/>
                </a:lnTo>
                <a:lnTo>
                  <a:pt x="3321" y="2421"/>
                </a:lnTo>
                <a:lnTo>
                  <a:pt x="3323" y="2422"/>
                </a:lnTo>
                <a:lnTo>
                  <a:pt x="3321" y="2422"/>
                </a:lnTo>
                <a:lnTo>
                  <a:pt x="3320" y="2422"/>
                </a:lnTo>
                <a:lnTo>
                  <a:pt x="3320" y="2421"/>
                </a:lnTo>
                <a:lnTo>
                  <a:pt x="3316" y="2422"/>
                </a:lnTo>
                <a:lnTo>
                  <a:pt x="3315" y="2422"/>
                </a:lnTo>
                <a:lnTo>
                  <a:pt x="3316" y="2421"/>
                </a:lnTo>
                <a:lnTo>
                  <a:pt x="3316" y="2417"/>
                </a:lnTo>
                <a:lnTo>
                  <a:pt x="3309" y="2415"/>
                </a:lnTo>
                <a:lnTo>
                  <a:pt x="3308" y="2415"/>
                </a:lnTo>
                <a:lnTo>
                  <a:pt x="3309" y="2417"/>
                </a:lnTo>
                <a:lnTo>
                  <a:pt x="3309" y="2419"/>
                </a:lnTo>
                <a:lnTo>
                  <a:pt x="3308" y="2419"/>
                </a:lnTo>
                <a:lnTo>
                  <a:pt x="3308" y="2417"/>
                </a:lnTo>
                <a:lnTo>
                  <a:pt x="3308" y="2415"/>
                </a:lnTo>
                <a:lnTo>
                  <a:pt x="3304" y="2410"/>
                </a:lnTo>
                <a:lnTo>
                  <a:pt x="3303" y="2409"/>
                </a:lnTo>
                <a:lnTo>
                  <a:pt x="3301" y="2409"/>
                </a:lnTo>
                <a:lnTo>
                  <a:pt x="3301" y="2407"/>
                </a:lnTo>
                <a:lnTo>
                  <a:pt x="3296" y="2407"/>
                </a:lnTo>
                <a:lnTo>
                  <a:pt x="3294" y="2410"/>
                </a:lnTo>
                <a:lnTo>
                  <a:pt x="3292" y="2410"/>
                </a:lnTo>
                <a:lnTo>
                  <a:pt x="3294" y="2409"/>
                </a:lnTo>
                <a:lnTo>
                  <a:pt x="3294" y="2407"/>
                </a:lnTo>
                <a:lnTo>
                  <a:pt x="3299" y="2405"/>
                </a:lnTo>
                <a:lnTo>
                  <a:pt x="3298" y="2404"/>
                </a:lnTo>
                <a:lnTo>
                  <a:pt x="3299" y="2402"/>
                </a:lnTo>
                <a:lnTo>
                  <a:pt x="3299" y="2400"/>
                </a:lnTo>
                <a:lnTo>
                  <a:pt x="3298" y="2397"/>
                </a:lnTo>
                <a:lnTo>
                  <a:pt x="3298" y="2395"/>
                </a:lnTo>
                <a:lnTo>
                  <a:pt x="3296" y="2395"/>
                </a:lnTo>
                <a:lnTo>
                  <a:pt x="3298" y="2393"/>
                </a:lnTo>
                <a:lnTo>
                  <a:pt x="3296" y="2393"/>
                </a:lnTo>
                <a:lnTo>
                  <a:pt x="3296" y="2392"/>
                </a:lnTo>
                <a:lnTo>
                  <a:pt x="3296" y="2390"/>
                </a:lnTo>
                <a:lnTo>
                  <a:pt x="3296" y="2388"/>
                </a:lnTo>
                <a:lnTo>
                  <a:pt x="3294" y="2385"/>
                </a:lnTo>
                <a:lnTo>
                  <a:pt x="3292" y="2383"/>
                </a:lnTo>
                <a:lnTo>
                  <a:pt x="3292" y="2381"/>
                </a:lnTo>
                <a:lnTo>
                  <a:pt x="3291" y="2380"/>
                </a:lnTo>
                <a:lnTo>
                  <a:pt x="3289" y="2380"/>
                </a:lnTo>
                <a:lnTo>
                  <a:pt x="3287" y="2380"/>
                </a:lnTo>
                <a:lnTo>
                  <a:pt x="3287" y="2378"/>
                </a:lnTo>
                <a:lnTo>
                  <a:pt x="3289" y="2378"/>
                </a:lnTo>
                <a:lnTo>
                  <a:pt x="3292" y="2376"/>
                </a:lnTo>
                <a:lnTo>
                  <a:pt x="3292" y="2371"/>
                </a:lnTo>
                <a:lnTo>
                  <a:pt x="3291" y="2371"/>
                </a:lnTo>
                <a:lnTo>
                  <a:pt x="3291" y="2370"/>
                </a:lnTo>
                <a:lnTo>
                  <a:pt x="3291" y="2366"/>
                </a:lnTo>
                <a:lnTo>
                  <a:pt x="3289" y="2364"/>
                </a:lnTo>
                <a:lnTo>
                  <a:pt x="3291" y="2361"/>
                </a:lnTo>
                <a:lnTo>
                  <a:pt x="3287" y="2359"/>
                </a:lnTo>
                <a:lnTo>
                  <a:pt x="3287" y="2363"/>
                </a:lnTo>
                <a:lnTo>
                  <a:pt x="3289" y="2363"/>
                </a:lnTo>
                <a:lnTo>
                  <a:pt x="3289" y="2364"/>
                </a:lnTo>
                <a:lnTo>
                  <a:pt x="3287" y="2363"/>
                </a:lnTo>
                <a:lnTo>
                  <a:pt x="3284" y="2364"/>
                </a:lnTo>
                <a:lnTo>
                  <a:pt x="3286" y="2366"/>
                </a:lnTo>
                <a:lnTo>
                  <a:pt x="3284" y="2366"/>
                </a:lnTo>
                <a:lnTo>
                  <a:pt x="3284" y="2363"/>
                </a:lnTo>
                <a:lnTo>
                  <a:pt x="3282" y="2363"/>
                </a:lnTo>
                <a:lnTo>
                  <a:pt x="3284" y="2361"/>
                </a:lnTo>
                <a:lnTo>
                  <a:pt x="3284" y="2358"/>
                </a:lnTo>
                <a:lnTo>
                  <a:pt x="3284" y="2356"/>
                </a:lnTo>
                <a:lnTo>
                  <a:pt x="3284" y="2354"/>
                </a:lnTo>
                <a:lnTo>
                  <a:pt x="3282" y="2354"/>
                </a:lnTo>
                <a:lnTo>
                  <a:pt x="3282" y="2352"/>
                </a:lnTo>
                <a:lnTo>
                  <a:pt x="3281" y="2352"/>
                </a:lnTo>
                <a:lnTo>
                  <a:pt x="3279" y="2352"/>
                </a:lnTo>
                <a:lnTo>
                  <a:pt x="3279" y="2351"/>
                </a:lnTo>
                <a:lnTo>
                  <a:pt x="3282" y="2351"/>
                </a:lnTo>
                <a:lnTo>
                  <a:pt x="3284" y="2352"/>
                </a:lnTo>
                <a:lnTo>
                  <a:pt x="3284" y="2354"/>
                </a:lnTo>
                <a:lnTo>
                  <a:pt x="3286" y="2354"/>
                </a:lnTo>
                <a:lnTo>
                  <a:pt x="3287" y="2354"/>
                </a:lnTo>
                <a:lnTo>
                  <a:pt x="3286" y="2352"/>
                </a:lnTo>
                <a:lnTo>
                  <a:pt x="3284" y="2347"/>
                </a:lnTo>
                <a:lnTo>
                  <a:pt x="3284" y="2349"/>
                </a:lnTo>
                <a:lnTo>
                  <a:pt x="3282" y="2347"/>
                </a:lnTo>
                <a:lnTo>
                  <a:pt x="3281" y="2344"/>
                </a:lnTo>
                <a:lnTo>
                  <a:pt x="3279" y="2344"/>
                </a:lnTo>
                <a:lnTo>
                  <a:pt x="3277" y="2344"/>
                </a:lnTo>
                <a:lnTo>
                  <a:pt x="3277" y="2341"/>
                </a:lnTo>
                <a:lnTo>
                  <a:pt x="3277" y="2339"/>
                </a:lnTo>
                <a:lnTo>
                  <a:pt x="3275" y="2337"/>
                </a:lnTo>
                <a:lnTo>
                  <a:pt x="3277" y="2335"/>
                </a:lnTo>
                <a:lnTo>
                  <a:pt x="3275" y="2335"/>
                </a:lnTo>
                <a:lnTo>
                  <a:pt x="3275" y="2334"/>
                </a:lnTo>
                <a:lnTo>
                  <a:pt x="3274" y="2332"/>
                </a:lnTo>
                <a:lnTo>
                  <a:pt x="3274" y="2330"/>
                </a:lnTo>
                <a:lnTo>
                  <a:pt x="3274" y="2329"/>
                </a:lnTo>
                <a:lnTo>
                  <a:pt x="3274" y="2327"/>
                </a:lnTo>
                <a:lnTo>
                  <a:pt x="3274" y="2325"/>
                </a:lnTo>
                <a:lnTo>
                  <a:pt x="3272" y="2322"/>
                </a:lnTo>
                <a:lnTo>
                  <a:pt x="3274" y="2322"/>
                </a:lnTo>
                <a:lnTo>
                  <a:pt x="3274" y="2320"/>
                </a:lnTo>
                <a:lnTo>
                  <a:pt x="3275" y="2322"/>
                </a:lnTo>
                <a:lnTo>
                  <a:pt x="3277" y="2320"/>
                </a:lnTo>
                <a:lnTo>
                  <a:pt x="3275" y="2320"/>
                </a:lnTo>
                <a:lnTo>
                  <a:pt x="3275" y="2318"/>
                </a:lnTo>
                <a:lnTo>
                  <a:pt x="3275" y="2317"/>
                </a:lnTo>
                <a:lnTo>
                  <a:pt x="3277" y="2318"/>
                </a:lnTo>
                <a:lnTo>
                  <a:pt x="3282" y="2307"/>
                </a:lnTo>
                <a:lnTo>
                  <a:pt x="3281" y="2301"/>
                </a:lnTo>
                <a:lnTo>
                  <a:pt x="3281" y="2300"/>
                </a:lnTo>
                <a:lnTo>
                  <a:pt x="3282" y="2298"/>
                </a:lnTo>
                <a:lnTo>
                  <a:pt x="3277" y="2295"/>
                </a:lnTo>
                <a:lnTo>
                  <a:pt x="3275" y="2293"/>
                </a:lnTo>
                <a:lnTo>
                  <a:pt x="3275" y="2295"/>
                </a:lnTo>
                <a:lnTo>
                  <a:pt x="3274" y="2295"/>
                </a:lnTo>
                <a:lnTo>
                  <a:pt x="3274" y="2293"/>
                </a:lnTo>
                <a:lnTo>
                  <a:pt x="3274" y="2290"/>
                </a:lnTo>
                <a:lnTo>
                  <a:pt x="3274" y="2288"/>
                </a:lnTo>
                <a:lnTo>
                  <a:pt x="3272" y="2286"/>
                </a:lnTo>
                <a:lnTo>
                  <a:pt x="3274" y="2279"/>
                </a:lnTo>
                <a:lnTo>
                  <a:pt x="3277" y="2276"/>
                </a:lnTo>
                <a:lnTo>
                  <a:pt x="3277" y="2271"/>
                </a:lnTo>
                <a:lnTo>
                  <a:pt x="3281" y="2269"/>
                </a:lnTo>
                <a:lnTo>
                  <a:pt x="3281" y="2266"/>
                </a:lnTo>
                <a:lnTo>
                  <a:pt x="3282" y="2264"/>
                </a:lnTo>
                <a:lnTo>
                  <a:pt x="3284" y="2266"/>
                </a:lnTo>
                <a:lnTo>
                  <a:pt x="3286" y="2262"/>
                </a:lnTo>
                <a:lnTo>
                  <a:pt x="3287" y="2262"/>
                </a:lnTo>
                <a:lnTo>
                  <a:pt x="3286" y="2261"/>
                </a:lnTo>
                <a:lnTo>
                  <a:pt x="3286" y="2256"/>
                </a:lnTo>
                <a:lnTo>
                  <a:pt x="3282" y="2249"/>
                </a:lnTo>
                <a:lnTo>
                  <a:pt x="3281" y="2249"/>
                </a:lnTo>
                <a:lnTo>
                  <a:pt x="3279" y="2249"/>
                </a:lnTo>
                <a:lnTo>
                  <a:pt x="3277" y="2249"/>
                </a:lnTo>
                <a:lnTo>
                  <a:pt x="3275" y="2247"/>
                </a:lnTo>
                <a:lnTo>
                  <a:pt x="3274" y="2247"/>
                </a:lnTo>
                <a:lnTo>
                  <a:pt x="3274" y="2249"/>
                </a:lnTo>
                <a:lnTo>
                  <a:pt x="3274" y="2250"/>
                </a:lnTo>
                <a:lnTo>
                  <a:pt x="3274" y="2249"/>
                </a:lnTo>
                <a:lnTo>
                  <a:pt x="3274" y="2247"/>
                </a:lnTo>
                <a:lnTo>
                  <a:pt x="3274" y="2245"/>
                </a:lnTo>
                <a:lnTo>
                  <a:pt x="3274" y="2244"/>
                </a:lnTo>
                <a:lnTo>
                  <a:pt x="3272" y="2242"/>
                </a:lnTo>
                <a:lnTo>
                  <a:pt x="3272" y="2244"/>
                </a:lnTo>
                <a:lnTo>
                  <a:pt x="3270" y="2244"/>
                </a:lnTo>
                <a:lnTo>
                  <a:pt x="3270" y="2239"/>
                </a:lnTo>
                <a:lnTo>
                  <a:pt x="3267" y="2235"/>
                </a:lnTo>
                <a:lnTo>
                  <a:pt x="3265" y="2233"/>
                </a:lnTo>
                <a:lnTo>
                  <a:pt x="3264" y="2232"/>
                </a:lnTo>
                <a:lnTo>
                  <a:pt x="3260" y="2230"/>
                </a:lnTo>
                <a:lnTo>
                  <a:pt x="3258" y="2228"/>
                </a:lnTo>
                <a:lnTo>
                  <a:pt x="3260" y="2230"/>
                </a:lnTo>
                <a:lnTo>
                  <a:pt x="3255" y="2228"/>
                </a:lnTo>
                <a:lnTo>
                  <a:pt x="3250" y="2222"/>
                </a:lnTo>
                <a:lnTo>
                  <a:pt x="3252" y="2216"/>
                </a:lnTo>
                <a:lnTo>
                  <a:pt x="3252" y="2213"/>
                </a:lnTo>
                <a:lnTo>
                  <a:pt x="3250" y="2213"/>
                </a:lnTo>
                <a:lnTo>
                  <a:pt x="3248" y="2208"/>
                </a:lnTo>
                <a:lnTo>
                  <a:pt x="3248" y="2206"/>
                </a:lnTo>
                <a:lnTo>
                  <a:pt x="3250" y="2203"/>
                </a:lnTo>
                <a:lnTo>
                  <a:pt x="3250" y="2198"/>
                </a:lnTo>
                <a:lnTo>
                  <a:pt x="3253" y="2191"/>
                </a:lnTo>
                <a:lnTo>
                  <a:pt x="3253" y="2187"/>
                </a:lnTo>
                <a:lnTo>
                  <a:pt x="3257" y="2182"/>
                </a:lnTo>
                <a:lnTo>
                  <a:pt x="3258" y="2177"/>
                </a:lnTo>
                <a:lnTo>
                  <a:pt x="3260" y="2176"/>
                </a:lnTo>
                <a:lnTo>
                  <a:pt x="3264" y="2167"/>
                </a:lnTo>
                <a:lnTo>
                  <a:pt x="3262" y="2165"/>
                </a:lnTo>
                <a:lnTo>
                  <a:pt x="3264" y="2164"/>
                </a:lnTo>
                <a:lnTo>
                  <a:pt x="3264" y="2162"/>
                </a:lnTo>
                <a:lnTo>
                  <a:pt x="3265" y="2160"/>
                </a:lnTo>
                <a:lnTo>
                  <a:pt x="3265" y="2157"/>
                </a:lnTo>
                <a:lnTo>
                  <a:pt x="3264" y="2159"/>
                </a:lnTo>
                <a:lnTo>
                  <a:pt x="3264" y="2157"/>
                </a:lnTo>
                <a:lnTo>
                  <a:pt x="3265" y="2157"/>
                </a:lnTo>
                <a:lnTo>
                  <a:pt x="3267" y="2155"/>
                </a:lnTo>
                <a:lnTo>
                  <a:pt x="3265" y="2155"/>
                </a:lnTo>
                <a:lnTo>
                  <a:pt x="3265" y="2153"/>
                </a:lnTo>
                <a:lnTo>
                  <a:pt x="3265" y="2152"/>
                </a:lnTo>
                <a:lnTo>
                  <a:pt x="3265" y="2150"/>
                </a:lnTo>
                <a:lnTo>
                  <a:pt x="3267" y="2148"/>
                </a:lnTo>
                <a:lnTo>
                  <a:pt x="3267" y="2150"/>
                </a:lnTo>
                <a:lnTo>
                  <a:pt x="3267" y="2152"/>
                </a:lnTo>
                <a:lnTo>
                  <a:pt x="3269" y="2148"/>
                </a:lnTo>
                <a:lnTo>
                  <a:pt x="3270" y="2145"/>
                </a:lnTo>
                <a:lnTo>
                  <a:pt x="3269" y="2145"/>
                </a:lnTo>
                <a:lnTo>
                  <a:pt x="3267" y="2143"/>
                </a:lnTo>
                <a:lnTo>
                  <a:pt x="3269" y="2143"/>
                </a:lnTo>
                <a:lnTo>
                  <a:pt x="3269" y="2140"/>
                </a:lnTo>
                <a:lnTo>
                  <a:pt x="3270" y="2138"/>
                </a:lnTo>
                <a:lnTo>
                  <a:pt x="3272" y="2136"/>
                </a:lnTo>
                <a:lnTo>
                  <a:pt x="3274" y="2135"/>
                </a:lnTo>
                <a:lnTo>
                  <a:pt x="3274" y="2136"/>
                </a:lnTo>
                <a:lnTo>
                  <a:pt x="3279" y="2136"/>
                </a:lnTo>
                <a:lnTo>
                  <a:pt x="3281" y="2136"/>
                </a:lnTo>
                <a:lnTo>
                  <a:pt x="3279" y="2135"/>
                </a:lnTo>
                <a:lnTo>
                  <a:pt x="3281" y="2133"/>
                </a:lnTo>
                <a:lnTo>
                  <a:pt x="3281" y="2135"/>
                </a:lnTo>
                <a:lnTo>
                  <a:pt x="3282" y="2133"/>
                </a:lnTo>
                <a:lnTo>
                  <a:pt x="3282" y="2130"/>
                </a:lnTo>
                <a:lnTo>
                  <a:pt x="3284" y="2126"/>
                </a:lnTo>
                <a:lnTo>
                  <a:pt x="3286" y="2126"/>
                </a:lnTo>
                <a:lnTo>
                  <a:pt x="3289" y="2114"/>
                </a:lnTo>
                <a:lnTo>
                  <a:pt x="3292" y="2109"/>
                </a:lnTo>
                <a:lnTo>
                  <a:pt x="3291" y="2108"/>
                </a:lnTo>
                <a:lnTo>
                  <a:pt x="3287" y="2108"/>
                </a:lnTo>
                <a:lnTo>
                  <a:pt x="3287" y="2106"/>
                </a:lnTo>
                <a:lnTo>
                  <a:pt x="3291" y="2106"/>
                </a:lnTo>
                <a:lnTo>
                  <a:pt x="3292" y="2104"/>
                </a:lnTo>
                <a:lnTo>
                  <a:pt x="3294" y="2108"/>
                </a:lnTo>
                <a:lnTo>
                  <a:pt x="3296" y="2106"/>
                </a:lnTo>
                <a:lnTo>
                  <a:pt x="3296" y="2104"/>
                </a:lnTo>
                <a:lnTo>
                  <a:pt x="3298" y="2101"/>
                </a:lnTo>
                <a:lnTo>
                  <a:pt x="3301" y="2096"/>
                </a:lnTo>
                <a:lnTo>
                  <a:pt x="3303" y="2089"/>
                </a:lnTo>
                <a:lnTo>
                  <a:pt x="3303" y="2085"/>
                </a:lnTo>
                <a:lnTo>
                  <a:pt x="3308" y="2074"/>
                </a:lnTo>
                <a:lnTo>
                  <a:pt x="3316" y="2068"/>
                </a:lnTo>
                <a:lnTo>
                  <a:pt x="3316" y="2067"/>
                </a:lnTo>
                <a:lnTo>
                  <a:pt x="3316" y="2063"/>
                </a:lnTo>
                <a:lnTo>
                  <a:pt x="3318" y="2060"/>
                </a:lnTo>
                <a:lnTo>
                  <a:pt x="3318" y="2058"/>
                </a:lnTo>
                <a:lnTo>
                  <a:pt x="3320" y="2055"/>
                </a:lnTo>
                <a:lnTo>
                  <a:pt x="3321" y="2053"/>
                </a:lnTo>
                <a:lnTo>
                  <a:pt x="3320" y="2053"/>
                </a:lnTo>
                <a:lnTo>
                  <a:pt x="3318" y="2050"/>
                </a:lnTo>
                <a:lnTo>
                  <a:pt x="3318" y="2045"/>
                </a:lnTo>
                <a:lnTo>
                  <a:pt x="3318" y="2041"/>
                </a:lnTo>
                <a:lnTo>
                  <a:pt x="3321" y="2038"/>
                </a:lnTo>
                <a:lnTo>
                  <a:pt x="3325" y="2034"/>
                </a:lnTo>
                <a:lnTo>
                  <a:pt x="3332" y="2031"/>
                </a:lnTo>
                <a:lnTo>
                  <a:pt x="3337" y="2029"/>
                </a:lnTo>
                <a:lnTo>
                  <a:pt x="3340" y="2031"/>
                </a:lnTo>
                <a:lnTo>
                  <a:pt x="3342" y="2031"/>
                </a:lnTo>
                <a:lnTo>
                  <a:pt x="3345" y="2028"/>
                </a:lnTo>
                <a:lnTo>
                  <a:pt x="3349" y="2026"/>
                </a:lnTo>
                <a:lnTo>
                  <a:pt x="3349" y="2024"/>
                </a:lnTo>
                <a:lnTo>
                  <a:pt x="3350" y="2022"/>
                </a:lnTo>
                <a:lnTo>
                  <a:pt x="3352" y="2021"/>
                </a:lnTo>
                <a:lnTo>
                  <a:pt x="3349" y="2021"/>
                </a:lnTo>
                <a:lnTo>
                  <a:pt x="3350" y="2019"/>
                </a:lnTo>
                <a:lnTo>
                  <a:pt x="3350" y="2021"/>
                </a:lnTo>
                <a:lnTo>
                  <a:pt x="3354" y="2017"/>
                </a:lnTo>
                <a:lnTo>
                  <a:pt x="3355" y="2017"/>
                </a:lnTo>
                <a:lnTo>
                  <a:pt x="3357" y="2019"/>
                </a:lnTo>
                <a:lnTo>
                  <a:pt x="3359" y="2019"/>
                </a:lnTo>
                <a:lnTo>
                  <a:pt x="3359" y="2016"/>
                </a:lnTo>
                <a:lnTo>
                  <a:pt x="3359" y="2014"/>
                </a:lnTo>
                <a:lnTo>
                  <a:pt x="3355" y="2014"/>
                </a:lnTo>
                <a:lnTo>
                  <a:pt x="3355" y="2004"/>
                </a:lnTo>
                <a:lnTo>
                  <a:pt x="3350" y="2000"/>
                </a:lnTo>
                <a:lnTo>
                  <a:pt x="3355" y="2002"/>
                </a:lnTo>
                <a:lnTo>
                  <a:pt x="3355" y="2004"/>
                </a:lnTo>
                <a:lnTo>
                  <a:pt x="3357" y="2007"/>
                </a:lnTo>
                <a:lnTo>
                  <a:pt x="3359" y="2005"/>
                </a:lnTo>
                <a:lnTo>
                  <a:pt x="3359" y="2004"/>
                </a:lnTo>
                <a:lnTo>
                  <a:pt x="3359" y="2002"/>
                </a:lnTo>
                <a:lnTo>
                  <a:pt x="3359" y="2000"/>
                </a:lnTo>
                <a:lnTo>
                  <a:pt x="3360" y="1999"/>
                </a:lnTo>
                <a:lnTo>
                  <a:pt x="3359" y="2000"/>
                </a:lnTo>
                <a:lnTo>
                  <a:pt x="3359" y="2004"/>
                </a:lnTo>
                <a:lnTo>
                  <a:pt x="3360" y="2005"/>
                </a:lnTo>
                <a:lnTo>
                  <a:pt x="3362" y="2005"/>
                </a:lnTo>
                <a:lnTo>
                  <a:pt x="3362" y="2004"/>
                </a:lnTo>
                <a:lnTo>
                  <a:pt x="3367" y="2002"/>
                </a:lnTo>
                <a:lnTo>
                  <a:pt x="3369" y="2002"/>
                </a:lnTo>
                <a:lnTo>
                  <a:pt x="3371" y="2002"/>
                </a:lnTo>
                <a:lnTo>
                  <a:pt x="3371" y="2000"/>
                </a:lnTo>
                <a:lnTo>
                  <a:pt x="3372" y="2002"/>
                </a:lnTo>
                <a:lnTo>
                  <a:pt x="3372" y="2000"/>
                </a:lnTo>
                <a:lnTo>
                  <a:pt x="3374" y="2000"/>
                </a:lnTo>
                <a:lnTo>
                  <a:pt x="3374" y="2002"/>
                </a:lnTo>
                <a:lnTo>
                  <a:pt x="3381" y="1995"/>
                </a:lnTo>
                <a:lnTo>
                  <a:pt x="3379" y="1997"/>
                </a:lnTo>
                <a:lnTo>
                  <a:pt x="3383" y="1995"/>
                </a:lnTo>
                <a:lnTo>
                  <a:pt x="3381" y="1995"/>
                </a:lnTo>
                <a:lnTo>
                  <a:pt x="3383" y="1994"/>
                </a:lnTo>
                <a:lnTo>
                  <a:pt x="3383" y="1992"/>
                </a:lnTo>
                <a:lnTo>
                  <a:pt x="3383" y="1994"/>
                </a:lnTo>
                <a:lnTo>
                  <a:pt x="3384" y="1992"/>
                </a:lnTo>
                <a:lnTo>
                  <a:pt x="3388" y="1985"/>
                </a:lnTo>
                <a:lnTo>
                  <a:pt x="3389" y="1985"/>
                </a:lnTo>
                <a:lnTo>
                  <a:pt x="3389" y="1983"/>
                </a:lnTo>
                <a:lnTo>
                  <a:pt x="3403" y="1965"/>
                </a:lnTo>
                <a:lnTo>
                  <a:pt x="3401" y="1961"/>
                </a:lnTo>
                <a:lnTo>
                  <a:pt x="3400" y="1960"/>
                </a:lnTo>
                <a:lnTo>
                  <a:pt x="3394" y="1963"/>
                </a:lnTo>
                <a:lnTo>
                  <a:pt x="3398" y="1960"/>
                </a:lnTo>
                <a:lnTo>
                  <a:pt x="3400" y="1960"/>
                </a:lnTo>
                <a:lnTo>
                  <a:pt x="3398" y="1958"/>
                </a:lnTo>
                <a:lnTo>
                  <a:pt x="3400" y="1960"/>
                </a:lnTo>
                <a:lnTo>
                  <a:pt x="3401" y="1960"/>
                </a:lnTo>
                <a:lnTo>
                  <a:pt x="3401" y="1961"/>
                </a:lnTo>
                <a:lnTo>
                  <a:pt x="3403" y="1961"/>
                </a:lnTo>
                <a:lnTo>
                  <a:pt x="3403" y="1963"/>
                </a:lnTo>
                <a:lnTo>
                  <a:pt x="3405" y="1963"/>
                </a:lnTo>
                <a:lnTo>
                  <a:pt x="3406" y="1961"/>
                </a:lnTo>
                <a:lnTo>
                  <a:pt x="3405" y="1963"/>
                </a:lnTo>
                <a:lnTo>
                  <a:pt x="3405" y="1961"/>
                </a:lnTo>
                <a:lnTo>
                  <a:pt x="3408" y="1960"/>
                </a:lnTo>
                <a:lnTo>
                  <a:pt x="3406" y="1960"/>
                </a:lnTo>
                <a:lnTo>
                  <a:pt x="3410" y="1954"/>
                </a:lnTo>
                <a:lnTo>
                  <a:pt x="3408" y="1953"/>
                </a:lnTo>
                <a:lnTo>
                  <a:pt x="3410" y="1953"/>
                </a:lnTo>
                <a:lnTo>
                  <a:pt x="3408" y="1951"/>
                </a:lnTo>
                <a:lnTo>
                  <a:pt x="3410" y="1948"/>
                </a:lnTo>
                <a:lnTo>
                  <a:pt x="3406" y="1946"/>
                </a:lnTo>
                <a:lnTo>
                  <a:pt x="3408" y="1946"/>
                </a:lnTo>
                <a:lnTo>
                  <a:pt x="3410" y="1948"/>
                </a:lnTo>
                <a:lnTo>
                  <a:pt x="3408" y="1951"/>
                </a:lnTo>
                <a:lnTo>
                  <a:pt x="3410" y="1951"/>
                </a:lnTo>
                <a:lnTo>
                  <a:pt x="3410" y="1953"/>
                </a:lnTo>
                <a:lnTo>
                  <a:pt x="3413" y="1951"/>
                </a:lnTo>
                <a:lnTo>
                  <a:pt x="3411" y="1949"/>
                </a:lnTo>
                <a:lnTo>
                  <a:pt x="3417" y="1946"/>
                </a:lnTo>
                <a:lnTo>
                  <a:pt x="3415" y="1944"/>
                </a:lnTo>
                <a:lnTo>
                  <a:pt x="3415" y="1946"/>
                </a:lnTo>
                <a:lnTo>
                  <a:pt x="3413" y="1946"/>
                </a:lnTo>
                <a:lnTo>
                  <a:pt x="3413" y="1943"/>
                </a:lnTo>
                <a:lnTo>
                  <a:pt x="3411" y="1943"/>
                </a:lnTo>
                <a:lnTo>
                  <a:pt x="3410" y="1943"/>
                </a:lnTo>
                <a:lnTo>
                  <a:pt x="3410" y="1941"/>
                </a:lnTo>
                <a:lnTo>
                  <a:pt x="3411" y="1943"/>
                </a:lnTo>
                <a:lnTo>
                  <a:pt x="3413" y="1943"/>
                </a:lnTo>
                <a:lnTo>
                  <a:pt x="3413" y="1946"/>
                </a:lnTo>
                <a:lnTo>
                  <a:pt x="3415" y="1944"/>
                </a:lnTo>
                <a:lnTo>
                  <a:pt x="3417" y="1944"/>
                </a:lnTo>
                <a:lnTo>
                  <a:pt x="3420" y="1943"/>
                </a:lnTo>
                <a:lnTo>
                  <a:pt x="3432" y="1927"/>
                </a:lnTo>
                <a:lnTo>
                  <a:pt x="3434" y="1924"/>
                </a:lnTo>
                <a:lnTo>
                  <a:pt x="3435" y="1926"/>
                </a:lnTo>
                <a:lnTo>
                  <a:pt x="3435" y="1924"/>
                </a:lnTo>
                <a:lnTo>
                  <a:pt x="3437" y="1922"/>
                </a:lnTo>
                <a:lnTo>
                  <a:pt x="3437" y="1920"/>
                </a:lnTo>
                <a:lnTo>
                  <a:pt x="3439" y="1920"/>
                </a:lnTo>
                <a:lnTo>
                  <a:pt x="3439" y="1922"/>
                </a:lnTo>
                <a:lnTo>
                  <a:pt x="3439" y="1920"/>
                </a:lnTo>
                <a:lnTo>
                  <a:pt x="3442" y="1915"/>
                </a:lnTo>
                <a:lnTo>
                  <a:pt x="3456" y="1902"/>
                </a:lnTo>
                <a:lnTo>
                  <a:pt x="3466" y="1890"/>
                </a:lnTo>
                <a:lnTo>
                  <a:pt x="3481" y="1874"/>
                </a:lnTo>
                <a:lnTo>
                  <a:pt x="3486" y="1868"/>
                </a:lnTo>
                <a:lnTo>
                  <a:pt x="3502" y="1856"/>
                </a:lnTo>
                <a:lnTo>
                  <a:pt x="3508" y="1849"/>
                </a:lnTo>
                <a:lnTo>
                  <a:pt x="3510" y="1849"/>
                </a:lnTo>
                <a:lnTo>
                  <a:pt x="3513" y="1846"/>
                </a:lnTo>
                <a:lnTo>
                  <a:pt x="3515" y="1844"/>
                </a:lnTo>
                <a:lnTo>
                  <a:pt x="3519" y="1842"/>
                </a:lnTo>
                <a:lnTo>
                  <a:pt x="3520" y="1839"/>
                </a:lnTo>
                <a:lnTo>
                  <a:pt x="3529" y="1832"/>
                </a:lnTo>
                <a:lnTo>
                  <a:pt x="3542" y="1820"/>
                </a:lnTo>
                <a:lnTo>
                  <a:pt x="3544" y="1820"/>
                </a:lnTo>
                <a:lnTo>
                  <a:pt x="3551" y="1815"/>
                </a:lnTo>
                <a:lnTo>
                  <a:pt x="3564" y="1806"/>
                </a:lnTo>
                <a:lnTo>
                  <a:pt x="3583" y="1798"/>
                </a:lnTo>
                <a:lnTo>
                  <a:pt x="3585" y="1796"/>
                </a:lnTo>
                <a:lnTo>
                  <a:pt x="3604" y="1784"/>
                </a:lnTo>
                <a:lnTo>
                  <a:pt x="3609" y="1783"/>
                </a:lnTo>
                <a:lnTo>
                  <a:pt x="3614" y="1779"/>
                </a:lnTo>
                <a:lnTo>
                  <a:pt x="3619" y="1774"/>
                </a:lnTo>
                <a:lnTo>
                  <a:pt x="3624" y="1767"/>
                </a:lnTo>
                <a:lnTo>
                  <a:pt x="3629" y="1764"/>
                </a:lnTo>
                <a:lnTo>
                  <a:pt x="3631" y="1761"/>
                </a:lnTo>
                <a:lnTo>
                  <a:pt x="3648" y="1745"/>
                </a:lnTo>
                <a:lnTo>
                  <a:pt x="3660" y="1732"/>
                </a:lnTo>
                <a:lnTo>
                  <a:pt x="3673" y="1716"/>
                </a:lnTo>
                <a:lnTo>
                  <a:pt x="3687" y="1703"/>
                </a:lnTo>
                <a:lnTo>
                  <a:pt x="3695" y="1692"/>
                </a:lnTo>
                <a:lnTo>
                  <a:pt x="3702" y="1687"/>
                </a:lnTo>
                <a:lnTo>
                  <a:pt x="3711" y="1675"/>
                </a:lnTo>
                <a:lnTo>
                  <a:pt x="3719" y="1665"/>
                </a:lnTo>
                <a:lnTo>
                  <a:pt x="3726" y="1652"/>
                </a:lnTo>
                <a:lnTo>
                  <a:pt x="3729" y="1647"/>
                </a:lnTo>
                <a:lnTo>
                  <a:pt x="3741" y="1631"/>
                </a:lnTo>
                <a:lnTo>
                  <a:pt x="3746" y="1624"/>
                </a:lnTo>
                <a:lnTo>
                  <a:pt x="3750" y="1618"/>
                </a:lnTo>
                <a:lnTo>
                  <a:pt x="3760" y="1602"/>
                </a:lnTo>
                <a:lnTo>
                  <a:pt x="3762" y="1599"/>
                </a:lnTo>
                <a:lnTo>
                  <a:pt x="3768" y="1587"/>
                </a:lnTo>
                <a:lnTo>
                  <a:pt x="3768" y="1584"/>
                </a:lnTo>
                <a:lnTo>
                  <a:pt x="3770" y="1575"/>
                </a:lnTo>
                <a:lnTo>
                  <a:pt x="3775" y="1560"/>
                </a:lnTo>
                <a:lnTo>
                  <a:pt x="3785" y="1544"/>
                </a:lnTo>
                <a:lnTo>
                  <a:pt x="3785" y="1543"/>
                </a:lnTo>
                <a:lnTo>
                  <a:pt x="3799" y="1524"/>
                </a:lnTo>
                <a:lnTo>
                  <a:pt x="3804" y="1516"/>
                </a:lnTo>
                <a:lnTo>
                  <a:pt x="3804" y="1514"/>
                </a:lnTo>
                <a:lnTo>
                  <a:pt x="3807" y="1509"/>
                </a:lnTo>
                <a:lnTo>
                  <a:pt x="3807" y="1507"/>
                </a:lnTo>
                <a:lnTo>
                  <a:pt x="3806" y="1507"/>
                </a:lnTo>
                <a:lnTo>
                  <a:pt x="3806" y="1505"/>
                </a:lnTo>
                <a:lnTo>
                  <a:pt x="3807" y="1500"/>
                </a:lnTo>
                <a:lnTo>
                  <a:pt x="3814" y="1492"/>
                </a:lnTo>
                <a:lnTo>
                  <a:pt x="3819" y="1488"/>
                </a:lnTo>
                <a:lnTo>
                  <a:pt x="3823" y="1487"/>
                </a:lnTo>
                <a:lnTo>
                  <a:pt x="3823" y="1482"/>
                </a:lnTo>
                <a:lnTo>
                  <a:pt x="3826" y="1476"/>
                </a:lnTo>
                <a:lnTo>
                  <a:pt x="3833" y="1470"/>
                </a:lnTo>
                <a:lnTo>
                  <a:pt x="3833" y="1465"/>
                </a:lnTo>
                <a:lnTo>
                  <a:pt x="3835" y="1461"/>
                </a:lnTo>
                <a:lnTo>
                  <a:pt x="3836" y="1453"/>
                </a:lnTo>
                <a:lnTo>
                  <a:pt x="3838" y="1451"/>
                </a:lnTo>
                <a:lnTo>
                  <a:pt x="3848" y="1442"/>
                </a:lnTo>
                <a:lnTo>
                  <a:pt x="3848" y="1436"/>
                </a:lnTo>
                <a:lnTo>
                  <a:pt x="3852" y="1432"/>
                </a:lnTo>
                <a:lnTo>
                  <a:pt x="3853" y="1431"/>
                </a:lnTo>
                <a:lnTo>
                  <a:pt x="3858" y="1424"/>
                </a:lnTo>
                <a:lnTo>
                  <a:pt x="3858" y="1422"/>
                </a:lnTo>
                <a:lnTo>
                  <a:pt x="3857" y="1419"/>
                </a:lnTo>
                <a:lnTo>
                  <a:pt x="3857" y="1415"/>
                </a:lnTo>
                <a:lnTo>
                  <a:pt x="3857" y="1412"/>
                </a:lnTo>
                <a:lnTo>
                  <a:pt x="3858" y="1402"/>
                </a:lnTo>
                <a:lnTo>
                  <a:pt x="3860" y="1402"/>
                </a:lnTo>
                <a:lnTo>
                  <a:pt x="3862" y="1395"/>
                </a:lnTo>
                <a:lnTo>
                  <a:pt x="3860" y="1390"/>
                </a:lnTo>
                <a:lnTo>
                  <a:pt x="3862" y="1386"/>
                </a:lnTo>
                <a:lnTo>
                  <a:pt x="3862" y="1379"/>
                </a:lnTo>
                <a:lnTo>
                  <a:pt x="3867" y="1374"/>
                </a:lnTo>
                <a:lnTo>
                  <a:pt x="3875" y="1373"/>
                </a:lnTo>
                <a:lnTo>
                  <a:pt x="3879" y="1373"/>
                </a:lnTo>
                <a:lnTo>
                  <a:pt x="3881" y="1374"/>
                </a:lnTo>
                <a:lnTo>
                  <a:pt x="3881" y="1376"/>
                </a:lnTo>
                <a:lnTo>
                  <a:pt x="3884" y="1376"/>
                </a:lnTo>
                <a:lnTo>
                  <a:pt x="3886" y="1376"/>
                </a:lnTo>
                <a:lnTo>
                  <a:pt x="3887" y="1373"/>
                </a:lnTo>
                <a:lnTo>
                  <a:pt x="3886" y="1371"/>
                </a:lnTo>
                <a:lnTo>
                  <a:pt x="3881" y="1371"/>
                </a:lnTo>
                <a:lnTo>
                  <a:pt x="3875" y="1368"/>
                </a:lnTo>
                <a:lnTo>
                  <a:pt x="3877" y="1371"/>
                </a:lnTo>
                <a:lnTo>
                  <a:pt x="3879" y="1373"/>
                </a:lnTo>
                <a:lnTo>
                  <a:pt x="3874" y="1373"/>
                </a:lnTo>
                <a:lnTo>
                  <a:pt x="3869" y="1374"/>
                </a:lnTo>
                <a:lnTo>
                  <a:pt x="3869" y="1373"/>
                </a:lnTo>
                <a:lnTo>
                  <a:pt x="3870" y="1371"/>
                </a:lnTo>
                <a:lnTo>
                  <a:pt x="3872" y="1371"/>
                </a:lnTo>
                <a:lnTo>
                  <a:pt x="3872" y="1368"/>
                </a:lnTo>
                <a:lnTo>
                  <a:pt x="3875" y="1366"/>
                </a:lnTo>
                <a:lnTo>
                  <a:pt x="3874" y="1361"/>
                </a:lnTo>
                <a:lnTo>
                  <a:pt x="3872" y="1345"/>
                </a:lnTo>
                <a:lnTo>
                  <a:pt x="3874" y="1342"/>
                </a:lnTo>
                <a:lnTo>
                  <a:pt x="3875" y="1337"/>
                </a:lnTo>
                <a:lnTo>
                  <a:pt x="3872" y="1335"/>
                </a:lnTo>
                <a:lnTo>
                  <a:pt x="3870" y="1332"/>
                </a:lnTo>
                <a:lnTo>
                  <a:pt x="3870" y="1327"/>
                </a:lnTo>
                <a:lnTo>
                  <a:pt x="3872" y="1322"/>
                </a:lnTo>
                <a:lnTo>
                  <a:pt x="3872" y="1318"/>
                </a:lnTo>
                <a:lnTo>
                  <a:pt x="3879" y="1310"/>
                </a:lnTo>
                <a:lnTo>
                  <a:pt x="3879" y="1308"/>
                </a:lnTo>
                <a:lnTo>
                  <a:pt x="3881" y="1301"/>
                </a:lnTo>
                <a:lnTo>
                  <a:pt x="3879" y="1301"/>
                </a:lnTo>
                <a:lnTo>
                  <a:pt x="3874" y="1300"/>
                </a:lnTo>
                <a:lnTo>
                  <a:pt x="3869" y="1300"/>
                </a:lnTo>
                <a:lnTo>
                  <a:pt x="3865" y="1298"/>
                </a:lnTo>
                <a:lnTo>
                  <a:pt x="3858" y="1296"/>
                </a:lnTo>
                <a:lnTo>
                  <a:pt x="3857" y="1294"/>
                </a:lnTo>
                <a:lnTo>
                  <a:pt x="3850" y="1296"/>
                </a:lnTo>
                <a:lnTo>
                  <a:pt x="3848" y="1296"/>
                </a:lnTo>
                <a:lnTo>
                  <a:pt x="3845" y="1298"/>
                </a:lnTo>
                <a:lnTo>
                  <a:pt x="3843" y="1300"/>
                </a:lnTo>
                <a:lnTo>
                  <a:pt x="3841" y="1306"/>
                </a:lnTo>
                <a:lnTo>
                  <a:pt x="3840" y="1308"/>
                </a:lnTo>
                <a:lnTo>
                  <a:pt x="3836" y="1310"/>
                </a:lnTo>
                <a:lnTo>
                  <a:pt x="3831" y="1313"/>
                </a:lnTo>
                <a:lnTo>
                  <a:pt x="3830" y="1315"/>
                </a:lnTo>
                <a:lnTo>
                  <a:pt x="3823" y="1317"/>
                </a:lnTo>
                <a:lnTo>
                  <a:pt x="3819" y="1318"/>
                </a:lnTo>
                <a:lnTo>
                  <a:pt x="3813" y="1318"/>
                </a:lnTo>
                <a:lnTo>
                  <a:pt x="3807" y="1322"/>
                </a:lnTo>
                <a:lnTo>
                  <a:pt x="3804" y="1322"/>
                </a:lnTo>
                <a:lnTo>
                  <a:pt x="3801" y="1320"/>
                </a:lnTo>
                <a:lnTo>
                  <a:pt x="3799" y="1322"/>
                </a:lnTo>
                <a:lnTo>
                  <a:pt x="3794" y="1322"/>
                </a:lnTo>
                <a:lnTo>
                  <a:pt x="3790" y="1325"/>
                </a:lnTo>
                <a:lnTo>
                  <a:pt x="3789" y="1325"/>
                </a:lnTo>
                <a:lnTo>
                  <a:pt x="3787" y="1327"/>
                </a:lnTo>
                <a:lnTo>
                  <a:pt x="3780" y="1327"/>
                </a:lnTo>
                <a:lnTo>
                  <a:pt x="3779" y="1328"/>
                </a:lnTo>
                <a:lnTo>
                  <a:pt x="3763" y="1332"/>
                </a:lnTo>
                <a:lnTo>
                  <a:pt x="3760" y="1332"/>
                </a:lnTo>
                <a:lnTo>
                  <a:pt x="3748" y="1328"/>
                </a:lnTo>
                <a:lnTo>
                  <a:pt x="3745" y="1328"/>
                </a:lnTo>
                <a:lnTo>
                  <a:pt x="3741" y="1328"/>
                </a:lnTo>
                <a:lnTo>
                  <a:pt x="3738" y="1330"/>
                </a:lnTo>
                <a:lnTo>
                  <a:pt x="3733" y="1330"/>
                </a:lnTo>
                <a:lnTo>
                  <a:pt x="3729" y="1334"/>
                </a:lnTo>
                <a:lnTo>
                  <a:pt x="3726" y="1334"/>
                </a:lnTo>
                <a:lnTo>
                  <a:pt x="3721" y="1337"/>
                </a:lnTo>
                <a:lnTo>
                  <a:pt x="3712" y="1339"/>
                </a:lnTo>
                <a:lnTo>
                  <a:pt x="3711" y="1337"/>
                </a:lnTo>
                <a:lnTo>
                  <a:pt x="3707" y="1339"/>
                </a:lnTo>
                <a:lnTo>
                  <a:pt x="3704" y="1339"/>
                </a:lnTo>
                <a:lnTo>
                  <a:pt x="3699" y="1340"/>
                </a:lnTo>
                <a:lnTo>
                  <a:pt x="3695" y="1339"/>
                </a:lnTo>
                <a:lnTo>
                  <a:pt x="3692" y="1335"/>
                </a:lnTo>
                <a:lnTo>
                  <a:pt x="3685" y="1335"/>
                </a:lnTo>
                <a:lnTo>
                  <a:pt x="3672" y="1340"/>
                </a:lnTo>
                <a:lnTo>
                  <a:pt x="3668" y="1345"/>
                </a:lnTo>
                <a:lnTo>
                  <a:pt x="3665" y="1345"/>
                </a:lnTo>
                <a:lnTo>
                  <a:pt x="3663" y="1347"/>
                </a:lnTo>
                <a:lnTo>
                  <a:pt x="3660" y="1349"/>
                </a:lnTo>
                <a:lnTo>
                  <a:pt x="3658" y="1351"/>
                </a:lnTo>
                <a:lnTo>
                  <a:pt x="3648" y="1357"/>
                </a:lnTo>
                <a:lnTo>
                  <a:pt x="3636" y="1361"/>
                </a:lnTo>
                <a:lnTo>
                  <a:pt x="3631" y="1359"/>
                </a:lnTo>
                <a:lnTo>
                  <a:pt x="3626" y="1356"/>
                </a:lnTo>
                <a:lnTo>
                  <a:pt x="3619" y="1356"/>
                </a:lnTo>
                <a:lnTo>
                  <a:pt x="3612" y="1356"/>
                </a:lnTo>
                <a:lnTo>
                  <a:pt x="3604" y="1351"/>
                </a:lnTo>
                <a:lnTo>
                  <a:pt x="3602" y="1351"/>
                </a:lnTo>
                <a:lnTo>
                  <a:pt x="3600" y="1352"/>
                </a:lnTo>
                <a:lnTo>
                  <a:pt x="3597" y="1356"/>
                </a:lnTo>
                <a:lnTo>
                  <a:pt x="3593" y="1356"/>
                </a:lnTo>
                <a:lnTo>
                  <a:pt x="3592" y="1357"/>
                </a:lnTo>
                <a:lnTo>
                  <a:pt x="3587" y="1361"/>
                </a:lnTo>
                <a:lnTo>
                  <a:pt x="3580" y="1361"/>
                </a:lnTo>
                <a:lnTo>
                  <a:pt x="3575" y="1366"/>
                </a:lnTo>
                <a:lnTo>
                  <a:pt x="3570" y="1369"/>
                </a:lnTo>
                <a:lnTo>
                  <a:pt x="3566" y="1369"/>
                </a:lnTo>
                <a:lnTo>
                  <a:pt x="3566" y="1371"/>
                </a:lnTo>
                <a:lnTo>
                  <a:pt x="3561" y="1373"/>
                </a:lnTo>
                <a:lnTo>
                  <a:pt x="3563" y="1373"/>
                </a:lnTo>
                <a:lnTo>
                  <a:pt x="3559" y="1374"/>
                </a:lnTo>
                <a:lnTo>
                  <a:pt x="3556" y="1374"/>
                </a:lnTo>
                <a:lnTo>
                  <a:pt x="3549" y="1374"/>
                </a:lnTo>
                <a:lnTo>
                  <a:pt x="3542" y="1376"/>
                </a:lnTo>
                <a:lnTo>
                  <a:pt x="3536" y="1374"/>
                </a:lnTo>
                <a:lnTo>
                  <a:pt x="3532" y="1374"/>
                </a:lnTo>
                <a:lnTo>
                  <a:pt x="3527" y="1373"/>
                </a:lnTo>
                <a:lnTo>
                  <a:pt x="3520" y="1368"/>
                </a:lnTo>
                <a:lnTo>
                  <a:pt x="3517" y="1366"/>
                </a:lnTo>
                <a:lnTo>
                  <a:pt x="3515" y="1364"/>
                </a:lnTo>
                <a:lnTo>
                  <a:pt x="3507" y="1359"/>
                </a:lnTo>
                <a:lnTo>
                  <a:pt x="3496" y="1347"/>
                </a:lnTo>
                <a:lnTo>
                  <a:pt x="3490" y="1335"/>
                </a:lnTo>
                <a:lnTo>
                  <a:pt x="3488" y="1334"/>
                </a:lnTo>
                <a:lnTo>
                  <a:pt x="3486" y="1327"/>
                </a:lnTo>
                <a:lnTo>
                  <a:pt x="3486" y="1325"/>
                </a:lnTo>
                <a:lnTo>
                  <a:pt x="3485" y="1327"/>
                </a:lnTo>
                <a:lnTo>
                  <a:pt x="3483" y="1325"/>
                </a:lnTo>
                <a:lnTo>
                  <a:pt x="3479" y="1323"/>
                </a:lnTo>
                <a:lnTo>
                  <a:pt x="3479" y="1322"/>
                </a:lnTo>
                <a:lnTo>
                  <a:pt x="3478" y="1323"/>
                </a:lnTo>
                <a:lnTo>
                  <a:pt x="3478" y="1320"/>
                </a:lnTo>
                <a:lnTo>
                  <a:pt x="3474" y="1322"/>
                </a:lnTo>
                <a:lnTo>
                  <a:pt x="3473" y="1318"/>
                </a:lnTo>
                <a:lnTo>
                  <a:pt x="3471" y="1318"/>
                </a:lnTo>
                <a:lnTo>
                  <a:pt x="3469" y="1313"/>
                </a:lnTo>
                <a:lnTo>
                  <a:pt x="3468" y="1313"/>
                </a:lnTo>
                <a:lnTo>
                  <a:pt x="3469" y="1313"/>
                </a:lnTo>
                <a:lnTo>
                  <a:pt x="3468" y="1315"/>
                </a:lnTo>
                <a:lnTo>
                  <a:pt x="3466" y="1315"/>
                </a:lnTo>
                <a:lnTo>
                  <a:pt x="3466" y="1313"/>
                </a:lnTo>
                <a:lnTo>
                  <a:pt x="3466" y="1315"/>
                </a:lnTo>
                <a:lnTo>
                  <a:pt x="3466" y="1313"/>
                </a:lnTo>
                <a:lnTo>
                  <a:pt x="3464" y="1315"/>
                </a:lnTo>
                <a:lnTo>
                  <a:pt x="3459" y="1315"/>
                </a:lnTo>
                <a:lnTo>
                  <a:pt x="3456" y="1315"/>
                </a:lnTo>
                <a:lnTo>
                  <a:pt x="3454" y="1313"/>
                </a:lnTo>
                <a:lnTo>
                  <a:pt x="3454" y="1315"/>
                </a:lnTo>
                <a:lnTo>
                  <a:pt x="3451" y="1315"/>
                </a:lnTo>
                <a:lnTo>
                  <a:pt x="3445" y="1317"/>
                </a:lnTo>
                <a:lnTo>
                  <a:pt x="3444" y="1318"/>
                </a:lnTo>
                <a:lnTo>
                  <a:pt x="3445" y="1318"/>
                </a:lnTo>
                <a:lnTo>
                  <a:pt x="3445" y="1320"/>
                </a:lnTo>
                <a:lnTo>
                  <a:pt x="3444" y="1320"/>
                </a:lnTo>
                <a:lnTo>
                  <a:pt x="3442" y="1320"/>
                </a:lnTo>
                <a:lnTo>
                  <a:pt x="3440" y="1320"/>
                </a:lnTo>
                <a:lnTo>
                  <a:pt x="3437" y="1318"/>
                </a:lnTo>
                <a:lnTo>
                  <a:pt x="3437" y="1317"/>
                </a:lnTo>
                <a:lnTo>
                  <a:pt x="3439" y="1317"/>
                </a:lnTo>
                <a:lnTo>
                  <a:pt x="3437" y="1315"/>
                </a:lnTo>
                <a:lnTo>
                  <a:pt x="3439" y="1315"/>
                </a:lnTo>
                <a:lnTo>
                  <a:pt x="3440" y="1315"/>
                </a:lnTo>
                <a:lnTo>
                  <a:pt x="3442" y="1315"/>
                </a:lnTo>
                <a:lnTo>
                  <a:pt x="3444" y="1317"/>
                </a:lnTo>
                <a:lnTo>
                  <a:pt x="3442" y="1315"/>
                </a:lnTo>
                <a:lnTo>
                  <a:pt x="3445" y="1317"/>
                </a:lnTo>
                <a:lnTo>
                  <a:pt x="3445" y="1311"/>
                </a:lnTo>
                <a:lnTo>
                  <a:pt x="3449" y="1310"/>
                </a:lnTo>
                <a:lnTo>
                  <a:pt x="3451" y="1306"/>
                </a:lnTo>
                <a:lnTo>
                  <a:pt x="3452" y="1306"/>
                </a:lnTo>
                <a:lnTo>
                  <a:pt x="3456" y="1305"/>
                </a:lnTo>
                <a:lnTo>
                  <a:pt x="3457" y="1305"/>
                </a:lnTo>
                <a:lnTo>
                  <a:pt x="3459" y="1305"/>
                </a:lnTo>
                <a:lnTo>
                  <a:pt x="3461" y="1303"/>
                </a:lnTo>
                <a:lnTo>
                  <a:pt x="3464" y="1303"/>
                </a:lnTo>
                <a:lnTo>
                  <a:pt x="3471" y="1296"/>
                </a:lnTo>
                <a:lnTo>
                  <a:pt x="3476" y="1296"/>
                </a:lnTo>
                <a:lnTo>
                  <a:pt x="3476" y="1294"/>
                </a:lnTo>
                <a:lnTo>
                  <a:pt x="3479" y="1294"/>
                </a:lnTo>
                <a:lnTo>
                  <a:pt x="3483" y="1289"/>
                </a:lnTo>
                <a:lnTo>
                  <a:pt x="3483" y="1286"/>
                </a:lnTo>
                <a:lnTo>
                  <a:pt x="3483" y="1283"/>
                </a:lnTo>
                <a:lnTo>
                  <a:pt x="3479" y="1279"/>
                </a:lnTo>
                <a:lnTo>
                  <a:pt x="3479" y="1274"/>
                </a:lnTo>
                <a:lnTo>
                  <a:pt x="3478" y="1271"/>
                </a:lnTo>
                <a:lnTo>
                  <a:pt x="3478" y="1269"/>
                </a:lnTo>
                <a:lnTo>
                  <a:pt x="3476" y="1271"/>
                </a:lnTo>
                <a:lnTo>
                  <a:pt x="3469" y="1260"/>
                </a:lnTo>
                <a:lnTo>
                  <a:pt x="3468" y="1257"/>
                </a:lnTo>
                <a:lnTo>
                  <a:pt x="3466" y="1255"/>
                </a:lnTo>
                <a:lnTo>
                  <a:pt x="3466" y="1250"/>
                </a:lnTo>
                <a:lnTo>
                  <a:pt x="3462" y="1248"/>
                </a:lnTo>
                <a:lnTo>
                  <a:pt x="3461" y="1245"/>
                </a:lnTo>
                <a:lnTo>
                  <a:pt x="3459" y="1245"/>
                </a:lnTo>
                <a:lnTo>
                  <a:pt x="3461" y="1245"/>
                </a:lnTo>
                <a:lnTo>
                  <a:pt x="3459" y="1247"/>
                </a:lnTo>
                <a:lnTo>
                  <a:pt x="3461" y="1248"/>
                </a:lnTo>
                <a:lnTo>
                  <a:pt x="3461" y="1250"/>
                </a:lnTo>
                <a:lnTo>
                  <a:pt x="3461" y="1252"/>
                </a:lnTo>
                <a:lnTo>
                  <a:pt x="3457" y="1254"/>
                </a:lnTo>
                <a:lnTo>
                  <a:pt x="3457" y="1252"/>
                </a:lnTo>
                <a:lnTo>
                  <a:pt x="3456" y="1252"/>
                </a:lnTo>
                <a:lnTo>
                  <a:pt x="3454" y="1250"/>
                </a:lnTo>
                <a:lnTo>
                  <a:pt x="3451" y="1250"/>
                </a:lnTo>
                <a:lnTo>
                  <a:pt x="3449" y="1248"/>
                </a:lnTo>
                <a:lnTo>
                  <a:pt x="3449" y="1247"/>
                </a:lnTo>
                <a:lnTo>
                  <a:pt x="3447" y="1245"/>
                </a:lnTo>
                <a:lnTo>
                  <a:pt x="3449" y="1243"/>
                </a:lnTo>
                <a:lnTo>
                  <a:pt x="3449" y="1242"/>
                </a:lnTo>
                <a:lnTo>
                  <a:pt x="3445" y="1240"/>
                </a:lnTo>
                <a:lnTo>
                  <a:pt x="3442" y="1237"/>
                </a:lnTo>
                <a:lnTo>
                  <a:pt x="3440" y="1235"/>
                </a:lnTo>
                <a:lnTo>
                  <a:pt x="3439" y="1233"/>
                </a:lnTo>
                <a:lnTo>
                  <a:pt x="3439" y="1231"/>
                </a:lnTo>
                <a:lnTo>
                  <a:pt x="3437" y="1231"/>
                </a:lnTo>
                <a:lnTo>
                  <a:pt x="3437" y="1233"/>
                </a:lnTo>
                <a:lnTo>
                  <a:pt x="3435" y="1233"/>
                </a:lnTo>
                <a:lnTo>
                  <a:pt x="3430" y="1231"/>
                </a:lnTo>
                <a:lnTo>
                  <a:pt x="3428" y="1221"/>
                </a:lnTo>
                <a:lnTo>
                  <a:pt x="3427" y="1218"/>
                </a:lnTo>
                <a:lnTo>
                  <a:pt x="3425" y="1214"/>
                </a:lnTo>
                <a:lnTo>
                  <a:pt x="3423" y="1211"/>
                </a:lnTo>
                <a:lnTo>
                  <a:pt x="3422" y="1209"/>
                </a:lnTo>
                <a:lnTo>
                  <a:pt x="3420" y="1209"/>
                </a:lnTo>
                <a:lnTo>
                  <a:pt x="3418" y="1209"/>
                </a:lnTo>
                <a:lnTo>
                  <a:pt x="3422" y="1211"/>
                </a:lnTo>
                <a:lnTo>
                  <a:pt x="3420" y="1211"/>
                </a:lnTo>
                <a:lnTo>
                  <a:pt x="3422" y="1211"/>
                </a:lnTo>
                <a:lnTo>
                  <a:pt x="3422" y="1213"/>
                </a:lnTo>
                <a:lnTo>
                  <a:pt x="3423" y="1214"/>
                </a:lnTo>
                <a:lnTo>
                  <a:pt x="3422" y="1214"/>
                </a:lnTo>
                <a:lnTo>
                  <a:pt x="3418" y="1211"/>
                </a:lnTo>
                <a:lnTo>
                  <a:pt x="3418" y="1209"/>
                </a:lnTo>
                <a:lnTo>
                  <a:pt x="3417" y="1211"/>
                </a:lnTo>
                <a:lnTo>
                  <a:pt x="3415" y="1206"/>
                </a:lnTo>
                <a:lnTo>
                  <a:pt x="3413" y="1206"/>
                </a:lnTo>
                <a:lnTo>
                  <a:pt x="3413" y="1204"/>
                </a:lnTo>
                <a:lnTo>
                  <a:pt x="3411" y="1204"/>
                </a:lnTo>
                <a:lnTo>
                  <a:pt x="3411" y="1201"/>
                </a:lnTo>
                <a:lnTo>
                  <a:pt x="3410" y="1201"/>
                </a:lnTo>
                <a:lnTo>
                  <a:pt x="3410" y="1199"/>
                </a:lnTo>
                <a:lnTo>
                  <a:pt x="3408" y="1199"/>
                </a:lnTo>
                <a:lnTo>
                  <a:pt x="3406" y="1199"/>
                </a:lnTo>
                <a:lnTo>
                  <a:pt x="3403" y="1199"/>
                </a:lnTo>
                <a:lnTo>
                  <a:pt x="3401" y="1196"/>
                </a:lnTo>
                <a:lnTo>
                  <a:pt x="3398" y="1196"/>
                </a:lnTo>
                <a:lnTo>
                  <a:pt x="3396" y="1196"/>
                </a:lnTo>
                <a:lnTo>
                  <a:pt x="3394" y="1196"/>
                </a:lnTo>
                <a:lnTo>
                  <a:pt x="3393" y="1191"/>
                </a:lnTo>
                <a:lnTo>
                  <a:pt x="3388" y="1186"/>
                </a:lnTo>
                <a:lnTo>
                  <a:pt x="3386" y="1180"/>
                </a:lnTo>
                <a:lnTo>
                  <a:pt x="3381" y="1177"/>
                </a:lnTo>
                <a:lnTo>
                  <a:pt x="3381" y="1174"/>
                </a:lnTo>
                <a:lnTo>
                  <a:pt x="3377" y="1172"/>
                </a:lnTo>
                <a:lnTo>
                  <a:pt x="3376" y="1167"/>
                </a:lnTo>
                <a:lnTo>
                  <a:pt x="3371" y="1163"/>
                </a:lnTo>
                <a:lnTo>
                  <a:pt x="3369" y="1160"/>
                </a:lnTo>
                <a:lnTo>
                  <a:pt x="3362" y="1158"/>
                </a:lnTo>
                <a:lnTo>
                  <a:pt x="3359" y="1158"/>
                </a:lnTo>
                <a:lnTo>
                  <a:pt x="3359" y="1157"/>
                </a:lnTo>
                <a:lnTo>
                  <a:pt x="3357" y="1157"/>
                </a:lnTo>
                <a:lnTo>
                  <a:pt x="3355" y="1155"/>
                </a:lnTo>
                <a:lnTo>
                  <a:pt x="3352" y="1155"/>
                </a:lnTo>
                <a:lnTo>
                  <a:pt x="3350" y="1157"/>
                </a:lnTo>
                <a:lnTo>
                  <a:pt x="3350" y="1155"/>
                </a:lnTo>
                <a:lnTo>
                  <a:pt x="3349" y="1157"/>
                </a:lnTo>
                <a:lnTo>
                  <a:pt x="3349" y="1155"/>
                </a:lnTo>
                <a:lnTo>
                  <a:pt x="3350" y="1155"/>
                </a:lnTo>
                <a:lnTo>
                  <a:pt x="3349" y="1155"/>
                </a:lnTo>
                <a:lnTo>
                  <a:pt x="3347" y="1155"/>
                </a:lnTo>
                <a:lnTo>
                  <a:pt x="3347" y="1153"/>
                </a:lnTo>
                <a:lnTo>
                  <a:pt x="3349" y="1152"/>
                </a:lnTo>
                <a:lnTo>
                  <a:pt x="3347" y="1152"/>
                </a:lnTo>
                <a:lnTo>
                  <a:pt x="3347" y="1150"/>
                </a:lnTo>
                <a:lnTo>
                  <a:pt x="3345" y="1148"/>
                </a:lnTo>
                <a:lnTo>
                  <a:pt x="3347" y="1148"/>
                </a:lnTo>
                <a:lnTo>
                  <a:pt x="3345" y="1148"/>
                </a:lnTo>
                <a:lnTo>
                  <a:pt x="3343" y="1148"/>
                </a:lnTo>
                <a:lnTo>
                  <a:pt x="3345" y="1146"/>
                </a:lnTo>
                <a:lnTo>
                  <a:pt x="3345" y="1148"/>
                </a:lnTo>
                <a:lnTo>
                  <a:pt x="3345" y="1146"/>
                </a:lnTo>
                <a:lnTo>
                  <a:pt x="3343" y="1146"/>
                </a:lnTo>
                <a:lnTo>
                  <a:pt x="3340" y="1146"/>
                </a:lnTo>
                <a:lnTo>
                  <a:pt x="3342" y="1145"/>
                </a:lnTo>
                <a:lnTo>
                  <a:pt x="3342" y="1143"/>
                </a:lnTo>
                <a:lnTo>
                  <a:pt x="3338" y="1145"/>
                </a:lnTo>
                <a:lnTo>
                  <a:pt x="3338" y="1143"/>
                </a:lnTo>
                <a:lnTo>
                  <a:pt x="3338" y="1141"/>
                </a:lnTo>
                <a:lnTo>
                  <a:pt x="3337" y="1140"/>
                </a:lnTo>
                <a:lnTo>
                  <a:pt x="3337" y="1143"/>
                </a:lnTo>
                <a:lnTo>
                  <a:pt x="3335" y="1143"/>
                </a:lnTo>
                <a:lnTo>
                  <a:pt x="3332" y="1143"/>
                </a:lnTo>
                <a:lnTo>
                  <a:pt x="3333" y="1143"/>
                </a:lnTo>
                <a:lnTo>
                  <a:pt x="3333" y="1141"/>
                </a:lnTo>
                <a:lnTo>
                  <a:pt x="3332" y="1141"/>
                </a:lnTo>
                <a:lnTo>
                  <a:pt x="3330" y="1143"/>
                </a:lnTo>
                <a:lnTo>
                  <a:pt x="3332" y="1143"/>
                </a:lnTo>
                <a:lnTo>
                  <a:pt x="3330" y="1145"/>
                </a:lnTo>
                <a:lnTo>
                  <a:pt x="3328" y="1143"/>
                </a:lnTo>
                <a:lnTo>
                  <a:pt x="3330" y="1141"/>
                </a:lnTo>
                <a:lnTo>
                  <a:pt x="3328" y="1141"/>
                </a:lnTo>
                <a:lnTo>
                  <a:pt x="3328" y="1145"/>
                </a:lnTo>
                <a:lnTo>
                  <a:pt x="3326" y="1145"/>
                </a:lnTo>
                <a:lnTo>
                  <a:pt x="3325" y="1146"/>
                </a:lnTo>
                <a:lnTo>
                  <a:pt x="3323" y="1145"/>
                </a:lnTo>
                <a:lnTo>
                  <a:pt x="3320" y="1145"/>
                </a:lnTo>
                <a:lnTo>
                  <a:pt x="3318" y="1141"/>
                </a:lnTo>
                <a:lnTo>
                  <a:pt x="3318" y="1140"/>
                </a:lnTo>
                <a:lnTo>
                  <a:pt x="3316" y="1138"/>
                </a:lnTo>
                <a:lnTo>
                  <a:pt x="3315" y="1138"/>
                </a:lnTo>
                <a:lnTo>
                  <a:pt x="3315" y="1136"/>
                </a:lnTo>
                <a:lnTo>
                  <a:pt x="3315" y="1138"/>
                </a:lnTo>
                <a:lnTo>
                  <a:pt x="3315" y="1135"/>
                </a:lnTo>
                <a:lnTo>
                  <a:pt x="3311" y="1131"/>
                </a:lnTo>
                <a:lnTo>
                  <a:pt x="3313" y="1131"/>
                </a:lnTo>
                <a:lnTo>
                  <a:pt x="3313" y="1133"/>
                </a:lnTo>
                <a:lnTo>
                  <a:pt x="3315" y="1131"/>
                </a:lnTo>
                <a:lnTo>
                  <a:pt x="3311" y="1131"/>
                </a:lnTo>
                <a:lnTo>
                  <a:pt x="3313" y="1129"/>
                </a:lnTo>
                <a:lnTo>
                  <a:pt x="3311" y="1129"/>
                </a:lnTo>
                <a:lnTo>
                  <a:pt x="3313" y="1126"/>
                </a:lnTo>
                <a:lnTo>
                  <a:pt x="3315" y="1124"/>
                </a:lnTo>
                <a:lnTo>
                  <a:pt x="3308" y="1121"/>
                </a:lnTo>
                <a:lnTo>
                  <a:pt x="3308" y="1119"/>
                </a:lnTo>
                <a:lnTo>
                  <a:pt x="3304" y="1119"/>
                </a:lnTo>
                <a:lnTo>
                  <a:pt x="3303" y="1116"/>
                </a:lnTo>
                <a:lnTo>
                  <a:pt x="3303" y="1118"/>
                </a:lnTo>
                <a:lnTo>
                  <a:pt x="3301" y="1118"/>
                </a:lnTo>
                <a:lnTo>
                  <a:pt x="3301" y="1119"/>
                </a:lnTo>
                <a:lnTo>
                  <a:pt x="3301" y="1118"/>
                </a:lnTo>
                <a:lnTo>
                  <a:pt x="3301" y="1119"/>
                </a:lnTo>
                <a:lnTo>
                  <a:pt x="3299" y="1119"/>
                </a:lnTo>
                <a:lnTo>
                  <a:pt x="3299" y="1121"/>
                </a:lnTo>
                <a:lnTo>
                  <a:pt x="3298" y="1121"/>
                </a:lnTo>
                <a:lnTo>
                  <a:pt x="3299" y="1124"/>
                </a:lnTo>
                <a:lnTo>
                  <a:pt x="3298" y="1126"/>
                </a:lnTo>
                <a:lnTo>
                  <a:pt x="3299" y="1128"/>
                </a:lnTo>
                <a:lnTo>
                  <a:pt x="3299" y="1129"/>
                </a:lnTo>
                <a:lnTo>
                  <a:pt x="3299" y="1128"/>
                </a:lnTo>
                <a:lnTo>
                  <a:pt x="3301" y="1128"/>
                </a:lnTo>
                <a:lnTo>
                  <a:pt x="3303" y="1133"/>
                </a:lnTo>
                <a:lnTo>
                  <a:pt x="3301" y="1135"/>
                </a:lnTo>
                <a:lnTo>
                  <a:pt x="3299" y="1138"/>
                </a:lnTo>
                <a:lnTo>
                  <a:pt x="3298" y="1138"/>
                </a:lnTo>
                <a:lnTo>
                  <a:pt x="3298" y="1136"/>
                </a:lnTo>
                <a:lnTo>
                  <a:pt x="3294" y="1136"/>
                </a:lnTo>
                <a:lnTo>
                  <a:pt x="3294" y="1135"/>
                </a:lnTo>
                <a:lnTo>
                  <a:pt x="3294" y="1128"/>
                </a:lnTo>
                <a:lnTo>
                  <a:pt x="3292" y="1124"/>
                </a:lnTo>
                <a:lnTo>
                  <a:pt x="3291" y="1118"/>
                </a:lnTo>
                <a:lnTo>
                  <a:pt x="3289" y="1116"/>
                </a:lnTo>
                <a:lnTo>
                  <a:pt x="3287" y="1114"/>
                </a:lnTo>
                <a:lnTo>
                  <a:pt x="3284" y="1116"/>
                </a:lnTo>
                <a:lnTo>
                  <a:pt x="3282" y="1114"/>
                </a:lnTo>
                <a:lnTo>
                  <a:pt x="3281" y="1111"/>
                </a:lnTo>
                <a:lnTo>
                  <a:pt x="3282" y="1111"/>
                </a:lnTo>
                <a:lnTo>
                  <a:pt x="3284" y="1111"/>
                </a:lnTo>
                <a:lnTo>
                  <a:pt x="3282" y="1109"/>
                </a:lnTo>
                <a:lnTo>
                  <a:pt x="3284" y="1109"/>
                </a:lnTo>
                <a:lnTo>
                  <a:pt x="3282" y="1107"/>
                </a:lnTo>
                <a:lnTo>
                  <a:pt x="3281" y="1104"/>
                </a:lnTo>
                <a:lnTo>
                  <a:pt x="3281" y="1100"/>
                </a:lnTo>
                <a:lnTo>
                  <a:pt x="3274" y="1095"/>
                </a:lnTo>
                <a:lnTo>
                  <a:pt x="3270" y="1087"/>
                </a:lnTo>
                <a:lnTo>
                  <a:pt x="3269" y="1077"/>
                </a:lnTo>
                <a:lnTo>
                  <a:pt x="3269" y="1068"/>
                </a:lnTo>
                <a:lnTo>
                  <a:pt x="3267" y="1066"/>
                </a:lnTo>
                <a:lnTo>
                  <a:pt x="3267" y="1065"/>
                </a:lnTo>
                <a:lnTo>
                  <a:pt x="3267" y="1063"/>
                </a:lnTo>
                <a:lnTo>
                  <a:pt x="3265" y="1060"/>
                </a:lnTo>
                <a:lnTo>
                  <a:pt x="3267" y="1058"/>
                </a:lnTo>
                <a:lnTo>
                  <a:pt x="3267" y="1056"/>
                </a:lnTo>
                <a:lnTo>
                  <a:pt x="3262" y="1046"/>
                </a:lnTo>
                <a:lnTo>
                  <a:pt x="3258" y="1032"/>
                </a:lnTo>
                <a:lnTo>
                  <a:pt x="3258" y="1031"/>
                </a:lnTo>
                <a:lnTo>
                  <a:pt x="3257" y="1029"/>
                </a:lnTo>
                <a:lnTo>
                  <a:pt x="3255" y="1019"/>
                </a:lnTo>
                <a:lnTo>
                  <a:pt x="3250" y="1009"/>
                </a:lnTo>
                <a:lnTo>
                  <a:pt x="3241" y="998"/>
                </a:lnTo>
                <a:lnTo>
                  <a:pt x="3241" y="995"/>
                </a:lnTo>
                <a:lnTo>
                  <a:pt x="3238" y="993"/>
                </a:lnTo>
                <a:lnTo>
                  <a:pt x="3236" y="990"/>
                </a:lnTo>
                <a:lnTo>
                  <a:pt x="3238" y="988"/>
                </a:lnTo>
                <a:lnTo>
                  <a:pt x="3236" y="988"/>
                </a:lnTo>
                <a:lnTo>
                  <a:pt x="3236" y="985"/>
                </a:lnTo>
                <a:lnTo>
                  <a:pt x="3235" y="983"/>
                </a:lnTo>
                <a:lnTo>
                  <a:pt x="3233" y="985"/>
                </a:lnTo>
                <a:lnTo>
                  <a:pt x="3235" y="985"/>
                </a:lnTo>
                <a:lnTo>
                  <a:pt x="3233" y="987"/>
                </a:lnTo>
                <a:lnTo>
                  <a:pt x="3233" y="985"/>
                </a:lnTo>
                <a:lnTo>
                  <a:pt x="3231" y="985"/>
                </a:lnTo>
                <a:lnTo>
                  <a:pt x="3233" y="985"/>
                </a:lnTo>
                <a:lnTo>
                  <a:pt x="3231" y="983"/>
                </a:lnTo>
                <a:lnTo>
                  <a:pt x="3230" y="985"/>
                </a:lnTo>
                <a:lnTo>
                  <a:pt x="3228" y="983"/>
                </a:lnTo>
                <a:lnTo>
                  <a:pt x="3228" y="981"/>
                </a:lnTo>
                <a:lnTo>
                  <a:pt x="3230" y="981"/>
                </a:lnTo>
                <a:lnTo>
                  <a:pt x="3228" y="980"/>
                </a:lnTo>
                <a:lnTo>
                  <a:pt x="3226" y="980"/>
                </a:lnTo>
                <a:lnTo>
                  <a:pt x="3226" y="981"/>
                </a:lnTo>
                <a:lnTo>
                  <a:pt x="3221" y="980"/>
                </a:lnTo>
                <a:lnTo>
                  <a:pt x="3223" y="976"/>
                </a:lnTo>
                <a:lnTo>
                  <a:pt x="3221" y="976"/>
                </a:lnTo>
                <a:lnTo>
                  <a:pt x="3223" y="976"/>
                </a:lnTo>
                <a:lnTo>
                  <a:pt x="3221" y="975"/>
                </a:lnTo>
                <a:lnTo>
                  <a:pt x="3221" y="978"/>
                </a:lnTo>
                <a:lnTo>
                  <a:pt x="3219" y="978"/>
                </a:lnTo>
                <a:lnTo>
                  <a:pt x="3216" y="978"/>
                </a:lnTo>
                <a:lnTo>
                  <a:pt x="3216" y="976"/>
                </a:lnTo>
                <a:lnTo>
                  <a:pt x="3214" y="976"/>
                </a:lnTo>
                <a:lnTo>
                  <a:pt x="3213" y="975"/>
                </a:lnTo>
                <a:lnTo>
                  <a:pt x="3213" y="973"/>
                </a:lnTo>
                <a:lnTo>
                  <a:pt x="3213" y="970"/>
                </a:lnTo>
                <a:lnTo>
                  <a:pt x="3214" y="968"/>
                </a:lnTo>
                <a:lnTo>
                  <a:pt x="3209" y="964"/>
                </a:lnTo>
                <a:lnTo>
                  <a:pt x="3206" y="961"/>
                </a:lnTo>
                <a:lnTo>
                  <a:pt x="3197" y="958"/>
                </a:lnTo>
                <a:lnTo>
                  <a:pt x="3197" y="956"/>
                </a:lnTo>
                <a:lnTo>
                  <a:pt x="3196" y="954"/>
                </a:lnTo>
                <a:lnTo>
                  <a:pt x="3192" y="954"/>
                </a:lnTo>
                <a:lnTo>
                  <a:pt x="3192" y="953"/>
                </a:lnTo>
                <a:lnTo>
                  <a:pt x="3190" y="953"/>
                </a:lnTo>
                <a:lnTo>
                  <a:pt x="3187" y="954"/>
                </a:lnTo>
                <a:lnTo>
                  <a:pt x="3185" y="953"/>
                </a:lnTo>
                <a:lnTo>
                  <a:pt x="3182" y="951"/>
                </a:lnTo>
                <a:lnTo>
                  <a:pt x="3179" y="946"/>
                </a:lnTo>
                <a:lnTo>
                  <a:pt x="3179" y="942"/>
                </a:lnTo>
                <a:lnTo>
                  <a:pt x="3177" y="941"/>
                </a:lnTo>
                <a:lnTo>
                  <a:pt x="3179" y="939"/>
                </a:lnTo>
                <a:lnTo>
                  <a:pt x="3177" y="939"/>
                </a:lnTo>
                <a:lnTo>
                  <a:pt x="3177" y="935"/>
                </a:lnTo>
                <a:lnTo>
                  <a:pt x="3175" y="932"/>
                </a:lnTo>
                <a:lnTo>
                  <a:pt x="3175" y="934"/>
                </a:lnTo>
                <a:lnTo>
                  <a:pt x="3173" y="934"/>
                </a:lnTo>
                <a:lnTo>
                  <a:pt x="3175" y="932"/>
                </a:lnTo>
                <a:lnTo>
                  <a:pt x="3173" y="924"/>
                </a:lnTo>
                <a:lnTo>
                  <a:pt x="3173" y="922"/>
                </a:lnTo>
                <a:lnTo>
                  <a:pt x="3173" y="920"/>
                </a:lnTo>
                <a:lnTo>
                  <a:pt x="3172" y="915"/>
                </a:lnTo>
                <a:lnTo>
                  <a:pt x="3172" y="913"/>
                </a:lnTo>
                <a:lnTo>
                  <a:pt x="3170" y="910"/>
                </a:lnTo>
                <a:lnTo>
                  <a:pt x="3170" y="908"/>
                </a:lnTo>
                <a:lnTo>
                  <a:pt x="3168" y="908"/>
                </a:lnTo>
                <a:lnTo>
                  <a:pt x="3168" y="907"/>
                </a:lnTo>
                <a:lnTo>
                  <a:pt x="3168" y="908"/>
                </a:lnTo>
                <a:lnTo>
                  <a:pt x="3170" y="908"/>
                </a:lnTo>
                <a:lnTo>
                  <a:pt x="3170" y="905"/>
                </a:lnTo>
                <a:lnTo>
                  <a:pt x="3172" y="900"/>
                </a:lnTo>
                <a:lnTo>
                  <a:pt x="3172" y="896"/>
                </a:lnTo>
                <a:lnTo>
                  <a:pt x="3170" y="896"/>
                </a:lnTo>
                <a:lnTo>
                  <a:pt x="3170" y="895"/>
                </a:lnTo>
                <a:lnTo>
                  <a:pt x="3168" y="893"/>
                </a:lnTo>
                <a:lnTo>
                  <a:pt x="3168" y="891"/>
                </a:lnTo>
                <a:lnTo>
                  <a:pt x="3167" y="888"/>
                </a:lnTo>
                <a:lnTo>
                  <a:pt x="3167" y="886"/>
                </a:lnTo>
                <a:lnTo>
                  <a:pt x="3168" y="884"/>
                </a:lnTo>
                <a:lnTo>
                  <a:pt x="3168" y="886"/>
                </a:lnTo>
                <a:lnTo>
                  <a:pt x="3168" y="884"/>
                </a:lnTo>
                <a:lnTo>
                  <a:pt x="3168" y="879"/>
                </a:lnTo>
                <a:lnTo>
                  <a:pt x="3168" y="876"/>
                </a:lnTo>
                <a:lnTo>
                  <a:pt x="3167" y="878"/>
                </a:lnTo>
                <a:lnTo>
                  <a:pt x="3168" y="874"/>
                </a:lnTo>
                <a:lnTo>
                  <a:pt x="3167" y="869"/>
                </a:lnTo>
                <a:lnTo>
                  <a:pt x="3168" y="867"/>
                </a:lnTo>
                <a:lnTo>
                  <a:pt x="3167" y="866"/>
                </a:lnTo>
                <a:lnTo>
                  <a:pt x="3168" y="864"/>
                </a:lnTo>
                <a:lnTo>
                  <a:pt x="3168" y="866"/>
                </a:lnTo>
                <a:lnTo>
                  <a:pt x="3170" y="864"/>
                </a:lnTo>
                <a:lnTo>
                  <a:pt x="3170" y="861"/>
                </a:lnTo>
                <a:lnTo>
                  <a:pt x="3168" y="857"/>
                </a:lnTo>
                <a:lnTo>
                  <a:pt x="3168" y="856"/>
                </a:lnTo>
                <a:lnTo>
                  <a:pt x="3167" y="854"/>
                </a:lnTo>
                <a:lnTo>
                  <a:pt x="3165" y="842"/>
                </a:lnTo>
                <a:lnTo>
                  <a:pt x="3162" y="835"/>
                </a:lnTo>
                <a:lnTo>
                  <a:pt x="3163" y="833"/>
                </a:lnTo>
                <a:lnTo>
                  <a:pt x="3165" y="833"/>
                </a:lnTo>
                <a:lnTo>
                  <a:pt x="3163" y="832"/>
                </a:lnTo>
                <a:lnTo>
                  <a:pt x="3165" y="830"/>
                </a:lnTo>
                <a:lnTo>
                  <a:pt x="3163" y="830"/>
                </a:lnTo>
                <a:lnTo>
                  <a:pt x="3162" y="828"/>
                </a:lnTo>
                <a:lnTo>
                  <a:pt x="3165" y="827"/>
                </a:lnTo>
                <a:lnTo>
                  <a:pt x="3167" y="827"/>
                </a:lnTo>
                <a:lnTo>
                  <a:pt x="3167" y="830"/>
                </a:lnTo>
                <a:lnTo>
                  <a:pt x="3168" y="830"/>
                </a:lnTo>
                <a:lnTo>
                  <a:pt x="3167" y="830"/>
                </a:lnTo>
                <a:lnTo>
                  <a:pt x="3170" y="830"/>
                </a:lnTo>
                <a:lnTo>
                  <a:pt x="3170" y="833"/>
                </a:lnTo>
                <a:lnTo>
                  <a:pt x="3172" y="835"/>
                </a:lnTo>
                <a:lnTo>
                  <a:pt x="3170" y="833"/>
                </a:lnTo>
                <a:lnTo>
                  <a:pt x="3167" y="832"/>
                </a:lnTo>
                <a:lnTo>
                  <a:pt x="3170" y="837"/>
                </a:lnTo>
                <a:lnTo>
                  <a:pt x="3173" y="837"/>
                </a:lnTo>
                <a:lnTo>
                  <a:pt x="3173" y="833"/>
                </a:lnTo>
                <a:lnTo>
                  <a:pt x="3172" y="833"/>
                </a:lnTo>
                <a:lnTo>
                  <a:pt x="3170" y="828"/>
                </a:lnTo>
                <a:lnTo>
                  <a:pt x="3165" y="823"/>
                </a:lnTo>
                <a:lnTo>
                  <a:pt x="3160" y="820"/>
                </a:lnTo>
                <a:lnTo>
                  <a:pt x="3153" y="808"/>
                </a:lnTo>
                <a:lnTo>
                  <a:pt x="3151" y="798"/>
                </a:lnTo>
                <a:lnTo>
                  <a:pt x="3151" y="796"/>
                </a:lnTo>
                <a:lnTo>
                  <a:pt x="3151" y="794"/>
                </a:lnTo>
                <a:lnTo>
                  <a:pt x="3151" y="791"/>
                </a:lnTo>
                <a:lnTo>
                  <a:pt x="3150" y="788"/>
                </a:lnTo>
                <a:lnTo>
                  <a:pt x="3151" y="788"/>
                </a:lnTo>
                <a:lnTo>
                  <a:pt x="3151" y="784"/>
                </a:lnTo>
                <a:lnTo>
                  <a:pt x="3150" y="782"/>
                </a:lnTo>
                <a:lnTo>
                  <a:pt x="3146" y="777"/>
                </a:lnTo>
                <a:lnTo>
                  <a:pt x="3145" y="779"/>
                </a:lnTo>
                <a:lnTo>
                  <a:pt x="3143" y="779"/>
                </a:lnTo>
                <a:lnTo>
                  <a:pt x="3136" y="772"/>
                </a:lnTo>
                <a:lnTo>
                  <a:pt x="3129" y="769"/>
                </a:lnTo>
                <a:lnTo>
                  <a:pt x="3128" y="765"/>
                </a:lnTo>
                <a:lnTo>
                  <a:pt x="3126" y="764"/>
                </a:lnTo>
                <a:lnTo>
                  <a:pt x="3122" y="762"/>
                </a:lnTo>
                <a:lnTo>
                  <a:pt x="3121" y="755"/>
                </a:lnTo>
                <a:lnTo>
                  <a:pt x="3116" y="753"/>
                </a:lnTo>
                <a:lnTo>
                  <a:pt x="3109" y="752"/>
                </a:lnTo>
                <a:lnTo>
                  <a:pt x="3105" y="752"/>
                </a:lnTo>
                <a:lnTo>
                  <a:pt x="3104" y="752"/>
                </a:lnTo>
                <a:lnTo>
                  <a:pt x="3104" y="750"/>
                </a:lnTo>
                <a:lnTo>
                  <a:pt x="3102" y="752"/>
                </a:lnTo>
                <a:lnTo>
                  <a:pt x="3104" y="750"/>
                </a:lnTo>
                <a:lnTo>
                  <a:pt x="3102" y="750"/>
                </a:lnTo>
                <a:lnTo>
                  <a:pt x="3100" y="750"/>
                </a:lnTo>
                <a:lnTo>
                  <a:pt x="3099" y="748"/>
                </a:lnTo>
                <a:lnTo>
                  <a:pt x="3097" y="743"/>
                </a:lnTo>
                <a:lnTo>
                  <a:pt x="3097" y="745"/>
                </a:lnTo>
                <a:lnTo>
                  <a:pt x="3095" y="745"/>
                </a:lnTo>
                <a:lnTo>
                  <a:pt x="3095" y="743"/>
                </a:lnTo>
                <a:lnTo>
                  <a:pt x="3095" y="742"/>
                </a:lnTo>
                <a:lnTo>
                  <a:pt x="3095" y="743"/>
                </a:lnTo>
                <a:lnTo>
                  <a:pt x="3092" y="740"/>
                </a:lnTo>
                <a:lnTo>
                  <a:pt x="3090" y="738"/>
                </a:lnTo>
                <a:lnTo>
                  <a:pt x="3090" y="733"/>
                </a:lnTo>
                <a:lnTo>
                  <a:pt x="3088" y="730"/>
                </a:lnTo>
                <a:lnTo>
                  <a:pt x="3085" y="725"/>
                </a:lnTo>
                <a:lnTo>
                  <a:pt x="3085" y="718"/>
                </a:lnTo>
                <a:lnTo>
                  <a:pt x="3080" y="711"/>
                </a:lnTo>
                <a:lnTo>
                  <a:pt x="3082" y="706"/>
                </a:lnTo>
                <a:lnTo>
                  <a:pt x="3082" y="704"/>
                </a:lnTo>
                <a:lnTo>
                  <a:pt x="3082" y="701"/>
                </a:lnTo>
                <a:lnTo>
                  <a:pt x="3082" y="699"/>
                </a:lnTo>
                <a:lnTo>
                  <a:pt x="3080" y="697"/>
                </a:lnTo>
                <a:lnTo>
                  <a:pt x="3082" y="697"/>
                </a:lnTo>
                <a:lnTo>
                  <a:pt x="3082" y="696"/>
                </a:lnTo>
                <a:lnTo>
                  <a:pt x="3080" y="697"/>
                </a:lnTo>
                <a:lnTo>
                  <a:pt x="3082" y="696"/>
                </a:lnTo>
                <a:lnTo>
                  <a:pt x="3080" y="696"/>
                </a:lnTo>
                <a:lnTo>
                  <a:pt x="3082" y="692"/>
                </a:lnTo>
                <a:lnTo>
                  <a:pt x="3080" y="689"/>
                </a:lnTo>
                <a:lnTo>
                  <a:pt x="3082" y="687"/>
                </a:lnTo>
                <a:lnTo>
                  <a:pt x="3085" y="687"/>
                </a:lnTo>
                <a:lnTo>
                  <a:pt x="3082" y="687"/>
                </a:lnTo>
                <a:lnTo>
                  <a:pt x="3082" y="689"/>
                </a:lnTo>
                <a:lnTo>
                  <a:pt x="3085" y="687"/>
                </a:lnTo>
                <a:lnTo>
                  <a:pt x="3085" y="689"/>
                </a:lnTo>
                <a:lnTo>
                  <a:pt x="3088" y="689"/>
                </a:lnTo>
                <a:lnTo>
                  <a:pt x="3092" y="691"/>
                </a:lnTo>
                <a:lnTo>
                  <a:pt x="3094" y="689"/>
                </a:lnTo>
                <a:lnTo>
                  <a:pt x="3095" y="691"/>
                </a:lnTo>
                <a:lnTo>
                  <a:pt x="3097" y="691"/>
                </a:lnTo>
                <a:lnTo>
                  <a:pt x="3095" y="687"/>
                </a:lnTo>
                <a:lnTo>
                  <a:pt x="3094" y="685"/>
                </a:lnTo>
                <a:lnTo>
                  <a:pt x="3087" y="684"/>
                </a:lnTo>
                <a:lnTo>
                  <a:pt x="3087" y="682"/>
                </a:lnTo>
                <a:lnTo>
                  <a:pt x="3085" y="680"/>
                </a:lnTo>
                <a:lnTo>
                  <a:pt x="3082" y="679"/>
                </a:lnTo>
                <a:lnTo>
                  <a:pt x="3082" y="680"/>
                </a:lnTo>
                <a:lnTo>
                  <a:pt x="3082" y="679"/>
                </a:lnTo>
                <a:lnTo>
                  <a:pt x="3078" y="675"/>
                </a:lnTo>
                <a:lnTo>
                  <a:pt x="3077" y="672"/>
                </a:lnTo>
                <a:lnTo>
                  <a:pt x="3075" y="670"/>
                </a:lnTo>
                <a:lnTo>
                  <a:pt x="3073" y="667"/>
                </a:lnTo>
                <a:lnTo>
                  <a:pt x="3071" y="667"/>
                </a:lnTo>
                <a:lnTo>
                  <a:pt x="3068" y="665"/>
                </a:lnTo>
                <a:lnTo>
                  <a:pt x="3066" y="662"/>
                </a:lnTo>
                <a:lnTo>
                  <a:pt x="3063" y="660"/>
                </a:lnTo>
                <a:lnTo>
                  <a:pt x="3063" y="657"/>
                </a:lnTo>
                <a:lnTo>
                  <a:pt x="3065" y="657"/>
                </a:lnTo>
                <a:lnTo>
                  <a:pt x="3063" y="655"/>
                </a:lnTo>
                <a:lnTo>
                  <a:pt x="3061" y="655"/>
                </a:lnTo>
                <a:lnTo>
                  <a:pt x="3061" y="653"/>
                </a:lnTo>
                <a:lnTo>
                  <a:pt x="3061" y="651"/>
                </a:lnTo>
                <a:lnTo>
                  <a:pt x="3060" y="648"/>
                </a:lnTo>
                <a:lnTo>
                  <a:pt x="3056" y="643"/>
                </a:lnTo>
                <a:lnTo>
                  <a:pt x="3056" y="640"/>
                </a:lnTo>
                <a:lnTo>
                  <a:pt x="3053" y="636"/>
                </a:lnTo>
                <a:lnTo>
                  <a:pt x="3053" y="634"/>
                </a:lnTo>
                <a:lnTo>
                  <a:pt x="3051" y="631"/>
                </a:lnTo>
                <a:lnTo>
                  <a:pt x="3049" y="626"/>
                </a:lnTo>
                <a:lnTo>
                  <a:pt x="3046" y="624"/>
                </a:lnTo>
                <a:lnTo>
                  <a:pt x="3046" y="621"/>
                </a:lnTo>
                <a:lnTo>
                  <a:pt x="3044" y="619"/>
                </a:lnTo>
                <a:lnTo>
                  <a:pt x="3043" y="616"/>
                </a:lnTo>
                <a:lnTo>
                  <a:pt x="3041" y="614"/>
                </a:lnTo>
                <a:lnTo>
                  <a:pt x="3039" y="611"/>
                </a:lnTo>
                <a:lnTo>
                  <a:pt x="3037" y="607"/>
                </a:lnTo>
                <a:lnTo>
                  <a:pt x="3037" y="605"/>
                </a:lnTo>
                <a:lnTo>
                  <a:pt x="3036" y="604"/>
                </a:lnTo>
                <a:lnTo>
                  <a:pt x="3032" y="597"/>
                </a:lnTo>
                <a:lnTo>
                  <a:pt x="3031" y="595"/>
                </a:lnTo>
                <a:lnTo>
                  <a:pt x="3029" y="594"/>
                </a:lnTo>
                <a:lnTo>
                  <a:pt x="3027" y="592"/>
                </a:lnTo>
                <a:lnTo>
                  <a:pt x="3026" y="587"/>
                </a:lnTo>
                <a:lnTo>
                  <a:pt x="3024" y="585"/>
                </a:lnTo>
                <a:lnTo>
                  <a:pt x="3022" y="580"/>
                </a:lnTo>
                <a:lnTo>
                  <a:pt x="3020" y="580"/>
                </a:lnTo>
                <a:lnTo>
                  <a:pt x="3020" y="578"/>
                </a:lnTo>
                <a:lnTo>
                  <a:pt x="3017" y="573"/>
                </a:lnTo>
                <a:lnTo>
                  <a:pt x="3015" y="568"/>
                </a:lnTo>
                <a:lnTo>
                  <a:pt x="3010" y="561"/>
                </a:lnTo>
                <a:lnTo>
                  <a:pt x="3007" y="553"/>
                </a:lnTo>
                <a:lnTo>
                  <a:pt x="3002" y="551"/>
                </a:lnTo>
                <a:lnTo>
                  <a:pt x="3003" y="546"/>
                </a:lnTo>
                <a:lnTo>
                  <a:pt x="3002" y="544"/>
                </a:lnTo>
                <a:lnTo>
                  <a:pt x="3003" y="543"/>
                </a:lnTo>
                <a:lnTo>
                  <a:pt x="3003" y="541"/>
                </a:lnTo>
                <a:lnTo>
                  <a:pt x="3005" y="541"/>
                </a:lnTo>
                <a:lnTo>
                  <a:pt x="3005" y="539"/>
                </a:lnTo>
                <a:lnTo>
                  <a:pt x="3003" y="539"/>
                </a:lnTo>
                <a:lnTo>
                  <a:pt x="3000" y="534"/>
                </a:lnTo>
                <a:lnTo>
                  <a:pt x="3002" y="532"/>
                </a:lnTo>
                <a:lnTo>
                  <a:pt x="3000" y="531"/>
                </a:lnTo>
                <a:lnTo>
                  <a:pt x="2997" y="529"/>
                </a:lnTo>
                <a:lnTo>
                  <a:pt x="2997" y="524"/>
                </a:lnTo>
                <a:lnTo>
                  <a:pt x="2998" y="524"/>
                </a:lnTo>
                <a:lnTo>
                  <a:pt x="2998" y="520"/>
                </a:lnTo>
                <a:lnTo>
                  <a:pt x="2992" y="517"/>
                </a:lnTo>
                <a:lnTo>
                  <a:pt x="2990" y="517"/>
                </a:lnTo>
                <a:lnTo>
                  <a:pt x="2990" y="514"/>
                </a:lnTo>
                <a:lnTo>
                  <a:pt x="2990" y="512"/>
                </a:lnTo>
                <a:lnTo>
                  <a:pt x="2986" y="510"/>
                </a:lnTo>
                <a:lnTo>
                  <a:pt x="2986" y="509"/>
                </a:lnTo>
                <a:lnTo>
                  <a:pt x="2983" y="507"/>
                </a:lnTo>
                <a:lnTo>
                  <a:pt x="2983" y="503"/>
                </a:lnTo>
                <a:lnTo>
                  <a:pt x="2980" y="500"/>
                </a:lnTo>
                <a:lnTo>
                  <a:pt x="2981" y="498"/>
                </a:lnTo>
                <a:lnTo>
                  <a:pt x="2983" y="500"/>
                </a:lnTo>
                <a:lnTo>
                  <a:pt x="2985" y="502"/>
                </a:lnTo>
                <a:lnTo>
                  <a:pt x="2985" y="500"/>
                </a:lnTo>
                <a:lnTo>
                  <a:pt x="2983" y="498"/>
                </a:lnTo>
                <a:lnTo>
                  <a:pt x="2983" y="495"/>
                </a:lnTo>
                <a:lnTo>
                  <a:pt x="2981" y="495"/>
                </a:lnTo>
                <a:lnTo>
                  <a:pt x="2980" y="492"/>
                </a:lnTo>
                <a:lnTo>
                  <a:pt x="2983" y="492"/>
                </a:lnTo>
                <a:lnTo>
                  <a:pt x="2985" y="493"/>
                </a:lnTo>
                <a:lnTo>
                  <a:pt x="2985" y="495"/>
                </a:lnTo>
                <a:lnTo>
                  <a:pt x="2986" y="495"/>
                </a:lnTo>
                <a:lnTo>
                  <a:pt x="2986" y="493"/>
                </a:lnTo>
                <a:lnTo>
                  <a:pt x="2985" y="493"/>
                </a:lnTo>
                <a:lnTo>
                  <a:pt x="2985" y="490"/>
                </a:lnTo>
                <a:lnTo>
                  <a:pt x="2980" y="483"/>
                </a:lnTo>
                <a:lnTo>
                  <a:pt x="2976" y="481"/>
                </a:lnTo>
                <a:lnTo>
                  <a:pt x="2975" y="481"/>
                </a:lnTo>
                <a:lnTo>
                  <a:pt x="2973" y="480"/>
                </a:lnTo>
                <a:lnTo>
                  <a:pt x="2971" y="478"/>
                </a:lnTo>
                <a:lnTo>
                  <a:pt x="2969" y="476"/>
                </a:lnTo>
                <a:lnTo>
                  <a:pt x="2968" y="476"/>
                </a:lnTo>
                <a:lnTo>
                  <a:pt x="2968" y="475"/>
                </a:lnTo>
                <a:lnTo>
                  <a:pt x="2961" y="468"/>
                </a:lnTo>
                <a:lnTo>
                  <a:pt x="2961" y="464"/>
                </a:lnTo>
                <a:lnTo>
                  <a:pt x="2958" y="463"/>
                </a:lnTo>
                <a:lnTo>
                  <a:pt x="2956" y="459"/>
                </a:lnTo>
                <a:lnTo>
                  <a:pt x="2954" y="457"/>
                </a:lnTo>
                <a:lnTo>
                  <a:pt x="2951" y="454"/>
                </a:lnTo>
                <a:lnTo>
                  <a:pt x="2947" y="454"/>
                </a:lnTo>
                <a:lnTo>
                  <a:pt x="2947" y="451"/>
                </a:lnTo>
                <a:lnTo>
                  <a:pt x="2946" y="444"/>
                </a:lnTo>
                <a:lnTo>
                  <a:pt x="2942" y="442"/>
                </a:lnTo>
                <a:lnTo>
                  <a:pt x="2939" y="439"/>
                </a:lnTo>
                <a:lnTo>
                  <a:pt x="2937" y="435"/>
                </a:lnTo>
                <a:lnTo>
                  <a:pt x="2935" y="434"/>
                </a:lnTo>
                <a:lnTo>
                  <a:pt x="2935" y="429"/>
                </a:lnTo>
                <a:lnTo>
                  <a:pt x="2939" y="427"/>
                </a:lnTo>
                <a:lnTo>
                  <a:pt x="2934" y="415"/>
                </a:lnTo>
                <a:lnTo>
                  <a:pt x="2934" y="413"/>
                </a:lnTo>
                <a:lnTo>
                  <a:pt x="2924" y="405"/>
                </a:lnTo>
                <a:lnTo>
                  <a:pt x="2922" y="401"/>
                </a:lnTo>
                <a:lnTo>
                  <a:pt x="2924" y="400"/>
                </a:lnTo>
                <a:lnTo>
                  <a:pt x="2922" y="400"/>
                </a:lnTo>
                <a:lnTo>
                  <a:pt x="2924" y="400"/>
                </a:lnTo>
                <a:lnTo>
                  <a:pt x="2922" y="398"/>
                </a:lnTo>
                <a:lnTo>
                  <a:pt x="2930" y="388"/>
                </a:lnTo>
                <a:lnTo>
                  <a:pt x="2929" y="388"/>
                </a:lnTo>
                <a:lnTo>
                  <a:pt x="2927" y="388"/>
                </a:lnTo>
                <a:lnTo>
                  <a:pt x="2929" y="384"/>
                </a:lnTo>
                <a:lnTo>
                  <a:pt x="2932" y="383"/>
                </a:lnTo>
                <a:lnTo>
                  <a:pt x="2932" y="384"/>
                </a:lnTo>
                <a:lnTo>
                  <a:pt x="2934" y="384"/>
                </a:lnTo>
                <a:lnTo>
                  <a:pt x="2932" y="384"/>
                </a:lnTo>
                <a:lnTo>
                  <a:pt x="2937" y="388"/>
                </a:lnTo>
                <a:lnTo>
                  <a:pt x="2935" y="391"/>
                </a:lnTo>
                <a:lnTo>
                  <a:pt x="2939" y="395"/>
                </a:lnTo>
                <a:lnTo>
                  <a:pt x="2939" y="401"/>
                </a:lnTo>
                <a:lnTo>
                  <a:pt x="2941" y="403"/>
                </a:lnTo>
                <a:lnTo>
                  <a:pt x="2941" y="405"/>
                </a:lnTo>
                <a:lnTo>
                  <a:pt x="2941" y="406"/>
                </a:lnTo>
                <a:lnTo>
                  <a:pt x="2942" y="406"/>
                </a:lnTo>
                <a:lnTo>
                  <a:pt x="2941" y="410"/>
                </a:lnTo>
                <a:lnTo>
                  <a:pt x="2942" y="408"/>
                </a:lnTo>
                <a:lnTo>
                  <a:pt x="2942" y="410"/>
                </a:lnTo>
                <a:lnTo>
                  <a:pt x="2946" y="412"/>
                </a:lnTo>
                <a:lnTo>
                  <a:pt x="2946" y="417"/>
                </a:lnTo>
                <a:lnTo>
                  <a:pt x="2949" y="417"/>
                </a:lnTo>
                <a:lnTo>
                  <a:pt x="2949" y="420"/>
                </a:lnTo>
                <a:lnTo>
                  <a:pt x="2952" y="422"/>
                </a:lnTo>
                <a:lnTo>
                  <a:pt x="2959" y="427"/>
                </a:lnTo>
                <a:lnTo>
                  <a:pt x="2959" y="430"/>
                </a:lnTo>
                <a:lnTo>
                  <a:pt x="2964" y="432"/>
                </a:lnTo>
                <a:lnTo>
                  <a:pt x="2963" y="435"/>
                </a:lnTo>
                <a:lnTo>
                  <a:pt x="2964" y="435"/>
                </a:lnTo>
                <a:lnTo>
                  <a:pt x="2964" y="440"/>
                </a:lnTo>
                <a:lnTo>
                  <a:pt x="2966" y="444"/>
                </a:lnTo>
                <a:lnTo>
                  <a:pt x="2964" y="449"/>
                </a:lnTo>
                <a:lnTo>
                  <a:pt x="2968" y="454"/>
                </a:lnTo>
                <a:lnTo>
                  <a:pt x="2966" y="454"/>
                </a:lnTo>
                <a:lnTo>
                  <a:pt x="2968" y="454"/>
                </a:lnTo>
                <a:lnTo>
                  <a:pt x="2969" y="454"/>
                </a:lnTo>
                <a:lnTo>
                  <a:pt x="2968" y="456"/>
                </a:lnTo>
                <a:lnTo>
                  <a:pt x="2971" y="457"/>
                </a:lnTo>
                <a:lnTo>
                  <a:pt x="2973" y="459"/>
                </a:lnTo>
                <a:lnTo>
                  <a:pt x="2976" y="463"/>
                </a:lnTo>
                <a:lnTo>
                  <a:pt x="2983" y="468"/>
                </a:lnTo>
                <a:lnTo>
                  <a:pt x="2985" y="471"/>
                </a:lnTo>
                <a:lnTo>
                  <a:pt x="2986" y="471"/>
                </a:lnTo>
                <a:lnTo>
                  <a:pt x="2986" y="473"/>
                </a:lnTo>
                <a:lnTo>
                  <a:pt x="2988" y="475"/>
                </a:lnTo>
                <a:lnTo>
                  <a:pt x="2992" y="480"/>
                </a:lnTo>
                <a:lnTo>
                  <a:pt x="2993" y="480"/>
                </a:lnTo>
                <a:lnTo>
                  <a:pt x="2993" y="481"/>
                </a:lnTo>
                <a:lnTo>
                  <a:pt x="3000" y="486"/>
                </a:lnTo>
                <a:lnTo>
                  <a:pt x="3002" y="486"/>
                </a:lnTo>
                <a:lnTo>
                  <a:pt x="3003" y="488"/>
                </a:lnTo>
                <a:lnTo>
                  <a:pt x="3005" y="488"/>
                </a:lnTo>
                <a:lnTo>
                  <a:pt x="3009" y="492"/>
                </a:lnTo>
                <a:lnTo>
                  <a:pt x="3010" y="493"/>
                </a:lnTo>
                <a:lnTo>
                  <a:pt x="3012" y="493"/>
                </a:lnTo>
                <a:lnTo>
                  <a:pt x="3015" y="493"/>
                </a:lnTo>
                <a:lnTo>
                  <a:pt x="3017" y="497"/>
                </a:lnTo>
                <a:lnTo>
                  <a:pt x="3019" y="497"/>
                </a:lnTo>
                <a:lnTo>
                  <a:pt x="3019" y="495"/>
                </a:lnTo>
                <a:lnTo>
                  <a:pt x="3017" y="495"/>
                </a:lnTo>
                <a:lnTo>
                  <a:pt x="3015" y="493"/>
                </a:lnTo>
                <a:lnTo>
                  <a:pt x="3019" y="493"/>
                </a:lnTo>
                <a:lnTo>
                  <a:pt x="3019" y="490"/>
                </a:lnTo>
                <a:lnTo>
                  <a:pt x="3020" y="490"/>
                </a:lnTo>
                <a:lnTo>
                  <a:pt x="3022" y="490"/>
                </a:lnTo>
                <a:lnTo>
                  <a:pt x="3022" y="486"/>
                </a:lnTo>
                <a:lnTo>
                  <a:pt x="3024" y="486"/>
                </a:lnTo>
                <a:lnTo>
                  <a:pt x="3026" y="485"/>
                </a:lnTo>
                <a:lnTo>
                  <a:pt x="3027" y="483"/>
                </a:lnTo>
                <a:lnTo>
                  <a:pt x="3027" y="481"/>
                </a:lnTo>
                <a:lnTo>
                  <a:pt x="3027" y="478"/>
                </a:lnTo>
                <a:lnTo>
                  <a:pt x="3029" y="475"/>
                </a:lnTo>
                <a:lnTo>
                  <a:pt x="3026" y="471"/>
                </a:lnTo>
                <a:lnTo>
                  <a:pt x="3026" y="466"/>
                </a:lnTo>
                <a:lnTo>
                  <a:pt x="3027" y="464"/>
                </a:lnTo>
                <a:lnTo>
                  <a:pt x="3029" y="461"/>
                </a:lnTo>
                <a:lnTo>
                  <a:pt x="3031" y="459"/>
                </a:lnTo>
                <a:lnTo>
                  <a:pt x="3032" y="459"/>
                </a:lnTo>
                <a:lnTo>
                  <a:pt x="3032" y="454"/>
                </a:lnTo>
                <a:lnTo>
                  <a:pt x="3034" y="452"/>
                </a:lnTo>
                <a:lnTo>
                  <a:pt x="3034" y="451"/>
                </a:lnTo>
                <a:lnTo>
                  <a:pt x="3034" y="449"/>
                </a:lnTo>
                <a:lnTo>
                  <a:pt x="3037" y="446"/>
                </a:lnTo>
                <a:lnTo>
                  <a:pt x="3037" y="440"/>
                </a:lnTo>
                <a:lnTo>
                  <a:pt x="3039" y="439"/>
                </a:lnTo>
                <a:lnTo>
                  <a:pt x="3037" y="435"/>
                </a:lnTo>
                <a:lnTo>
                  <a:pt x="3041" y="434"/>
                </a:lnTo>
                <a:lnTo>
                  <a:pt x="3039" y="430"/>
                </a:lnTo>
                <a:lnTo>
                  <a:pt x="3041" y="423"/>
                </a:lnTo>
                <a:lnTo>
                  <a:pt x="3043" y="423"/>
                </a:lnTo>
                <a:lnTo>
                  <a:pt x="3043" y="422"/>
                </a:lnTo>
                <a:lnTo>
                  <a:pt x="3043" y="417"/>
                </a:lnTo>
                <a:lnTo>
                  <a:pt x="3044" y="415"/>
                </a:lnTo>
                <a:lnTo>
                  <a:pt x="3049" y="408"/>
                </a:lnTo>
                <a:lnTo>
                  <a:pt x="3051" y="406"/>
                </a:lnTo>
                <a:lnTo>
                  <a:pt x="3049" y="401"/>
                </a:lnTo>
                <a:lnTo>
                  <a:pt x="3051" y="400"/>
                </a:lnTo>
                <a:lnTo>
                  <a:pt x="3049" y="396"/>
                </a:lnTo>
                <a:lnTo>
                  <a:pt x="3049" y="393"/>
                </a:lnTo>
                <a:lnTo>
                  <a:pt x="3041" y="372"/>
                </a:lnTo>
                <a:lnTo>
                  <a:pt x="3037" y="362"/>
                </a:lnTo>
                <a:lnTo>
                  <a:pt x="3032" y="361"/>
                </a:lnTo>
                <a:lnTo>
                  <a:pt x="3034" y="357"/>
                </a:lnTo>
                <a:lnTo>
                  <a:pt x="3032" y="354"/>
                </a:lnTo>
                <a:lnTo>
                  <a:pt x="3031" y="347"/>
                </a:lnTo>
                <a:lnTo>
                  <a:pt x="3026" y="338"/>
                </a:lnTo>
                <a:lnTo>
                  <a:pt x="3020" y="325"/>
                </a:lnTo>
                <a:lnTo>
                  <a:pt x="3017" y="316"/>
                </a:lnTo>
                <a:lnTo>
                  <a:pt x="3017" y="315"/>
                </a:lnTo>
                <a:lnTo>
                  <a:pt x="3005" y="320"/>
                </a:lnTo>
                <a:lnTo>
                  <a:pt x="2992" y="325"/>
                </a:lnTo>
                <a:lnTo>
                  <a:pt x="2985" y="325"/>
                </a:lnTo>
                <a:lnTo>
                  <a:pt x="2978" y="325"/>
                </a:lnTo>
                <a:lnTo>
                  <a:pt x="2976" y="325"/>
                </a:lnTo>
                <a:lnTo>
                  <a:pt x="2976" y="327"/>
                </a:lnTo>
                <a:lnTo>
                  <a:pt x="2975" y="327"/>
                </a:lnTo>
                <a:lnTo>
                  <a:pt x="2973" y="327"/>
                </a:lnTo>
                <a:lnTo>
                  <a:pt x="2969" y="327"/>
                </a:lnTo>
                <a:lnTo>
                  <a:pt x="2971" y="327"/>
                </a:lnTo>
                <a:lnTo>
                  <a:pt x="2969" y="327"/>
                </a:lnTo>
                <a:lnTo>
                  <a:pt x="2968" y="327"/>
                </a:lnTo>
                <a:lnTo>
                  <a:pt x="2964" y="327"/>
                </a:lnTo>
                <a:lnTo>
                  <a:pt x="2966" y="328"/>
                </a:lnTo>
                <a:lnTo>
                  <a:pt x="2964" y="328"/>
                </a:lnTo>
                <a:lnTo>
                  <a:pt x="2966" y="328"/>
                </a:lnTo>
                <a:lnTo>
                  <a:pt x="2963" y="328"/>
                </a:lnTo>
                <a:lnTo>
                  <a:pt x="2963" y="327"/>
                </a:lnTo>
                <a:lnTo>
                  <a:pt x="2961" y="327"/>
                </a:lnTo>
                <a:lnTo>
                  <a:pt x="2961" y="325"/>
                </a:lnTo>
                <a:lnTo>
                  <a:pt x="2959" y="325"/>
                </a:lnTo>
                <a:lnTo>
                  <a:pt x="2961" y="325"/>
                </a:lnTo>
                <a:lnTo>
                  <a:pt x="2959" y="325"/>
                </a:lnTo>
                <a:lnTo>
                  <a:pt x="2961" y="323"/>
                </a:lnTo>
                <a:lnTo>
                  <a:pt x="2963" y="325"/>
                </a:lnTo>
                <a:lnTo>
                  <a:pt x="2959" y="321"/>
                </a:lnTo>
                <a:lnTo>
                  <a:pt x="2956" y="323"/>
                </a:lnTo>
                <a:lnTo>
                  <a:pt x="2954" y="327"/>
                </a:lnTo>
                <a:lnTo>
                  <a:pt x="2952" y="325"/>
                </a:lnTo>
                <a:lnTo>
                  <a:pt x="2954" y="327"/>
                </a:lnTo>
                <a:lnTo>
                  <a:pt x="2956" y="327"/>
                </a:lnTo>
                <a:lnTo>
                  <a:pt x="2956" y="325"/>
                </a:lnTo>
                <a:lnTo>
                  <a:pt x="2958" y="325"/>
                </a:lnTo>
                <a:lnTo>
                  <a:pt x="2959" y="325"/>
                </a:lnTo>
                <a:lnTo>
                  <a:pt x="2958" y="325"/>
                </a:lnTo>
                <a:lnTo>
                  <a:pt x="2958" y="327"/>
                </a:lnTo>
                <a:lnTo>
                  <a:pt x="2956" y="327"/>
                </a:lnTo>
                <a:lnTo>
                  <a:pt x="2956" y="328"/>
                </a:lnTo>
                <a:lnTo>
                  <a:pt x="2952" y="328"/>
                </a:lnTo>
                <a:lnTo>
                  <a:pt x="2954" y="328"/>
                </a:lnTo>
                <a:lnTo>
                  <a:pt x="2954" y="327"/>
                </a:lnTo>
                <a:lnTo>
                  <a:pt x="2952" y="327"/>
                </a:lnTo>
                <a:lnTo>
                  <a:pt x="2951" y="327"/>
                </a:lnTo>
                <a:lnTo>
                  <a:pt x="2949" y="327"/>
                </a:lnTo>
                <a:lnTo>
                  <a:pt x="2942" y="328"/>
                </a:lnTo>
                <a:lnTo>
                  <a:pt x="2944" y="328"/>
                </a:lnTo>
                <a:lnTo>
                  <a:pt x="2944" y="330"/>
                </a:lnTo>
                <a:lnTo>
                  <a:pt x="2942" y="328"/>
                </a:lnTo>
                <a:lnTo>
                  <a:pt x="2941" y="330"/>
                </a:lnTo>
                <a:lnTo>
                  <a:pt x="2941" y="328"/>
                </a:lnTo>
                <a:lnTo>
                  <a:pt x="2939" y="328"/>
                </a:lnTo>
                <a:lnTo>
                  <a:pt x="2941" y="328"/>
                </a:lnTo>
                <a:lnTo>
                  <a:pt x="2944" y="327"/>
                </a:lnTo>
                <a:lnTo>
                  <a:pt x="2951" y="323"/>
                </a:lnTo>
                <a:lnTo>
                  <a:pt x="2942" y="327"/>
                </a:lnTo>
                <a:lnTo>
                  <a:pt x="2937" y="328"/>
                </a:lnTo>
                <a:lnTo>
                  <a:pt x="2934" y="328"/>
                </a:lnTo>
                <a:lnTo>
                  <a:pt x="2930" y="325"/>
                </a:lnTo>
                <a:lnTo>
                  <a:pt x="2927" y="321"/>
                </a:lnTo>
                <a:lnTo>
                  <a:pt x="2924" y="320"/>
                </a:lnTo>
                <a:lnTo>
                  <a:pt x="2924" y="318"/>
                </a:lnTo>
                <a:lnTo>
                  <a:pt x="2922" y="321"/>
                </a:lnTo>
                <a:lnTo>
                  <a:pt x="2922" y="318"/>
                </a:lnTo>
                <a:lnTo>
                  <a:pt x="2922" y="320"/>
                </a:lnTo>
                <a:lnTo>
                  <a:pt x="2920" y="318"/>
                </a:lnTo>
                <a:lnTo>
                  <a:pt x="2922" y="316"/>
                </a:lnTo>
                <a:lnTo>
                  <a:pt x="2920" y="316"/>
                </a:lnTo>
                <a:lnTo>
                  <a:pt x="2913" y="315"/>
                </a:lnTo>
                <a:lnTo>
                  <a:pt x="2905" y="310"/>
                </a:lnTo>
                <a:lnTo>
                  <a:pt x="2901" y="304"/>
                </a:lnTo>
                <a:lnTo>
                  <a:pt x="2905" y="308"/>
                </a:lnTo>
                <a:lnTo>
                  <a:pt x="2903" y="306"/>
                </a:lnTo>
                <a:lnTo>
                  <a:pt x="2900" y="304"/>
                </a:lnTo>
                <a:lnTo>
                  <a:pt x="2896" y="304"/>
                </a:lnTo>
                <a:lnTo>
                  <a:pt x="2893" y="306"/>
                </a:lnTo>
                <a:lnTo>
                  <a:pt x="2893" y="308"/>
                </a:lnTo>
                <a:lnTo>
                  <a:pt x="2891" y="308"/>
                </a:lnTo>
                <a:lnTo>
                  <a:pt x="2891" y="306"/>
                </a:lnTo>
                <a:lnTo>
                  <a:pt x="2890" y="306"/>
                </a:lnTo>
                <a:lnTo>
                  <a:pt x="2883" y="308"/>
                </a:lnTo>
                <a:lnTo>
                  <a:pt x="2878" y="308"/>
                </a:lnTo>
                <a:lnTo>
                  <a:pt x="2867" y="303"/>
                </a:lnTo>
                <a:lnTo>
                  <a:pt x="2859" y="301"/>
                </a:lnTo>
                <a:lnTo>
                  <a:pt x="2856" y="301"/>
                </a:lnTo>
                <a:lnTo>
                  <a:pt x="2852" y="301"/>
                </a:lnTo>
                <a:lnTo>
                  <a:pt x="2830" y="308"/>
                </a:lnTo>
                <a:lnTo>
                  <a:pt x="2822" y="306"/>
                </a:lnTo>
                <a:lnTo>
                  <a:pt x="2818" y="313"/>
                </a:lnTo>
                <a:lnTo>
                  <a:pt x="2815" y="316"/>
                </a:lnTo>
                <a:lnTo>
                  <a:pt x="2811" y="316"/>
                </a:lnTo>
                <a:lnTo>
                  <a:pt x="2808" y="316"/>
                </a:lnTo>
                <a:lnTo>
                  <a:pt x="2806" y="315"/>
                </a:lnTo>
                <a:lnTo>
                  <a:pt x="2808" y="315"/>
                </a:lnTo>
                <a:lnTo>
                  <a:pt x="2806" y="315"/>
                </a:lnTo>
                <a:lnTo>
                  <a:pt x="2799" y="320"/>
                </a:lnTo>
                <a:lnTo>
                  <a:pt x="2798" y="320"/>
                </a:lnTo>
                <a:lnTo>
                  <a:pt x="2796" y="320"/>
                </a:lnTo>
                <a:lnTo>
                  <a:pt x="2796" y="323"/>
                </a:lnTo>
                <a:lnTo>
                  <a:pt x="2796" y="321"/>
                </a:lnTo>
                <a:lnTo>
                  <a:pt x="2798" y="321"/>
                </a:lnTo>
                <a:lnTo>
                  <a:pt x="2796" y="321"/>
                </a:lnTo>
                <a:lnTo>
                  <a:pt x="2794" y="323"/>
                </a:lnTo>
                <a:lnTo>
                  <a:pt x="2793" y="323"/>
                </a:lnTo>
                <a:lnTo>
                  <a:pt x="2786" y="328"/>
                </a:lnTo>
                <a:lnTo>
                  <a:pt x="2776" y="335"/>
                </a:lnTo>
                <a:lnTo>
                  <a:pt x="2764" y="338"/>
                </a:lnTo>
                <a:lnTo>
                  <a:pt x="2755" y="340"/>
                </a:lnTo>
                <a:lnTo>
                  <a:pt x="2754" y="340"/>
                </a:lnTo>
                <a:lnTo>
                  <a:pt x="2754" y="338"/>
                </a:lnTo>
                <a:lnTo>
                  <a:pt x="2752" y="338"/>
                </a:lnTo>
                <a:lnTo>
                  <a:pt x="2748" y="337"/>
                </a:lnTo>
                <a:lnTo>
                  <a:pt x="2745" y="335"/>
                </a:lnTo>
                <a:lnTo>
                  <a:pt x="2743" y="333"/>
                </a:lnTo>
                <a:lnTo>
                  <a:pt x="2740" y="332"/>
                </a:lnTo>
                <a:lnTo>
                  <a:pt x="2733" y="330"/>
                </a:lnTo>
                <a:lnTo>
                  <a:pt x="2730" y="328"/>
                </a:lnTo>
                <a:lnTo>
                  <a:pt x="2726" y="328"/>
                </a:lnTo>
                <a:lnTo>
                  <a:pt x="2723" y="327"/>
                </a:lnTo>
                <a:lnTo>
                  <a:pt x="2718" y="327"/>
                </a:lnTo>
                <a:lnTo>
                  <a:pt x="2713" y="327"/>
                </a:lnTo>
                <a:lnTo>
                  <a:pt x="2709" y="327"/>
                </a:lnTo>
                <a:lnTo>
                  <a:pt x="2697" y="327"/>
                </a:lnTo>
                <a:lnTo>
                  <a:pt x="2696" y="325"/>
                </a:lnTo>
                <a:lnTo>
                  <a:pt x="2696" y="321"/>
                </a:lnTo>
                <a:lnTo>
                  <a:pt x="2694" y="318"/>
                </a:lnTo>
                <a:lnTo>
                  <a:pt x="2692" y="320"/>
                </a:lnTo>
                <a:lnTo>
                  <a:pt x="2686" y="321"/>
                </a:lnTo>
                <a:lnTo>
                  <a:pt x="2684" y="321"/>
                </a:lnTo>
                <a:lnTo>
                  <a:pt x="2680" y="321"/>
                </a:lnTo>
                <a:lnTo>
                  <a:pt x="2679" y="320"/>
                </a:lnTo>
                <a:lnTo>
                  <a:pt x="2674" y="320"/>
                </a:lnTo>
                <a:lnTo>
                  <a:pt x="2670" y="318"/>
                </a:lnTo>
                <a:lnTo>
                  <a:pt x="2669" y="311"/>
                </a:lnTo>
                <a:lnTo>
                  <a:pt x="2660" y="313"/>
                </a:lnTo>
                <a:lnTo>
                  <a:pt x="2660" y="311"/>
                </a:lnTo>
                <a:lnTo>
                  <a:pt x="2662" y="311"/>
                </a:lnTo>
                <a:lnTo>
                  <a:pt x="2655" y="311"/>
                </a:lnTo>
                <a:lnTo>
                  <a:pt x="2655" y="310"/>
                </a:lnTo>
                <a:lnTo>
                  <a:pt x="2652" y="310"/>
                </a:lnTo>
                <a:lnTo>
                  <a:pt x="2650" y="308"/>
                </a:lnTo>
                <a:lnTo>
                  <a:pt x="2643" y="308"/>
                </a:lnTo>
                <a:lnTo>
                  <a:pt x="2638" y="306"/>
                </a:lnTo>
                <a:lnTo>
                  <a:pt x="2629" y="306"/>
                </a:lnTo>
                <a:lnTo>
                  <a:pt x="2629" y="304"/>
                </a:lnTo>
                <a:lnTo>
                  <a:pt x="2626" y="306"/>
                </a:lnTo>
                <a:lnTo>
                  <a:pt x="2606" y="301"/>
                </a:lnTo>
                <a:lnTo>
                  <a:pt x="2595" y="299"/>
                </a:lnTo>
                <a:lnTo>
                  <a:pt x="2590" y="299"/>
                </a:lnTo>
                <a:lnTo>
                  <a:pt x="2575" y="304"/>
                </a:lnTo>
                <a:lnTo>
                  <a:pt x="2570" y="304"/>
                </a:lnTo>
                <a:lnTo>
                  <a:pt x="2565" y="304"/>
                </a:lnTo>
                <a:lnTo>
                  <a:pt x="2558" y="303"/>
                </a:lnTo>
                <a:lnTo>
                  <a:pt x="2558" y="301"/>
                </a:lnTo>
                <a:lnTo>
                  <a:pt x="2558" y="299"/>
                </a:lnTo>
                <a:lnTo>
                  <a:pt x="2556" y="296"/>
                </a:lnTo>
                <a:lnTo>
                  <a:pt x="2556" y="292"/>
                </a:lnTo>
                <a:lnTo>
                  <a:pt x="2555" y="292"/>
                </a:lnTo>
                <a:lnTo>
                  <a:pt x="2551" y="287"/>
                </a:lnTo>
                <a:lnTo>
                  <a:pt x="2551" y="284"/>
                </a:lnTo>
                <a:lnTo>
                  <a:pt x="2550" y="282"/>
                </a:lnTo>
                <a:lnTo>
                  <a:pt x="2543" y="281"/>
                </a:lnTo>
                <a:lnTo>
                  <a:pt x="2538" y="279"/>
                </a:lnTo>
                <a:lnTo>
                  <a:pt x="2534" y="279"/>
                </a:lnTo>
                <a:lnTo>
                  <a:pt x="2533" y="279"/>
                </a:lnTo>
                <a:lnTo>
                  <a:pt x="2527" y="281"/>
                </a:lnTo>
                <a:lnTo>
                  <a:pt x="2524" y="281"/>
                </a:lnTo>
                <a:lnTo>
                  <a:pt x="2519" y="281"/>
                </a:lnTo>
                <a:lnTo>
                  <a:pt x="2512" y="279"/>
                </a:lnTo>
                <a:lnTo>
                  <a:pt x="2509" y="281"/>
                </a:lnTo>
                <a:lnTo>
                  <a:pt x="2504" y="279"/>
                </a:lnTo>
                <a:lnTo>
                  <a:pt x="2497" y="277"/>
                </a:lnTo>
                <a:lnTo>
                  <a:pt x="2497" y="275"/>
                </a:lnTo>
                <a:lnTo>
                  <a:pt x="2500" y="277"/>
                </a:lnTo>
                <a:lnTo>
                  <a:pt x="2500" y="275"/>
                </a:lnTo>
                <a:lnTo>
                  <a:pt x="2499" y="275"/>
                </a:lnTo>
                <a:lnTo>
                  <a:pt x="2493" y="274"/>
                </a:lnTo>
                <a:lnTo>
                  <a:pt x="2485" y="270"/>
                </a:lnTo>
                <a:lnTo>
                  <a:pt x="2470" y="270"/>
                </a:lnTo>
                <a:lnTo>
                  <a:pt x="2465" y="269"/>
                </a:lnTo>
                <a:lnTo>
                  <a:pt x="2465" y="270"/>
                </a:lnTo>
                <a:lnTo>
                  <a:pt x="2465" y="272"/>
                </a:lnTo>
                <a:lnTo>
                  <a:pt x="2463" y="270"/>
                </a:lnTo>
                <a:lnTo>
                  <a:pt x="2461" y="270"/>
                </a:lnTo>
                <a:lnTo>
                  <a:pt x="2459" y="265"/>
                </a:lnTo>
                <a:lnTo>
                  <a:pt x="2453" y="264"/>
                </a:lnTo>
                <a:lnTo>
                  <a:pt x="2453" y="258"/>
                </a:lnTo>
                <a:lnTo>
                  <a:pt x="2456" y="260"/>
                </a:lnTo>
                <a:lnTo>
                  <a:pt x="2454" y="260"/>
                </a:lnTo>
                <a:lnTo>
                  <a:pt x="2456" y="260"/>
                </a:lnTo>
                <a:lnTo>
                  <a:pt x="2456" y="258"/>
                </a:lnTo>
                <a:lnTo>
                  <a:pt x="2456" y="257"/>
                </a:lnTo>
                <a:lnTo>
                  <a:pt x="2454" y="253"/>
                </a:lnTo>
                <a:lnTo>
                  <a:pt x="2454" y="252"/>
                </a:lnTo>
                <a:lnTo>
                  <a:pt x="2454" y="250"/>
                </a:lnTo>
                <a:lnTo>
                  <a:pt x="2454" y="248"/>
                </a:lnTo>
                <a:lnTo>
                  <a:pt x="2444" y="247"/>
                </a:lnTo>
                <a:lnTo>
                  <a:pt x="2439" y="243"/>
                </a:lnTo>
                <a:lnTo>
                  <a:pt x="2431" y="241"/>
                </a:lnTo>
                <a:lnTo>
                  <a:pt x="2429" y="241"/>
                </a:lnTo>
                <a:lnTo>
                  <a:pt x="2425" y="240"/>
                </a:lnTo>
                <a:lnTo>
                  <a:pt x="2422" y="238"/>
                </a:lnTo>
                <a:lnTo>
                  <a:pt x="2417" y="236"/>
                </a:lnTo>
                <a:lnTo>
                  <a:pt x="2408" y="235"/>
                </a:lnTo>
                <a:lnTo>
                  <a:pt x="2407" y="235"/>
                </a:lnTo>
                <a:lnTo>
                  <a:pt x="2407" y="233"/>
                </a:lnTo>
                <a:lnTo>
                  <a:pt x="2405" y="233"/>
                </a:lnTo>
                <a:lnTo>
                  <a:pt x="2400" y="235"/>
                </a:lnTo>
                <a:lnTo>
                  <a:pt x="2393" y="235"/>
                </a:lnTo>
                <a:lnTo>
                  <a:pt x="2383" y="233"/>
                </a:lnTo>
                <a:lnTo>
                  <a:pt x="2380" y="233"/>
                </a:lnTo>
                <a:lnTo>
                  <a:pt x="2371" y="238"/>
                </a:lnTo>
                <a:lnTo>
                  <a:pt x="2368" y="240"/>
                </a:lnTo>
                <a:lnTo>
                  <a:pt x="2351" y="241"/>
                </a:lnTo>
                <a:lnTo>
                  <a:pt x="2330" y="250"/>
                </a:lnTo>
                <a:lnTo>
                  <a:pt x="2317" y="258"/>
                </a:lnTo>
                <a:lnTo>
                  <a:pt x="2306" y="265"/>
                </a:lnTo>
                <a:lnTo>
                  <a:pt x="2303" y="270"/>
                </a:lnTo>
                <a:lnTo>
                  <a:pt x="2301" y="270"/>
                </a:lnTo>
                <a:lnTo>
                  <a:pt x="2300" y="274"/>
                </a:lnTo>
                <a:lnTo>
                  <a:pt x="2298" y="274"/>
                </a:lnTo>
                <a:lnTo>
                  <a:pt x="2300" y="274"/>
                </a:lnTo>
                <a:lnTo>
                  <a:pt x="2300" y="275"/>
                </a:lnTo>
                <a:lnTo>
                  <a:pt x="2300" y="274"/>
                </a:lnTo>
                <a:lnTo>
                  <a:pt x="2298" y="275"/>
                </a:lnTo>
                <a:lnTo>
                  <a:pt x="2298" y="274"/>
                </a:lnTo>
                <a:lnTo>
                  <a:pt x="2298" y="275"/>
                </a:lnTo>
                <a:lnTo>
                  <a:pt x="2300" y="275"/>
                </a:lnTo>
                <a:lnTo>
                  <a:pt x="2298" y="277"/>
                </a:lnTo>
                <a:lnTo>
                  <a:pt x="2295" y="282"/>
                </a:lnTo>
                <a:lnTo>
                  <a:pt x="2295" y="284"/>
                </a:lnTo>
                <a:lnTo>
                  <a:pt x="2293" y="292"/>
                </a:lnTo>
                <a:lnTo>
                  <a:pt x="2295" y="296"/>
                </a:lnTo>
                <a:lnTo>
                  <a:pt x="2296" y="306"/>
                </a:lnTo>
                <a:lnTo>
                  <a:pt x="2298" y="308"/>
                </a:lnTo>
                <a:lnTo>
                  <a:pt x="2298" y="311"/>
                </a:lnTo>
                <a:lnTo>
                  <a:pt x="2301" y="313"/>
                </a:lnTo>
                <a:lnTo>
                  <a:pt x="2305" y="318"/>
                </a:lnTo>
                <a:lnTo>
                  <a:pt x="2305" y="323"/>
                </a:lnTo>
                <a:lnTo>
                  <a:pt x="2305" y="328"/>
                </a:lnTo>
                <a:lnTo>
                  <a:pt x="2300" y="338"/>
                </a:lnTo>
                <a:lnTo>
                  <a:pt x="2293" y="347"/>
                </a:lnTo>
                <a:lnTo>
                  <a:pt x="2286" y="354"/>
                </a:lnTo>
                <a:lnTo>
                  <a:pt x="2278" y="361"/>
                </a:lnTo>
                <a:lnTo>
                  <a:pt x="2274" y="361"/>
                </a:lnTo>
                <a:lnTo>
                  <a:pt x="2266" y="366"/>
                </a:lnTo>
                <a:lnTo>
                  <a:pt x="2259" y="367"/>
                </a:lnTo>
                <a:lnTo>
                  <a:pt x="2255" y="367"/>
                </a:lnTo>
                <a:lnTo>
                  <a:pt x="2247" y="367"/>
                </a:lnTo>
                <a:lnTo>
                  <a:pt x="2244" y="367"/>
                </a:lnTo>
                <a:lnTo>
                  <a:pt x="2240" y="364"/>
                </a:lnTo>
                <a:lnTo>
                  <a:pt x="2235" y="364"/>
                </a:lnTo>
                <a:lnTo>
                  <a:pt x="2235" y="362"/>
                </a:lnTo>
                <a:lnTo>
                  <a:pt x="2228" y="361"/>
                </a:lnTo>
                <a:lnTo>
                  <a:pt x="2225" y="357"/>
                </a:lnTo>
                <a:lnTo>
                  <a:pt x="2225" y="355"/>
                </a:lnTo>
                <a:lnTo>
                  <a:pt x="2225" y="357"/>
                </a:lnTo>
                <a:lnTo>
                  <a:pt x="2225" y="355"/>
                </a:lnTo>
                <a:lnTo>
                  <a:pt x="2221" y="355"/>
                </a:lnTo>
                <a:lnTo>
                  <a:pt x="2216" y="350"/>
                </a:lnTo>
                <a:lnTo>
                  <a:pt x="2211" y="347"/>
                </a:lnTo>
                <a:lnTo>
                  <a:pt x="2206" y="342"/>
                </a:lnTo>
                <a:lnTo>
                  <a:pt x="2204" y="342"/>
                </a:lnTo>
                <a:lnTo>
                  <a:pt x="2191" y="338"/>
                </a:lnTo>
                <a:lnTo>
                  <a:pt x="2187" y="335"/>
                </a:lnTo>
                <a:lnTo>
                  <a:pt x="2179" y="333"/>
                </a:lnTo>
                <a:lnTo>
                  <a:pt x="2170" y="330"/>
                </a:lnTo>
                <a:lnTo>
                  <a:pt x="2165" y="327"/>
                </a:lnTo>
                <a:lnTo>
                  <a:pt x="2160" y="327"/>
                </a:lnTo>
                <a:lnTo>
                  <a:pt x="2145" y="323"/>
                </a:lnTo>
                <a:lnTo>
                  <a:pt x="2133" y="320"/>
                </a:lnTo>
                <a:lnTo>
                  <a:pt x="2114" y="320"/>
                </a:lnTo>
                <a:lnTo>
                  <a:pt x="2101" y="318"/>
                </a:lnTo>
                <a:lnTo>
                  <a:pt x="2092" y="316"/>
                </a:lnTo>
                <a:lnTo>
                  <a:pt x="2080" y="311"/>
                </a:lnTo>
                <a:lnTo>
                  <a:pt x="2075" y="306"/>
                </a:lnTo>
                <a:lnTo>
                  <a:pt x="2068" y="296"/>
                </a:lnTo>
                <a:lnTo>
                  <a:pt x="2062" y="282"/>
                </a:lnTo>
                <a:lnTo>
                  <a:pt x="2062" y="277"/>
                </a:lnTo>
                <a:lnTo>
                  <a:pt x="2062" y="272"/>
                </a:lnTo>
                <a:lnTo>
                  <a:pt x="2060" y="269"/>
                </a:lnTo>
                <a:lnTo>
                  <a:pt x="2057" y="264"/>
                </a:lnTo>
                <a:lnTo>
                  <a:pt x="2055" y="262"/>
                </a:lnTo>
                <a:lnTo>
                  <a:pt x="2057" y="262"/>
                </a:lnTo>
                <a:lnTo>
                  <a:pt x="2055" y="262"/>
                </a:lnTo>
                <a:lnTo>
                  <a:pt x="2048" y="258"/>
                </a:lnTo>
                <a:lnTo>
                  <a:pt x="2041" y="258"/>
                </a:lnTo>
                <a:lnTo>
                  <a:pt x="2038" y="258"/>
                </a:lnTo>
                <a:lnTo>
                  <a:pt x="2031" y="258"/>
                </a:lnTo>
                <a:lnTo>
                  <a:pt x="2023" y="255"/>
                </a:lnTo>
                <a:lnTo>
                  <a:pt x="2017" y="253"/>
                </a:lnTo>
                <a:lnTo>
                  <a:pt x="2009" y="248"/>
                </a:lnTo>
                <a:lnTo>
                  <a:pt x="2006" y="247"/>
                </a:lnTo>
                <a:lnTo>
                  <a:pt x="2006" y="245"/>
                </a:lnTo>
                <a:lnTo>
                  <a:pt x="2002" y="243"/>
                </a:lnTo>
                <a:lnTo>
                  <a:pt x="1994" y="243"/>
                </a:lnTo>
                <a:lnTo>
                  <a:pt x="1990" y="241"/>
                </a:lnTo>
                <a:lnTo>
                  <a:pt x="1983" y="240"/>
                </a:lnTo>
                <a:lnTo>
                  <a:pt x="1973" y="240"/>
                </a:lnTo>
                <a:lnTo>
                  <a:pt x="1963" y="236"/>
                </a:lnTo>
                <a:lnTo>
                  <a:pt x="1961" y="235"/>
                </a:lnTo>
                <a:lnTo>
                  <a:pt x="1953" y="233"/>
                </a:lnTo>
                <a:lnTo>
                  <a:pt x="1953" y="235"/>
                </a:lnTo>
                <a:lnTo>
                  <a:pt x="1951" y="235"/>
                </a:lnTo>
                <a:lnTo>
                  <a:pt x="1953" y="233"/>
                </a:lnTo>
                <a:lnTo>
                  <a:pt x="1951" y="235"/>
                </a:lnTo>
                <a:lnTo>
                  <a:pt x="1949" y="235"/>
                </a:lnTo>
                <a:lnTo>
                  <a:pt x="1941" y="238"/>
                </a:lnTo>
                <a:lnTo>
                  <a:pt x="1929" y="240"/>
                </a:lnTo>
                <a:lnTo>
                  <a:pt x="1921" y="240"/>
                </a:lnTo>
                <a:lnTo>
                  <a:pt x="1909" y="238"/>
                </a:lnTo>
                <a:lnTo>
                  <a:pt x="1902" y="236"/>
                </a:lnTo>
                <a:lnTo>
                  <a:pt x="1883" y="224"/>
                </a:lnTo>
                <a:lnTo>
                  <a:pt x="1881" y="226"/>
                </a:lnTo>
                <a:lnTo>
                  <a:pt x="1880" y="224"/>
                </a:lnTo>
                <a:lnTo>
                  <a:pt x="1876" y="223"/>
                </a:lnTo>
                <a:lnTo>
                  <a:pt x="1876" y="224"/>
                </a:lnTo>
                <a:lnTo>
                  <a:pt x="1880" y="224"/>
                </a:lnTo>
                <a:lnTo>
                  <a:pt x="1881" y="226"/>
                </a:lnTo>
                <a:lnTo>
                  <a:pt x="1873" y="224"/>
                </a:lnTo>
                <a:lnTo>
                  <a:pt x="1870" y="221"/>
                </a:lnTo>
                <a:lnTo>
                  <a:pt x="1866" y="219"/>
                </a:lnTo>
                <a:lnTo>
                  <a:pt x="1858" y="216"/>
                </a:lnTo>
                <a:lnTo>
                  <a:pt x="1863" y="219"/>
                </a:lnTo>
                <a:lnTo>
                  <a:pt x="1863" y="221"/>
                </a:lnTo>
                <a:lnTo>
                  <a:pt x="1849" y="219"/>
                </a:lnTo>
                <a:lnTo>
                  <a:pt x="1849" y="216"/>
                </a:lnTo>
                <a:lnTo>
                  <a:pt x="1847" y="214"/>
                </a:lnTo>
                <a:lnTo>
                  <a:pt x="1847" y="213"/>
                </a:lnTo>
                <a:lnTo>
                  <a:pt x="1849" y="213"/>
                </a:lnTo>
                <a:lnTo>
                  <a:pt x="1856" y="216"/>
                </a:lnTo>
                <a:lnTo>
                  <a:pt x="1851" y="213"/>
                </a:lnTo>
                <a:lnTo>
                  <a:pt x="1847" y="211"/>
                </a:lnTo>
                <a:lnTo>
                  <a:pt x="1846" y="207"/>
                </a:lnTo>
                <a:lnTo>
                  <a:pt x="1847" y="206"/>
                </a:lnTo>
                <a:lnTo>
                  <a:pt x="1846" y="201"/>
                </a:lnTo>
                <a:lnTo>
                  <a:pt x="1844" y="197"/>
                </a:lnTo>
                <a:lnTo>
                  <a:pt x="1841" y="196"/>
                </a:lnTo>
                <a:lnTo>
                  <a:pt x="1841" y="197"/>
                </a:lnTo>
                <a:lnTo>
                  <a:pt x="1839" y="197"/>
                </a:lnTo>
                <a:lnTo>
                  <a:pt x="1837" y="199"/>
                </a:lnTo>
                <a:lnTo>
                  <a:pt x="1839" y="201"/>
                </a:lnTo>
                <a:lnTo>
                  <a:pt x="1837" y="202"/>
                </a:lnTo>
                <a:lnTo>
                  <a:pt x="1829" y="206"/>
                </a:lnTo>
                <a:lnTo>
                  <a:pt x="1825" y="204"/>
                </a:lnTo>
                <a:lnTo>
                  <a:pt x="1825" y="202"/>
                </a:lnTo>
                <a:lnTo>
                  <a:pt x="1827" y="199"/>
                </a:lnTo>
                <a:lnTo>
                  <a:pt x="1829" y="196"/>
                </a:lnTo>
                <a:lnTo>
                  <a:pt x="1827" y="194"/>
                </a:lnTo>
                <a:lnTo>
                  <a:pt x="1813" y="197"/>
                </a:lnTo>
                <a:lnTo>
                  <a:pt x="1812" y="197"/>
                </a:lnTo>
                <a:lnTo>
                  <a:pt x="1813" y="196"/>
                </a:lnTo>
                <a:lnTo>
                  <a:pt x="1807" y="194"/>
                </a:lnTo>
                <a:lnTo>
                  <a:pt x="1796" y="185"/>
                </a:lnTo>
                <a:lnTo>
                  <a:pt x="1793" y="180"/>
                </a:lnTo>
                <a:lnTo>
                  <a:pt x="1791" y="175"/>
                </a:lnTo>
                <a:lnTo>
                  <a:pt x="1791" y="170"/>
                </a:lnTo>
                <a:lnTo>
                  <a:pt x="1796" y="163"/>
                </a:lnTo>
                <a:lnTo>
                  <a:pt x="1798" y="162"/>
                </a:lnTo>
                <a:lnTo>
                  <a:pt x="1800" y="160"/>
                </a:lnTo>
                <a:lnTo>
                  <a:pt x="1802" y="162"/>
                </a:lnTo>
                <a:lnTo>
                  <a:pt x="1803" y="160"/>
                </a:lnTo>
                <a:lnTo>
                  <a:pt x="1805" y="158"/>
                </a:lnTo>
                <a:lnTo>
                  <a:pt x="1807" y="158"/>
                </a:lnTo>
                <a:lnTo>
                  <a:pt x="1808" y="158"/>
                </a:lnTo>
                <a:lnTo>
                  <a:pt x="1807" y="158"/>
                </a:lnTo>
                <a:lnTo>
                  <a:pt x="1808" y="156"/>
                </a:lnTo>
                <a:lnTo>
                  <a:pt x="1808" y="158"/>
                </a:lnTo>
                <a:lnTo>
                  <a:pt x="1813" y="153"/>
                </a:lnTo>
                <a:lnTo>
                  <a:pt x="1820" y="151"/>
                </a:lnTo>
                <a:lnTo>
                  <a:pt x="1820" y="150"/>
                </a:lnTo>
                <a:lnTo>
                  <a:pt x="1824" y="146"/>
                </a:lnTo>
                <a:lnTo>
                  <a:pt x="1825" y="146"/>
                </a:lnTo>
                <a:lnTo>
                  <a:pt x="1827" y="146"/>
                </a:lnTo>
                <a:lnTo>
                  <a:pt x="1829" y="143"/>
                </a:lnTo>
                <a:lnTo>
                  <a:pt x="1829" y="141"/>
                </a:lnTo>
                <a:lnTo>
                  <a:pt x="1830" y="143"/>
                </a:lnTo>
                <a:lnTo>
                  <a:pt x="1829" y="141"/>
                </a:lnTo>
                <a:lnTo>
                  <a:pt x="1834" y="138"/>
                </a:lnTo>
                <a:lnTo>
                  <a:pt x="1834" y="136"/>
                </a:lnTo>
                <a:lnTo>
                  <a:pt x="1837" y="134"/>
                </a:lnTo>
                <a:lnTo>
                  <a:pt x="1837" y="129"/>
                </a:lnTo>
                <a:lnTo>
                  <a:pt x="1841" y="127"/>
                </a:lnTo>
                <a:lnTo>
                  <a:pt x="1842" y="126"/>
                </a:lnTo>
                <a:lnTo>
                  <a:pt x="1842" y="122"/>
                </a:lnTo>
                <a:lnTo>
                  <a:pt x="1844" y="121"/>
                </a:lnTo>
                <a:lnTo>
                  <a:pt x="1846" y="119"/>
                </a:lnTo>
                <a:lnTo>
                  <a:pt x="1847" y="117"/>
                </a:lnTo>
                <a:lnTo>
                  <a:pt x="1849" y="116"/>
                </a:lnTo>
                <a:lnTo>
                  <a:pt x="1846" y="114"/>
                </a:lnTo>
                <a:lnTo>
                  <a:pt x="1842" y="110"/>
                </a:lnTo>
                <a:lnTo>
                  <a:pt x="1842" y="105"/>
                </a:lnTo>
                <a:lnTo>
                  <a:pt x="1844" y="104"/>
                </a:lnTo>
                <a:lnTo>
                  <a:pt x="1846" y="102"/>
                </a:lnTo>
                <a:lnTo>
                  <a:pt x="1844" y="102"/>
                </a:lnTo>
                <a:lnTo>
                  <a:pt x="1842" y="100"/>
                </a:lnTo>
                <a:lnTo>
                  <a:pt x="1844" y="97"/>
                </a:lnTo>
                <a:lnTo>
                  <a:pt x="1832" y="92"/>
                </a:lnTo>
                <a:lnTo>
                  <a:pt x="1832" y="90"/>
                </a:lnTo>
                <a:lnTo>
                  <a:pt x="1832" y="88"/>
                </a:lnTo>
                <a:lnTo>
                  <a:pt x="1827" y="88"/>
                </a:lnTo>
                <a:lnTo>
                  <a:pt x="1824" y="87"/>
                </a:lnTo>
                <a:lnTo>
                  <a:pt x="1817" y="78"/>
                </a:lnTo>
                <a:lnTo>
                  <a:pt x="1817" y="76"/>
                </a:lnTo>
                <a:lnTo>
                  <a:pt x="1815" y="75"/>
                </a:lnTo>
                <a:lnTo>
                  <a:pt x="1813" y="71"/>
                </a:lnTo>
                <a:lnTo>
                  <a:pt x="1815" y="65"/>
                </a:lnTo>
                <a:lnTo>
                  <a:pt x="1819" y="58"/>
                </a:lnTo>
                <a:lnTo>
                  <a:pt x="1820" y="58"/>
                </a:lnTo>
                <a:lnTo>
                  <a:pt x="1822" y="58"/>
                </a:lnTo>
                <a:lnTo>
                  <a:pt x="1825" y="56"/>
                </a:lnTo>
                <a:lnTo>
                  <a:pt x="1830" y="54"/>
                </a:lnTo>
                <a:lnTo>
                  <a:pt x="1839" y="41"/>
                </a:lnTo>
                <a:lnTo>
                  <a:pt x="1844" y="36"/>
                </a:lnTo>
                <a:lnTo>
                  <a:pt x="1847" y="36"/>
                </a:lnTo>
                <a:lnTo>
                  <a:pt x="1847" y="32"/>
                </a:lnTo>
                <a:lnTo>
                  <a:pt x="1846" y="32"/>
                </a:lnTo>
                <a:lnTo>
                  <a:pt x="1846" y="29"/>
                </a:lnTo>
                <a:lnTo>
                  <a:pt x="1844" y="25"/>
                </a:lnTo>
                <a:lnTo>
                  <a:pt x="1844" y="24"/>
                </a:lnTo>
                <a:lnTo>
                  <a:pt x="1842" y="22"/>
                </a:lnTo>
                <a:lnTo>
                  <a:pt x="1839" y="24"/>
                </a:lnTo>
                <a:lnTo>
                  <a:pt x="1836" y="24"/>
                </a:lnTo>
                <a:lnTo>
                  <a:pt x="1836" y="27"/>
                </a:lnTo>
                <a:lnTo>
                  <a:pt x="1829" y="32"/>
                </a:lnTo>
                <a:lnTo>
                  <a:pt x="1825" y="32"/>
                </a:lnTo>
                <a:lnTo>
                  <a:pt x="1820" y="32"/>
                </a:lnTo>
                <a:lnTo>
                  <a:pt x="1820" y="34"/>
                </a:lnTo>
                <a:lnTo>
                  <a:pt x="1817" y="39"/>
                </a:lnTo>
                <a:lnTo>
                  <a:pt x="1812" y="41"/>
                </a:lnTo>
                <a:lnTo>
                  <a:pt x="1810" y="41"/>
                </a:lnTo>
                <a:lnTo>
                  <a:pt x="1807" y="39"/>
                </a:lnTo>
                <a:lnTo>
                  <a:pt x="1805" y="37"/>
                </a:lnTo>
                <a:lnTo>
                  <a:pt x="1808" y="32"/>
                </a:lnTo>
                <a:lnTo>
                  <a:pt x="1807" y="32"/>
                </a:lnTo>
                <a:lnTo>
                  <a:pt x="1807" y="31"/>
                </a:lnTo>
                <a:lnTo>
                  <a:pt x="1802" y="29"/>
                </a:lnTo>
                <a:lnTo>
                  <a:pt x="1800" y="25"/>
                </a:lnTo>
                <a:lnTo>
                  <a:pt x="1800" y="22"/>
                </a:lnTo>
                <a:lnTo>
                  <a:pt x="1802" y="20"/>
                </a:lnTo>
                <a:lnTo>
                  <a:pt x="1802" y="22"/>
                </a:lnTo>
                <a:lnTo>
                  <a:pt x="1802" y="20"/>
                </a:lnTo>
                <a:lnTo>
                  <a:pt x="1802" y="19"/>
                </a:lnTo>
                <a:lnTo>
                  <a:pt x="1800" y="20"/>
                </a:lnTo>
                <a:lnTo>
                  <a:pt x="1802" y="20"/>
                </a:lnTo>
                <a:lnTo>
                  <a:pt x="1796" y="19"/>
                </a:lnTo>
                <a:lnTo>
                  <a:pt x="1798" y="19"/>
                </a:lnTo>
                <a:lnTo>
                  <a:pt x="1802" y="19"/>
                </a:lnTo>
                <a:lnTo>
                  <a:pt x="1805" y="17"/>
                </a:lnTo>
                <a:lnTo>
                  <a:pt x="1802" y="17"/>
                </a:lnTo>
                <a:lnTo>
                  <a:pt x="1798" y="15"/>
                </a:lnTo>
                <a:lnTo>
                  <a:pt x="1795" y="15"/>
                </a:lnTo>
                <a:lnTo>
                  <a:pt x="1793" y="14"/>
                </a:lnTo>
                <a:lnTo>
                  <a:pt x="1790" y="14"/>
                </a:lnTo>
                <a:lnTo>
                  <a:pt x="1785" y="14"/>
                </a:lnTo>
                <a:lnTo>
                  <a:pt x="1781" y="15"/>
                </a:lnTo>
                <a:lnTo>
                  <a:pt x="1786" y="15"/>
                </a:lnTo>
                <a:lnTo>
                  <a:pt x="1786" y="19"/>
                </a:lnTo>
                <a:lnTo>
                  <a:pt x="1783" y="20"/>
                </a:lnTo>
                <a:lnTo>
                  <a:pt x="1781" y="20"/>
                </a:lnTo>
                <a:lnTo>
                  <a:pt x="1778" y="15"/>
                </a:lnTo>
                <a:lnTo>
                  <a:pt x="1785" y="12"/>
                </a:lnTo>
                <a:lnTo>
                  <a:pt x="1783" y="10"/>
                </a:lnTo>
                <a:lnTo>
                  <a:pt x="1779" y="10"/>
                </a:lnTo>
                <a:lnTo>
                  <a:pt x="1778" y="8"/>
                </a:lnTo>
                <a:lnTo>
                  <a:pt x="1776" y="10"/>
                </a:lnTo>
                <a:lnTo>
                  <a:pt x="1773" y="10"/>
                </a:lnTo>
                <a:lnTo>
                  <a:pt x="1769" y="12"/>
                </a:lnTo>
                <a:lnTo>
                  <a:pt x="1768" y="12"/>
                </a:lnTo>
                <a:lnTo>
                  <a:pt x="1763" y="14"/>
                </a:lnTo>
                <a:lnTo>
                  <a:pt x="1759" y="14"/>
                </a:lnTo>
                <a:lnTo>
                  <a:pt x="1756" y="15"/>
                </a:lnTo>
                <a:lnTo>
                  <a:pt x="1752" y="15"/>
                </a:lnTo>
                <a:lnTo>
                  <a:pt x="1751" y="15"/>
                </a:lnTo>
                <a:lnTo>
                  <a:pt x="1746" y="19"/>
                </a:lnTo>
                <a:lnTo>
                  <a:pt x="1740" y="20"/>
                </a:lnTo>
                <a:lnTo>
                  <a:pt x="1739" y="22"/>
                </a:lnTo>
                <a:lnTo>
                  <a:pt x="1737" y="24"/>
                </a:lnTo>
                <a:lnTo>
                  <a:pt x="1732" y="27"/>
                </a:lnTo>
                <a:lnTo>
                  <a:pt x="1729" y="29"/>
                </a:lnTo>
                <a:lnTo>
                  <a:pt x="1727" y="29"/>
                </a:lnTo>
                <a:lnTo>
                  <a:pt x="1725" y="29"/>
                </a:lnTo>
                <a:lnTo>
                  <a:pt x="1722" y="29"/>
                </a:lnTo>
                <a:lnTo>
                  <a:pt x="1710" y="32"/>
                </a:lnTo>
                <a:lnTo>
                  <a:pt x="1706" y="31"/>
                </a:lnTo>
                <a:lnTo>
                  <a:pt x="1703" y="31"/>
                </a:lnTo>
                <a:lnTo>
                  <a:pt x="1700" y="29"/>
                </a:lnTo>
                <a:lnTo>
                  <a:pt x="1689" y="34"/>
                </a:lnTo>
                <a:lnTo>
                  <a:pt x="1681" y="34"/>
                </a:lnTo>
                <a:lnTo>
                  <a:pt x="1679" y="34"/>
                </a:lnTo>
                <a:lnTo>
                  <a:pt x="1678" y="32"/>
                </a:lnTo>
                <a:lnTo>
                  <a:pt x="1678" y="31"/>
                </a:lnTo>
                <a:lnTo>
                  <a:pt x="1679" y="29"/>
                </a:lnTo>
                <a:lnTo>
                  <a:pt x="1674" y="29"/>
                </a:lnTo>
                <a:lnTo>
                  <a:pt x="1672" y="29"/>
                </a:lnTo>
                <a:lnTo>
                  <a:pt x="1672" y="27"/>
                </a:lnTo>
                <a:lnTo>
                  <a:pt x="1671" y="29"/>
                </a:lnTo>
                <a:lnTo>
                  <a:pt x="1667" y="27"/>
                </a:lnTo>
                <a:lnTo>
                  <a:pt x="1664" y="24"/>
                </a:lnTo>
                <a:lnTo>
                  <a:pt x="1659" y="25"/>
                </a:lnTo>
                <a:lnTo>
                  <a:pt x="1657" y="24"/>
                </a:lnTo>
                <a:lnTo>
                  <a:pt x="1659" y="22"/>
                </a:lnTo>
                <a:lnTo>
                  <a:pt x="1655" y="24"/>
                </a:lnTo>
                <a:lnTo>
                  <a:pt x="1654" y="22"/>
                </a:lnTo>
                <a:lnTo>
                  <a:pt x="1652" y="24"/>
                </a:lnTo>
                <a:lnTo>
                  <a:pt x="1649" y="22"/>
                </a:lnTo>
                <a:lnTo>
                  <a:pt x="1647" y="22"/>
                </a:lnTo>
                <a:lnTo>
                  <a:pt x="1650" y="25"/>
                </a:lnTo>
                <a:lnTo>
                  <a:pt x="1652" y="25"/>
                </a:lnTo>
                <a:lnTo>
                  <a:pt x="1649" y="31"/>
                </a:lnTo>
                <a:lnTo>
                  <a:pt x="1645" y="31"/>
                </a:lnTo>
                <a:lnTo>
                  <a:pt x="1642" y="31"/>
                </a:lnTo>
                <a:lnTo>
                  <a:pt x="1635" y="32"/>
                </a:lnTo>
                <a:lnTo>
                  <a:pt x="1632" y="32"/>
                </a:lnTo>
                <a:lnTo>
                  <a:pt x="1632" y="31"/>
                </a:lnTo>
                <a:lnTo>
                  <a:pt x="1630" y="31"/>
                </a:lnTo>
                <a:lnTo>
                  <a:pt x="1630" y="29"/>
                </a:lnTo>
                <a:lnTo>
                  <a:pt x="1628" y="29"/>
                </a:lnTo>
                <a:lnTo>
                  <a:pt x="1627" y="29"/>
                </a:lnTo>
                <a:lnTo>
                  <a:pt x="1625" y="29"/>
                </a:lnTo>
                <a:lnTo>
                  <a:pt x="1623" y="29"/>
                </a:lnTo>
                <a:lnTo>
                  <a:pt x="1621" y="29"/>
                </a:lnTo>
                <a:lnTo>
                  <a:pt x="1620" y="29"/>
                </a:lnTo>
                <a:lnTo>
                  <a:pt x="1620" y="27"/>
                </a:lnTo>
                <a:lnTo>
                  <a:pt x="1616" y="27"/>
                </a:lnTo>
                <a:lnTo>
                  <a:pt x="1618" y="25"/>
                </a:lnTo>
                <a:lnTo>
                  <a:pt x="1616" y="25"/>
                </a:lnTo>
                <a:lnTo>
                  <a:pt x="1615" y="25"/>
                </a:lnTo>
                <a:lnTo>
                  <a:pt x="1616" y="24"/>
                </a:lnTo>
                <a:lnTo>
                  <a:pt x="1615" y="24"/>
                </a:lnTo>
                <a:lnTo>
                  <a:pt x="1613" y="22"/>
                </a:lnTo>
                <a:lnTo>
                  <a:pt x="1611" y="22"/>
                </a:lnTo>
                <a:lnTo>
                  <a:pt x="1604" y="24"/>
                </a:lnTo>
                <a:lnTo>
                  <a:pt x="1603" y="25"/>
                </a:lnTo>
                <a:lnTo>
                  <a:pt x="1601" y="25"/>
                </a:lnTo>
                <a:lnTo>
                  <a:pt x="1599" y="27"/>
                </a:lnTo>
                <a:lnTo>
                  <a:pt x="1601" y="29"/>
                </a:lnTo>
                <a:lnTo>
                  <a:pt x="1598" y="32"/>
                </a:lnTo>
                <a:lnTo>
                  <a:pt x="1582" y="36"/>
                </a:lnTo>
                <a:lnTo>
                  <a:pt x="1581" y="36"/>
                </a:lnTo>
                <a:lnTo>
                  <a:pt x="1579" y="36"/>
                </a:lnTo>
                <a:lnTo>
                  <a:pt x="1577" y="36"/>
                </a:lnTo>
                <a:lnTo>
                  <a:pt x="1576" y="36"/>
                </a:lnTo>
                <a:lnTo>
                  <a:pt x="1572" y="36"/>
                </a:lnTo>
                <a:lnTo>
                  <a:pt x="1570" y="37"/>
                </a:lnTo>
                <a:lnTo>
                  <a:pt x="1565" y="39"/>
                </a:lnTo>
                <a:lnTo>
                  <a:pt x="1565" y="41"/>
                </a:lnTo>
                <a:lnTo>
                  <a:pt x="1562" y="42"/>
                </a:lnTo>
                <a:lnTo>
                  <a:pt x="1559" y="44"/>
                </a:lnTo>
                <a:lnTo>
                  <a:pt x="1553" y="44"/>
                </a:lnTo>
                <a:lnTo>
                  <a:pt x="1550" y="44"/>
                </a:lnTo>
                <a:lnTo>
                  <a:pt x="1543" y="42"/>
                </a:lnTo>
                <a:lnTo>
                  <a:pt x="1542" y="41"/>
                </a:lnTo>
                <a:lnTo>
                  <a:pt x="1542" y="39"/>
                </a:lnTo>
                <a:lnTo>
                  <a:pt x="1543" y="37"/>
                </a:lnTo>
                <a:lnTo>
                  <a:pt x="1538" y="37"/>
                </a:lnTo>
                <a:lnTo>
                  <a:pt x="1538" y="36"/>
                </a:lnTo>
                <a:lnTo>
                  <a:pt x="1535" y="36"/>
                </a:lnTo>
                <a:lnTo>
                  <a:pt x="1533" y="34"/>
                </a:lnTo>
                <a:lnTo>
                  <a:pt x="1528" y="32"/>
                </a:lnTo>
                <a:lnTo>
                  <a:pt x="1526" y="32"/>
                </a:lnTo>
                <a:lnTo>
                  <a:pt x="1514" y="32"/>
                </a:lnTo>
                <a:lnTo>
                  <a:pt x="1508" y="31"/>
                </a:lnTo>
                <a:lnTo>
                  <a:pt x="1508" y="32"/>
                </a:lnTo>
                <a:lnTo>
                  <a:pt x="1502" y="32"/>
                </a:lnTo>
                <a:lnTo>
                  <a:pt x="1501" y="31"/>
                </a:lnTo>
                <a:lnTo>
                  <a:pt x="1497" y="32"/>
                </a:lnTo>
                <a:lnTo>
                  <a:pt x="1494" y="31"/>
                </a:lnTo>
                <a:lnTo>
                  <a:pt x="1492" y="32"/>
                </a:lnTo>
                <a:lnTo>
                  <a:pt x="1484" y="32"/>
                </a:lnTo>
                <a:lnTo>
                  <a:pt x="1482" y="31"/>
                </a:lnTo>
                <a:lnTo>
                  <a:pt x="1480" y="31"/>
                </a:lnTo>
                <a:lnTo>
                  <a:pt x="1474" y="32"/>
                </a:lnTo>
                <a:lnTo>
                  <a:pt x="1470" y="34"/>
                </a:lnTo>
                <a:lnTo>
                  <a:pt x="1460" y="39"/>
                </a:lnTo>
                <a:lnTo>
                  <a:pt x="1451" y="37"/>
                </a:lnTo>
                <a:lnTo>
                  <a:pt x="1448" y="36"/>
                </a:lnTo>
                <a:lnTo>
                  <a:pt x="1446" y="39"/>
                </a:lnTo>
                <a:lnTo>
                  <a:pt x="1445" y="39"/>
                </a:lnTo>
                <a:lnTo>
                  <a:pt x="1441" y="39"/>
                </a:lnTo>
                <a:lnTo>
                  <a:pt x="1440" y="39"/>
                </a:lnTo>
                <a:lnTo>
                  <a:pt x="1440" y="37"/>
                </a:lnTo>
                <a:lnTo>
                  <a:pt x="1436" y="36"/>
                </a:lnTo>
                <a:lnTo>
                  <a:pt x="1431" y="37"/>
                </a:lnTo>
                <a:lnTo>
                  <a:pt x="1429" y="39"/>
                </a:lnTo>
                <a:lnTo>
                  <a:pt x="1428" y="39"/>
                </a:lnTo>
                <a:lnTo>
                  <a:pt x="1428" y="41"/>
                </a:lnTo>
                <a:lnTo>
                  <a:pt x="1426" y="42"/>
                </a:lnTo>
                <a:lnTo>
                  <a:pt x="1417" y="46"/>
                </a:lnTo>
                <a:lnTo>
                  <a:pt x="1414" y="48"/>
                </a:lnTo>
                <a:lnTo>
                  <a:pt x="1407" y="48"/>
                </a:lnTo>
                <a:lnTo>
                  <a:pt x="1406" y="46"/>
                </a:lnTo>
                <a:lnTo>
                  <a:pt x="1402" y="44"/>
                </a:lnTo>
                <a:lnTo>
                  <a:pt x="1385" y="49"/>
                </a:lnTo>
                <a:lnTo>
                  <a:pt x="1380" y="48"/>
                </a:lnTo>
                <a:lnTo>
                  <a:pt x="1375" y="49"/>
                </a:lnTo>
                <a:lnTo>
                  <a:pt x="1368" y="49"/>
                </a:lnTo>
                <a:lnTo>
                  <a:pt x="1365" y="51"/>
                </a:lnTo>
                <a:lnTo>
                  <a:pt x="1361" y="49"/>
                </a:lnTo>
                <a:lnTo>
                  <a:pt x="1360" y="51"/>
                </a:lnTo>
                <a:lnTo>
                  <a:pt x="1358" y="49"/>
                </a:lnTo>
                <a:lnTo>
                  <a:pt x="1355" y="51"/>
                </a:lnTo>
                <a:lnTo>
                  <a:pt x="1355" y="49"/>
                </a:lnTo>
                <a:lnTo>
                  <a:pt x="1351" y="49"/>
                </a:lnTo>
                <a:lnTo>
                  <a:pt x="1351" y="51"/>
                </a:lnTo>
                <a:lnTo>
                  <a:pt x="1349" y="51"/>
                </a:lnTo>
                <a:lnTo>
                  <a:pt x="1344" y="51"/>
                </a:lnTo>
                <a:lnTo>
                  <a:pt x="1341" y="53"/>
                </a:lnTo>
                <a:lnTo>
                  <a:pt x="1339" y="53"/>
                </a:lnTo>
                <a:lnTo>
                  <a:pt x="1331" y="54"/>
                </a:lnTo>
                <a:lnTo>
                  <a:pt x="1331" y="58"/>
                </a:lnTo>
                <a:lnTo>
                  <a:pt x="1327" y="58"/>
                </a:lnTo>
                <a:lnTo>
                  <a:pt x="1324" y="59"/>
                </a:lnTo>
                <a:lnTo>
                  <a:pt x="1322" y="61"/>
                </a:lnTo>
                <a:lnTo>
                  <a:pt x="1317" y="61"/>
                </a:lnTo>
                <a:lnTo>
                  <a:pt x="1309" y="66"/>
                </a:lnTo>
                <a:lnTo>
                  <a:pt x="1302" y="68"/>
                </a:lnTo>
                <a:lnTo>
                  <a:pt x="1300" y="70"/>
                </a:lnTo>
                <a:lnTo>
                  <a:pt x="1295" y="71"/>
                </a:lnTo>
                <a:lnTo>
                  <a:pt x="1290" y="75"/>
                </a:lnTo>
                <a:lnTo>
                  <a:pt x="1285" y="85"/>
                </a:lnTo>
                <a:lnTo>
                  <a:pt x="1278" y="88"/>
                </a:lnTo>
                <a:lnTo>
                  <a:pt x="1270" y="87"/>
                </a:lnTo>
                <a:lnTo>
                  <a:pt x="1268" y="85"/>
                </a:lnTo>
                <a:lnTo>
                  <a:pt x="1270" y="85"/>
                </a:lnTo>
                <a:lnTo>
                  <a:pt x="1270" y="83"/>
                </a:lnTo>
                <a:lnTo>
                  <a:pt x="1266" y="83"/>
                </a:lnTo>
                <a:lnTo>
                  <a:pt x="1266" y="82"/>
                </a:lnTo>
                <a:lnTo>
                  <a:pt x="1264" y="82"/>
                </a:lnTo>
                <a:lnTo>
                  <a:pt x="1263" y="83"/>
                </a:lnTo>
                <a:lnTo>
                  <a:pt x="1259" y="83"/>
                </a:lnTo>
                <a:lnTo>
                  <a:pt x="1259" y="85"/>
                </a:lnTo>
                <a:lnTo>
                  <a:pt x="1258" y="88"/>
                </a:lnTo>
                <a:lnTo>
                  <a:pt x="1256" y="88"/>
                </a:lnTo>
                <a:lnTo>
                  <a:pt x="1253" y="92"/>
                </a:lnTo>
                <a:lnTo>
                  <a:pt x="1251" y="92"/>
                </a:lnTo>
                <a:lnTo>
                  <a:pt x="1253" y="92"/>
                </a:lnTo>
                <a:lnTo>
                  <a:pt x="1249" y="92"/>
                </a:lnTo>
                <a:lnTo>
                  <a:pt x="1251" y="92"/>
                </a:lnTo>
                <a:lnTo>
                  <a:pt x="1249" y="92"/>
                </a:lnTo>
                <a:lnTo>
                  <a:pt x="1247" y="90"/>
                </a:lnTo>
                <a:lnTo>
                  <a:pt x="1249" y="92"/>
                </a:lnTo>
                <a:lnTo>
                  <a:pt x="1247" y="90"/>
                </a:lnTo>
                <a:lnTo>
                  <a:pt x="1246" y="90"/>
                </a:lnTo>
                <a:lnTo>
                  <a:pt x="1244" y="88"/>
                </a:lnTo>
                <a:lnTo>
                  <a:pt x="1242" y="88"/>
                </a:lnTo>
                <a:lnTo>
                  <a:pt x="1241" y="92"/>
                </a:lnTo>
                <a:lnTo>
                  <a:pt x="1239" y="92"/>
                </a:lnTo>
                <a:lnTo>
                  <a:pt x="1237" y="92"/>
                </a:lnTo>
                <a:lnTo>
                  <a:pt x="1234" y="93"/>
                </a:lnTo>
                <a:lnTo>
                  <a:pt x="1232" y="93"/>
                </a:lnTo>
                <a:lnTo>
                  <a:pt x="1230" y="95"/>
                </a:lnTo>
                <a:lnTo>
                  <a:pt x="1229" y="97"/>
                </a:lnTo>
                <a:lnTo>
                  <a:pt x="1225" y="99"/>
                </a:lnTo>
                <a:lnTo>
                  <a:pt x="1224" y="99"/>
                </a:lnTo>
                <a:lnTo>
                  <a:pt x="1222" y="105"/>
                </a:lnTo>
                <a:lnTo>
                  <a:pt x="1219" y="110"/>
                </a:lnTo>
                <a:lnTo>
                  <a:pt x="1217" y="110"/>
                </a:lnTo>
                <a:lnTo>
                  <a:pt x="1213" y="112"/>
                </a:lnTo>
                <a:lnTo>
                  <a:pt x="1210" y="112"/>
                </a:lnTo>
                <a:lnTo>
                  <a:pt x="1207" y="114"/>
                </a:lnTo>
                <a:lnTo>
                  <a:pt x="1205" y="114"/>
                </a:lnTo>
                <a:lnTo>
                  <a:pt x="1203" y="116"/>
                </a:lnTo>
                <a:lnTo>
                  <a:pt x="1202" y="117"/>
                </a:lnTo>
                <a:lnTo>
                  <a:pt x="1200" y="119"/>
                </a:lnTo>
                <a:lnTo>
                  <a:pt x="1198" y="119"/>
                </a:lnTo>
                <a:lnTo>
                  <a:pt x="1195" y="122"/>
                </a:lnTo>
                <a:lnTo>
                  <a:pt x="1193" y="121"/>
                </a:lnTo>
                <a:lnTo>
                  <a:pt x="1188" y="124"/>
                </a:lnTo>
                <a:lnTo>
                  <a:pt x="1185" y="124"/>
                </a:lnTo>
                <a:lnTo>
                  <a:pt x="1179" y="124"/>
                </a:lnTo>
                <a:lnTo>
                  <a:pt x="1174" y="122"/>
                </a:lnTo>
                <a:lnTo>
                  <a:pt x="1173" y="124"/>
                </a:lnTo>
                <a:lnTo>
                  <a:pt x="1161" y="121"/>
                </a:lnTo>
                <a:lnTo>
                  <a:pt x="1156" y="124"/>
                </a:lnTo>
                <a:lnTo>
                  <a:pt x="1151" y="124"/>
                </a:lnTo>
                <a:lnTo>
                  <a:pt x="1145" y="122"/>
                </a:lnTo>
                <a:lnTo>
                  <a:pt x="1140" y="119"/>
                </a:lnTo>
                <a:lnTo>
                  <a:pt x="1145" y="122"/>
                </a:lnTo>
                <a:lnTo>
                  <a:pt x="1144" y="122"/>
                </a:lnTo>
                <a:lnTo>
                  <a:pt x="1142" y="122"/>
                </a:lnTo>
                <a:lnTo>
                  <a:pt x="1139" y="121"/>
                </a:lnTo>
                <a:lnTo>
                  <a:pt x="1135" y="119"/>
                </a:lnTo>
                <a:lnTo>
                  <a:pt x="1135" y="117"/>
                </a:lnTo>
                <a:lnTo>
                  <a:pt x="1137" y="117"/>
                </a:lnTo>
                <a:lnTo>
                  <a:pt x="1135" y="117"/>
                </a:lnTo>
                <a:lnTo>
                  <a:pt x="1135" y="116"/>
                </a:lnTo>
                <a:lnTo>
                  <a:pt x="1140" y="117"/>
                </a:lnTo>
                <a:lnTo>
                  <a:pt x="1135" y="114"/>
                </a:lnTo>
                <a:lnTo>
                  <a:pt x="1134" y="114"/>
                </a:lnTo>
                <a:lnTo>
                  <a:pt x="1134" y="112"/>
                </a:lnTo>
                <a:lnTo>
                  <a:pt x="1134" y="109"/>
                </a:lnTo>
                <a:lnTo>
                  <a:pt x="1135" y="107"/>
                </a:lnTo>
                <a:lnTo>
                  <a:pt x="1134" y="105"/>
                </a:lnTo>
                <a:lnTo>
                  <a:pt x="1132" y="105"/>
                </a:lnTo>
                <a:lnTo>
                  <a:pt x="1132" y="109"/>
                </a:lnTo>
                <a:lnTo>
                  <a:pt x="1128" y="114"/>
                </a:lnTo>
                <a:lnTo>
                  <a:pt x="1127" y="114"/>
                </a:lnTo>
                <a:lnTo>
                  <a:pt x="1125" y="114"/>
                </a:lnTo>
                <a:lnTo>
                  <a:pt x="1122" y="116"/>
                </a:lnTo>
                <a:lnTo>
                  <a:pt x="1115" y="119"/>
                </a:lnTo>
                <a:lnTo>
                  <a:pt x="1103" y="117"/>
                </a:lnTo>
                <a:lnTo>
                  <a:pt x="1098" y="114"/>
                </a:lnTo>
                <a:lnTo>
                  <a:pt x="1096" y="114"/>
                </a:lnTo>
                <a:lnTo>
                  <a:pt x="1094" y="114"/>
                </a:lnTo>
                <a:lnTo>
                  <a:pt x="1093" y="117"/>
                </a:lnTo>
                <a:lnTo>
                  <a:pt x="1091" y="117"/>
                </a:lnTo>
                <a:lnTo>
                  <a:pt x="1086" y="117"/>
                </a:lnTo>
                <a:lnTo>
                  <a:pt x="1084" y="114"/>
                </a:lnTo>
                <a:lnTo>
                  <a:pt x="1083" y="116"/>
                </a:lnTo>
                <a:lnTo>
                  <a:pt x="1079" y="116"/>
                </a:lnTo>
                <a:lnTo>
                  <a:pt x="1074" y="117"/>
                </a:lnTo>
                <a:lnTo>
                  <a:pt x="1067" y="119"/>
                </a:lnTo>
                <a:lnTo>
                  <a:pt x="1064" y="121"/>
                </a:lnTo>
                <a:lnTo>
                  <a:pt x="1059" y="121"/>
                </a:lnTo>
                <a:lnTo>
                  <a:pt x="1057" y="119"/>
                </a:lnTo>
                <a:lnTo>
                  <a:pt x="1050" y="119"/>
                </a:lnTo>
                <a:lnTo>
                  <a:pt x="1049" y="117"/>
                </a:lnTo>
                <a:lnTo>
                  <a:pt x="1047" y="117"/>
                </a:lnTo>
                <a:lnTo>
                  <a:pt x="1043" y="117"/>
                </a:lnTo>
                <a:lnTo>
                  <a:pt x="1037" y="112"/>
                </a:lnTo>
                <a:lnTo>
                  <a:pt x="1035" y="112"/>
                </a:lnTo>
                <a:lnTo>
                  <a:pt x="1030" y="107"/>
                </a:lnTo>
                <a:lnTo>
                  <a:pt x="1028" y="107"/>
                </a:lnTo>
                <a:lnTo>
                  <a:pt x="1025" y="104"/>
                </a:lnTo>
                <a:lnTo>
                  <a:pt x="1021" y="100"/>
                </a:lnTo>
                <a:lnTo>
                  <a:pt x="1018" y="100"/>
                </a:lnTo>
                <a:lnTo>
                  <a:pt x="1016" y="95"/>
                </a:lnTo>
                <a:lnTo>
                  <a:pt x="1016" y="93"/>
                </a:lnTo>
                <a:lnTo>
                  <a:pt x="1015" y="93"/>
                </a:lnTo>
                <a:lnTo>
                  <a:pt x="1013" y="92"/>
                </a:lnTo>
                <a:lnTo>
                  <a:pt x="1013" y="83"/>
                </a:lnTo>
                <a:lnTo>
                  <a:pt x="1011" y="83"/>
                </a:lnTo>
                <a:lnTo>
                  <a:pt x="1011" y="82"/>
                </a:lnTo>
                <a:lnTo>
                  <a:pt x="1008" y="82"/>
                </a:lnTo>
                <a:lnTo>
                  <a:pt x="1006" y="82"/>
                </a:lnTo>
                <a:lnTo>
                  <a:pt x="1003" y="85"/>
                </a:lnTo>
                <a:lnTo>
                  <a:pt x="1001" y="85"/>
                </a:lnTo>
                <a:lnTo>
                  <a:pt x="994" y="87"/>
                </a:lnTo>
                <a:lnTo>
                  <a:pt x="992" y="87"/>
                </a:lnTo>
                <a:lnTo>
                  <a:pt x="992" y="88"/>
                </a:lnTo>
                <a:lnTo>
                  <a:pt x="991" y="88"/>
                </a:lnTo>
                <a:lnTo>
                  <a:pt x="989" y="88"/>
                </a:lnTo>
                <a:lnTo>
                  <a:pt x="991" y="88"/>
                </a:lnTo>
                <a:lnTo>
                  <a:pt x="987" y="87"/>
                </a:lnTo>
                <a:lnTo>
                  <a:pt x="984" y="88"/>
                </a:lnTo>
                <a:lnTo>
                  <a:pt x="979" y="102"/>
                </a:lnTo>
                <a:lnTo>
                  <a:pt x="975" y="109"/>
                </a:lnTo>
                <a:lnTo>
                  <a:pt x="972" y="117"/>
                </a:lnTo>
                <a:lnTo>
                  <a:pt x="974" y="117"/>
                </a:lnTo>
                <a:lnTo>
                  <a:pt x="972" y="119"/>
                </a:lnTo>
                <a:lnTo>
                  <a:pt x="965" y="134"/>
                </a:lnTo>
                <a:lnTo>
                  <a:pt x="960" y="143"/>
                </a:lnTo>
                <a:lnTo>
                  <a:pt x="953" y="156"/>
                </a:lnTo>
                <a:lnTo>
                  <a:pt x="945" y="165"/>
                </a:lnTo>
                <a:lnTo>
                  <a:pt x="947" y="165"/>
                </a:lnTo>
                <a:lnTo>
                  <a:pt x="945" y="165"/>
                </a:lnTo>
                <a:lnTo>
                  <a:pt x="943" y="170"/>
                </a:lnTo>
                <a:lnTo>
                  <a:pt x="938" y="177"/>
                </a:lnTo>
                <a:lnTo>
                  <a:pt x="928" y="185"/>
                </a:lnTo>
                <a:lnTo>
                  <a:pt x="923" y="187"/>
                </a:lnTo>
                <a:lnTo>
                  <a:pt x="918" y="189"/>
                </a:lnTo>
                <a:lnTo>
                  <a:pt x="911" y="194"/>
                </a:lnTo>
                <a:lnTo>
                  <a:pt x="909" y="194"/>
                </a:lnTo>
                <a:lnTo>
                  <a:pt x="909" y="192"/>
                </a:lnTo>
                <a:lnTo>
                  <a:pt x="909" y="194"/>
                </a:lnTo>
                <a:lnTo>
                  <a:pt x="902" y="197"/>
                </a:lnTo>
                <a:lnTo>
                  <a:pt x="899" y="199"/>
                </a:lnTo>
                <a:lnTo>
                  <a:pt x="897" y="199"/>
                </a:lnTo>
                <a:lnTo>
                  <a:pt x="899" y="197"/>
                </a:lnTo>
                <a:lnTo>
                  <a:pt x="899" y="199"/>
                </a:lnTo>
                <a:lnTo>
                  <a:pt x="896" y="199"/>
                </a:lnTo>
                <a:lnTo>
                  <a:pt x="889" y="202"/>
                </a:lnTo>
                <a:lnTo>
                  <a:pt x="887" y="202"/>
                </a:lnTo>
                <a:lnTo>
                  <a:pt x="882" y="206"/>
                </a:lnTo>
                <a:lnTo>
                  <a:pt x="863" y="211"/>
                </a:lnTo>
                <a:lnTo>
                  <a:pt x="862" y="213"/>
                </a:lnTo>
                <a:lnTo>
                  <a:pt x="856" y="216"/>
                </a:lnTo>
                <a:lnTo>
                  <a:pt x="855" y="218"/>
                </a:lnTo>
                <a:lnTo>
                  <a:pt x="853" y="216"/>
                </a:lnTo>
                <a:lnTo>
                  <a:pt x="851" y="216"/>
                </a:lnTo>
                <a:lnTo>
                  <a:pt x="848" y="221"/>
                </a:lnTo>
                <a:lnTo>
                  <a:pt x="848" y="223"/>
                </a:lnTo>
                <a:lnTo>
                  <a:pt x="846" y="223"/>
                </a:lnTo>
                <a:lnTo>
                  <a:pt x="848" y="223"/>
                </a:lnTo>
                <a:lnTo>
                  <a:pt x="846" y="223"/>
                </a:lnTo>
                <a:lnTo>
                  <a:pt x="846" y="224"/>
                </a:lnTo>
                <a:lnTo>
                  <a:pt x="839" y="233"/>
                </a:lnTo>
                <a:lnTo>
                  <a:pt x="822" y="247"/>
                </a:lnTo>
                <a:lnTo>
                  <a:pt x="814" y="253"/>
                </a:lnTo>
                <a:lnTo>
                  <a:pt x="816" y="257"/>
                </a:lnTo>
                <a:lnTo>
                  <a:pt x="816" y="258"/>
                </a:lnTo>
                <a:lnTo>
                  <a:pt x="814" y="262"/>
                </a:lnTo>
                <a:lnTo>
                  <a:pt x="814" y="264"/>
                </a:lnTo>
                <a:lnTo>
                  <a:pt x="816" y="265"/>
                </a:lnTo>
                <a:lnTo>
                  <a:pt x="814" y="267"/>
                </a:lnTo>
                <a:lnTo>
                  <a:pt x="816" y="269"/>
                </a:lnTo>
                <a:lnTo>
                  <a:pt x="816" y="270"/>
                </a:lnTo>
                <a:lnTo>
                  <a:pt x="812" y="274"/>
                </a:lnTo>
                <a:lnTo>
                  <a:pt x="811" y="279"/>
                </a:lnTo>
                <a:lnTo>
                  <a:pt x="794" y="296"/>
                </a:lnTo>
                <a:lnTo>
                  <a:pt x="794" y="299"/>
                </a:lnTo>
                <a:lnTo>
                  <a:pt x="788" y="304"/>
                </a:lnTo>
                <a:lnTo>
                  <a:pt x="790" y="306"/>
                </a:lnTo>
                <a:lnTo>
                  <a:pt x="785" y="311"/>
                </a:lnTo>
                <a:lnTo>
                  <a:pt x="787" y="311"/>
                </a:lnTo>
                <a:lnTo>
                  <a:pt x="788" y="315"/>
                </a:lnTo>
                <a:lnTo>
                  <a:pt x="785" y="325"/>
                </a:lnTo>
                <a:lnTo>
                  <a:pt x="787" y="327"/>
                </a:lnTo>
                <a:lnTo>
                  <a:pt x="787" y="330"/>
                </a:lnTo>
                <a:lnTo>
                  <a:pt x="787" y="333"/>
                </a:lnTo>
                <a:lnTo>
                  <a:pt x="787" y="337"/>
                </a:lnTo>
                <a:lnTo>
                  <a:pt x="787" y="338"/>
                </a:lnTo>
                <a:lnTo>
                  <a:pt x="787" y="340"/>
                </a:lnTo>
                <a:lnTo>
                  <a:pt x="783" y="345"/>
                </a:lnTo>
                <a:lnTo>
                  <a:pt x="783" y="349"/>
                </a:lnTo>
                <a:lnTo>
                  <a:pt x="788" y="350"/>
                </a:lnTo>
                <a:lnTo>
                  <a:pt x="790" y="354"/>
                </a:lnTo>
                <a:lnTo>
                  <a:pt x="792" y="354"/>
                </a:lnTo>
                <a:lnTo>
                  <a:pt x="795" y="361"/>
                </a:lnTo>
                <a:lnTo>
                  <a:pt x="795" y="359"/>
                </a:lnTo>
                <a:lnTo>
                  <a:pt x="797" y="361"/>
                </a:lnTo>
                <a:lnTo>
                  <a:pt x="795" y="376"/>
                </a:lnTo>
                <a:lnTo>
                  <a:pt x="788" y="388"/>
                </a:lnTo>
                <a:lnTo>
                  <a:pt x="785" y="391"/>
                </a:lnTo>
                <a:lnTo>
                  <a:pt x="778" y="398"/>
                </a:lnTo>
                <a:lnTo>
                  <a:pt x="775" y="403"/>
                </a:lnTo>
                <a:lnTo>
                  <a:pt x="773" y="406"/>
                </a:lnTo>
                <a:lnTo>
                  <a:pt x="768" y="413"/>
                </a:lnTo>
                <a:lnTo>
                  <a:pt x="766" y="417"/>
                </a:lnTo>
                <a:lnTo>
                  <a:pt x="761" y="420"/>
                </a:lnTo>
                <a:lnTo>
                  <a:pt x="754" y="427"/>
                </a:lnTo>
                <a:lnTo>
                  <a:pt x="751" y="432"/>
                </a:lnTo>
                <a:lnTo>
                  <a:pt x="741" y="437"/>
                </a:lnTo>
                <a:lnTo>
                  <a:pt x="724" y="446"/>
                </a:lnTo>
                <a:lnTo>
                  <a:pt x="720" y="449"/>
                </a:lnTo>
                <a:lnTo>
                  <a:pt x="709" y="457"/>
                </a:lnTo>
                <a:lnTo>
                  <a:pt x="709" y="459"/>
                </a:lnTo>
                <a:lnTo>
                  <a:pt x="705" y="464"/>
                </a:lnTo>
                <a:lnTo>
                  <a:pt x="703" y="466"/>
                </a:lnTo>
                <a:lnTo>
                  <a:pt x="702" y="468"/>
                </a:lnTo>
                <a:lnTo>
                  <a:pt x="680" y="475"/>
                </a:lnTo>
                <a:lnTo>
                  <a:pt x="673" y="478"/>
                </a:lnTo>
                <a:lnTo>
                  <a:pt x="664" y="480"/>
                </a:lnTo>
                <a:lnTo>
                  <a:pt x="664" y="481"/>
                </a:lnTo>
                <a:lnTo>
                  <a:pt x="663" y="481"/>
                </a:lnTo>
                <a:lnTo>
                  <a:pt x="663" y="483"/>
                </a:lnTo>
                <a:lnTo>
                  <a:pt x="659" y="485"/>
                </a:lnTo>
                <a:lnTo>
                  <a:pt x="661" y="481"/>
                </a:lnTo>
                <a:lnTo>
                  <a:pt x="664" y="480"/>
                </a:lnTo>
                <a:lnTo>
                  <a:pt x="647" y="483"/>
                </a:lnTo>
                <a:lnTo>
                  <a:pt x="630" y="485"/>
                </a:lnTo>
                <a:lnTo>
                  <a:pt x="627" y="488"/>
                </a:lnTo>
                <a:lnTo>
                  <a:pt x="625" y="493"/>
                </a:lnTo>
                <a:lnTo>
                  <a:pt x="624" y="495"/>
                </a:lnTo>
                <a:lnTo>
                  <a:pt x="617" y="498"/>
                </a:lnTo>
                <a:lnTo>
                  <a:pt x="612" y="514"/>
                </a:lnTo>
                <a:lnTo>
                  <a:pt x="605" y="526"/>
                </a:lnTo>
                <a:lnTo>
                  <a:pt x="605" y="529"/>
                </a:lnTo>
                <a:lnTo>
                  <a:pt x="598" y="544"/>
                </a:lnTo>
                <a:lnTo>
                  <a:pt x="596" y="548"/>
                </a:lnTo>
                <a:lnTo>
                  <a:pt x="591" y="551"/>
                </a:lnTo>
                <a:lnTo>
                  <a:pt x="576" y="560"/>
                </a:lnTo>
                <a:lnTo>
                  <a:pt x="573" y="561"/>
                </a:lnTo>
                <a:lnTo>
                  <a:pt x="566" y="563"/>
                </a:lnTo>
                <a:lnTo>
                  <a:pt x="562" y="568"/>
                </a:lnTo>
                <a:lnTo>
                  <a:pt x="559" y="570"/>
                </a:lnTo>
                <a:lnTo>
                  <a:pt x="554" y="571"/>
                </a:lnTo>
                <a:lnTo>
                  <a:pt x="550" y="575"/>
                </a:lnTo>
                <a:lnTo>
                  <a:pt x="549" y="578"/>
                </a:lnTo>
                <a:lnTo>
                  <a:pt x="550" y="580"/>
                </a:lnTo>
                <a:lnTo>
                  <a:pt x="550" y="585"/>
                </a:lnTo>
                <a:lnTo>
                  <a:pt x="545" y="592"/>
                </a:lnTo>
                <a:lnTo>
                  <a:pt x="542" y="595"/>
                </a:lnTo>
                <a:lnTo>
                  <a:pt x="540" y="607"/>
                </a:lnTo>
                <a:lnTo>
                  <a:pt x="535" y="614"/>
                </a:lnTo>
                <a:lnTo>
                  <a:pt x="533" y="619"/>
                </a:lnTo>
                <a:lnTo>
                  <a:pt x="532" y="628"/>
                </a:lnTo>
                <a:lnTo>
                  <a:pt x="532" y="631"/>
                </a:lnTo>
                <a:lnTo>
                  <a:pt x="533" y="633"/>
                </a:lnTo>
                <a:lnTo>
                  <a:pt x="533" y="640"/>
                </a:lnTo>
                <a:lnTo>
                  <a:pt x="530" y="645"/>
                </a:lnTo>
                <a:lnTo>
                  <a:pt x="530" y="650"/>
                </a:lnTo>
                <a:lnTo>
                  <a:pt x="525" y="653"/>
                </a:lnTo>
                <a:lnTo>
                  <a:pt x="523" y="657"/>
                </a:lnTo>
                <a:lnTo>
                  <a:pt x="516" y="660"/>
                </a:lnTo>
                <a:lnTo>
                  <a:pt x="513" y="663"/>
                </a:lnTo>
                <a:lnTo>
                  <a:pt x="508" y="670"/>
                </a:lnTo>
                <a:lnTo>
                  <a:pt x="494" y="680"/>
                </a:lnTo>
                <a:lnTo>
                  <a:pt x="494" y="684"/>
                </a:lnTo>
                <a:lnTo>
                  <a:pt x="484" y="689"/>
                </a:lnTo>
                <a:lnTo>
                  <a:pt x="479" y="694"/>
                </a:lnTo>
                <a:lnTo>
                  <a:pt x="477" y="699"/>
                </a:lnTo>
                <a:lnTo>
                  <a:pt x="474" y="702"/>
                </a:lnTo>
                <a:lnTo>
                  <a:pt x="474" y="704"/>
                </a:lnTo>
                <a:lnTo>
                  <a:pt x="476" y="702"/>
                </a:lnTo>
                <a:lnTo>
                  <a:pt x="477" y="701"/>
                </a:lnTo>
                <a:lnTo>
                  <a:pt x="479" y="694"/>
                </a:lnTo>
                <a:lnTo>
                  <a:pt x="482" y="692"/>
                </a:lnTo>
                <a:lnTo>
                  <a:pt x="484" y="692"/>
                </a:lnTo>
                <a:lnTo>
                  <a:pt x="486" y="689"/>
                </a:lnTo>
                <a:lnTo>
                  <a:pt x="486" y="691"/>
                </a:lnTo>
                <a:lnTo>
                  <a:pt x="488" y="692"/>
                </a:lnTo>
                <a:lnTo>
                  <a:pt x="486" y="696"/>
                </a:lnTo>
                <a:lnTo>
                  <a:pt x="488" y="694"/>
                </a:lnTo>
                <a:lnTo>
                  <a:pt x="484" y="699"/>
                </a:lnTo>
                <a:lnTo>
                  <a:pt x="481" y="704"/>
                </a:lnTo>
                <a:lnTo>
                  <a:pt x="479" y="704"/>
                </a:lnTo>
                <a:lnTo>
                  <a:pt x="479" y="708"/>
                </a:lnTo>
                <a:lnTo>
                  <a:pt x="476" y="711"/>
                </a:lnTo>
                <a:lnTo>
                  <a:pt x="476" y="713"/>
                </a:lnTo>
                <a:lnTo>
                  <a:pt x="474" y="716"/>
                </a:lnTo>
                <a:lnTo>
                  <a:pt x="471" y="719"/>
                </a:lnTo>
                <a:lnTo>
                  <a:pt x="471" y="721"/>
                </a:lnTo>
                <a:lnTo>
                  <a:pt x="467" y="725"/>
                </a:lnTo>
                <a:lnTo>
                  <a:pt x="467" y="726"/>
                </a:lnTo>
                <a:lnTo>
                  <a:pt x="464" y="731"/>
                </a:lnTo>
                <a:lnTo>
                  <a:pt x="465" y="733"/>
                </a:lnTo>
                <a:lnTo>
                  <a:pt x="467" y="736"/>
                </a:lnTo>
                <a:lnTo>
                  <a:pt x="465" y="738"/>
                </a:lnTo>
                <a:lnTo>
                  <a:pt x="464" y="740"/>
                </a:lnTo>
                <a:lnTo>
                  <a:pt x="460" y="742"/>
                </a:lnTo>
                <a:lnTo>
                  <a:pt x="459" y="742"/>
                </a:lnTo>
                <a:lnTo>
                  <a:pt x="459" y="743"/>
                </a:lnTo>
                <a:lnTo>
                  <a:pt x="459" y="745"/>
                </a:lnTo>
                <a:lnTo>
                  <a:pt x="457" y="748"/>
                </a:lnTo>
                <a:lnTo>
                  <a:pt x="455" y="759"/>
                </a:lnTo>
                <a:lnTo>
                  <a:pt x="452" y="762"/>
                </a:lnTo>
                <a:lnTo>
                  <a:pt x="450" y="767"/>
                </a:lnTo>
                <a:lnTo>
                  <a:pt x="448" y="770"/>
                </a:lnTo>
                <a:lnTo>
                  <a:pt x="442" y="774"/>
                </a:lnTo>
                <a:lnTo>
                  <a:pt x="440" y="772"/>
                </a:lnTo>
                <a:lnTo>
                  <a:pt x="435" y="777"/>
                </a:lnTo>
                <a:lnTo>
                  <a:pt x="433" y="779"/>
                </a:lnTo>
                <a:lnTo>
                  <a:pt x="428" y="789"/>
                </a:lnTo>
                <a:lnTo>
                  <a:pt x="428" y="793"/>
                </a:lnTo>
                <a:lnTo>
                  <a:pt x="425" y="796"/>
                </a:lnTo>
                <a:lnTo>
                  <a:pt x="425" y="798"/>
                </a:lnTo>
                <a:lnTo>
                  <a:pt x="426" y="799"/>
                </a:lnTo>
                <a:lnTo>
                  <a:pt x="425" y="801"/>
                </a:lnTo>
                <a:lnTo>
                  <a:pt x="425" y="810"/>
                </a:lnTo>
                <a:lnTo>
                  <a:pt x="421" y="820"/>
                </a:lnTo>
                <a:lnTo>
                  <a:pt x="420" y="837"/>
                </a:lnTo>
                <a:lnTo>
                  <a:pt x="418" y="842"/>
                </a:lnTo>
                <a:lnTo>
                  <a:pt x="420" y="844"/>
                </a:lnTo>
                <a:lnTo>
                  <a:pt x="418" y="845"/>
                </a:lnTo>
                <a:lnTo>
                  <a:pt x="421" y="849"/>
                </a:lnTo>
                <a:lnTo>
                  <a:pt x="421" y="845"/>
                </a:lnTo>
                <a:lnTo>
                  <a:pt x="420" y="844"/>
                </a:lnTo>
                <a:lnTo>
                  <a:pt x="421" y="842"/>
                </a:lnTo>
                <a:lnTo>
                  <a:pt x="423" y="842"/>
                </a:lnTo>
                <a:lnTo>
                  <a:pt x="423" y="839"/>
                </a:lnTo>
                <a:lnTo>
                  <a:pt x="423" y="837"/>
                </a:lnTo>
                <a:lnTo>
                  <a:pt x="421" y="837"/>
                </a:lnTo>
                <a:lnTo>
                  <a:pt x="421" y="835"/>
                </a:lnTo>
                <a:lnTo>
                  <a:pt x="423" y="835"/>
                </a:lnTo>
                <a:lnTo>
                  <a:pt x="423" y="837"/>
                </a:lnTo>
                <a:lnTo>
                  <a:pt x="423" y="835"/>
                </a:lnTo>
                <a:lnTo>
                  <a:pt x="425" y="832"/>
                </a:lnTo>
                <a:lnTo>
                  <a:pt x="426" y="832"/>
                </a:lnTo>
                <a:lnTo>
                  <a:pt x="426" y="830"/>
                </a:lnTo>
                <a:lnTo>
                  <a:pt x="428" y="828"/>
                </a:lnTo>
                <a:lnTo>
                  <a:pt x="428" y="832"/>
                </a:lnTo>
                <a:lnTo>
                  <a:pt x="430" y="837"/>
                </a:lnTo>
                <a:lnTo>
                  <a:pt x="431" y="839"/>
                </a:lnTo>
                <a:lnTo>
                  <a:pt x="433" y="840"/>
                </a:lnTo>
                <a:lnTo>
                  <a:pt x="435" y="842"/>
                </a:lnTo>
                <a:lnTo>
                  <a:pt x="435" y="845"/>
                </a:lnTo>
                <a:lnTo>
                  <a:pt x="437" y="847"/>
                </a:lnTo>
                <a:lnTo>
                  <a:pt x="438" y="850"/>
                </a:lnTo>
                <a:lnTo>
                  <a:pt x="440" y="850"/>
                </a:lnTo>
                <a:lnTo>
                  <a:pt x="440" y="854"/>
                </a:lnTo>
                <a:lnTo>
                  <a:pt x="447" y="861"/>
                </a:lnTo>
                <a:lnTo>
                  <a:pt x="447" y="850"/>
                </a:lnTo>
                <a:lnTo>
                  <a:pt x="448" y="852"/>
                </a:lnTo>
                <a:lnTo>
                  <a:pt x="448" y="854"/>
                </a:lnTo>
                <a:lnTo>
                  <a:pt x="452" y="856"/>
                </a:lnTo>
                <a:lnTo>
                  <a:pt x="452" y="857"/>
                </a:lnTo>
                <a:lnTo>
                  <a:pt x="454" y="862"/>
                </a:lnTo>
                <a:lnTo>
                  <a:pt x="455" y="866"/>
                </a:lnTo>
                <a:lnTo>
                  <a:pt x="455" y="867"/>
                </a:lnTo>
                <a:lnTo>
                  <a:pt x="457" y="867"/>
                </a:lnTo>
                <a:lnTo>
                  <a:pt x="460" y="874"/>
                </a:lnTo>
                <a:lnTo>
                  <a:pt x="462" y="874"/>
                </a:lnTo>
                <a:lnTo>
                  <a:pt x="464" y="878"/>
                </a:lnTo>
                <a:lnTo>
                  <a:pt x="462" y="881"/>
                </a:lnTo>
                <a:lnTo>
                  <a:pt x="460" y="881"/>
                </a:lnTo>
                <a:lnTo>
                  <a:pt x="462" y="884"/>
                </a:lnTo>
                <a:lnTo>
                  <a:pt x="462" y="886"/>
                </a:lnTo>
                <a:lnTo>
                  <a:pt x="462" y="888"/>
                </a:lnTo>
                <a:lnTo>
                  <a:pt x="459" y="893"/>
                </a:lnTo>
                <a:lnTo>
                  <a:pt x="459" y="895"/>
                </a:lnTo>
                <a:lnTo>
                  <a:pt x="460" y="893"/>
                </a:lnTo>
                <a:lnTo>
                  <a:pt x="460" y="895"/>
                </a:lnTo>
                <a:lnTo>
                  <a:pt x="460" y="896"/>
                </a:lnTo>
                <a:lnTo>
                  <a:pt x="460" y="900"/>
                </a:lnTo>
                <a:lnTo>
                  <a:pt x="459" y="901"/>
                </a:lnTo>
                <a:lnTo>
                  <a:pt x="460" y="901"/>
                </a:lnTo>
                <a:lnTo>
                  <a:pt x="459" y="903"/>
                </a:lnTo>
                <a:lnTo>
                  <a:pt x="459" y="901"/>
                </a:lnTo>
                <a:lnTo>
                  <a:pt x="457" y="901"/>
                </a:lnTo>
                <a:lnTo>
                  <a:pt x="455" y="903"/>
                </a:lnTo>
                <a:lnTo>
                  <a:pt x="454" y="908"/>
                </a:lnTo>
                <a:lnTo>
                  <a:pt x="455" y="907"/>
                </a:lnTo>
                <a:lnTo>
                  <a:pt x="452" y="912"/>
                </a:lnTo>
                <a:lnTo>
                  <a:pt x="450" y="917"/>
                </a:lnTo>
                <a:lnTo>
                  <a:pt x="452" y="918"/>
                </a:lnTo>
                <a:lnTo>
                  <a:pt x="452" y="917"/>
                </a:lnTo>
                <a:lnTo>
                  <a:pt x="454" y="917"/>
                </a:lnTo>
                <a:lnTo>
                  <a:pt x="454" y="913"/>
                </a:lnTo>
                <a:lnTo>
                  <a:pt x="455" y="912"/>
                </a:lnTo>
                <a:lnTo>
                  <a:pt x="454" y="915"/>
                </a:lnTo>
                <a:lnTo>
                  <a:pt x="457" y="912"/>
                </a:lnTo>
                <a:lnTo>
                  <a:pt x="459" y="912"/>
                </a:lnTo>
                <a:lnTo>
                  <a:pt x="455" y="917"/>
                </a:lnTo>
                <a:lnTo>
                  <a:pt x="454" y="918"/>
                </a:lnTo>
                <a:lnTo>
                  <a:pt x="450" y="920"/>
                </a:lnTo>
                <a:lnTo>
                  <a:pt x="448" y="920"/>
                </a:lnTo>
                <a:lnTo>
                  <a:pt x="448" y="918"/>
                </a:lnTo>
                <a:lnTo>
                  <a:pt x="448" y="920"/>
                </a:lnTo>
                <a:lnTo>
                  <a:pt x="448" y="918"/>
                </a:lnTo>
                <a:lnTo>
                  <a:pt x="447" y="920"/>
                </a:lnTo>
                <a:lnTo>
                  <a:pt x="448" y="920"/>
                </a:lnTo>
                <a:lnTo>
                  <a:pt x="450" y="925"/>
                </a:lnTo>
                <a:lnTo>
                  <a:pt x="455" y="929"/>
                </a:lnTo>
                <a:lnTo>
                  <a:pt x="459" y="934"/>
                </a:lnTo>
                <a:lnTo>
                  <a:pt x="464" y="942"/>
                </a:lnTo>
                <a:lnTo>
                  <a:pt x="467" y="956"/>
                </a:lnTo>
                <a:lnTo>
                  <a:pt x="471" y="966"/>
                </a:lnTo>
                <a:lnTo>
                  <a:pt x="472" y="981"/>
                </a:lnTo>
                <a:lnTo>
                  <a:pt x="472" y="988"/>
                </a:lnTo>
                <a:lnTo>
                  <a:pt x="472" y="990"/>
                </a:lnTo>
                <a:lnTo>
                  <a:pt x="471" y="1005"/>
                </a:lnTo>
                <a:lnTo>
                  <a:pt x="469" y="1015"/>
                </a:lnTo>
                <a:lnTo>
                  <a:pt x="465" y="1026"/>
                </a:lnTo>
                <a:lnTo>
                  <a:pt x="460" y="1036"/>
                </a:lnTo>
                <a:lnTo>
                  <a:pt x="455" y="1048"/>
                </a:lnTo>
                <a:lnTo>
                  <a:pt x="452" y="1060"/>
                </a:lnTo>
                <a:lnTo>
                  <a:pt x="450" y="1066"/>
                </a:lnTo>
                <a:lnTo>
                  <a:pt x="447" y="1077"/>
                </a:lnTo>
                <a:lnTo>
                  <a:pt x="448" y="1089"/>
                </a:lnTo>
                <a:lnTo>
                  <a:pt x="447" y="1097"/>
                </a:lnTo>
                <a:lnTo>
                  <a:pt x="447" y="1102"/>
                </a:lnTo>
                <a:lnTo>
                  <a:pt x="447" y="1100"/>
                </a:lnTo>
                <a:lnTo>
                  <a:pt x="447" y="1102"/>
                </a:lnTo>
                <a:lnTo>
                  <a:pt x="442" y="1111"/>
                </a:lnTo>
                <a:lnTo>
                  <a:pt x="431" y="1128"/>
                </a:lnTo>
                <a:lnTo>
                  <a:pt x="428" y="1131"/>
                </a:lnTo>
                <a:lnTo>
                  <a:pt x="418" y="1143"/>
                </a:lnTo>
                <a:lnTo>
                  <a:pt x="416" y="1146"/>
                </a:lnTo>
                <a:lnTo>
                  <a:pt x="408" y="1152"/>
                </a:lnTo>
                <a:lnTo>
                  <a:pt x="396" y="1155"/>
                </a:lnTo>
                <a:lnTo>
                  <a:pt x="397" y="1157"/>
                </a:lnTo>
                <a:lnTo>
                  <a:pt x="399" y="1158"/>
                </a:lnTo>
                <a:lnTo>
                  <a:pt x="401" y="1158"/>
                </a:lnTo>
                <a:lnTo>
                  <a:pt x="401" y="1160"/>
                </a:lnTo>
                <a:lnTo>
                  <a:pt x="401" y="1158"/>
                </a:lnTo>
                <a:lnTo>
                  <a:pt x="401" y="1157"/>
                </a:lnTo>
                <a:lnTo>
                  <a:pt x="403" y="1158"/>
                </a:lnTo>
                <a:lnTo>
                  <a:pt x="403" y="1157"/>
                </a:lnTo>
                <a:lnTo>
                  <a:pt x="401" y="1155"/>
                </a:lnTo>
                <a:lnTo>
                  <a:pt x="404" y="1155"/>
                </a:lnTo>
                <a:lnTo>
                  <a:pt x="409" y="1157"/>
                </a:lnTo>
                <a:lnTo>
                  <a:pt x="413" y="1158"/>
                </a:lnTo>
                <a:lnTo>
                  <a:pt x="418" y="1165"/>
                </a:lnTo>
                <a:lnTo>
                  <a:pt x="420" y="1169"/>
                </a:lnTo>
                <a:lnTo>
                  <a:pt x="423" y="1170"/>
                </a:lnTo>
                <a:lnTo>
                  <a:pt x="426" y="1174"/>
                </a:lnTo>
                <a:lnTo>
                  <a:pt x="426" y="1177"/>
                </a:lnTo>
                <a:lnTo>
                  <a:pt x="430" y="1180"/>
                </a:lnTo>
                <a:lnTo>
                  <a:pt x="430" y="1182"/>
                </a:lnTo>
                <a:lnTo>
                  <a:pt x="431" y="1186"/>
                </a:lnTo>
                <a:lnTo>
                  <a:pt x="431" y="1184"/>
                </a:lnTo>
                <a:lnTo>
                  <a:pt x="433" y="1187"/>
                </a:lnTo>
                <a:lnTo>
                  <a:pt x="435" y="1196"/>
                </a:lnTo>
                <a:lnTo>
                  <a:pt x="435" y="1194"/>
                </a:lnTo>
                <a:lnTo>
                  <a:pt x="437" y="1192"/>
                </a:lnTo>
                <a:lnTo>
                  <a:pt x="440" y="1191"/>
                </a:lnTo>
                <a:lnTo>
                  <a:pt x="442" y="1192"/>
                </a:lnTo>
                <a:lnTo>
                  <a:pt x="443" y="1191"/>
                </a:lnTo>
                <a:lnTo>
                  <a:pt x="445" y="1191"/>
                </a:lnTo>
                <a:lnTo>
                  <a:pt x="447" y="1191"/>
                </a:lnTo>
                <a:lnTo>
                  <a:pt x="443" y="1192"/>
                </a:lnTo>
                <a:lnTo>
                  <a:pt x="445" y="1192"/>
                </a:lnTo>
                <a:lnTo>
                  <a:pt x="447" y="1192"/>
                </a:lnTo>
                <a:lnTo>
                  <a:pt x="448" y="1192"/>
                </a:lnTo>
                <a:lnTo>
                  <a:pt x="450" y="1194"/>
                </a:lnTo>
                <a:lnTo>
                  <a:pt x="448" y="1196"/>
                </a:lnTo>
                <a:lnTo>
                  <a:pt x="448" y="1197"/>
                </a:lnTo>
                <a:lnTo>
                  <a:pt x="450" y="1197"/>
                </a:lnTo>
                <a:lnTo>
                  <a:pt x="450" y="1196"/>
                </a:lnTo>
                <a:lnTo>
                  <a:pt x="450" y="1197"/>
                </a:lnTo>
                <a:lnTo>
                  <a:pt x="448" y="1199"/>
                </a:lnTo>
                <a:lnTo>
                  <a:pt x="450" y="1199"/>
                </a:lnTo>
                <a:lnTo>
                  <a:pt x="448" y="1199"/>
                </a:lnTo>
                <a:lnTo>
                  <a:pt x="448" y="1201"/>
                </a:lnTo>
                <a:lnTo>
                  <a:pt x="450" y="1203"/>
                </a:lnTo>
                <a:lnTo>
                  <a:pt x="448" y="1204"/>
                </a:lnTo>
                <a:lnTo>
                  <a:pt x="448" y="1206"/>
                </a:lnTo>
                <a:lnTo>
                  <a:pt x="447" y="1208"/>
                </a:lnTo>
                <a:lnTo>
                  <a:pt x="448" y="1208"/>
                </a:lnTo>
                <a:lnTo>
                  <a:pt x="448" y="1209"/>
                </a:lnTo>
                <a:lnTo>
                  <a:pt x="443" y="1211"/>
                </a:lnTo>
                <a:lnTo>
                  <a:pt x="445" y="1213"/>
                </a:lnTo>
                <a:lnTo>
                  <a:pt x="447" y="1213"/>
                </a:lnTo>
                <a:lnTo>
                  <a:pt x="445" y="1211"/>
                </a:lnTo>
                <a:lnTo>
                  <a:pt x="447" y="1213"/>
                </a:lnTo>
                <a:lnTo>
                  <a:pt x="447" y="1211"/>
                </a:lnTo>
                <a:lnTo>
                  <a:pt x="447" y="1213"/>
                </a:lnTo>
                <a:lnTo>
                  <a:pt x="447" y="1216"/>
                </a:lnTo>
                <a:lnTo>
                  <a:pt x="445" y="1218"/>
                </a:lnTo>
                <a:lnTo>
                  <a:pt x="447" y="1220"/>
                </a:lnTo>
                <a:lnTo>
                  <a:pt x="445" y="1220"/>
                </a:lnTo>
                <a:lnTo>
                  <a:pt x="442" y="1218"/>
                </a:lnTo>
                <a:lnTo>
                  <a:pt x="440" y="1220"/>
                </a:lnTo>
                <a:lnTo>
                  <a:pt x="440" y="1218"/>
                </a:lnTo>
                <a:lnTo>
                  <a:pt x="437" y="1220"/>
                </a:lnTo>
                <a:lnTo>
                  <a:pt x="435" y="1223"/>
                </a:lnTo>
                <a:lnTo>
                  <a:pt x="433" y="1223"/>
                </a:lnTo>
                <a:lnTo>
                  <a:pt x="433" y="1226"/>
                </a:lnTo>
                <a:lnTo>
                  <a:pt x="433" y="1228"/>
                </a:lnTo>
                <a:lnTo>
                  <a:pt x="433" y="1230"/>
                </a:lnTo>
                <a:lnTo>
                  <a:pt x="433" y="1235"/>
                </a:lnTo>
                <a:lnTo>
                  <a:pt x="435" y="1237"/>
                </a:lnTo>
                <a:lnTo>
                  <a:pt x="435" y="1238"/>
                </a:lnTo>
                <a:lnTo>
                  <a:pt x="437" y="1240"/>
                </a:lnTo>
                <a:lnTo>
                  <a:pt x="437" y="1245"/>
                </a:lnTo>
                <a:lnTo>
                  <a:pt x="433" y="1255"/>
                </a:lnTo>
                <a:lnTo>
                  <a:pt x="435" y="1252"/>
                </a:lnTo>
                <a:lnTo>
                  <a:pt x="435" y="1254"/>
                </a:lnTo>
                <a:lnTo>
                  <a:pt x="435" y="1255"/>
                </a:lnTo>
                <a:lnTo>
                  <a:pt x="433" y="1255"/>
                </a:lnTo>
                <a:lnTo>
                  <a:pt x="435" y="1255"/>
                </a:lnTo>
                <a:lnTo>
                  <a:pt x="433" y="1259"/>
                </a:lnTo>
                <a:lnTo>
                  <a:pt x="437" y="1255"/>
                </a:lnTo>
                <a:lnTo>
                  <a:pt x="438" y="1257"/>
                </a:lnTo>
                <a:lnTo>
                  <a:pt x="438" y="1255"/>
                </a:lnTo>
                <a:lnTo>
                  <a:pt x="440" y="1254"/>
                </a:lnTo>
                <a:lnTo>
                  <a:pt x="442" y="1254"/>
                </a:lnTo>
                <a:lnTo>
                  <a:pt x="443" y="1254"/>
                </a:lnTo>
                <a:lnTo>
                  <a:pt x="442" y="1252"/>
                </a:lnTo>
                <a:lnTo>
                  <a:pt x="442" y="1250"/>
                </a:lnTo>
                <a:lnTo>
                  <a:pt x="442" y="1248"/>
                </a:lnTo>
                <a:lnTo>
                  <a:pt x="440" y="1248"/>
                </a:lnTo>
                <a:lnTo>
                  <a:pt x="442" y="1248"/>
                </a:lnTo>
                <a:lnTo>
                  <a:pt x="440" y="1247"/>
                </a:lnTo>
                <a:lnTo>
                  <a:pt x="442" y="1243"/>
                </a:lnTo>
                <a:lnTo>
                  <a:pt x="442" y="1245"/>
                </a:lnTo>
                <a:lnTo>
                  <a:pt x="443" y="1245"/>
                </a:lnTo>
                <a:lnTo>
                  <a:pt x="443" y="1247"/>
                </a:lnTo>
                <a:lnTo>
                  <a:pt x="443" y="1245"/>
                </a:lnTo>
                <a:lnTo>
                  <a:pt x="445" y="1248"/>
                </a:lnTo>
                <a:lnTo>
                  <a:pt x="443" y="1255"/>
                </a:lnTo>
                <a:lnTo>
                  <a:pt x="445" y="1257"/>
                </a:lnTo>
                <a:lnTo>
                  <a:pt x="447" y="1257"/>
                </a:lnTo>
                <a:lnTo>
                  <a:pt x="447" y="1259"/>
                </a:lnTo>
                <a:lnTo>
                  <a:pt x="445" y="1259"/>
                </a:lnTo>
                <a:lnTo>
                  <a:pt x="448" y="1262"/>
                </a:lnTo>
                <a:lnTo>
                  <a:pt x="448" y="1260"/>
                </a:lnTo>
                <a:lnTo>
                  <a:pt x="450" y="1262"/>
                </a:lnTo>
                <a:lnTo>
                  <a:pt x="452" y="1264"/>
                </a:lnTo>
                <a:lnTo>
                  <a:pt x="452" y="1262"/>
                </a:lnTo>
                <a:lnTo>
                  <a:pt x="452" y="1264"/>
                </a:lnTo>
                <a:lnTo>
                  <a:pt x="454" y="1264"/>
                </a:lnTo>
                <a:lnTo>
                  <a:pt x="452" y="1266"/>
                </a:lnTo>
                <a:lnTo>
                  <a:pt x="450" y="1264"/>
                </a:lnTo>
                <a:lnTo>
                  <a:pt x="448" y="1264"/>
                </a:lnTo>
                <a:lnTo>
                  <a:pt x="447" y="1264"/>
                </a:lnTo>
                <a:lnTo>
                  <a:pt x="447" y="1262"/>
                </a:lnTo>
                <a:lnTo>
                  <a:pt x="443" y="1260"/>
                </a:lnTo>
                <a:lnTo>
                  <a:pt x="442" y="1264"/>
                </a:lnTo>
                <a:lnTo>
                  <a:pt x="440" y="1266"/>
                </a:lnTo>
                <a:lnTo>
                  <a:pt x="440" y="1269"/>
                </a:lnTo>
                <a:lnTo>
                  <a:pt x="438" y="1269"/>
                </a:lnTo>
                <a:lnTo>
                  <a:pt x="440" y="1271"/>
                </a:lnTo>
                <a:lnTo>
                  <a:pt x="440" y="1272"/>
                </a:lnTo>
                <a:lnTo>
                  <a:pt x="438" y="1271"/>
                </a:lnTo>
                <a:lnTo>
                  <a:pt x="437" y="1271"/>
                </a:lnTo>
                <a:lnTo>
                  <a:pt x="438" y="1271"/>
                </a:lnTo>
                <a:lnTo>
                  <a:pt x="438" y="1269"/>
                </a:lnTo>
                <a:lnTo>
                  <a:pt x="440" y="1269"/>
                </a:lnTo>
                <a:lnTo>
                  <a:pt x="437" y="1267"/>
                </a:lnTo>
                <a:lnTo>
                  <a:pt x="437" y="1266"/>
                </a:lnTo>
                <a:lnTo>
                  <a:pt x="435" y="1266"/>
                </a:lnTo>
                <a:lnTo>
                  <a:pt x="433" y="1269"/>
                </a:lnTo>
                <a:lnTo>
                  <a:pt x="433" y="1271"/>
                </a:lnTo>
                <a:lnTo>
                  <a:pt x="435" y="1272"/>
                </a:lnTo>
                <a:lnTo>
                  <a:pt x="437" y="1274"/>
                </a:lnTo>
                <a:lnTo>
                  <a:pt x="437" y="1276"/>
                </a:lnTo>
                <a:lnTo>
                  <a:pt x="438" y="1276"/>
                </a:lnTo>
                <a:lnTo>
                  <a:pt x="440" y="1277"/>
                </a:lnTo>
                <a:lnTo>
                  <a:pt x="440" y="1276"/>
                </a:lnTo>
                <a:lnTo>
                  <a:pt x="443" y="1279"/>
                </a:lnTo>
                <a:lnTo>
                  <a:pt x="447" y="1281"/>
                </a:lnTo>
                <a:lnTo>
                  <a:pt x="450" y="1284"/>
                </a:lnTo>
                <a:lnTo>
                  <a:pt x="452" y="1284"/>
                </a:lnTo>
                <a:lnTo>
                  <a:pt x="454" y="1284"/>
                </a:lnTo>
                <a:lnTo>
                  <a:pt x="454" y="1283"/>
                </a:lnTo>
                <a:lnTo>
                  <a:pt x="455" y="1284"/>
                </a:lnTo>
                <a:lnTo>
                  <a:pt x="457" y="1283"/>
                </a:lnTo>
                <a:lnTo>
                  <a:pt x="457" y="1281"/>
                </a:lnTo>
                <a:lnTo>
                  <a:pt x="459" y="1281"/>
                </a:lnTo>
                <a:lnTo>
                  <a:pt x="457" y="1283"/>
                </a:lnTo>
                <a:lnTo>
                  <a:pt x="459" y="1283"/>
                </a:lnTo>
                <a:lnTo>
                  <a:pt x="464" y="1279"/>
                </a:lnTo>
                <a:lnTo>
                  <a:pt x="467" y="1279"/>
                </a:lnTo>
                <a:lnTo>
                  <a:pt x="462" y="1281"/>
                </a:lnTo>
                <a:lnTo>
                  <a:pt x="460" y="1284"/>
                </a:lnTo>
                <a:lnTo>
                  <a:pt x="457" y="1286"/>
                </a:lnTo>
                <a:lnTo>
                  <a:pt x="455" y="1288"/>
                </a:lnTo>
                <a:lnTo>
                  <a:pt x="457" y="1291"/>
                </a:lnTo>
                <a:lnTo>
                  <a:pt x="457" y="1293"/>
                </a:lnTo>
                <a:lnTo>
                  <a:pt x="459" y="1293"/>
                </a:lnTo>
                <a:lnTo>
                  <a:pt x="460" y="1294"/>
                </a:lnTo>
                <a:lnTo>
                  <a:pt x="462" y="1298"/>
                </a:lnTo>
                <a:lnTo>
                  <a:pt x="467" y="1298"/>
                </a:lnTo>
                <a:lnTo>
                  <a:pt x="469" y="1300"/>
                </a:lnTo>
                <a:lnTo>
                  <a:pt x="471" y="1298"/>
                </a:lnTo>
                <a:lnTo>
                  <a:pt x="474" y="1298"/>
                </a:lnTo>
                <a:lnTo>
                  <a:pt x="477" y="1296"/>
                </a:lnTo>
                <a:lnTo>
                  <a:pt x="476" y="1294"/>
                </a:lnTo>
                <a:lnTo>
                  <a:pt x="474" y="1293"/>
                </a:lnTo>
                <a:lnTo>
                  <a:pt x="474" y="1291"/>
                </a:lnTo>
                <a:lnTo>
                  <a:pt x="476" y="1293"/>
                </a:lnTo>
                <a:lnTo>
                  <a:pt x="476" y="1294"/>
                </a:lnTo>
                <a:lnTo>
                  <a:pt x="477" y="1294"/>
                </a:lnTo>
                <a:lnTo>
                  <a:pt x="479" y="1294"/>
                </a:lnTo>
                <a:lnTo>
                  <a:pt x="481" y="1293"/>
                </a:lnTo>
                <a:lnTo>
                  <a:pt x="484" y="1293"/>
                </a:lnTo>
                <a:lnTo>
                  <a:pt x="482" y="1294"/>
                </a:lnTo>
                <a:lnTo>
                  <a:pt x="481" y="1294"/>
                </a:lnTo>
                <a:lnTo>
                  <a:pt x="477" y="1300"/>
                </a:lnTo>
                <a:lnTo>
                  <a:pt x="477" y="1303"/>
                </a:lnTo>
                <a:lnTo>
                  <a:pt x="476" y="1305"/>
                </a:lnTo>
                <a:lnTo>
                  <a:pt x="476" y="1306"/>
                </a:lnTo>
                <a:lnTo>
                  <a:pt x="477" y="1306"/>
                </a:lnTo>
                <a:lnTo>
                  <a:pt x="479" y="1306"/>
                </a:lnTo>
                <a:lnTo>
                  <a:pt x="479" y="1305"/>
                </a:lnTo>
                <a:lnTo>
                  <a:pt x="481" y="1305"/>
                </a:lnTo>
                <a:lnTo>
                  <a:pt x="482" y="1303"/>
                </a:lnTo>
                <a:lnTo>
                  <a:pt x="484" y="1303"/>
                </a:lnTo>
                <a:lnTo>
                  <a:pt x="482" y="1306"/>
                </a:lnTo>
                <a:lnTo>
                  <a:pt x="488" y="1305"/>
                </a:lnTo>
                <a:lnTo>
                  <a:pt x="491" y="1303"/>
                </a:lnTo>
                <a:lnTo>
                  <a:pt x="494" y="1301"/>
                </a:lnTo>
                <a:lnTo>
                  <a:pt x="496" y="1300"/>
                </a:lnTo>
                <a:lnTo>
                  <a:pt x="496" y="1298"/>
                </a:lnTo>
                <a:lnTo>
                  <a:pt x="498" y="1300"/>
                </a:lnTo>
                <a:lnTo>
                  <a:pt x="499" y="1296"/>
                </a:lnTo>
                <a:lnTo>
                  <a:pt x="503" y="1296"/>
                </a:lnTo>
                <a:lnTo>
                  <a:pt x="505" y="1296"/>
                </a:lnTo>
                <a:lnTo>
                  <a:pt x="508" y="1296"/>
                </a:lnTo>
                <a:lnTo>
                  <a:pt x="510" y="1298"/>
                </a:lnTo>
                <a:lnTo>
                  <a:pt x="515" y="1298"/>
                </a:lnTo>
                <a:lnTo>
                  <a:pt x="518" y="1294"/>
                </a:lnTo>
                <a:lnTo>
                  <a:pt x="522" y="1294"/>
                </a:lnTo>
                <a:lnTo>
                  <a:pt x="523" y="1294"/>
                </a:lnTo>
                <a:lnTo>
                  <a:pt x="525" y="1296"/>
                </a:lnTo>
                <a:lnTo>
                  <a:pt x="523" y="1296"/>
                </a:lnTo>
                <a:lnTo>
                  <a:pt x="522" y="1296"/>
                </a:lnTo>
                <a:lnTo>
                  <a:pt x="518" y="1298"/>
                </a:lnTo>
                <a:lnTo>
                  <a:pt x="516" y="1300"/>
                </a:lnTo>
                <a:lnTo>
                  <a:pt x="510" y="1300"/>
                </a:lnTo>
                <a:lnTo>
                  <a:pt x="506" y="1300"/>
                </a:lnTo>
                <a:lnTo>
                  <a:pt x="505" y="1300"/>
                </a:lnTo>
                <a:lnTo>
                  <a:pt x="503" y="1301"/>
                </a:lnTo>
                <a:lnTo>
                  <a:pt x="501" y="1301"/>
                </a:lnTo>
                <a:lnTo>
                  <a:pt x="498" y="1305"/>
                </a:lnTo>
                <a:lnTo>
                  <a:pt x="496" y="1308"/>
                </a:lnTo>
                <a:lnTo>
                  <a:pt x="498" y="1306"/>
                </a:lnTo>
                <a:lnTo>
                  <a:pt x="498" y="1310"/>
                </a:lnTo>
                <a:lnTo>
                  <a:pt x="499" y="1308"/>
                </a:lnTo>
                <a:lnTo>
                  <a:pt x="501" y="1308"/>
                </a:lnTo>
                <a:lnTo>
                  <a:pt x="499" y="1308"/>
                </a:lnTo>
                <a:lnTo>
                  <a:pt x="499" y="1310"/>
                </a:lnTo>
                <a:lnTo>
                  <a:pt x="499" y="1311"/>
                </a:lnTo>
                <a:lnTo>
                  <a:pt x="501" y="1311"/>
                </a:lnTo>
                <a:lnTo>
                  <a:pt x="503" y="1310"/>
                </a:lnTo>
                <a:lnTo>
                  <a:pt x="505" y="1310"/>
                </a:lnTo>
                <a:lnTo>
                  <a:pt x="503" y="1310"/>
                </a:lnTo>
                <a:lnTo>
                  <a:pt x="503" y="1311"/>
                </a:lnTo>
                <a:lnTo>
                  <a:pt x="501" y="1313"/>
                </a:lnTo>
                <a:lnTo>
                  <a:pt x="503" y="1313"/>
                </a:lnTo>
                <a:lnTo>
                  <a:pt x="501" y="1313"/>
                </a:lnTo>
                <a:lnTo>
                  <a:pt x="503" y="1317"/>
                </a:lnTo>
                <a:lnTo>
                  <a:pt x="503" y="1315"/>
                </a:lnTo>
                <a:lnTo>
                  <a:pt x="503" y="1317"/>
                </a:lnTo>
                <a:lnTo>
                  <a:pt x="503" y="1313"/>
                </a:lnTo>
                <a:lnTo>
                  <a:pt x="505" y="1313"/>
                </a:lnTo>
                <a:lnTo>
                  <a:pt x="505" y="1315"/>
                </a:lnTo>
                <a:lnTo>
                  <a:pt x="506" y="1315"/>
                </a:lnTo>
                <a:lnTo>
                  <a:pt x="505" y="1313"/>
                </a:lnTo>
                <a:lnTo>
                  <a:pt x="506" y="1315"/>
                </a:lnTo>
                <a:lnTo>
                  <a:pt x="505" y="1311"/>
                </a:lnTo>
                <a:lnTo>
                  <a:pt x="508" y="1313"/>
                </a:lnTo>
                <a:lnTo>
                  <a:pt x="508" y="1311"/>
                </a:lnTo>
                <a:lnTo>
                  <a:pt x="508" y="1310"/>
                </a:lnTo>
                <a:lnTo>
                  <a:pt x="508" y="1313"/>
                </a:lnTo>
                <a:lnTo>
                  <a:pt x="508" y="1311"/>
                </a:lnTo>
                <a:lnTo>
                  <a:pt x="510" y="1311"/>
                </a:lnTo>
                <a:lnTo>
                  <a:pt x="510" y="1310"/>
                </a:lnTo>
                <a:lnTo>
                  <a:pt x="508" y="1310"/>
                </a:lnTo>
                <a:lnTo>
                  <a:pt x="510" y="1310"/>
                </a:lnTo>
                <a:lnTo>
                  <a:pt x="510" y="1308"/>
                </a:lnTo>
                <a:lnTo>
                  <a:pt x="510" y="1310"/>
                </a:lnTo>
                <a:lnTo>
                  <a:pt x="511" y="1306"/>
                </a:lnTo>
                <a:lnTo>
                  <a:pt x="510" y="1310"/>
                </a:lnTo>
                <a:lnTo>
                  <a:pt x="511" y="1308"/>
                </a:lnTo>
                <a:lnTo>
                  <a:pt x="511" y="1310"/>
                </a:lnTo>
                <a:lnTo>
                  <a:pt x="511" y="1311"/>
                </a:lnTo>
                <a:lnTo>
                  <a:pt x="511" y="1310"/>
                </a:lnTo>
                <a:lnTo>
                  <a:pt x="511" y="1311"/>
                </a:lnTo>
                <a:lnTo>
                  <a:pt x="513" y="1310"/>
                </a:lnTo>
                <a:lnTo>
                  <a:pt x="513" y="1308"/>
                </a:lnTo>
                <a:lnTo>
                  <a:pt x="513" y="1310"/>
                </a:lnTo>
                <a:lnTo>
                  <a:pt x="515" y="1308"/>
                </a:lnTo>
                <a:lnTo>
                  <a:pt x="513" y="1308"/>
                </a:lnTo>
                <a:lnTo>
                  <a:pt x="515" y="1308"/>
                </a:lnTo>
                <a:lnTo>
                  <a:pt x="513" y="1306"/>
                </a:lnTo>
                <a:lnTo>
                  <a:pt x="515" y="1306"/>
                </a:lnTo>
                <a:lnTo>
                  <a:pt x="515" y="1305"/>
                </a:lnTo>
                <a:lnTo>
                  <a:pt x="515" y="1306"/>
                </a:lnTo>
                <a:lnTo>
                  <a:pt x="516" y="1306"/>
                </a:lnTo>
                <a:lnTo>
                  <a:pt x="515" y="1306"/>
                </a:lnTo>
                <a:lnTo>
                  <a:pt x="516" y="1308"/>
                </a:lnTo>
                <a:lnTo>
                  <a:pt x="515" y="1306"/>
                </a:lnTo>
                <a:lnTo>
                  <a:pt x="515" y="1308"/>
                </a:lnTo>
                <a:lnTo>
                  <a:pt x="515" y="1310"/>
                </a:lnTo>
                <a:lnTo>
                  <a:pt x="513" y="1310"/>
                </a:lnTo>
                <a:lnTo>
                  <a:pt x="515" y="1310"/>
                </a:lnTo>
                <a:lnTo>
                  <a:pt x="513" y="1311"/>
                </a:lnTo>
                <a:lnTo>
                  <a:pt x="511" y="1311"/>
                </a:lnTo>
                <a:lnTo>
                  <a:pt x="513" y="1311"/>
                </a:lnTo>
                <a:lnTo>
                  <a:pt x="515" y="1311"/>
                </a:lnTo>
                <a:lnTo>
                  <a:pt x="515" y="1310"/>
                </a:lnTo>
                <a:lnTo>
                  <a:pt x="515" y="1311"/>
                </a:lnTo>
                <a:lnTo>
                  <a:pt x="516" y="1311"/>
                </a:lnTo>
                <a:lnTo>
                  <a:pt x="516" y="1310"/>
                </a:lnTo>
                <a:lnTo>
                  <a:pt x="518" y="1310"/>
                </a:lnTo>
                <a:lnTo>
                  <a:pt x="518" y="1308"/>
                </a:lnTo>
                <a:lnTo>
                  <a:pt x="518" y="1310"/>
                </a:lnTo>
                <a:lnTo>
                  <a:pt x="516" y="1311"/>
                </a:lnTo>
                <a:lnTo>
                  <a:pt x="518" y="1311"/>
                </a:lnTo>
                <a:lnTo>
                  <a:pt x="520" y="1310"/>
                </a:lnTo>
                <a:lnTo>
                  <a:pt x="520" y="1311"/>
                </a:lnTo>
                <a:lnTo>
                  <a:pt x="518" y="1313"/>
                </a:lnTo>
                <a:lnTo>
                  <a:pt x="520" y="1313"/>
                </a:lnTo>
                <a:lnTo>
                  <a:pt x="522" y="1311"/>
                </a:lnTo>
                <a:lnTo>
                  <a:pt x="520" y="1313"/>
                </a:lnTo>
                <a:lnTo>
                  <a:pt x="523" y="1311"/>
                </a:lnTo>
                <a:lnTo>
                  <a:pt x="522" y="1313"/>
                </a:lnTo>
                <a:lnTo>
                  <a:pt x="520" y="1313"/>
                </a:lnTo>
                <a:lnTo>
                  <a:pt x="522" y="1315"/>
                </a:lnTo>
                <a:lnTo>
                  <a:pt x="523" y="1315"/>
                </a:lnTo>
                <a:lnTo>
                  <a:pt x="525" y="1313"/>
                </a:lnTo>
                <a:lnTo>
                  <a:pt x="525" y="1315"/>
                </a:lnTo>
                <a:lnTo>
                  <a:pt x="523" y="1315"/>
                </a:lnTo>
                <a:lnTo>
                  <a:pt x="523" y="1317"/>
                </a:lnTo>
                <a:lnTo>
                  <a:pt x="523" y="1315"/>
                </a:lnTo>
                <a:lnTo>
                  <a:pt x="523" y="1317"/>
                </a:lnTo>
                <a:lnTo>
                  <a:pt x="522" y="1315"/>
                </a:lnTo>
                <a:lnTo>
                  <a:pt x="522" y="1317"/>
                </a:lnTo>
                <a:lnTo>
                  <a:pt x="522" y="1315"/>
                </a:lnTo>
                <a:lnTo>
                  <a:pt x="522" y="1317"/>
                </a:lnTo>
                <a:lnTo>
                  <a:pt x="522" y="1315"/>
                </a:lnTo>
                <a:lnTo>
                  <a:pt x="520" y="1317"/>
                </a:lnTo>
                <a:lnTo>
                  <a:pt x="522" y="1315"/>
                </a:lnTo>
                <a:lnTo>
                  <a:pt x="520" y="1317"/>
                </a:lnTo>
                <a:lnTo>
                  <a:pt x="520" y="1315"/>
                </a:lnTo>
                <a:lnTo>
                  <a:pt x="518" y="1317"/>
                </a:lnTo>
                <a:lnTo>
                  <a:pt x="518" y="1315"/>
                </a:lnTo>
                <a:lnTo>
                  <a:pt x="520" y="1315"/>
                </a:lnTo>
                <a:lnTo>
                  <a:pt x="518" y="1315"/>
                </a:lnTo>
                <a:lnTo>
                  <a:pt x="520" y="1315"/>
                </a:lnTo>
                <a:lnTo>
                  <a:pt x="518" y="1313"/>
                </a:lnTo>
                <a:lnTo>
                  <a:pt x="518" y="1315"/>
                </a:lnTo>
                <a:lnTo>
                  <a:pt x="518" y="1311"/>
                </a:lnTo>
                <a:lnTo>
                  <a:pt x="516" y="1313"/>
                </a:lnTo>
                <a:lnTo>
                  <a:pt x="516" y="1311"/>
                </a:lnTo>
                <a:lnTo>
                  <a:pt x="515" y="1311"/>
                </a:lnTo>
                <a:lnTo>
                  <a:pt x="516" y="1313"/>
                </a:lnTo>
                <a:lnTo>
                  <a:pt x="515" y="1311"/>
                </a:lnTo>
                <a:lnTo>
                  <a:pt x="515" y="1313"/>
                </a:lnTo>
                <a:lnTo>
                  <a:pt x="516" y="1313"/>
                </a:lnTo>
                <a:lnTo>
                  <a:pt x="515" y="1313"/>
                </a:lnTo>
                <a:lnTo>
                  <a:pt x="516" y="1315"/>
                </a:lnTo>
                <a:lnTo>
                  <a:pt x="515" y="1315"/>
                </a:lnTo>
                <a:lnTo>
                  <a:pt x="515" y="1317"/>
                </a:lnTo>
                <a:lnTo>
                  <a:pt x="515" y="1315"/>
                </a:lnTo>
                <a:lnTo>
                  <a:pt x="513" y="1313"/>
                </a:lnTo>
                <a:lnTo>
                  <a:pt x="515" y="1313"/>
                </a:lnTo>
                <a:lnTo>
                  <a:pt x="513" y="1313"/>
                </a:lnTo>
                <a:lnTo>
                  <a:pt x="510" y="1313"/>
                </a:lnTo>
                <a:lnTo>
                  <a:pt x="511" y="1313"/>
                </a:lnTo>
                <a:lnTo>
                  <a:pt x="511" y="1315"/>
                </a:lnTo>
                <a:lnTo>
                  <a:pt x="513" y="1315"/>
                </a:lnTo>
                <a:lnTo>
                  <a:pt x="513" y="1317"/>
                </a:lnTo>
                <a:lnTo>
                  <a:pt x="511" y="1315"/>
                </a:lnTo>
                <a:lnTo>
                  <a:pt x="511" y="1317"/>
                </a:lnTo>
                <a:lnTo>
                  <a:pt x="510" y="1313"/>
                </a:lnTo>
                <a:lnTo>
                  <a:pt x="508" y="1315"/>
                </a:lnTo>
                <a:lnTo>
                  <a:pt x="510" y="1315"/>
                </a:lnTo>
                <a:lnTo>
                  <a:pt x="511" y="1317"/>
                </a:lnTo>
                <a:lnTo>
                  <a:pt x="510" y="1317"/>
                </a:lnTo>
                <a:lnTo>
                  <a:pt x="510" y="1315"/>
                </a:lnTo>
                <a:lnTo>
                  <a:pt x="508" y="1317"/>
                </a:lnTo>
                <a:lnTo>
                  <a:pt x="508" y="1315"/>
                </a:lnTo>
                <a:lnTo>
                  <a:pt x="508" y="1318"/>
                </a:lnTo>
                <a:lnTo>
                  <a:pt x="506" y="1318"/>
                </a:lnTo>
                <a:lnTo>
                  <a:pt x="506" y="1317"/>
                </a:lnTo>
                <a:lnTo>
                  <a:pt x="505" y="1317"/>
                </a:lnTo>
                <a:lnTo>
                  <a:pt x="505" y="1318"/>
                </a:lnTo>
                <a:lnTo>
                  <a:pt x="506" y="1318"/>
                </a:lnTo>
                <a:lnTo>
                  <a:pt x="505" y="1320"/>
                </a:lnTo>
                <a:lnTo>
                  <a:pt x="506" y="1320"/>
                </a:lnTo>
                <a:lnTo>
                  <a:pt x="505" y="1320"/>
                </a:lnTo>
                <a:lnTo>
                  <a:pt x="503" y="1318"/>
                </a:lnTo>
                <a:lnTo>
                  <a:pt x="503" y="1320"/>
                </a:lnTo>
                <a:lnTo>
                  <a:pt x="501" y="1320"/>
                </a:lnTo>
                <a:lnTo>
                  <a:pt x="499" y="1320"/>
                </a:lnTo>
                <a:lnTo>
                  <a:pt x="501" y="1322"/>
                </a:lnTo>
                <a:lnTo>
                  <a:pt x="499" y="1323"/>
                </a:lnTo>
                <a:lnTo>
                  <a:pt x="499" y="1327"/>
                </a:lnTo>
                <a:lnTo>
                  <a:pt x="501" y="1327"/>
                </a:lnTo>
                <a:lnTo>
                  <a:pt x="503" y="1325"/>
                </a:lnTo>
                <a:lnTo>
                  <a:pt x="506" y="1323"/>
                </a:lnTo>
                <a:lnTo>
                  <a:pt x="508" y="1322"/>
                </a:lnTo>
                <a:lnTo>
                  <a:pt x="506" y="1325"/>
                </a:lnTo>
                <a:lnTo>
                  <a:pt x="508" y="1325"/>
                </a:lnTo>
                <a:lnTo>
                  <a:pt x="510" y="1323"/>
                </a:lnTo>
                <a:lnTo>
                  <a:pt x="508" y="1325"/>
                </a:lnTo>
                <a:lnTo>
                  <a:pt x="506" y="1325"/>
                </a:lnTo>
                <a:lnTo>
                  <a:pt x="505" y="1325"/>
                </a:lnTo>
                <a:lnTo>
                  <a:pt x="503" y="1328"/>
                </a:lnTo>
                <a:lnTo>
                  <a:pt x="503" y="1330"/>
                </a:lnTo>
                <a:lnTo>
                  <a:pt x="505" y="1332"/>
                </a:lnTo>
                <a:lnTo>
                  <a:pt x="506" y="1330"/>
                </a:lnTo>
                <a:lnTo>
                  <a:pt x="508" y="1330"/>
                </a:lnTo>
                <a:lnTo>
                  <a:pt x="508" y="1332"/>
                </a:lnTo>
                <a:lnTo>
                  <a:pt x="505" y="1332"/>
                </a:lnTo>
                <a:lnTo>
                  <a:pt x="506" y="1332"/>
                </a:lnTo>
                <a:lnTo>
                  <a:pt x="505" y="1334"/>
                </a:lnTo>
                <a:lnTo>
                  <a:pt x="505" y="1332"/>
                </a:lnTo>
                <a:lnTo>
                  <a:pt x="503" y="1334"/>
                </a:lnTo>
                <a:lnTo>
                  <a:pt x="508" y="1337"/>
                </a:lnTo>
                <a:lnTo>
                  <a:pt x="510" y="1337"/>
                </a:lnTo>
                <a:lnTo>
                  <a:pt x="510" y="1339"/>
                </a:lnTo>
                <a:lnTo>
                  <a:pt x="513" y="1339"/>
                </a:lnTo>
                <a:lnTo>
                  <a:pt x="513" y="1337"/>
                </a:lnTo>
                <a:lnTo>
                  <a:pt x="513" y="1334"/>
                </a:lnTo>
                <a:lnTo>
                  <a:pt x="513" y="1332"/>
                </a:lnTo>
                <a:lnTo>
                  <a:pt x="513" y="1334"/>
                </a:lnTo>
                <a:lnTo>
                  <a:pt x="515" y="1337"/>
                </a:lnTo>
                <a:lnTo>
                  <a:pt x="513" y="1339"/>
                </a:lnTo>
                <a:lnTo>
                  <a:pt x="513" y="1340"/>
                </a:lnTo>
                <a:lnTo>
                  <a:pt x="511" y="1342"/>
                </a:lnTo>
                <a:lnTo>
                  <a:pt x="513" y="1344"/>
                </a:lnTo>
                <a:lnTo>
                  <a:pt x="518" y="1340"/>
                </a:lnTo>
                <a:lnTo>
                  <a:pt x="520" y="1339"/>
                </a:lnTo>
                <a:lnTo>
                  <a:pt x="522" y="1337"/>
                </a:lnTo>
                <a:lnTo>
                  <a:pt x="522" y="1335"/>
                </a:lnTo>
                <a:lnTo>
                  <a:pt x="523" y="1337"/>
                </a:lnTo>
                <a:lnTo>
                  <a:pt x="523" y="1335"/>
                </a:lnTo>
                <a:lnTo>
                  <a:pt x="525" y="1334"/>
                </a:lnTo>
                <a:lnTo>
                  <a:pt x="527" y="1332"/>
                </a:lnTo>
                <a:lnTo>
                  <a:pt x="528" y="1332"/>
                </a:lnTo>
                <a:lnTo>
                  <a:pt x="525" y="1334"/>
                </a:lnTo>
                <a:lnTo>
                  <a:pt x="525" y="1335"/>
                </a:lnTo>
                <a:lnTo>
                  <a:pt x="525" y="1337"/>
                </a:lnTo>
                <a:lnTo>
                  <a:pt x="527" y="1337"/>
                </a:lnTo>
                <a:lnTo>
                  <a:pt x="525" y="1337"/>
                </a:lnTo>
                <a:lnTo>
                  <a:pt x="527" y="1339"/>
                </a:lnTo>
                <a:lnTo>
                  <a:pt x="523" y="1337"/>
                </a:lnTo>
                <a:lnTo>
                  <a:pt x="523" y="1339"/>
                </a:lnTo>
                <a:lnTo>
                  <a:pt x="522" y="1339"/>
                </a:lnTo>
                <a:lnTo>
                  <a:pt x="520" y="1340"/>
                </a:lnTo>
                <a:lnTo>
                  <a:pt x="520" y="1342"/>
                </a:lnTo>
                <a:lnTo>
                  <a:pt x="520" y="1344"/>
                </a:lnTo>
                <a:lnTo>
                  <a:pt x="520" y="1347"/>
                </a:lnTo>
                <a:lnTo>
                  <a:pt x="520" y="1349"/>
                </a:lnTo>
                <a:lnTo>
                  <a:pt x="523" y="1347"/>
                </a:lnTo>
                <a:lnTo>
                  <a:pt x="525" y="1345"/>
                </a:lnTo>
                <a:lnTo>
                  <a:pt x="527" y="1345"/>
                </a:lnTo>
                <a:lnTo>
                  <a:pt x="528" y="1347"/>
                </a:lnTo>
                <a:lnTo>
                  <a:pt x="530" y="1345"/>
                </a:lnTo>
                <a:lnTo>
                  <a:pt x="530" y="1344"/>
                </a:lnTo>
                <a:lnTo>
                  <a:pt x="528" y="1342"/>
                </a:lnTo>
                <a:lnTo>
                  <a:pt x="528" y="1340"/>
                </a:lnTo>
                <a:lnTo>
                  <a:pt x="528" y="1342"/>
                </a:lnTo>
                <a:lnTo>
                  <a:pt x="530" y="1342"/>
                </a:lnTo>
                <a:lnTo>
                  <a:pt x="532" y="1339"/>
                </a:lnTo>
                <a:lnTo>
                  <a:pt x="530" y="1339"/>
                </a:lnTo>
                <a:lnTo>
                  <a:pt x="532" y="1339"/>
                </a:lnTo>
                <a:lnTo>
                  <a:pt x="532" y="1342"/>
                </a:lnTo>
                <a:lnTo>
                  <a:pt x="530" y="1342"/>
                </a:lnTo>
                <a:lnTo>
                  <a:pt x="530" y="1345"/>
                </a:lnTo>
                <a:lnTo>
                  <a:pt x="533" y="1345"/>
                </a:lnTo>
                <a:lnTo>
                  <a:pt x="533" y="1344"/>
                </a:lnTo>
                <a:lnTo>
                  <a:pt x="535" y="1344"/>
                </a:lnTo>
                <a:lnTo>
                  <a:pt x="535" y="1345"/>
                </a:lnTo>
                <a:lnTo>
                  <a:pt x="537" y="1345"/>
                </a:lnTo>
                <a:lnTo>
                  <a:pt x="533" y="1347"/>
                </a:lnTo>
                <a:lnTo>
                  <a:pt x="533" y="1351"/>
                </a:lnTo>
                <a:lnTo>
                  <a:pt x="535" y="1349"/>
                </a:lnTo>
                <a:lnTo>
                  <a:pt x="533" y="1351"/>
                </a:lnTo>
                <a:lnTo>
                  <a:pt x="533" y="1354"/>
                </a:lnTo>
                <a:lnTo>
                  <a:pt x="537" y="1352"/>
                </a:lnTo>
                <a:lnTo>
                  <a:pt x="539" y="1349"/>
                </a:lnTo>
                <a:lnTo>
                  <a:pt x="537" y="1349"/>
                </a:lnTo>
                <a:lnTo>
                  <a:pt x="539" y="1349"/>
                </a:lnTo>
                <a:lnTo>
                  <a:pt x="537" y="1351"/>
                </a:lnTo>
                <a:lnTo>
                  <a:pt x="539" y="1352"/>
                </a:lnTo>
                <a:lnTo>
                  <a:pt x="537" y="1352"/>
                </a:lnTo>
                <a:lnTo>
                  <a:pt x="537" y="1356"/>
                </a:lnTo>
                <a:lnTo>
                  <a:pt x="535" y="1356"/>
                </a:lnTo>
                <a:lnTo>
                  <a:pt x="535" y="1359"/>
                </a:lnTo>
                <a:lnTo>
                  <a:pt x="537" y="1359"/>
                </a:lnTo>
                <a:lnTo>
                  <a:pt x="537" y="1357"/>
                </a:lnTo>
                <a:lnTo>
                  <a:pt x="540" y="1356"/>
                </a:lnTo>
                <a:lnTo>
                  <a:pt x="542" y="1354"/>
                </a:lnTo>
                <a:lnTo>
                  <a:pt x="544" y="1354"/>
                </a:lnTo>
                <a:lnTo>
                  <a:pt x="544" y="1352"/>
                </a:lnTo>
                <a:lnTo>
                  <a:pt x="544" y="1354"/>
                </a:lnTo>
                <a:lnTo>
                  <a:pt x="545" y="1354"/>
                </a:lnTo>
                <a:lnTo>
                  <a:pt x="547" y="1352"/>
                </a:lnTo>
                <a:lnTo>
                  <a:pt x="549" y="1352"/>
                </a:lnTo>
                <a:lnTo>
                  <a:pt x="547" y="1354"/>
                </a:lnTo>
                <a:lnTo>
                  <a:pt x="545" y="1359"/>
                </a:lnTo>
                <a:lnTo>
                  <a:pt x="544" y="1359"/>
                </a:lnTo>
                <a:lnTo>
                  <a:pt x="544" y="1362"/>
                </a:lnTo>
                <a:lnTo>
                  <a:pt x="544" y="1364"/>
                </a:lnTo>
                <a:lnTo>
                  <a:pt x="545" y="1364"/>
                </a:lnTo>
                <a:lnTo>
                  <a:pt x="542" y="1368"/>
                </a:lnTo>
                <a:lnTo>
                  <a:pt x="542" y="1366"/>
                </a:lnTo>
                <a:lnTo>
                  <a:pt x="542" y="1368"/>
                </a:lnTo>
                <a:lnTo>
                  <a:pt x="540" y="1369"/>
                </a:lnTo>
                <a:lnTo>
                  <a:pt x="542" y="1371"/>
                </a:lnTo>
                <a:lnTo>
                  <a:pt x="544" y="1371"/>
                </a:lnTo>
                <a:lnTo>
                  <a:pt x="544" y="1369"/>
                </a:lnTo>
                <a:lnTo>
                  <a:pt x="544" y="1371"/>
                </a:lnTo>
                <a:lnTo>
                  <a:pt x="542" y="1371"/>
                </a:lnTo>
                <a:lnTo>
                  <a:pt x="544" y="1371"/>
                </a:lnTo>
                <a:lnTo>
                  <a:pt x="545" y="1373"/>
                </a:lnTo>
                <a:lnTo>
                  <a:pt x="552" y="1378"/>
                </a:lnTo>
                <a:lnTo>
                  <a:pt x="552" y="1379"/>
                </a:lnTo>
                <a:lnTo>
                  <a:pt x="550" y="1381"/>
                </a:lnTo>
                <a:lnTo>
                  <a:pt x="552" y="1385"/>
                </a:lnTo>
                <a:lnTo>
                  <a:pt x="556" y="1383"/>
                </a:lnTo>
                <a:lnTo>
                  <a:pt x="559" y="1385"/>
                </a:lnTo>
                <a:lnTo>
                  <a:pt x="559" y="1383"/>
                </a:lnTo>
                <a:lnTo>
                  <a:pt x="561" y="1383"/>
                </a:lnTo>
                <a:lnTo>
                  <a:pt x="561" y="1385"/>
                </a:lnTo>
                <a:lnTo>
                  <a:pt x="559" y="1383"/>
                </a:lnTo>
                <a:lnTo>
                  <a:pt x="559" y="1385"/>
                </a:lnTo>
                <a:lnTo>
                  <a:pt x="562" y="1386"/>
                </a:lnTo>
                <a:lnTo>
                  <a:pt x="562" y="1385"/>
                </a:lnTo>
                <a:lnTo>
                  <a:pt x="564" y="1385"/>
                </a:lnTo>
                <a:lnTo>
                  <a:pt x="562" y="1385"/>
                </a:lnTo>
                <a:lnTo>
                  <a:pt x="566" y="1386"/>
                </a:lnTo>
                <a:lnTo>
                  <a:pt x="564" y="1385"/>
                </a:lnTo>
                <a:lnTo>
                  <a:pt x="566" y="1386"/>
                </a:lnTo>
                <a:lnTo>
                  <a:pt x="562" y="1386"/>
                </a:lnTo>
                <a:lnTo>
                  <a:pt x="562" y="1388"/>
                </a:lnTo>
                <a:lnTo>
                  <a:pt x="564" y="1390"/>
                </a:lnTo>
                <a:lnTo>
                  <a:pt x="566" y="1388"/>
                </a:lnTo>
                <a:lnTo>
                  <a:pt x="566" y="1386"/>
                </a:lnTo>
                <a:lnTo>
                  <a:pt x="566" y="1388"/>
                </a:lnTo>
                <a:lnTo>
                  <a:pt x="567" y="1386"/>
                </a:lnTo>
                <a:lnTo>
                  <a:pt x="567" y="1385"/>
                </a:lnTo>
                <a:lnTo>
                  <a:pt x="571" y="1386"/>
                </a:lnTo>
                <a:lnTo>
                  <a:pt x="573" y="1388"/>
                </a:lnTo>
                <a:lnTo>
                  <a:pt x="574" y="1385"/>
                </a:lnTo>
                <a:lnTo>
                  <a:pt x="573" y="1388"/>
                </a:lnTo>
                <a:lnTo>
                  <a:pt x="574" y="1390"/>
                </a:lnTo>
                <a:lnTo>
                  <a:pt x="576" y="1391"/>
                </a:lnTo>
                <a:lnTo>
                  <a:pt x="578" y="1391"/>
                </a:lnTo>
                <a:lnTo>
                  <a:pt x="576" y="1391"/>
                </a:lnTo>
                <a:lnTo>
                  <a:pt x="574" y="1390"/>
                </a:lnTo>
                <a:lnTo>
                  <a:pt x="573" y="1390"/>
                </a:lnTo>
                <a:lnTo>
                  <a:pt x="573" y="1391"/>
                </a:lnTo>
                <a:lnTo>
                  <a:pt x="574" y="1391"/>
                </a:lnTo>
                <a:lnTo>
                  <a:pt x="574" y="1393"/>
                </a:lnTo>
                <a:lnTo>
                  <a:pt x="574" y="1395"/>
                </a:lnTo>
                <a:lnTo>
                  <a:pt x="576" y="1396"/>
                </a:lnTo>
                <a:lnTo>
                  <a:pt x="578" y="1396"/>
                </a:lnTo>
                <a:lnTo>
                  <a:pt x="584" y="1403"/>
                </a:lnTo>
                <a:lnTo>
                  <a:pt x="590" y="1402"/>
                </a:lnTo>
                <a:lnTo>
                  <a:pt x="591" y="1398"/>
                </a:lnTo>
                <a:lnTo>
                  <a:pt x="591" y="1400"/>
                </a:lnTo>
                <a:lnTo>
                  <a:pt x="588" y="1403"/>
                </a:lnTo>
                <a:lnTo>
                  <a:pt x="590" y="1403"/>
                </a:lnTo>
                <a:lnTo>
                  <a:pt x="590" y="1405"/>
                </a:lnTo>
                <a:lnTo>
                  <a:pt x="591" y="1403"/>
                </a:lnTo>
                <a:lnTo>
                  <a:pt x="593" y="1403"/>
                </a:lnTo>
                <a:lnTo>
                  <a:pt x="593" y="1402"/>
                </a:lnTo>
                <a:lnTo>
                  <a:pt x="591" y="1402"/>
                </a:lnTo>
                <a:lnTo>
                  <a:pt x="593" y="1400"/>
                </a:lnTo>
                <a:lnTo>
                  <a:pt x="593" y="1402"/>
                </a:lnTo>
                <a:lnTo>
                  <a:pt x="593" y="1403"/>
                </a:lnTo>
                <a:lnTo>
                  <a:pt x="595" y="1405"/>
                </a:lnTo>
                <a:lnTo>
                  <a:pt x="595" y="1407"/>
                </a:lnTo>
                <a:lnTo>
                  <a:pt x="596" y="1407"/>
                </a:lnTo>
                <a:lnTo>
                  <a:pt x="598" y="1405"/>
                </a:lnTo>
                <a:lnTo>
                  <a:pt x="598" y="1408"/>
                </a:lnTo>
                <a:lnTo>
                  <a:pt x="600" y="1407"/>
                </a:lnTo>
                <a:lnTo>
                  <a:pt x="598" y="1408"/>
                </a:lnTo>
                <a:lnTo>
                  <a:pt x="596" y="1408"/>
                </a:lnTo>
                <a:lnTo>
                  <a:pt x="596" y="1407"/>
                </a:lnTo>
                <a:lnTo>
                  <a:pt x="595" y="1408"/>
                </a:lnTo>
                <a:lnTo>
                  <a:pt x="596" y="1408"/>
                </a:lnTo>
                <a:lnTo>
                  <a:pt x="595" y="1408"/>
                </a:lnTo>
                <a:lnTo>
                  <a:pt x="595" y="1413"/>
                </a:lnTo>
                <a:lnTo>
                  <a:pt x="593" y="1415"/>
                </a:lnTo>
                <a:lnTo>
                  <a:pt x="591" y="1417"/>
                </a:lnTo>
                <a:lnTo>
                  <a:pt x="590" y="1419"/>
                </a:lnTo>
                <a:lnTo>
                  <a:pt x="590" y="1420"/>
                </a:lnTo>
                <a:lnTo>
                  <a:pt x="593" y="1417"/>
                </a:lnTo>
                <a:lnTo>
                  <a:pt x="595" y="1417"/>
                </a:lnTo>
                <a:lnTo>
                  <a:pt x="596" y="1415"/>
                </a:lnTo>
                <a:lnTo>
                  <a:pt x="598" y="1415"/>
                </a:lnTo>
                <a:lnTo>
                  <a:pt x="596" y="1417"/>
                </a:lnTo>
                <a:lnTo>
                  <a:pt x="598" y="1417"/>
                </a:lnTo>
                <a:lnTo>
                  <a:pt x="596" y="1417"/>
                </a:lnTo>
                <a:lnTo>
                  <a:pt x="598" y="1420"/>
                </a:lnTo>
                <a:lnTo>
                  <a:pt x="600" y="1420"/>
                </a:lnTo>
                <a:lnTo>
                  <a:pt x="601" y="1417"/>
                </a:lnTo>
                <a:lnTo>
                  <a:pt x="600" y="1417"/>
                </a:lnTo>
                <a:lnTo>
                  <a:pt x="600" y="1415"/>
                </a:lnTo>
                <a:lnTo>
                  <a:pt x="600" y="1413"/>
                </a:lnTo>
                <a:lnTo>
                  <a:pt x="600" y="1415"/>
                </a:lnTo>
                <a:lnTo>
                  <a:pt x="600" y="1417"/>
                </a:lnTo>
                <a:lnTo>
                  <a:pt x="601" y="1417"/>
                </a:lnTo>
                <a:lnTo>
                  <a:pt x="601" y="1415"/>
                </a:lnTo>
                <a:lnTo>
                  <a:pt x="601" y="1417"/>
                </a:lnTo>
                <a:lnTo>
                  <a:pt x="600" y="1422"/>
                </a:lnTo>
                <a:lnTo>
                  <a:pt x="600" y="1424"/>
                </a:lnTo>
                <a:lnTo>
                  <a:pt x="601" y="1425"/>
                </a:lnTo>
                <a:lnTo>
                  <a:pt x="603" y="1425"/>
                </a:lnTo>
                <a:lnTo>
                  <a:pt x="605" y="1425"/>
                </a:lnTo>
                <a:lnTo>
                  <a:pt x="607" y="1424"/>
                </a:lnTo>
                <a:lnTo>
                  <a:pt x="607" y="1425"/>
                </a:lnTo>
                <a:lnTo>
                  <a:pt x="605" y="1425"/>
                </a:lnTo>
                <a:lnTo>
                  <a:pt x="605" y="1432"/>
                </a:lnTo>
                <a:lnTo>
                  <a:pt x="608" y="1431"/>
                </a:lnTo>
                <a:lnTo>
                  <a:pt x="608" y="1429"/>
                </a:lnTo>
                <a:lnTo>
                  <a:pt x="610" y="1429"/>
                </a:lnTo>
                <a:lnTo>
                  <a:pt x="610" y="1427"/>
                </a:lnTo>
                <a:lnTo>
                  <a:pt x="610" y="1429"/>
                </a:lnTo>
                <a:lnTo>
                  <a:pt x="612" y="1427"/>
                </a:lnTo>
                <a:lnTo>
                  <a:pt x="610" y="1429"/>
                </a:lnTo>
                <a:lnTo>
                  <a:pt x="612" y="1431"/>
                </a:lnTo>
                <a:lnTo>
                  <a:pt x="613" y="1429"/>
                </a:lnTo>
                <a:lnTo>
                  <a:pt x="612" y="1431"/>
                </a:lnTo>
                <a:lnTo>
                  <a:pt x="610" y="1431"/>
                </a:lnTo>
                <a:lnTo>
                  <a:pt x="610" y="1429"/>
                </a:lnTo>
                <a:lnTo>
                  <a:pt x="608" y="1429"/>
                </a:lnTo>
                <a:lnTo>
                  <a:pt x="610" y="1436"/>
                </a:lnTo>
                <a:lnTo>
                  <a:pt x="610" y="1437"/>
                </a:lnTo>
                <a:lnTo>
                  <a:pt x="612" y="1436"/>
                </a:lnTo>
                <a:lnTo>
                  <a:pt x="610" y="1437"/>
                </a:lnTo>
                <a:lnTo>
                  <a:pt x="610" y="1436"/>
                </a:lnTo>
                <a:lnTo>
                  <a:pt x="610" y="1437"/>
                </a:lnTo>
                <a:lnTo>
                  <a:pt x="612" y="1437"/>
                </a:lnTo>
                <a:lnTo>
                  <a:pt x="612" y="1436"/>
                </a:lnTo>
                <a:lnTo>
                  <a:pt x="613" y="1434"/>
                </a:lnTo>
                <a:lnTo>
                  <a:pt x="612" y="1436"/>
                </a:lnTo>
                <a:lnTo>
                  <a:pt x="613" y="1437"/>
                </a:lnTo>
                <a:lnTo>
                  <a:pt x="615" y="1436"/>
                </a:lnTo>
                <a:lnTo>
                  <a:pt x="617" y="1437"/>
                </a:lnTo>
                <a:lnTo>
                  <a:pt x="615" y="1437"/>
                </a:lnTo>
                <a:lnTo>
                  <a:pt x="612" y="1439"/>
                </a:lnTo>
                <a:lnTo>
                  <a:pt x="610" y="1442"/>
                </a:lnTo>
                <a:lnTo>
                  <a:pt x="612" y="1448"/>
                </a:lnTo>
                <a:lnTo>
                  <a:pt x="613" y="1446"/>
                </a:lnTo>
                <a:lnTo>
                  <a:pt x="613" y="1448"/>
                </a:lnTo>
                <a:lnTo>
                  <a:pt x="615" y="1449"/>
                </a:lnTo>
                <a:lnTo>
                  <a:pt x="617" y="1451"/>
                </a:lnTo>
                <a:lnTo>
                  <a:pt x="618" y="1449"/>
                </a:lnTo>
                <a:lnTo>
                  <a:pt x="622" y="1449"/>
                </a:lnTo>
                <a:lnTo>
                  <a:pt x="617" y="1451"/>
                </a:lnTo>
                <a:lnTo>
                  <a:pt x="618" y="1453"/>
                </a:lnTo>
                <a:lnTo>
                  <a:pt x="622" y="1453"/>
                </a:lnTo>
                <a:lnTo>
                  <a:pt x="622" y="1454"/>
                </a:lnTo>
                <a:lnTo>
                  <a:pt x="620" y="1454"/>
                </a:lnTo>
                <a:lnTo>
                  <a:pt x="618" y="1454"/>
                </a:lnTo>
                <a:lnTo>
                  <a:pt x="615" y="1453"/>
                </a:lnTo>
                <a:lnTo>
                  <a:pt x="613" y="1454"/>
                </a:lnTo>
                <a:lnTo>
                  <a:pt x="613" y="1463"/>
                </a:lnTo>
                <a:lnTo>
                  <a:pt x="617" y="1470"/>
                </a:lnTo>
                <a:lnTo>
                  <a:pt x="618" y="1470"/>
                </a:lnTo>
                <a:lnTo>
                  <a:pt x="618" y="1468"/>
                </a:lnTo>
                <a:lnTo>
                  <a:pt x="620" y="1466"/>
                </a:lnTo>
                <a:lnTo>
                  <a:pt x="618" y="1465"/>
                </a:lnTo>
                <a:lnTo>
                  <a:pt x="620" y="1465"/>
                </a:lnTo>
                <a:lnTo>
                  <a:pt x="618" y="1465"/>
                </a:lnTo>
                <a:lnTo>
                  <a:pt x="617" y="1463"/>
                </a:lnTo>
                <a:lnTo>
                  <a:pt x="618" y="1461"/>
                </a:lnTo>
                <a:lnTo>
                  <a:pt x="618" y="1463"/>
                </a:lnTo>
                <a:lnTo>
                  <a:pt x="618" y="1465"/>
                </a:lnTo>
                <a:lnTo>
                  <a:pt x="620" y="1465"/>
                </a:lnTo>
                <a:lnTo>
                  <a:pt x="620" y="1463"/>
                </a:lnTo>
                <a:lnTo>
                  <a:pt x="620" y="1465"/>
                </a:lnTo>
                <a:lnTo>
                  <a:pt x="622" y="1465"/>
                </a:lnTo>
                <a:lnTo>
                  <a:pt x="622" y="1461"/>
                </a:lnTo>
                <a:lnTo>
                  <a:pt x="622" y="1463"/>
                </a:lnTo>
                <a:lnTo>
                  <a:pt x="624" y="1461"/>
                </a:lnTo>
                <a:lnTo>
                  <a:pt x="624" y="1463"/>
                </a:lnTo>
                <a:lnTo>
                  <a:pt x="625" y="1463"/>
                </a:lnTo>
                <a:lnTo>
                  <a:pt x="620" y="1466"/>
                </a:lnTo>
                <a:lnTo>
                  <a:pt x="622" y="1468"/>
                </a:lnTo>
                <a:lnTo>
                  <a:pt x="625" y="1466"/>
                </a:lnTo>
                <a:lnTo>
                  <a:pt x="629" y="1466"/>
                </a:lnTo>
                <a:lnTo>
                  <a:pt x="630" y="1468"/>
                </a:lnTo>
                <a:lnTo>
                  <a:pt x="630" y="1466"/>
                </a:lnTo>
                <a:lnTo>
                  <a:pt x="634" y="1468"/>
                </a:lnTo>
                <a:lnTo>
                  <a:pt x="632" y="1468"/>
                </a:lnTo>
                <a:lnTo>
                  <a:pt x="629" y="1470"/>
                </a:lnTo>
                <a:lnTo>
                  <a:pt x="627" y="1470"/>
                </a:lnTo>
                <a:lnTo>
                  <a:pt x="627" y="1468"/>
                </a:lnTo>
                <a:lnTo>
                  <a:pt x="625" y="1468"/>
                </a:lnTo>
                <a:lnTo>
                  <a:pt x="624" y="1470"/>
                </a:lnTo>
                <a:lnTo>
                  <a:pt x="624" y="1471"/>
                </a:lnTo>
                <a:lnTo>
                  <a:pt x="625" y="1471"/>
                </a:lnTo>
                <a:lnTo>
                  <a:pt x="625" y="1473"/>
                </a:lnTo>
                <a:lnTo>
                  <a:pt x="624" y="1471"/>
                </a:lnTo>
                <a:lnTo>
                  <a:pt x="624" y="1470"/>
                </a:lnTo>
                <a:lnTo>
                  <a:pt x="622" y="1471"/>
                </a:lnTo>
                <a:lnTo>
                  <a:pt x="620" y="1471"/>
                </a:lnTo>
                <a:lnTo>
                  <a:pt x="620" y="1473"/>
                </a:lnTo>
                <a:lnTo>
                  <a:pt x="618" y="1473"/>
                </a:lnTo>
                <a:lnTo>
                  <a:pt x="618" y="1475"/>
                </a:lnTo>
                <a:lnTo>
                  <a:pt x="622" y="1475"/>
                </a:lnTo>
                <a:lnTo>
                  <a:pt x="622" y="1476"/>
                </a:lnTo>
                <a:lnTo>
                  <a:pt x="624" y="1478"/>
                </a:lnTo>
                <a:lnTo>
                  <a:pt x="622" y="1476"/>
                </a:lnTo>
                <a:lnTo>
                  <a:pt x="622" y="1478"/>
                </a:lnTo>
                <a:lnTo>
                  <a:pt x="620" y="1475"/>
                </a:lnTo>
                <a:lnTo>
                  <a:pt x="618" y="1475"/>
                </a:lnTo>
                <a:lnTo>
                  <a:pt x="615" y="1471"/>
                </a:lnTo>
                <a:lnTo>
                  <a:pt x="613" y="1471"/>
                </a:lnTo>
                <a:lnTo>
                  <a:pt x="612" y="1471"/>
                </a:lnTo>
                <a:lnTo>
                  <a:pt x="612" y="1473"/>
                </a:lnTo>
                <a:lnTo>
                  <a:pt x="612" y="1471"/>
                </a:lnTo>
                <a:lnTo>
                  <a:pt x="610" y="1471"/>
                </a:lnTo>
                <a:lnTo>
                  <a:pt x="612" y="1473"/>
                </a:lnTo>
                <a:lnTo>
                  <a:pt x="610" y="1475"/>
                </a:lnTo>
                <a:lnTo>
                  <a:pt x="613" y="1478"/>
                </a:lnTo>
                <a:lnTo>
                  <a:pt x="615" y="1480"/>
                </a:lnTo>
                <a:lnTo>
                  <a:pt x="617" y="1482"/>
                </a:lnTo>
                <a:lnTo>
                  <a:pt x="617" y="1483"/>
                </a:lnTo>
                <a:lnTo>
                  <a:pt x="618" y="1485"/>
                </a:lnTo>
                <a:lnTo>
                  <a:pt x="617" y="1488"/>
                </a:lnTo>
                <a:lnTo>
                  <a:pt x="622" y="1485"/>
                </a:lnTo>
                <a:lnTo>
                  <a:pt x="625" y="1485"/>
                </a:lnTo>
                <a:lnTo>
                  <a:pt x="629" y="1488"/>
                </a:lnTo>
                <a:lnTo>
                  <a:pt x="630" y="1492"/>
                </a:lnTo>
                <a:lnTo>
                  <a:pt x="630" y="1493"/>
                </a:lnTo>
                <a:lnTo>
                  <a:pt x="630" y="1497"/>
                </a:lnTo>
                <a:lnTo>
                  <a:pt x="634" y="1499"/>
                </a:lnTo>
                <a:lnTo>
                  <a:pt x="630" y="1499"/>
                </a:lnTo>
                <a:lnTo>
                  <a:pt x="627" y="1500"/>
                </a:lnTo>
                <a:lnTo>
                  <a:pt x="629" y="1502"/>
                </a:lnTo>
                <a:lnTo>
                  <a:pt x="630" y="1504"/>
                </a:lnTo>
                <a:lnTo>
                  <a:pt x="632" y="1505"/>
                </a:lnTo>
                <a:lnTo>
                  <a:pt x="635" y="1507"/>
                </a:lnTo>
                <a:lnTo>
                  <a:pt x="637" y="1505"/>
                </a:lnTo>
                <a:lnTo>
                  <a:pt x="635" y="1507"/>
                </a:lnTo>
                <a:lnTo>
                  <a:pt x="635" y="1509"/>
                </a:lnTo>
                <a:lnTo>
                  <a:pt x="641" y="1510"/>
                </a:lnTo>
                <a:lnTo>
                  <a:pt x="642" y="1510"/>
                </a:lnTo>
                <a:lnTo>
                  <a:pt x="646" y="1512"/>
                </a:lnTo>
                <a:lnTo>
                  <a:pt x="651" y="1509"/>
                </a:lnTo>
                <a:lnTo>
                  <a:pt x="651" y="1512"/>
                </a:lnTo>
                <a:lnTo>
                  <a:pt x="649" y="1512"/>
                </a:lnTo>
                <a:lnTo>
                  <a:pt x="652" y="1516"/>
                </a:lnTo>
                <a:lnTo>
                  <a:pt x="652" y="1519"/>
                </a:lnTo>
                <a:lnTo>
                  <a:pt x="656" y="1519"/>
                </a:lnTo>
                <a:lnTo>
                  <a:pt x="658" y="1519"/>
                </a:lnTo>
                <a:lnTo>
                  <a:pt x="659" y="1519"/>
                </a:lnTo>
                <a:lnTo>
                  <a:pt x="658" y="1519"/>
                </a:lnTo>
                <a:lnTo>
                  <a:pt x="658" y="1521"/>
                </a:lnTo>
                <a:lnTo>
                  <a:pt x="654" y="1521"/>
                </a:lnTo>
                <a:lnTo>
                  <a:pt x="651" y="1524"/>
                </a:lnTo>
                <a:lnTo>
                  <a:pt x="652" y="1526"/>
                </a:lnTo>
                <a:lnTo>
                  <a:pt x="654" y="1526"/>
                </a:lnTo>
                <a:lnTo>
                  <a:pt x="656" y="1526"/>
                </a:lnTo>
                <a:lnTo>
                  <a:pt x="658" y="1526"/>
                </a:lnTo>
                <a:lnTo>
                  <a:pt x="658" y="1527"/>
                </a:lnTo>
                <a:lnTo>
                  <a:pt x="654" y="1526"/>
                </a:lnTo>
                <a:lnTo>
                  <a:pt x="652" y="1526"/>
                </a:lnTo>
                <a:lnTo>
                  <a:pt x="649" y="1527"/>
                </a:lnTo>
                <a:lnTo>
                  <a:pt x="659" y="1529"/>
                </a:lnTo>
                <a:lnTo>
                  <a:pt x="681" y="1538"/>
                </a:lnTo>
                <a:lnTo>
                  <a:pt x="693" y="1544"/>
                </a:lnTo>
                <a:lnTo>
                  <a:pt x="697" y="1548"/>
                </a:lnTo>
                <a:lnTo>
                  <a:pt x="698" y="1548"/>
                </a:lnTo>
                <a:lnTo>
                  <a:pt x="697" y="1548"/>
                </a:lnTo>
                <a:lnTo>
                  <a:pt x="703" y="1551"/>
                </a:lnTo>
                <a:lnTo>
                  <a:pt x="702" y="1551"/>
                </a:lnTo>
                <a:lnTo>
                  <a:pt x="707" y="1555"/>
                </a:lnTo>
                <a:lnTo>
                  <a:pt x="709" y="1558"/>
                </a:lnTo>
                <a:lnTo>
                  <a:pt x="710" y="1560"/>
                </a:lnTo>
                <a:lnTo>
                  <a:pt x="715" y="1558"/>
                </a:lnTo>
                <a:lnTo>
                  <a:pt x="717" y="1560"/>
                </a:lnTo>
                <a:lnTo>
                  <a:pt x="715" y="1560"/>
                </a:lnTo>
                <a:lnTo>
                  <a:pt x="717" y="1561"/>
                </a:lnTo>
                <a:lnTo>
                  <a:pt x="717" y="1563"/>
                </a:lnTo>
                <a:lnTo>
                  <a:pt x="715" y="1563"/>
                </a:lnTo>
                <a:lnTo>
                  <a:pt x="710" y="1560"/>
                </a:lnTo>
                <a:lnTo>
                  <a:pt x="709" y="1560"/>
                </a:lnTo>
                <a:lnTo>
                  <a:pt x="709" y="1558"/>
                </a:lnTo>
                <a:lnTo>
                  <a:pt x="707" y="1560"/>
                </a:lnTo>
                <a:lnTo>
                  <a:pt x="709" y="1561"/>
                </a:lnTo>
                <a:lnTo>
                  <a:pt x="727" y="1570"/>
                </a:lnTo>
                <a:lnTo>
                  <a:pt x="734" y="1573"/>
                </a:lnTo>
                <a:lnTo>
                  <a:pt x="736" y="1577"/>
                </a:lnTo>
                <a:lnTo>
                  <a:pt x="737" y="1579"/>
                </a:lnTo>
                <a:lnTo>
                  <a:pt x="736" y="1580"/>
                </a:lnTo>
                <a:lnTo>
                  <a:pt x="737" y="1580"/>
                </a:lnTo>
                <a:lnTo>
                  <a:pt x="736" y="1580"/>
                </a:lnTo>
                <a:lnTo>
                  <a:pt x="736" y="1582"/>
                </a:lnTo>
                <a:lnTo>
                  <a:pt x="741" y="1585"/>
                </a:lnTo>
                <a:lnTo>
                  <a:pt x="743" y="1585"/>
                </a:lnTo>
                <a:lnTo>
                  <a:pt x="758" y="1590"/>
                </a:lnTo>
                <a:lnTo>
                  <a:pt x="760" y="1592"/>
                </a:lnTo>
                <a:lnTo>
                  <a:pt x="765" y="1596"/>
                </a:lnTo>
                <a:lnTo>
                  <a:pt x="768" y="1599"/>
                </a:lnTo>
                <a:lnTo>
                  <a:pt x="773" y="1602"/>
                </a:lnTo>
                <a:lnTo>
                  <a:pt x="775" y="1602"/>
                </a:lnTo>
                <a:lnTo>
                  <a:pt x="775" y="1604"/>
                </a:lnTo>
                <a:lnTo>
                  <a:pt x="785" y="1613"/>
                </a:lnTo>
                <a:lnTo>
                  <a:pt x="788" y="1618"/>
                </a:lnTo>
                <a:lnTo>
                  <a:pt x="799" y="1624"/>
                </a:lnTo>
                <a:lnTo>
                  <a:pt x="799" y="1626"/>
                </a:lnTo>
                <a:lnTo>
                  <a:pt x="802" y="1630"/>
                </a:lnTo>
                <a:lnTo>
                  <a:pt x="805" y="1633"/>
                </a:lnTo>
                <a:lnTo>
                  <a:pt x="809" y="1636"/>
                </a:lnTo>
                <a:lnTo>
                  <a:pt x="814" y="1640"/>
                </a:lnTo>
                <a:lnTo>
                  <a:pt x="814" y="1641"/>
                </a:lnTo>
                <a:lnTo>
                  <a:pt x="817" y="1643"/>
                </a:lnTo>
                <a:lnTo>
                  <a:pt x="822" y="1645"/>
                </a:lnTo>
                <a:lnTo>
                  <a:pt x="822" y="1647"/>
                </a:lnTo>
                <a:lnTo>
                  <a:pt x="826" y="1648"/>
                </a:lnTo>
                <a:lnTo>
                  <a:pt x="826" y="1650"/>
                </a:lnTo>
                <a:lnTo>
                  <a:pt x="834" y="1652"/>
                </a:lnTo>
                <a:lnTo>
                  <a:pt x="838" y="1655"/>
                </a:lnTo>
                <a:lnTo>
                  <a:pt x="841" y="1657"/>
                </a:lnTo>
                <a:lnTo>
                  <a:pt x="843" y="1658"/>
                </a:lnTo>
                <a:lnTo>
                  <a:pt x="848" y="1660"/>
                </a:lnTo>
                <a:lnTo>
                  <a:pt x="853" y="1662"/>
                </a:lnTo>
                <a:lnTo>
                  <a:pt x="856" y="1665"/>
                </a:lnTo>
                <a:lnTo>
                  <a:pt x="862" y="1667"/>
                </a:lnTo>
                <a:lnTo>
                  <a:pt x="867" y="1670"/>
                </a:lnTo>
                <a:lnTo>
                  <a:pt x="882" y="1674"/>
                </a:lnTo>
                <a:lnTo>
                  <a:pt x="887" y="1675"/>
                </a:lnTo>
                <a:lnTo>
                  <a:pt x="889" y="1677"/>
                </a:lnTo>
                <a:lnTo>
                  <a:pt x="887" y="1677"/>
                </a:lnTo>
                <a:lnTo>
                  <a:pt x="889" y="1679"/>
                </a:lnTo>
                <a:lnTo>
                  <a:pt x="890" y="1679"/>
                </a:lnTo>
                <a:lnTo>
                  <a:pt x="892" y="1679"/>
                </a:lnTo>
                <a:lnTo>
                  <a:pt x="892" y="1681"/>
                </a:lnTo>
                <a:lnTo>
                  <a:pt x="897" y="1681"/>
                </a:lnTo>
                <a:lnTo>
                  <a:pt x="902" y="1681"/>
                </a:lnTo>
                <a:lnTo>
                  <a:pt x="909" y="1679"/>
                </a:lnTo>
                <a:lnTo>
                  <a:pt x="914" y="1675"/>
                </a:lnTo>
                <a:lnTo>
                  <a:pt x="916" y="1675"/>
                </a:lnTo>
                <a:lnTo>
                  <a:pt x="918" y="1674"/>
                </a:lnTo>
                <a:lnTo>
                  <a:pt x="919" y="1672"/>
                </a:lnTo>
                <a:lnTo>
                  <a:pt x="928" y="1670"/>
                </a:lnTo>
                <a:lnTo>
                  <a:pt x="930" y="1670"/>
                </a:lnTo>
                <a:lnTo>
                  <a:pt x="933" y="1667"/>
                </a:lnTo>
                <a:lnTo>
                  <a:pt x="933" y="1665"/>
                </a:lnTo>
                <a:lnTo>
                  <a:pt x="945" y="1664"/>
                </a:lnTo>
                <a:lnTo>
                  <a:pt x="948" y="1662"/>
                </a:lnTo>
                <a:lnTo>
                  <a:pt x="948" y="1660"/>
                </a:lnTo>
                <a:lnTo>
                  <a:pt x="950" y="1662"/>
                </a:lnTo>
                <a:lnTo>
                  <a:pt x="950" y="1660"/>
                </a:lnTo>
                <a:lnTo>
                  <a:pt x="957" y="1658"/>
                </a:lnTo>
                <a:lnTo>
                  <a:pt x="958" y="1658"/>
                </a:lnTo>
                <a:lnTo>
                  <a:pt x="970" y="1653"/>
                </a:lnTo>
                <a:lnTo>
                  <a:pt x="975" y="1652"/>
                </a:lnTo>
                <a:lnTo>
                  <a:pt x="977" y="1650"/>
                </a:lnTo>
                <a:lnTo>
                  <a:pt x="991" y="1647"/>
                </a:lnTo>
                <a:lnTo>
                  <a:pt x="1004" y="1643"/>
                </a:lnTo>
                <a:lnTo>
                  <a:pt x="1016" y="1643"/>
                </a:lnTo>
                <a:lnTo>
                  <a:pt x="1021" y="1641"/>
                </a:lnTo>
                <a:lnTo>
                  <a:pt x="1043" y="1640"/>
                </a:lnTo>
                <a:lnTo>
                  <a:pt x="1054" y="1638"/>
                </a:lnTo>
                <a:lnTo>
                  <a:pt x="1071" y="1636"/>
                </a:lnTo>
                <a:lnTo>
                  <a:pt x="1077" y="1636"/>
                </a:lnTo>
                <a:lnTo>
                  <a:pt x="1081" y="1636"/>
                </a:lnTo>
                <a:lnTo>
                  <a:pt x="1083" y="1635"/>
                </a:lnTo>
                <a:lnTo>
                  <a:pt x="1096" y="1638"/>
                </a:lnTo>
                <a:lnTo>
                  <a:pt x="1110" y="1640"/>
                </a:lnTo>
                <a:lnTo>
                  <a:pt x="1127" y="1643"/>
                </a:lnTo>
                <a:lnTo>
                  <a:pt x="1147" y="1648"/>
                </a:lnTo>
                <a:lnTo>
                  <a:pt x="1162" y="1652"/>
                </a:lnTo>
                <a:lnTo>
                  <a:pt x="1169" y="1653"/>
                </a:lnTo>
                <a:lnTo>
                  <a:pt x="1169" y="1655"/>
                </a:lnTo>
                <a:lnTo>
                  <a:pt x="1171" y="1655"/>
                </a:lnTo>
                <a:lnTo>
                  <a:pt x="1174" y="1658"/>
                </a:lnTo>
                <a:lnTo>
                  <a:pt x="1178" y="1658"/>
                </a:lnTo>
                <a:lnTo>
                  <a:pt x="1178" y="1660"/>
                </a:lnTo>
                <a:lnTo>
                  <a:pt x="1178" y="1662"/>
                </a:lnTo>
                <a:lnTo>
                  <a:pt x="1178" y="1660"/>
                </a:lnTo>
                <a:lnTo>
                  <a:pt x="1179" y="1662"/>
                </a:lnTo>
                <a:lnTo>
                  <a:pt x="1181" y="1660"/>
                </a:lnTo>
                <a:lnTo>
                  <a:pt x="1183" y="1660"/>
                </a:lnTo>
                <a:lnTo>
                  <a:pt x="1186" y="1657"/>
                </a:lnTo>
                <a:lnTo>
                  <a:pt x="1191" y="1655"/>
                </a:lnTo>
                <a:lnTo>
                  <a:pt x="1193" y="1655"/>
                </a:lnTo>
                <a:lnTo>
                  <a:pt x="1195" y="1655"/>
                </a:lnTo>
                <a:lnTo>
                  <a:pt x="1193" y="1653"/>
                </a:lnTo>
                <a:lnTo>
                  <a:pt x="1196" y="1653"/>
                </a:lnTo>
                <a:lnTo>
                  <a:pt x="1195" y="1653"/>
                </a:lnTo>
                <a:lnTo>
                  <a:pt x="1196" y="1652"/>
                </a:lnTo>
                <a:lnTo>
                  <a:pt x="1198" y="1652"/>
                </a:lnTo>
                <a:lnTo>
                  <a:pt x="1198" y="1650"/>
                </a:lnTo>
                <a:lnTo>
                  <a:pt x="1200" y="1650"/>
                </a:lnTo>
                <a:lnTo>
                  <a:pt x="1202" y="1647"/>
                </a:lnTo>
                <a:lnTo>
                  <a:pt x="1210" y="1645"/>
                </a:lnTo>
                <a:lnTo>
                  <a:pt x="1212" y="1645"/>
                </a:lnTo>
                <a:lnTo>
                  <a:pt x="1217" y="1643"/>
                </a:lnTo>
                <a:lnTo>
                  <a:pt x="1220" y="1643"/>
                </a:lnTo>
                <a:lnTo>
                  <a:pt x="1229" y="1638"/>
                </a:lnTo>
                <a:lnTo>
                  <a:pt x="1242" y="1638"/>
                </a:lnTo>
                <a:lnTo>
                  <a:pt x="1247" y="1633"/>
                </a:lnTo>
                <a:lnTo>
                  <a:pt x="1251" y="1631"/>
                </a:lnTo>
                <a:lnTo>
                  <a:pt x="1253" y="1631"/>
                </a:lnTo>
                <a:lnTo>
                  <a:pt x="1253" y="1630"/>
                </a:lnTo>
                <a:lnTo>
                  <a:pt x="1259" y="1630"/>
                </a:lnTo>
                <a:lnTo>
                  <a:pt x="1261" y="1626"/>
                </a:lnTo>
                <a:lnTo>
                  <a:pt x="1264" y="1624"/>
                </a:lnTo>
                <a:lnTo>
                  <a:pt x="1268" y="1623"/>
                </a:lnTo>
                <a:lnTo>
                  <a:pt x="1273" y="1621"/>
                </a:lnTo>
                <a:lnTo>
                  <a:pt x="1278" y="1619"/>
                </a:lnTo>
                <a:lnTo>
                  <a:pt x="1281" y="1618"/>
                </a:lnTo>
                <a:lnTo>
                  <a:pt x="1285" y="1616"/>
                </a:lnTo>
                <a:lnTo>
                  <a:pt x="1287" y="1613"/>
                </a:lnTo>
                <a:lnTo>
                  <a:pt x="1290" y="1613"/>
                </a:lnTo>
                <a:lnTo>
                  <a:pt x="1293" y="1611"/>
                </a:lnTo>
                <a:lnTo>
                  <a:pt x="1298" y="1609"/>
                </a:lnTo>
                <a:lnTo>
                  <a:pt x="1305" y="1607"/>
                </a:lnTo>
                <a:lnTo>
                  <a:pt x="1317" y="1609"/>
                </a:lnTo>
                <a:lnTo>
                  <a:pt x="1331" y="1609"/>
                </a:lnTo>
                <a:lnTo>
                  <a:pt x="1334" y="1606"/>
                </a:lnTo>
                <a:lnTo>
                  <a:pt x="1334" y="1601"/>
                </a:lnTo>
                <a:lnTo>
                  <a:pt x="1338" y="1596"/>
                </a:lnTo>
                <a:lnTo>
                  <a:pt x="1344" y="1592"/>
                </a:lnTo>
                <a:lnTo>
                  <a:pt x="1349" y="1590"/>
                </a:lnTo>
                <a:lnTo>
                  <a:pt x="1353" y="1589"/>
                </a:lnTo>
                <a:lnTo>
                  <a:pt x="1366" y="1585"/>
                </a:lnTo>
                <a:lnTo>
                  <a:pt x="1382" y="1582"/>
                </a:lnTo>
                <a:lnTo>
                  <a:pt x="1392" y="1580"/>
                </a:lnTo>
                <a:lnTo>
                  <a:pt x="1402" y="1580"/>
                </a:lnTo>
                <a:lnTo>
                  <a:pt x="1407" y="1580"/>
                </a:lnTo>
                <a:lnTo>
                  <a:pt x="1409" y="1579"/>
                </a:lnTo>
                <a:lnTo>
                  <a:pt x="1421" y="1579"/>
                </a:lnTo>
                <a:lnTo>
                  <a:pt x="1428" y="1579"/>
                </a:lnTo>
                <a:lnTo>
                  <a:pt x="1446" y="1577"/>
                </a:lnTo>
                <a:lnTo>
                  <a:pt x="1457" y="1577"/>
                </a:lnTo>
                <a:lnTo>
                  <a:pt x="1477" y="1575"/>
                </a:lnTo>
                <a:lnTo>
                  <a:pt x="1482" y="1575"/>
                </a:lnTo>
                <a:lnTo>
                  <a:pt x="1504" y="1579"/>
                </a:lnTo>
                <a:lnTo>
                  <a:pt x="1509" y="1580"/>
                </a:lnTo>
                <a:lnTo>
                  <a:pt x="1514" y="1582"/>
                </a:lnTo>
                <a:lnTo>
                  <a:pt x="1525" y="1592"/>
                </a:lnTo>
                <a:lnTo>
                  <a:pt x="1535" y="1601"/>
                </a:lnTo>
                <a:lnTo>
                  <a:pt x="1540" y="1609"/>
                </a:lnTo>
                <a:lnTo>
                  <a:pt x="1542" y="1609"/>
                </a:lnTo>
                <a:lnTo>
                  <a:pt x="1542" y="1613"/>
                </a:lnTo>
                <a:lnTo>
                  <a:pt x="1545" y="1618"/>
                </a:lnTo>
                <a:lnTo>
                  <a:pt x="1547" y="1618"/>
                </a:lnTo>
                <a:lnTo>
                  <a:pt x="1548" y="1616"/>
                </a:lnTo>
                <a:lnTo>
                  <a:pt x="1552" y="1618"/>
                </a:lnTo>
                <a:lnTo>
                  <a:pt x="1553" y="1613"/>
                </a:lnTo>
                <a:lnTo>
                  <a:pt x="1553" y="1616"/>
                </a:lnTo>
                <a:lnTo>
                  <a:pt x="1553" y="1618"/>
                </a:lnTo>
                <a:lnTo>
                  <a:pt x="1555" y="1618"/>
                </a:lnTo>
                <a:lnTo>
                  <a:pt x="1557" y="1616"/>
                </a:lnTo>
                <a:lnTo>
                  <a:pt x="1557" y="1618"/>
                </a:lnTo>
                <a:lnTo>
                  <a:pt x="1557" y="1619"/>
                </a:lnTo>
                <a:lnTo>
                  <a:pt x="1548" y="1618"/>
                </a:lnTo>
                <a:lnTo>
                  <a:pt x="1545" y="1621"/>
                </a:lnTo>
                <a:lnTo>
                  <a:pt x="1548" y="1624"/>
                </a:lnTo>
                <a:lnTo>
                  <a:pt x="1550" y="1626"/>
                </a:lnTo>
                <a:lnTo>
                  <a:pt x="1555" y="1628"/>
                </a:lnTo>
                <a:lnTo>
                  <a:pt x="1559" y="1628"/>
                </a:lnTo>
                <a:lnTo>
                  <a:pt x="1559" y="1626"/>
                </a:lnTo>
                <a:lnTo>
                  <a:pt x="1559" y="1624"/>
                </a:lnTo>
                <a:lnTo>
                  <a:pt x="1559" y="1626"/>
                </a:lnTo>
                <a:lnTo>
                  <a:pt x="1560" y="1628"/>
                </a:lnTo>
                <a:lnTo>
                  <a:pt x="1564" y="1623"/>
                </a:lnTo>
                <a:lnTo>
                  <a:pt x="1567" y="1623"/>
                </a:lnTo>
                <a:lnTo>
                  <a:pt x="1569" y="1621"/>
                </a:lnTo>
                <a:lnTo>
                  <a:pt x="1570" y="1621"/>
                </a:lnTo>
                <a:lnTo>
                  <a:pt x="1569" y="1621"/>
                </a:lnTo>
                <a:lnTo>
                  <a:pt x="1567" y="1623"/>
                </a:lnTo>
                <a:lnTo>
                  <a:pt x="1564" y="1623"/>
                </a:lnTo>
                <a:lnTo>
                  <a:pt x="1564" y="1626"/>
                </a:lnTo>
                <a:lnTo>
                  <a:pt x="1564" y="1628"/>
                </a:lnTo>
                <a:lnTo>
                  <a:pt x="1565" y="1628"/>
                </a:lnTo>
                <a:lnTo>
                  <a:pt x="1565" y="1630"/>
                </a:lnTo>
                <a:lnTo>
                  <a:pt x="1560" y="1631"/>
                </a:lnTo>
                <a:lnTo>
                  <a:pt x="1559" y="1630"/>
                </a:lnTo>
                <a:lnTo>
                  <a:pt x="1555" y="1630"/>
                </a:lnTo>
                <a:lnTo>
                  <a:pt x="1555" y="1631"/>
                </a:lnTo>
                <a:lnTo>
                  <a:pt x="1555" y="1630"/>
                </a:lnTo>
                <a:lnTo>
                  <a:pt x="1553" y="1630"/>
                </a:lnTo>
                <a:lnTo>
                  <a:pt x="1555" y="1640"/>
                </a:lnTo>
                <a:lnTo>
                  <a:pt x="1557" y="1641"/>
                </a:lnTo>
                <a:lnTo>
                  <a:pt x="1560" y="1640"/>
                </a:lnTo>
                <a:lnTo>
                  <a:pt x="1560" y="1641"/>
                </a:lnTo>
                <a:lnTo>
                  <a:pt x="1557" y="1641"/>
                </a:lnTo>
                <a:lnTo>
                  <a:pt x="1560" y="1650"/>
                </a:lnTo>
                <a:lnTo>
                  <a:pt x="1560" y="1653"/>
                </a:lnTo>
                <a:lnTo>
                  <a:pt x="1564" y="1660"/>
                </a:lnTo>
                <a:lnTo>
                  <a:pt x="1570" y="1670"/>
                </a:lnTo>
                <a:lnTo>
                  <a:pt x="1572" y="1670"/>
                </a:lnTo>
                <a:lnTo>
                  <a:pt x="1572" y="1672"/>
                </a:lnTo>
                <a:lnTo>
                  <a:pt x="1574" y="1672"/>
                </a:lnTo>
                <a:lnTo>
                  <a:pt x="1576" y="1675"/>
                </a:lnTo>
                <a:lnTo>
                  <a:pt x="1577" y="1675"/>
                </a:lnTo>
                <a:lnTo>
                  <a:pt x="1579" y="1677"/>
                </a:lnTo>
                <a:lnTo>
                  <a:pt x="1582" y="1675"/>
                </a:lnTo>
                <a:lnTo>
                  <a:pt x="1581" y="1677"/>
                </a:lnTo>
                <a:lnTo>
                  <a:pt x="1581" y="1679"/>
                </a:lnTo>
                <a:lnTo>
                  <a:pt x="1582" y="1681"/>
                </a:lnTo>
                <a:lnTo>
                  <a:pt x="1586" y="1682"/>
                </a:lnTo>
                <a:lnTo>
                  <a:pt x="1586" y="1681"/>
                </a:lnTo>
                <a:lnTo>
                  <a:pt x="1586" y="1679"/>
                </a:lnTo>
                <a:lnTo>
                  <a:pt x="1587" y="1681"/>
                </a:lnTo>
                <a:lnTo>
                  <a:pt x="1586" y="1682"/>
                </a:lnTo>
                <a:lnTo>
                  <a:pt x="1591" y="1684"/>
                </a:lnTo>
                <a:lnTo>
                  <a:pt x="1591" y="1682"/>
                </a:lnTo>
                <a:lnTo>
                  <a:pt x="1589" y="1681"/>
                </a:lnTo>
                <a:lnTo>
                  <a:pt x="1591" y="1681"/>
                </a:lnTo>
                <a:lnTo>
                  <a:pt x="1591" y="1679"/>
                </a:lnTo>
                <a:lnTo>
                  <a:pt x="1594" y="1677"/>
                </a:lnTo>
                <a:lnTo>
                  <a:pt x="1596" y="1679"/>
                </a:lnTo>
                <a:lnTo>
                  <a:pt x="1594" y="1681"/>
                </a:lnTo>
                <a:lnTo>
                  <a:pt x="1593" y="1681"/>
                </a:lnTo>
                <a:lnTo>
                  <a:pt x="1593" y="1682"/>
                </a:lnTo>
                <a:lnTo>
                  <a:pt x="1593" y="1686"/>
                </a:lnTo>
                <a:lnTo>
                  <a:pt x="1599" y="1684"/>
                </a:lnTo>
                <a:lnTo>
                  <a:pt x="1598" y="1682"/>
                </a:lnTo>
                <a:lnTo>
                  <a:pt x="1599" y="1679"/>
                </a:lnTo>
                <a:lnTo>
                  <a:pt x="1598" y="1677"/>
                </a:lnTo>
                <a:lnTo>
                  <a:pt x="1599" y="1677"/>
                </a:lnTo>
                <a:lnTo>
                  <a:pt x="1601" y="1679"/>
                </a:lnTo>
                <a:lnTo>
                  <a:pt x="1599" y="1675"/>
                </a:lnTo>
                <a:lnTo>
                  <a:pt x="1601" y="1677"/>
                </a:lnTo>
                <a:lnTo>
                  <a:pt x="1601" y="1679"/>
                </a:lnTo>
                <a:lnTo>
                  <a:pt x="1603" y="1677"/>
                </a:lnTo>
                <a:lnTo>
                  <a:pt x="1604" y="1677"/>
                </a:lnTo>
                <a:lnTo>
                  <a:pt x="1606" y="1681"/>
                </a:lnTo>
                <a:lnTo>
                  <a:pt x="1608" y="1682"/>
                </a:lnTo>
                <a:lnTo>
                  <a:pt x="1610" y="1682"/>
                </a:lnTo>
                <a:lnTo>
                  <a:pt x="1618" y="1682"/>
                </a:lnTo>
                <a:lnTo>
                  <a:pt x="1618" y="1681"/>
                </a:lnTo>
                <a:lnTo>
                  <a:pt x="1616" y="1681"/>
                </a:lnTo>
                <a:lnTo>
                  <a:pt x="1618" y="1681"/>
                </a:lnTo>
                <a:lnTo>
                  <a:pt x="1618" y="1675"/>
                </a:lnTo>
                <a:lnTo>
                  <a:pt x="1616" y="1674"/>
                </a:lnTo>
                <a:lnTo>
                  <a:pt x="1615" y="1674"/>
                </a:lnTo>
                <a:lnTo>
                  <a:pt x="1615" y="1672"/>
                </a:lnTo>
                <a:lnTo>
                  <a:pt x="1616" y="1674"/>
                </a:lnTo>
                <a:lnTo>
                  <a:pt x="1618" y="1675"/>
                </a:lnTo>
                <a:lnTo>
                  <a:pt x="1618" y="1681"/>
                </a:lnTo>
                <a:lnTo>
                  <a:pt x="1620" y="1682"/>
                </a:lnTo>
                <a:lnTo>
                  <a:pt x="1623" y="1682"/>
                </a:lnTo>
                <a:lnTo>
                  <a:pt x="1623" y="1679"/>
                </a:lnTo>
                <a:lnTo>
                  <a:pt x="1621" y="1677"/>
                </a:lnTo>
                <a:lnTo>
                  <a:pt x="1621" y="1674"/>
                </a:lnTo>
                <a:lnTo>
                  <a:pt x="1620" y="1674"/>
                </a:lnTo>
                <a:lnTo>
                  <a:pt x="1621" y="1674"/>
                </a:lnTo>
                <a:lnTo>
                  <a:pt x="1623" y="1677"/>
                </a:lnTo>
                <a:lnTo>
                  <a:pt x="1623" y="1672"/>
                </a:lnTo>
                <a:lnTo>
                  <a:pt x="1625" y="1670"/>
                </a:lnTo>
                <a:lnTo>
                  <a:pt x="1625" y="1667"/>
                </a:lnTo>
                <a:lnTo>
                  <a:pt x="1625" y="1669"/>
                </a:lnTo>
                <a:lnTo>
                  <a:pt x="1625" y="1670"/>
                </a:lnTo>
                <a:lnTo>
                  <a:pt x="1623" y="1674"/>
                </a:lnTo>
                <a:lnTo>
                  <a:pt x="1623" y="1675"/>
                </a:lnTo>
                <a:lnTo>
                  <a:pt x="1623" y="1681"/>
                </a:lnTo>
                <a:lnTo>
                  <a:pt x="1627" y="1681"/>
                </a:lnTo>
                <a:lnTo>
                  <a:pt x="1632" y="1681"/>
                </a:lnTo>
                <a:lnTo>
                  <a:pt x="1630" y="1679"/>
                </a:lnTo>
                <a:lnTo>
                  <a:pt x="1628" y="1672"/>
                </a:lnTo>
                <a:lnTo>
                  <a:pt x="1628" y="1670"/>
                </a:lnTo>
                <a:lnTo>
                  <a:pt x="1630" y="1669"/>
                </a:lnTo>
                <a:lnTo>
                  <a:pt x="1630" y="1667"/>
                </a:lnTo>
                <a:lnTo>
                  <a:pt x="1627" y="1665"/>
                </a:lnTo>
                <a:lnTo>
                  <a:pt x="1627" y="1660"/>
                </a:lnTo>
                <a:lnTo>
                  <a:pt x="1625" y="1658"/>
                </a:lnTo>
                <a:lnTo>
                  <a:pt x="1625" y="1657"/>
                </a:lnTo>
                <a:lnTo>
                  <a:pt x="1627" y="1658"/>
                </a:lnTo>
                <a:lnTo>
                  <a:pt x="1628" y="1657"/>
                </a:lnTo>
                <a:lnTo>
                  <a:pt x="1627" y="1658"/>
                </a:lnTo>
                <a:lnTo>
                  <a:pt x="1627" y="1660"/>
                </a:lnTo>
                <a:lnTo>
                  <a:pt x="1627" y="1662"/>
                </a:lnTo>
                <a:lnTo>
                  <a:pt x="1627" y="1660"/>
                </a:lnTo>
                <a:lnTo>
                  <a:pt x="1628" y="1662"/>
                </a:lnTo>
                <a:lnTo>
                  <a:pt x="1627" y="1662"/>
                </a:lnTo>
                <a:lnTo>
                  <a:pt x="1627" y="1665"/>
                </a:lnTo>
                <a:lnTo>
                  <a:pt x="1630" y="1667"/>
                </a:lnTo>
                <a:lnTo>
                  <a:pt x="1630" y="1669"/>
                </a:lnTo>
                <a:lnTo>
                  <a:pt x="1632" y="1669"/>
                </a:lnTo>
                <a:lnTo>
                  <a:pt x="1633" y="1669"/>
                </a:lnTo>
                <a:lnTo>
                  <a:pt x="1635" y="1669"/>
                </a:lnTo>
                <a:lnTo>
                  <a:pt x="1633" y="1664"/>
                </a:lnTo>
                <a:lnTo>
                  <a:pt x="1632" y="1664"/>
                </a:lnTo>
                <a:lnTo>
                  <a:pt x="1633" y="1664"/>
                </a:lnTo>
                <a:lnTo>
                  <a:pt x="1635" y="1669"/>
                </a:lnTo>
                <a:lnTo>
                  <a:pt x="1637" y="1667"/>
                </a:lnTo>
                <a:lnTo>
                  <a:pt x="1637" y="1662"/>
                </a:lnTo>
                <a:lnTo>
                  <a:pt x="1637" y="1664"/>
                </a:lnTo>
                <a:lnTo>
                  <a:pt x="1638" y="1665"/>
                </a:lnTo>
                <a:lnTo>
                  <a:pt x="1638" y="1664"/>
                </a:lnTo>
                <a:lnTo>
                  <a:pt x="1642" y="1662"/>
                </a:lnTo>
                <a:lnTo>
                  <a:pt x="1642" y="1660"/>
                </a:lnTo>
                <a:lnTo>
                  <a:pt x="1642" y="1662"/>
                </a:lnTo>
                <a:lnTo>
                  <a:pt x="1644" y="1660"/>
                </a:lnTo>
                <a:lnTo>
                  <a:pt x="1644" y="1662"/>
                </a:lnTo>
                <a:lnTo>
                  <a:pt x="1642" y="1662"/>
                </a:lnTo>
                <a:lnTo>
                  <a:pt x="1644" y="1664"/>
                </a:lnTo>
                <a:lnTo>
                  <a:pt x="1645" y="1665"/>
                </a:lnTo>
                <a:lnTo>
                  <a:pt x="1647" y="1664"/>
                </a:lnTo>
                <a:lnTo>
                  <a:pt x="1647" y="1665"/>
                </a:lnTo>
                <a:lnTo>
                  <a:pt x="1647" y="1667"/>
                </a:lnTo>
                <a:lnTo>
                  <a:pt x="1650" y="1670"/>
                </a:lnTo>
                <a:lnTo>
                  <a:pt x="1652" y="1674"/>
                </a:lnTo>
                <a:lnTo>
                  <a:pt x="1655" y="1674"/>
                </a:lnTo>
                <a:lnTo>
                  <a:pt x="1655" y="1672"/>
                </a:lnTo>
                <a:lnTo>
                  <a:pt x="1654" y="1672"/>
                </a:lnTo>
                <a:lnTo>
                  <a:pt x="1652" y="1672"/>
                </a:lnTo>
                <a:lnTo>
                  <a:pt x="1652" y="1670"/>
                </a:lnTo>
                <a:lnTo>
                  <a:pt x="1652" y="1669"/>
                </a:lnTo>
                <a:lnTo>
                  <a:pt x="1654" y="1669"/>
                </a:lnTo>
                <a:lnTo>
                  <a:pt x="1655" y="1670"/>
                </a:lnTo>
                <a:lnTo>
                  <a:pt x="1655" y="1669"/>
                </a:lnTo>
                <a:lnTo>
                  <a:pt x="1657" y="1670"/>
                </a:lnTo>
                <a:lnTo>
                  <a:pt x="1659" y="1670"/>
                </a:lnTo>
                <a:lnTo>
                  <a:pt x="1661" y="1670"/>
                </a:lnTo>
                <a:lnTo>
                  <a:pt x="1661" y="1672"/>
                </a:lnTo>
                <a:lnTo>
                  <a:pt x="1662" y="1670"/>
                </a:lnTo>
                <a:lnTo>
                  <a:pt x="1664" y="1672"/>
                </a:lnTo>
                <a:lnTo>
                  <a:pt x="1666" y="1670"/>
                </a:lnTo>
                <a:lnTo>
                  <a:pt x="1666" y="1672"/>
                </a:lnTo>
                <a:lnTo>
                  <a:pt x="1669" y="1674"/>
                </a:lnTo>
                <a:lnTo>
                  <a:pt x="1669" y="1675"/>
                </a:lnTo>
                <a:lnTo>
                  <a:pt x="1672" y="1674"/>
                </a:lnTo>
                <a:lnTo>
                  <a:pt x="1684" y="1672"/>
                </a:lnTo>
                <a:lnTo>
                  <a:pt x="1696" y="1672"/>
                </a:lnTo>
                <a:lnTo>
                  <a:pt x="1703" y="1672"/>
                </a:lnTo>
                <a:lnTo>
                  <a:pt x="1703" y="1670"/>
                </a:lnTo>
                <a:lnTo>
                  <a:pt x="1705" y="1669"/>
                </a:lnTo>
                <a:lnTo>
                  <a:pt x="1705" y="1667"/>
                </a:lnTo>
                <a:lnTo>
                  <a:pt x="1705" y="1665"/>
                </a:lnTo>
                <a:lnTo>
                  <a:pt x="1705" y="1660"/>
                </a:lnTo>
                <a:lnTo>
                  <a:pt x="1700" y="1657"/>
                </a:lnTo>
                <a:lnTo>
                  <a:pt x="1698" y="1655"/>
                </a:lnTo>
                <a:lnTo>
                  <a:pt x="1695" y="1650"/>
                </a:lnTo>
                <a:lnTo>
                  <a:pt x="1695" y="1647"/>
                </a:lnTo>
                <a:lnTo>
                  <a:pt x="1695" y="1643"/>
                </a:lnTo>
                <a:lnTo>
                  <a:pt x="1696" y="1647"/>
                </a:lnTo>
                <a:lnTo>
                  <a:pt x="1696" y="1645"/>
                </a:lnTo>
                <a:lnTo>
                  <a:pt x="1698" y="1645"/>
                </a:lnTo>
                <a:lnTo>
                  <a:pt x="1698" y="1647"/>
                </a:lnTo>
                <a:lnTo>
                  <a:pt x="1700" y="1648"/>
                </a:lnTo>
                <a:lnTo>
                  <a:pt x="1701" y="1650"/>
                </a:lnTo>
                <a:lnTo>
                  <a:pt x="1701" y="1652"/>
                </a:lnTo>
                <a:lnTo>
                  <a:pt x="1703" y="1653"/>
                </a:lnTo>
                <a:lnTo>
                  <a:pt x="1703" y="1655"/>
                </a:lnTo>
                <a:lnTo>
                  <a:pt x="1705" y="1655"/>
                </a:lnTo>
                <a:lnTo>
                  <a:pt x="1705" y="1657"/>
                </a:lnTo>
                <a:lnTo>
                  <a:pt x="1706" y="1657"/>
                </a:lnTo>
                <a:lnTo>
                  <a:pt x="1706" y="1658"/>
                </a:lnTo>
                <a:lnTo>
                  <a:pt x="1708" y="1660"/>
                </a:lnTo>
                <a:lnTo>
                  <a:pt x="1710" y="1658"/>
                </a:lnTo>
                <a:lnTo>
                  <a:pt x="1708" y="1660"/>
                </a:lnTo>
                <a:lnTo>
                  <a:pt x="1710" y="1662"/>
                </a:lnTo>
                <a:lnTo>
                  <a:pt x="1712" y="1662"/>
                </a:lnTo>
                <a:lnTo>
                  <a:pt x="1713" y="1660"/>
                </a:lnTo>
                <a:lnTo>
                  <a:pt x="1713" y="1662"/>
                </a:lnTo>
                <a:lnTo>
                  <a:pt x="1712" y="1664"/>
                </a:lnTo>
                <a:lnTo>
                  <a:pt x="1715" y="1664"/>
                </a:lnTo>
                <a:lnTo>
                  <a:pt x="1717" y="1664"/>
                </a:lnTo>
                <a:lnTo>
                  <a:pt x="1715" y="1660"/>
                </a:lnTo>
                <a:lnTo>
                  <a:pt x="1717" y="1658"/>
                </a:lnTo>
                <a:lnTo>
                  <a:pt x="1718" y="1657"/>
                </a:lnTo>
                <a:lnTo>
                  <a:pt x="1718" y="1658"/>
                </a:lnTo>
                <a:lnTo>
                  <a:pt x="1717" y="1660"/>
                </a:lnTo>
                <a:lnTo>
                  <a:pt x="1718" y="1662"/>
                </a:lnTo>
                <a:lnTo>
                  <a:pt x="1722" y="1660"/>
                </a:lnTo>
                <a:lnTo>
                  <a:pt x="1722" y="1662"/>
                </a:lnTo>
                <a:lnTo>
                  <a:pt x="1723" y="1660"/>
                </a:lnTo>
                <a:lnTo>
                  <a:pt x="1723" y="1662"/>
                </a:lnTo>
                <a:lnTo>
                  <a:pt x="1722" y="1662"/>
                </a:lnTo>
                <a:lnTo>
                  <a:pt x="1722" y="1664"/>
                </a:lnTo>
                <a:lnTo>
                  <a:pt x="1723" y="1665"/>
                </a:lnTo>
                <a:lnTo>
                  <a:pt x="1725" y="1665"/>
                </a:lnTo>
                <a:lnTo>
                  <a:pt x="1725" y="1664"/>
                </a:lnTo>
                <a:lnTo>
                  <a:pt x="1725" y="1662"/>
                </a:lnTo>
                <a:lnTo>
                  <a:pt x="1725" y="1664"/>
                </a:lnTo>
                <a:lnTo>
                  <a:pt x="1725" y="1665"/>
                </a:lnTo>
                <a:lnTo>
                  <a:pt x="1723" y="1665"/>
                </a:lnTo>
                <a:lnTo>
                  <a:pt x="1725" y="1667"/>
                </a:lnTo>
                <a:lnTo>
                  <a:pt x="1725" y="1669"/>
                </a:lnTo>
                <a:lnTo>
                  <a:pt x="1729" y="1672"/>
                </a:lnTo>
                <a:lnTo>
                  <a:pt x="1729" y="1670"/>
                </a:lnTo>
                <a:lnTo>
                  <a:pt x="1727" y="1667"/>
                </a:lnTo>
                <a:lnTo>
                  <a:pt x="1727" y="1664"/>
                </a:lnTo>
                <a:lnTo>
                  <a:pt x="1727" y="1662"/>
                </a:lnTo>
                <a:lnTo>
                  <a:pt x="1727" y="1660"/>
                </a:lnTo>
                <a:lnTo>
                  <a:pt x="1729" y="1660"/>
                </a:lnTo>
                <a:lnTo>
                  <a:pt x="1727" y="1660"/>
                </a:lnTo>
                <a:lnTo>
                  <a:pt x="1729" y="1662"/>
                </a:lnTo>
                <a:lnTo>
                  <a:pt x="1727" y="1662"/>
                </a:lnTo>
                <a:lnTo>
                  <a:pt x="1727" y="1665"/>
                </a:lnTo>
                <a:lnTo>
                  <a:pt x="1730" y="1665"/>
                </a:lnTo>
                <a:lnTo>
                  <a:pt x="1732" y="1662"/>
                </a:lnTo>
                <a:lnTo>
                  <a:pt x="1730" y="1660"/>
                </a:lnTo>
                <a:lnTo>
                  <a:pt x="1729" y="1658"/>
                </a:lnTo>
                <a:lnTo>
                  <a:pt x="1730" y="1660"/>
                </a:lnTo>
                <a:lnTo>
                  <a:pt x="1732" y="1662"/>
                </a:lnTo>
                <a:lnTo>
                  <a:pt x="1730" y="1667"/>
                </a:lnTo>
                <a:lnTo>
                  <a:pt x="1734" y="1669"/>
                </a:lnTo>
                <a:lnTo>
                  <a:pt x="1734" y="1674"/>
                </a:lnTo>
                <a:lnTo>
                  <a:pt x="1735" y="1674"/>
                </a:lnTo>
                <a:lnTo>
                  <a:pt x="1735" y="1670"/>
                </a:lnTo>
                <a:lnTo>
                  <a:pt x="1737" y="1670"/>
                </a:lnTo>
                <a:lnTo>
                  <a:pt x="1737" y="1669"/>
                </a:lnTo>
                <a:lnTo>
                  <a:pt x="1737" y="1670"/>
                </a:lnTo>
                <a:lnTo>
                  <a:pt x="1734" y="1675"/>
                </a:lnTo>
                <a:lnTo>
                  <a:pt x="1735" y="1675"/>
                </a:lnTo>
                <a:lnTo>
                  <a:pt x="1734" y="1677"/>
                </a:lnTo>
                <a:lnTo>
                  <a:pt x="1734" y="1679"/>
                </a:lnTo>
                <a:lnTo>
                  <a:pt x="1735" y="1682"/>
                </a:lnTo>
                <a:lnTo>
                  <a:pt x="1735" y="1684"/>
                </a:lnTo>
                <a:lnTo>
                  <a:pt x="1739" y="1689"/>
                </a:lnTo>
                <a:lnTo>
                  <a:pt x="1739" y="1694"/>
                </a:lnTo>
                <a:lnTo>
                  <a:pt x="1740" y="1696"/>
                </a:lnTo>
                <a:lnTo>
                  <a:pt x="1744" y="1696"/>
                </a:lnTo>
                <a:lnTo>
                  <a:pt x="1746" y="1699"/>
                </a:lnTo>
                <a:lnTo>
                  <a:pt x="1747" y="1698"/>
                </a:lnTo>
                <a:lnTo>
                  <a:pt x="1751" y="1698"/>
                </a:lnTo>
                <a:lnTo>
                  <a:pt x="1751" y="1701"/>
                </a:lnTo>
                <a:lnTo>
                  <a:pt x="1752" y="1701"/>
                </a:lnTo>
                <a:lnTo>
                  <a:pt x="1754" y="1699"/>
                </a:lnTo>
                <a:lnTo>
                  <a:pt x="1756" y="1699"/>
                </a:lnTo>
                <a:lnTo>
                  <a:pt x="1756" y="1698"/>
                </a:lnTo>
                <a:lnTo>
                  <a:pt x="1757" y="1698"/>
                </a:lnTo>
                <a:lnTo>
                  <a:pt x="1759" y="1698"/>
                </a:lnTo>
                <a:lnTo>
                  <a:pt x="1759" y="1696"/>
                </a:lnTo>
                <a:lnTo>
                  <a:pt x="1761" y="1694"/>
                </a:lnTo>
                <a:lnTo>
                  <a:pt x="1763" y="1694"/>
                </a:lnTo>
                <a:lnTo>
                  <a:pt x="1764" y="1692"/>
                </a:lnTo>
                <a:lnTo>
                  <a:pt x="1764" y="1694"/>
                </a:lnTo>
                <a:lnTo>
                  <a:pt x="1764" y="1696"/>
                </a:lnTo>
                <a:lnTo>
                  <a:pt x="1766" y="1696"/>
                </a:lnTo>
                <a:lnTo>
                  <a:pt x="1768" y="1698"/>
                </a:lnTo>
                <a:lnTo>
                  <a:pt x="1769" y="1696"/>
                </a:lnTo>
                <a:lnTo>
                  <a:pt x="1768" y="1698"/>
                </a:lnTo>
                <a:lnTo>
                  <a:pt x="1769" y="1698"/>
                </a:lnTo>
                <a:lnTo>
                  <a:pt x="1768" y="1698"/>
                </a:lnTo>
                <a:lnTo>
                  <a:pt x="1769" y="1699"/>
                </a:lnTo>
                <a:lnTo>
                  <a:pt x="1771" y="1698"/>
                </a:lnTo>
                <a:lnTo>
                  <a:pt x="1773" y="1696"/>
                </a:lnTo>
                <a:lnTo>
                  <a:pt x="1774" y="1696"/>
                </a:lnTo>
                <a:lnTo>
                  <a:pt x="1774" y="1694"/>
                </a:lnTo>
                <a:lnTo>
                  <a:pt x="1774" y="1692"/>
                </a:lnTo>
                <a:lnTo>
                  <a:pt x="1773" y="1692"/>
                </a:lnTo>
                <a:lnTo>
                  <a:pt x="1774" y="1692"/>
                </a:lnTo>
                <a:lnTo>
                  <a:pt x="1774" y="1694"/>
                </a:lnTo>
                <a:lnTo>
                  <a:pt x="1776" y="1694"/>
                </a:lnTo>
                <a:lnTo>
                  <a:pt x="1773" y="1698"/>
                </a:lnTo>
                <a:lnTo>
                  <a:pt x="1774" y="1699"/>
                </a:lnTo>
                <a:lnTo>
                  <a:pt x="1774" y="1698"/>
                </a:lnTo>
                <a:lnTo>
                  <a:pt x="1776" y="1699"/>
                </a:lnTo>
                <a:lnTo>
                  <a:pt x="1774" y="1699"/>
                </a:lnTo>
                <a:lnTo>
                  <a:pt x="1773" y="1698"/>
                </a:lnTo>
                <a:lnTo>
                  <a:pt x="1771" y="1701"/>
                </a:lnTo>
                <a:lnTo>
                  <a:pt x="1774" y="1701"/>
                </a:lnTo>
                <a:lnTo>
                  <a:pt x="1774" y="1703"/>
                </a:lnTo>
                <a:lnTo>
                  <a:pt x="1778" y="1701"/>
                </a:lnTo>
                <a:lnTo>
                  <a:pt x="1779" y="1701"/>
                </a:lnTo>
                <a:lnTo>
                  <a:pt x="1781" y="1701"/>
                </a:lnTo>
                <a:lnTo>
                  <a:pt x="1779" y="1701"/>
                </a:lnTo>
                <a:lnTo>
                  <a:pt x="1778" y="1703"/>
                </a:lnTo>
                <a:lnTo>
                  <a:pt x="1774" y="1703"/>
                </a:lnTo>
                <a:lnTo>
                  <a:pt x="1776" y="1706"/>
                </a:lnTo>
                <a:lnTo>
                  <a:pt x="1778" y="1704"/>
                </a:lnTo>
                <a:lnTo>
                  <a:pt x="1779" y="1706"/>
                </a:lnTo>
                <a:lnTo>
                  <a:pt x="1781" y="1706"/>
                </a:lnTo>
                <a:lnTo>
                  <a:pt x="1779" y="1706"/>
                </a:lnTo>
                <a:lnTo>
                  <a:pt x="1778" y="1706"/>
                </a:lnTo>
                <a:lnTo>
                  <a:pt x="1778" y="1708"/>
                </a:lnTo>
                <a:lnTo>
                  <a:pt x="1779" y="1708"/>
                </a:lnTo>
                <a:lnTo>
                  <a:pt x="1779" y="1711"/>
                </a:lnTo>
                <a:lnTo>
                  <a:pt x="1779" y="1708"/>
                </a:lnTo>
                <a:lnTo>
                  <a:pt x="1778" y="1709"/>
                </a:lnTo>
                <a:lnTo>
                  <a:pt x="1776" y="1706"/>
                </a:lnTo>
                <a:lnTo>
                  <a:pt x="1774" y="1706"/>
                </a:lnTo>
                <a:lnTo>
                  <a:pt x="1774" y="1709"/>
                </a:lnTo>
                <a:lnTo>
                  <a:pt x="1776" y="1711"/>
                </a:lnTo>
                <a:lnTo>
                  <a:pt x="1774" y="1711"/>
                </a:lnTo>
                <a:lnTo>
                  <a:pt x="1776" y="1713"/>
                </a:lnTo>
                <a:lnTo>
                  <a:pt x="1774" y="1711"/>
                </a:lnTo>
                <a:lnTo>
                  <a:pt x="1774" y="1715"/>
                </a:lnTo>
                <a:lnTo>
                  <a:pt x="1774" y="1713"/>
                </a:lnTo>
                <a:lnTo>
                  <a:pt x="1771" y="1711"/>
                </a:lnTo>
                <a:lnTo>
                  <a:pt x="1771" y="1713"/>
                </a:lnTo>
                <a:lnTo>
                  <a:pt x="1774" y="1716"/>
                </a:lnTo>
                <a:lnTo>
                  <a:pt x="1771" y="1713"/>
                </a:lnTo>
                <a:lnTo>
                  <a:pt x="1769" y="1711"/>
                </a:lnTo>
                <a:lnTo>
                  <a:pt x="1769" y="1709"/>
                </a:lnTo>
                <a:lnTo>
                  <a:pt x="1768" y="1708"/>
                </a:lnTo>
                <a:lnTo>
                  <a:pt x="1773" y="1718"/>
                </a:lnTo>
                <a:lnTo>
                  <a:pt x="1773" y="1720"/>
                </a:lnTo>
                <a:lnTo>
                  <a:pt x="1778" y="1718"/>
                </a:lnTo>
                <a:lnTo>
                  <a:pt x="1778" y="1720"/>
                </a:lnTo>
                <a:lnTo>
                  <a:pt x="1776" y="1721"/>
                </a:lnTo>
                <a:lnTo>
                  <a:pt x="1773" y="1721"/>
                </a:lnTo>
                <a:lnTo>
                  <a:pt x="1778" y="1726"/>
                </a:lnTo>
                <a:lnTo>
                  <a:pt x="1785" y="1733"/>
                </a:lnTo>
                <a:lnTo>
                  <a:pt x="1790" y="1745"/>
                </a:lnTo>
                <a:lnTo>
                  <a:pt x="1788" y="1749"/>
                </a:lnTo>
                <a:lnTo>
                  <a:pt x="1786" y="1750"/>
                </a:lnTo>
                <a:lnTo>
                  <a:pt x="1786" y="1752"/>
                </a:lnTo>
                <a:lnTo>
                  <a:pt x="1785" y="1757"/>
                </a:lnTo>
                <a:lnTo>
                  <a:pt x="1785" y="1759"/>
                </a:lnTo>
                <a:lnTo>
                  <a:pt x="1783" y="1764"/>
                </a:lnTo>
                <a:lnTo>
                  <a:pt x="1781" y="1771"/>
                </a:lnTo>
                <a:lnTo>
                  <a:pt x="1781" y="1783"/>
                </a:lnTo>
                <a:lnTo>
                  <a:pt x="1779" y="1784"/>
                </a:lnTo>
                <a:lnTo>
                  <a:pt x="1779" y="1791"/>
                </a:lnTo>
                <a:lnTo>
                  <a:pt x="1778" y="1796"/>
                </a:lnTo>
                <a:lnTo>
                  <a:pt x="1781" y="1803"/>
                </a:lnTo>
                <a:lnTo>
                  <a:pt x="1781" y="1805"/>
                </a:lnTo>
                <a:lnTo>
                  <a:pt x="1778" y="1808"/>
                </a:lnTo>
                <a:lnTo>
                  <a:pt x="1776" y="1812"/>
                </a:lnTo>
                <a:lnTo>
                  <a:pt x="1771" y="1817"/>
                </a:lnTo>
                <a:lnTo>
                  <a:pt x="1771" y="1820"/>
                </a:lnTo>
                <a:lnTo>
                  <a:pt x="1771" y="1822"/>
                </a:lnTo>
                <a:lnTo>
                  <a:pt x="1769" y="1822"/>
                </a:lnTo>
                <a:lnTo>
                  <a:pt x="1768" y="1827"/>
                </a:lnTo>
                <a:lnTo>
                  <a:pt x="1763" y="1830"/>
                </a:lnTo>
                <a:lnTo>
                  <a:pt x="1763" y="1834"/>
                </a:lnTo>
                <a:lnTo>
                  <a:pt x="1761" y="1837"/>
                </a:lnTo>
                <a:lnTo>
                  <a:pt x="1759" y="1837"/>
                </a:lnTo>
                <a:lnTo>
                  <a:pt x="1759" y="1842"/>
                </a:lnTo>
                <a:lnTo>
                  <a:pt x="1757" y="1842"/>
                </a:lnTo>
                <a:lnTo>
                  <a:pt x="1759" y="1846"/>
                </a:lnTo>
                <a:lnTo>
                  <a:pt x="1761" y="1846"/>
                </a:lnTo>
                <a:lnTo>
                  <a:pt x="1764" y="1844"/>
                </a:lnTo>
                <a:lnTo>
                  <a:pt x="1766" y="1844"/>
                </a:lnTo>
                <a:lnTo>
                  <a:pt x="1769" y="1849"/>
                </a:lnTo>
                <a:lnTo>
                  <a:pt x="1773" y="1847"/>
                </a:lnTo>
                <a:lnTo>
                  <a:pt x="1774" y="1846"/>
                </a:lnTo>
                <a:lnTo>
                  <a:pt x="1776" y="1844"/>
                </a:lnTo>
                <a:lnTo>
                  <a:pt x="1774" y="1844"/>
                </a:lnTo>
                <a:lnTo>
                  <a:pt x="1774" y="1847"/>
                </a:lnTo>
                <a:lnTo>
                  <a:pt x="1778" y="1846"/>
                </a:lnTo>
                <a:lnTo>
                  <a:pt x="1781" y="1847"/>
                </a:lnTo>
                <a:lnTo>
                  <a:pt x="1779" y="1847"/>
                </a:lnTo>
                <a:lnTo>
                  <a:pt x="1779" y="1851"/>
                </a:lnTo>
                <a:lnTo>
                  <a:pt x="1779" y="1849"/>
                </a:lnTo>
                <a:lnTo>
                  <a:pt x="1778" y="1847"/>
                </a:lnTo>
                <a:lnTo>
                  <a:pt x="1776" y="1849"/>
                </a:lnTo>
                <a:lnTo>
                  <a:pt x="1773" y="1847"/>
                </a:lnTo>
                <a:lnTo>
                  <a:pt x="1773" y="1851"/>
                </a:lnTo>
                <a:lnTo>
                  <a:pt x="1769" y="1851"/>
                </a:lnTo>
                <a:lnTo>
                  <a:pt x="1768" y="1854"/>
                </a:lnTo>
                <a:lnTo>
                  <a:pt x="1771" y="1864"/>
                </a:lnTo>
                <a:lnTo>
                  <a:pt x="1771" y="1871"/>
                </a:lnTo>
                <a:lnTo>
                  <a:pt x="1771" y="1873"/>
                </a:lnTo>
                <a:lnTo>
                  <a:pt x="1771" y="1874"/>
                </a:lnTo>
                <a:lnTo>
                  <a:pt x="1774" y="1878"/>
                </a:lnTo>
                <a:lnTo>
                  <a:pt x="1769" y="1876"/>
                </a:lnTo>
                <a:lnTo>
                  <a:pt x="1771" y="1880"/>
                </a:lnTo>
                <a:lnTo>
                  <a:pt x="1769" y="1878"/>
                </a:lnTo>
                <a:lnTo>
                  <a:pt x="1769" y="1876"/>
                </a:lnTo>
                <a:lnTo>
                  <a:pt x="1768" y="1876"/>
                </a:lnTo>
                <a:lnTo>
                  <a:pt x="1769" y="1876"/>
                </a:lnTo>
                <a:lnTo>
                  <a:pt x="1768" y="1874"/>
                </a:lnTo>
                <a:lnTo>
                  <a:pt x="1768" y="1873"/>
                </a:lnTo>
                <a:lnTo>
                  <a:pt x="1768" y="1871"/>
                </a:lnTo>
                <a:lnTo>
                  <a:pt x="1766" y="1873"/>
                </a:lnTo>
                <a:lnTo>
                  <a:pt x="1764" y="1871"/>
                </a:lnTo>
                <a:lnTo>
                  <a:pt x="1763" y="1873"/>
                </a:lnTo>
                <a:lnTo>
                  <a:pt x="1764" y="1871"/>
                </a:lnTo>
                <a:lnTo>
                  <a:pt x="1766" y="1871"/>
                </a:lnTo>
                <a:lnTo>
                  <a:pt x="1766" y="1869"/>
                </a:lnTo>
                <a:lnTo>
                  <a:pt x="1764" y="1868"/>
                </a:lnTo>
                <a:lnTo>
                  <a:pt x="1763" y="1869"/>
                </a:lnTo>
                <a:lnTo>
                  <a:pt x="1759" y="1869"/>
                </a:lnTo>
                <a:lnTo>
                  <a:pt x="1756" y="1869"/>
                </a:lnTo>
                <a:lnTo>
                  <a:pt x="1756" y="1871"/>
                </a:lnTo>
                <a:lnTo>
                  <a:pt x="1756" y="1876"/>
                </a:lnTo>
                <a:lnTo>
                  <a:pt x="1757" y="1874"/>
                </a:lnTo>
                <a:lnTo>
                  <a:pt x="1759" y="1876"/>
                </a:lnTo>
                <a:lnTo>
                  <a:pt x="1764" y="1883"/>
                </a:lnTo>
                <a:lnTo>
                  <a:pt x="1764" y="1886"/>
                </a:lnTo>
                <a:lnTo>
                  <a:pt x="1766" y="1886"/>
                </a:lnTo>
                <a:lnTo>
                  <a:pt x="1768" y="1886"/>
                </a:lnTo>
                <a:lnTo>
                  <a:pt x="1769" y="1885"/>
                </a:lnTo>
                <a:lnTo>
                  <a:pt x="1769" y="1883"/>
                </a:lnTo>
                <a:lnTo>
                  <a:pt x="1769" y="1885"/>
                </a:lnTo>
                <a:lnTo>
                  <a:pt x="1768" y="1886"/>
                </a:lnTo>
                <a:lnTo>
                  <a:pt x="1774" y="1891"/>
                </a:lnTo>
                <a:lnTo>
                  <a:pt x="1776" y="1890"/>
                </a:lnTo>
                <a:lnTo>
                  <a:pt x="1776" y="1891"/>
                </a:lnTo>
                <a:lnTo>
                  <a:pt x="1779" y="1893"/>
                </a:lnTo>
                <a:lnTo>
                  <a:pt x="1781" y="1893"/>
                </a:lnTo>
                <a:lnTo>
                  <a:pt x="1785" y="1893"/>
                </a:lnTo>
                <a:lnTo>
                  <a:pt x="1786" y="1891"/>
                </a:lnTo>
                <a:lnTo>
                  <a:pt x="1788" y="1893"/>
                </a:lnTo>
                <a:lnTo>
                  <a:pt x="1791" y="1891"/>
                </a:lnTo>
                <a:lnTo>
                  <a:pt x="1795" y="1893"/>
                </a:lnTo>
                <a:lnTo>
                  <a:pt x="1791" y="1891"/>
                </a:lnTo>
                <a:lnTo>
                  <a:pt x="1790" y="1893"/>
                </a:lnTo>
                <a:lnTo>
                  <a:pt x="1788" y="1893"/>
                </a:lnTo>
                <a:lnTo>
                  <a:pt x="1786" y="1891"/>
                </a:lnTo>
                <a:lnTo>
                  <a:pt x="1785" y="1893"/>
                </a:lnTo>
                <a:lnTo>
                  <a:pt x="1781" y="1895"/>
                </a:lnTo>
                <a:lnTo>
                  <a:pt x="1778" y="1895"/>
                </a:lnTo>
                <a:lnTo>
                  <a:pt x="1779" y="1897"/>
                </a:lnTo>
                <a:lnTo>
                  <a:pt x="1781" y="1900"/>
                </a:lnTo>
                <a:lnTo>
                  <a:pt x="1781" y="1902"/>
                </a:lnTo>
                <a:lnTo>
                  <a:pt x="1783" y="1900"/>
                </a:lnTo>
                <a:lnTo>
                  <a:pt x="1781" y="1902"/>
                </a:lnTo>
                <a:lnTo>
                  <a:pt x="1779" y="1900"/>
                </a:lnTo>
                <a:lnTo>
                  <a:pt x="1778" y="1895"/>
                </a:lnTo>
                <a:lnTo>
                  <a:pt x="1774" y="1895"/>
                </a:lnTo>
                <a:lnTo>
                  <a:pt x="1773" y="1895"/>
                </a:lnTo>
                <a:lnTo>
                  <a:pt x="1771" y="1893"/>
                </a:lnTo>
                <a:lnTo>
                  <a:pt x="1769" y="1895"/>
                </a:lnTo>
                <a:lnTo>
                  <a:pt x="1769" y="1898"/>
                </a:lnTo>
                <a:lnTo>
                  <a:pt x="1769" y="1893"/>
                </a:lnTo>
                <a:lnTo>
                  <a:pt x="1766" y="1893"/>
                </a:lnTo>
                <a:lnTo>
                  <a:pt x="1764" y="1893"/>
                </a:lnTo>
                <a:lnTo>
                  <a:pt x="1764" y="1897"/>
                </a:lnTo>
                <a:lnTo>
                  <a:pt x="1764" y="1895"/>
                </a:lnTo>
                <a:lnTo>
                  <a:pt x="1763" y="1893"/>
                </a:lnTo>
                <a:lnTo>
                  <a:pt x="1761" y="1891"/>
                </a:lnTo>
                <a:lnTo>
                  <a:pt x="1759" y="1891"/>
                </a:lnTo>
                <a:lnTo>
                  <a:pt x="1759" y="1890"/>
                </a:lnTo>
                <a:lnTo>
                  <a:pt x="1757" y="1886"/>
                </a:lnTo>
                <a:lnTo>
                  <a:pt x="1759" y="1886"/>
                </a:lnTo>
                <a:lnTo>
                  <a:pt x="1757" y="1883"/>
                </a:lnTo>
                <a:lnTo>
                  <a:pt x="1754" y="1886"/>
                </a:lnTo>
                <a:lnTo>
                  <a:pt x="1757" y="1902"/>
                </a:lnTo>
                <a:lnTo>
                  <a:pt x="1756" y="1903"/>
                </a:lnTo>
                <a:lnTo>
                  <a:pt x="1756" y="1909"/>
                </a:lnTo>
                <a:lnTo>
                  <a:pt x="1756" y="1912"/>
                </a:lnTo>
                <a:lnTo>
                  <a:pt x="1754" y="1920"/>
                </a:lnTo>
                <a:lnTo>
                  <a:pt x="1752" y="1926"/>
                </a:lnTo>
                <a:lnTo>
                  <a:pt x="1747" y="1931"/>
                </a:lnTo>
                <a:lnTo>
                  <a:pt x="1747" y="1932"/>
                </a:lnTo>
                <a:lnTo>
                  <a:pt x="1746" y="1934"/>
                </a:lnTo>
                <a:lnTo>
                  <a:pt x="1746" y="1937"/>
                </a:lnTo>
                <a:lnTo>
                  <a:pt x="1744" y="1941"/>
                </a:lnTo>
                <a:lnTo>
                  <a:pt x="1744" y="1937"/>
                </a:lnTo>
                <a:lnTo>
                  <a:pt x="1742" y="1937"/>
                </a:lnTo>
                <a:lnTo>
                  <a:pt x="1740" y="1934"/>
                </a:lnTo>
                <a:lnTo>
                  <a:pt x="1737" y="1936"/>
                </a:lnTo>
                <a:lnTo>
                  <a:pt x="1737" y="1939"/>
                </a:lnTo>
                <a:lnTo>
                  <a:pt x="1735" y="1939"/>
                </a:lnTo>
                <a:lnTo>
                  <a:pt x="1734" y="1937"/>
                </a:lnTo>
                <a:lnTo>
                  <a:pt x="1734" y="1939"/>
                </a:lnTo>
                <a:lnTo>
                  <a:pt x="1735" y="1941"/>
                </a:lnTo>
                <a:lnTo>
                  <a:pt x="1734" y="1939"/>
                </a:lnTo>
                <a:lnTo>
                  <a:pt x="1732" y="1944"/>
                </a:lnTo>
                <a:lnTo>
                  <a:pt x="1734" y="1944"/>
                </a:lnTo>
                <a:lnTo>
                  <a:pt x="1732" y="1944"/>
                </a:lnTo>
                <a:lnTo>
                  <a:pt x="1730" y="1941"/>
                </a:lnTo>
                <a:lnTo>
                  <a:pt x="1729" y="1937"/>
                </a:lnTo>
                <a:lnTo>
                  <a:pt x="1729" y="1936"/>
                </a:lnTo>
                <a:lnTo>
                  <a:pt x="1727" y="1936"/>
                </a:lnTo>
                <a:lnTo>
                  <a:pt x="1727" y="1934"/>
                </a:lnTo>
                <a:lnTo>
                  <a:pt x="1725" y="1934"/>
                </a:lnTo>
                <a:lnTo>
                  <a:pt x="1725" y="1932"/>
                </a:lnTo>
                <a:lnTo>
                  <a:pt x="1725" y="1936"/>
                </a:lnTo>
                <a:lnTo>
                  <a:pt x="1734" y="1953"/>
                </a:lnTo>
                <a:lnTo>
                  <a:pt x="1734" y="1954"/>
                </a:lnTo>
                <a:lnTo>
                  <a:pt x="1732" y="1953"/>
                </a:lnTo>
                <a:lnTo>
                  <a:pt x="1739" y="1963"/>
                </a:lnTo>
                <a:lnTo>
                  <a:pt x="1739" y="1965"/>
                </a:lnTo>
                <a:lnTo>
                  <a:pt x="1739" y="1966"/>
                </a:lnTo>
                <a:lnTo>
                  <a:pt x="1740" y="1970"/>
                </a:lnTo>
                <a:lnTo>
                  <a:pt x="1751" y="1983"/>
                </a:lnTo>
                <a:lnTo>
                  <a:pt x="1754" y="1992"/>
                </a:lnTo>
                <a:lnTo>
                  <a:pt x="1752" y="1994"/>
                </a:lnTo>
                <a:lnTo>
                  <a:pt x="1752" y="1997"/>
                </a:lnTo>
                <a:lnTo>
                  <a:pt x="1754" y="1999"/>
                </a:lnTo>
                <a:lnTo>
                  <a:pt x="1769" y="2014"/>
                </a:lnTo>
                <a:lnTo>
                  <a:pt x="1769" y="2021"/>
                </a:lnTo>
                <a:lnTo>
                  <a:pt x="1771" y="2024"/>
                </a:lnTo>
                <a:lnTo>
                  <a:pt x="1783" y="2036"/>
                </a:lnTo>
                <a:lnTo>
                  <a:pt x="1785" y="2038"/>
                </a:lnTo>
                <a:lnTo>
                  <a:pt x="1798" y="2048"/>
                </a:lnTo>
                <a:lnTo>
                  <a:pt x="1803" y="2051"/>
                </a:lnTo>
                <a:lnTo>
                  <a:pt x="1810" y="2057"/>
                </a:lnTo>
                <a:lnTo>
                  <a:pt x="1817" y="2065"/>
                </a:lnTo>
                <a:lnTo>
                  <a:pt x="1819" y="2067"/>
                </a:lnTo>
                <a:lnTo>
                  <a:pt x="1824" y="2070"/>
                </a:lnTo>
                <a:lnTo>
                  <a:pt x="1824" y="2074"/>
                </a:lnTo>
                <a:lnTo>
                  <a:pt x="1822" y="2075"/>
                </a:lnTo>
                <a:lnTo>
                  <a:pt x="1837" y="2087"/>
                </a:lnTo>
                <a:lnTo>
                  <a:pt x="1842" y="2094"/>
                </a:lnTo>
                <a:lnTo>
                  <a:pt x="1841" y="2096"/>
                </a:lnTo>
                <a:lnTo>
                  <a:pt x="1842" y="2097"/>
                </a:lnTo>
                <a:lnTo>
                  <a:pt x="1847" y="2102"/>
                </a:lnTo>
                <a:lnTo>
                  <a:pt x="1858" y="2109"/>
                </a:lnTo>
                <a:lnTo>
                  <a:pt x="1859" y="2111"/>
                </a:lnTo>
                <a:lnTo>
                  <a:pt x="1859" y="2113"/>
                </a:lnTo>
                <a:lnTo>
                  <a:pt x="1861" y="2114"/>
                </a:lnTo>
                <a:lnTo>
                  <a:pt x="1876" y="2128"/>
                </a:lnTo>
                <a:lnTo>
                  <a:pt x="1878" y="2128"/>
                </a:lnTo>
                <a:lnTo>
                  <a:pt x="1876" y="2128"/>
                </a:lnTo>
                <a:lnTo>
                  <a:pt x="1881" y="2133"/>
                </a:lnTo>
                <a:lnTo>
                  <a:pt x="1883" y="2135"/>
                </a:lnTo>
                <a:lnTo>
                  <a:pt x="1881" y="2138"/>
                </a:lnTo>
                <a:lnTo>
                  <a:pt x="1880" y="2138"/>
                </a:lnTo>
                <a:lnTo>
                  <a:pt x="1883" y="2143"/>
                </a:lnTo>
                <a:lnTo>
                  <a:pt x="1883" y="2145"/>
                </a:lnTo>
                <a:lnTo>
                  <a:pt x="1883" y="2143"/>
                </a:lnTo>
                <a:lnTo>
                  <a:pt x="1883" y="2145"/>
                </a:lnTo>
                <a:lnTo>
                  <a:pt x="1892" y="2157"/>
                </a:lnTo>
                <a:lnTo>
                  <a:pt x="1898" y="2165"/>
                </a:lnTo>
                <a:lnTo>
                  <a:pt x="1898" y="2167"/>
                </a:lnTo>
                <a:lnTo>
                  <a:pt x="1900" y="2170"/>
                </a:lnTo>
                <a:lnTo>
                  <a:pt x="1900" y="2172"/>
                </a:lnTo>
                <a:lnTo>
                  <a:pt x="1904" y="2179"/>
                </a:lnTo>
                <a:lnTo>
                  <a:pt x="1904" y="2182"/>
                </a:lnTo>
                <a:lnTo>
                  <a:pt x="1902" y="2182"/>
                </a:lnTo>
                <a:lnTo>
                  <a:pt x="1900" y="2182"/>
                </a:lnTo>
                <a:lnTo>
                  <a:pt x="1898" y="2187"/>
                </a:lnTo>
                <a:lnTo>
                  <a:pt x="1898" y="2189"/>
                </a:lnTo>
                <a:lnTo>
                  <a:pt x="1902" y="2194"/>
                </a:lnTo>
                <a:lnTo>
                  <a:pt x="1907" y="2199"/>
                </a:lnTo>
                <a:lnTo>
                  <a:pt x="1909" y="2201"/>
                </a:lnTo>
                <a:lnTo>
                  <a:pt x="1912" y="2206"/>
                </a:lnTo>
                <a:lnTo>
                  <a:pt x="1912" y="2204"/>
                </a:lnTo>
                <a:lnTo>
                  <a:pt x="1915" y="2204"/>
                </a:lnTo>
                <a:lnTo>
                  <a:pt x="1917" y="2206"/>
                </a:lnTo>
                <a:lnTo>
                  <a:pt x="1914" y="2208"/>
                </a:lnTo>
                <a:lnTo>
                  <a:pt x="1919" y="2208"/>
                </a:lnTo>
                <a:lnTo>
                  <a:pt x="1921" y="2206"/>
                </a:lnTo>
                <a:lnTo>
                  <a:pt x="1922" y="2204"/>
                </a:lnTo>
                <a:lnTo>
                  <a:pt x="1922" y="2206"/>
                </a:lnTo>
                <a:lnTo>
                  <a:pt x="1927" y="2206"/>
                </a:lnTo>
                <a:lnTo>
                  <a:pt x="1929" y="2204"/>
                </a:lnTo>
                <a:lnTo>
                  <a:pt x="1929" y="2203"/>
                </a:lnTo>
                <a:lnTo>
                  <a:pt x="1931" y="2199"/>
                </a:lnTo>
                <a:lnTo>
                  <a:pt x="1938" y="2198"/>
                </a:lnTo>
                <a:lnTo>
                  <a:pt x="1946" y="2199"/>
                </a:lnTo>
                <a:lnTo>
                  <a:pt x="1948" y="2199"/>
                </a:lnTo>
                <a:lnTo>
                  <a:pt x="1944" y="2201"/>
                </a:lnTo>
                <a:lnTo>
                  <a:pt x="1943" y="2201"/>
                </a:lnTo>
                <a:lnTo>
                  <a:pt x="1941" y="2201"/>
                </a:lnTo>
                <a:lnTo>
                  <a:pt x="1941" y="2203"/>
                </a:lnTo>
                <a:lnTo>
                  <a:pt x="1939" y="2204"/>
                </a:lnTo>
                <a:lnTo>
                  <a:pt x="1938" y="2206"/>
                </a:lnTo>
                <a:lnTo>
                  <a:pt x="1936" y="2206"/>
                </a:lnTo>
                <a:lnTo>
                  <a:pt x="1934" y="2208"/>
                </a:lnTo>
                <a:lnTo>
                  <a:pt x="1932" y="2206"/>
                </a:lnTo>
                <a:lnTo>
                  <a:pt x="1931" y="2208"/>
                </a:lnTo>
                <a:lnTo>
                  <a:pt x="1929" y="2208"/>
                </a:lnTo>
                <a:lnTo>
                  <a:pt x="1926" y="2208"/>
                </a:lnTo>
                <a:lnTo>
                  <a:pt x="1924" y="2210"/>
                </a:lnTo>
                <a:lnTo>
                  <a:pt x="1921" y="2208"/>
                </a:lnTo>
                <a:lnTo>
                  <a:pt x="1921" y="2210"/>
                </a:lnTo>
                <a:lnTo>
                  <a:pt x="1917" y="2210"/>
                </a:lnTo>
                <a:lnTo>
                  <a:pt x="1917" y="2211"/>
                </a:lnTo>
                <a:lnTo>
                  <a:pt x="1915" y="2210"/>
                </a:lnTo>
                <a:lnTo>
                  <a:pt x="1915" y="2211"/>
                </a:lnTo>
                <a:lnTo>
                  <a:pt x="1914" y="2211"/>
                </a:lnTo>
                <a:lnTo>
                  <a:pt x="1910" y="2211"/>
                </a:lnTo>
                <a:lnTo>
                  <a:pt x="1910" y="2213"/>
                </a:lnTo>
                <a:lnTo>
                  <a:pt x="1909" y="2211"/>
                </a:lnTo>
                <a:lnTo>
                  <a:pt x="1909" y="2213"/>
                </a:lnTo>
                <a:lnTo>
                  <a:pt x="1907" y="2213"/>
                </a:lnTo>
                <a:lnTo>
                  <a:pt x="1907" y="2215"/>
                </a:lnTo>
                <a:lnTo>
                  <a:pt x="1905" y="2215"/>
                </a:lnTo>
                <a:lnTo>
                  <a:pt x="1912" y="2222"/>
                </a:lnTo>
                <a:lnTo>
                  <a:pt x="1921" y="2239"/>
                </a:lnTo>
                <a:lnTo>
                  <a:pt x="1929" y="2250"/>
                </a:lnTo>
                <a:lnTo>
                  <a:pt x="1934" y="2256"/>
                </a:lnTo>
                <a:lnTo>
                  <a:pt x="1934" y="2262"/>
                </a:lnTo>
                <a:lnTo>
                  <a:pt x="1934" y="2271"/>
                </a:lnTo>
                <a:lnTo>
                  <a:pt x="1938" y="2273"/>
                </a:lnTo>
                <a:lnTo>
                  <a:pt x="1939" y="2278"/>
                </a:lnTo>
                <a:lnTo>
                  <a:pt x="1943" y="2286"/>
                </a:lnTo>
                <a:lnTo>
                  <a:pt x="1944" y="2293"/>
                </a:lnTo>
                <a:lnTo>
                  <a:pt x="1946" y="2296"/>
                </a:lnTo>
                <a:lnTo>
                  <a:pt x="1948" y="2298"/>
                </a:lnTo>
                <a:lnTo>
                  <a:pt x="1949" y="2303"/>
                </a:lnTo>
                <a:lnTo>
                  <a:pt x="1949" y="2305"/>
                </a:lnTo>
                <a:lnTo>
                  <a:pt x="1951" y="2307"/>
                </a:lnTo>
                <a:lnTo>
                  <a:pt x="1953" y="2310"/>
                </a:lnTo>
                <a:lnTo>
                  <a:pt x="1955" y="2313"/>
                </a:lnTo>
                <a:lnTo>
                  <a:pt x="1956" y="2315"/>
                </a:lnTo>
                <a:lnTo>
                  <a:pt x="1960" y="2324"/>
                </a:lnTo>
                <a:lnTo>
                  <a:pt x="1961" y="2327"/>
                </a:lnTo>
                <a:lnTo>
                  <a:pt x="1961" y="2330"/>
                </a:lnTo>
                <a:lnTo>
                  <a:pt x="1960" y="2330"/>
                </a:lnTo>
                <a:lnTo>
                  <a:pt x="1961" y="2337"/>
                </a:lnTo>
                <a:lnTo>
                  <a:pt x="1963" y="2341"/>
                </a:lnTo>
                <a:lnTo>
                  <a:pt x="1961" y="2346"/>
                </a:lnTo>
                <a:lnTo>
                  <a:pt x="1958" y="2346"/>
                </a:lnTo>
                <a:lnTo>
                  <a:pt x="1956" y="2347"/>
                </a:lnTo>
                <a:lnTo>
                  <a:pt x="1955" y="2347"/>
                </a:lnTo>
                <a:lnTo>
                  <a:pt x="1953" y="2347"/>
                </a:lnTo>
                <a:lnTo>
                  <a:pt x="1956" y="2346"/>
                </a:lnTo>
                <a:lnTo>
                  <a:pt x="1955" y="2347"/>
                </a:lnTo>
                <a:lnTo>
                  <a:pt x="1953" y="2347"/>
                </a:lnTo>
                <a:lnTo>
                  <a:pt x="1953" y="2349"/>
                </a:lnTo>
                <a:lnTo>
                  <a:pt x="1953" y="2347"/>
                </a:lnTo>
                <a:lnTo>
                  <a:pt x="1953" y="2349"/>
                </a:lnTo>
                <a:lnTo>
                  <a:pt x="1953" y="2351"/>
                </a:lnTo>
                <a:lnTo>
                  <a:pt x="1949" y="2352"/>
                </a:lnTo>
                <a:lnTo>
                  <a:pt x="1949" y="2356"/>
                </a:lnTo>
                <a:lnTo>
                  <a:pt x="1948" y="2356"/>
                </a:lnTo>
                <a:lnTo>
                  <a:pt x="1943" y="2363"/>
                </a:lnTo>
                <a:lnTo>
                  <a:pt x="1943" y="2361"/>
                </a:lnTo>
                <a:lnTo>
                  <a:pt x="1943" y="2359"/>
                </a:lnTo>
                <a:lnTo>
                  <a:pt x="1944" y="2358"/>
                </a:lnTo>
                <a:lnTo>
                  <a:pt x="1949" y="2352"/>
                </a:lnTo>
                <a:lnTo>
                  <a:pt x="1949" y="2351"/>
                </a:lnTo>
                <a:lnTo>
                  <a:pt x="1951" y="2351"/>
                </a:lnTo>
                <a:lnTo>
                  <a:pt x="1949" y="2351"/>
                </a:lnTo>
                <a:lnTo>
                  <a:pt x="1944" y="2356"/>
                </a:lnTo>
                <a:lnTo>
                  <a:pt x="1943" y="2359"/>
                </a:lnTo>
                <a:lnTo>
                  <a:pt x="1941" y="2363"/>
                </a:lnTo>
                <a:lnTo>
                  <a:pt x="1949" y="2373"/>
                </a:lnTo>
                <a:lnTo>
                  <a:pt x="1951" y="2378"/>
                </a:lnTo>
                <a:lnTo>
                  <a:pt x="1951" y="2381"/>
                </a:lnTo>
                <a:lnTo>
                  <a:pt x="1953" y="2385"/>
                </a:lnTo>
                <a:lnTo>
                  <a:pt x="1951" y="2387"/>
                </a:lnTo>
                <a:lnTo>
                  <a:pt x="1955" y="2390"/>
                </a:lnTo>
                <a:lnTo>
                  <a:pt x="1953" y="2392"/>
                </a:lnTo>
                <a:lnTo>
                  <a:pt x="1958" y="2402"/>
                </a:lnTo>
                <a:lnTo>
                  <a:pt x="1960" y="2407"/>
                </a:lnTo>
                <a:lnTo>
                  <a:pt x="1958" y="2407"/>
                </a:lnTo>
                <a:lnTo>
                  <a:pt x="1965" y="2414"/>
                </a:lnTo>
                <a:lnTo>
                  <a:pt x="1966" y="2419"/>
                </a:lnTo>
                <a:lnTo>
                  <a:pt x="1968" y="2422"/>
                </a:lnTo>
                <a:lnTo>
                  <a:pt x="1970" y="2427"/>
                </a:lnTo>
                <a:lnTo>
                  <a:pt x="1968" y="2427"/>
                </a:lnTo>
                <a:lnTo>
                  <a:pt x="1975" y="2434"/>
                </a:lnTo>
                <a:lnTo>
                  <a:pt x="1982" y="2443"/>
                </a:lnTo>
                <a:lnTo>
                  <a:pt x="1982" y="2444"/>
                </a:lnTo>
                <a:lnTo>
                  <a:pt x="1978" y="2446"/>
                </a:lnTo>
                <a:lnTo>
                  <a:pt x="1985" y="2455"/>
                </a:lnTo>
                <a:lnTo>
                  <a:pt x="1985" y="2460"/>
                </a:lnTo>
                <a:lnTo>
                  <a:pt x="1983" y="2472"/>
                </a:lnTo>
                <a:lnTo>
                  <a:pt x="1983" y="2475"/>
                </a:lnTo>
                <a:lnTo>
                  <a:pt x="1982" y="2477"/>
                </a:lnTo>
                <a:lnTo>
                  <a:pt x="1983" y="2478"/>
                </a:lnTo>
                <a:lnTo>
                  <a:pt x="1982" y="2483"/>
                </a:lnTo>
                <a:lnTo>
                  <a:pt x="1982" y="2487"/>
                </a:lnTo>
                <a:lnTo>
                  <a:pt x="1982" y="2489"/>
                </a:lnTo>
                <a:lnTo>
                  <a:pt x="1982" y="2490"/>
                </a:lnTo>
                <a:lnTo>
                  <a:pt x="1982" y="2499"/>
                </a:lnTo>
                <a:lnTo>
                  <a:pt x="1980" y="2507"/>
                </a:lnTo>
                <a:lnTo>
                  <a:pt x="1978" y="2509"/>
                </a:lnTo>
                <a:lnTo>
                  <a:pt x="1978" y="2516"/>
                </a:lnTo>
                <a:lnTo>
                  <a:pt x="1977" y="2517"/>
                </a:lnTo>
                <a:lnTo>
                  <a:pt x="1975" y="2523"/>
                </a:lnTo>
                <a:lnTo>
                  <a:pt x="1972" y="2528"/>
                </a:lnTo>
                <a:lnTo>
                  <a:pt x="1970" y="2528"/>
                </a:lnTo>
                <a:lnTo>
                  <a:pt x="1972" y="2526"/>
                </a:lnTo>
                <a:lnTo>
                  <a:pt x="1968" y="2528"/>
                </a:lnTo>
                <a:lnTo>
                  <a:pt x="1966" y="2533"/>
                </a:lnTo>
                <a:lnTo>
                  <a:pt x="1966" y="2535"/>
                </a:lnTo>
                <a:lnTo>
                  <a:pt x="1966" y="2536"/>
                </a:lnTo>
                <a:lnTo>
                  <a:pt x="1960" y="2541"/>
                </a:lnTo>
                <a:lnTo>
                  <a:pt x="1958" y="2541"/>
                </a:lnTo>
                <a:lnTo>
                  <a:pt x="1958" y="2540"/>
                </a:lnTo>
                <a:lnTo>
                  <a:pt x="1956" y="2540"/>
                </a:lnTo>
                <a:lnTo>
                  <a:pt x="1955" y="2541"/>
                </a:lnTo>
                <a:lnTo>
                  <a:pt x="1953" y="2541"/>
                </a:lnTo>
                <a:lnTo>
                  <a:pt x="1953" y="2540"/>
                </a:lnTo>
                <a:lnTo>
                  <a:pt x="1949" y="2541"/>
                </a:lnTo>
                <a:lnTo>
                  <a:pt x="1949" y="2543"/>
                </a:lnTo>
                <a:lnTo>
                  <a:pt x="1939" y="2552"/>
                </a:lnTo>
                <a:lnTo>
                  <a:pt x="1939" y="2553"/>
                </a:lnTo>
                <a:lnTo>
                  <a:pt x="1941" y="2560"/>
                </a:lnTo>
                <a:lnTo>
                  <a:pt x="1938" y="2562"/>
                </a:lnTo>
                <a:lnTo>
                  <a:pt x="1936" y="2565"/>
                </a:lnTo>
                <a:lnTo>
                  <a:pt x="1934" y="2567"/>
                </a:lnTo>
                <a:lnTo>
                  <a:pt x="1932" y="2569"/>
                </a:lnTo>
                <a:lnTo>
                  <a:pt x="1931" y="2570"/>
                </a:lnTo>
                <a:lnTo>
                  <a:pt x="1929" y="2570"/>
                </a:lnTo>
                <a:lnTo>
                  <a:pt x="1929" y="2572"/>
                </a:lnTo>
                <a:lnTo>
                  <a:pt x="1927" y="2572"/>
                </a:lnTo>
                <a:lnTo>
                  <a:pt x="1926" y="2574"/>
                </a:lnTo>
                <a:lnTo>
                  <a:pt x="1924" y="2575"/>
                </a:lnTo>
                <a:lnTo>
                  <a:pt x="1924" y="2577"/>
                </a:lnTo>
                <a:lnTo>
                  <a:pt x="1922" y="2579"/>
                </a:lnTo>
                <a:lnTo>
                  <a:pt x="1921" y="2580"/>
                </a:lnTo>
                <a:lnTo>
                  <a:pt x="1919" y="2582"/>
                </a:lnTo>
                <a:lnTo>
                  <a:pt x="1919" y="2586"/>
                </a:lnTo>
                <a:lnTo>
                  <a:pt x="1919" y="2587"/>
                </a:lnTo>
                <a:lnTo>
                  <a:pt x="1919" y="2589"/>
                </a:lnTo>
                <a:lnTo>
                  <a:pt x="1919" y="2591"/>
                </a:lnTo>
                <a:lnTo>
                  <a:pt x="1919" y="2594"/>
                </a:lnTo>
                <a:lnTo>
                  <a:pt x="1917" y="2599"/>
                </a:lnTo>
                <a:lnTo>
                  <a:pt x="1919" y="2603"/>
                </a:lnTo>
                <a:lnTo>
                  <a:pt x="1917" y="2604"/>
                </a:lnTo>
                <a:lnTo>
                  <a:pt x="1915" y="2604"/>
                </a:lnTo>
                <a:lnTo>
                  <a:pt x="1917" y="2604"/>
                </a:lnTo>
                <a:lnTo>
                  <a:pt x="1912" y="2604"/>
                </a:lnTo>
                <a:lnTo>
                  <a:pt x="1914" y="2608"/>
                </a:lnTo>
                <a:lnTo>
                  <a:pt x="1912" y="2609"/>
                </a:lnTo>
                <a:lnTo>
                  <a:pt x="1912" y="2613"/>
                </a:lnTo>
                <a:lnTo>
                  <a:pt x="1910" y="2614"/>
                </a:lnTo>
                <a:lnTo>
                  <a:pt x="1909" y="2616"/>
                </a:lnTo>
                <a:lnTo>
                  <a:pt x="1910" y="2620"/>
                </a:lnTo>
                <a:lnTo>
                  <a:pt x="1909" y="2620"/>
                </a:lnTo>
                <a:lnTo>
                  <a:pt x="1910" y="2626"/>
                </a:lnTo>
                <a:lnTo>
                  <a:pt x="1909" y="2628"/>
                </a:lnTo>
                <a:lnTo>
                  <a:pt x="1909" y="2631"/>
                </a:lnTo>
                <a:lnTo>
                  <a:pt x="1907" y="2640"/>
                </a:lnTo>
                <a:lnTo>
                  <a:pt x="1907" y="2645"/>
                </a:lnTo>
                <a:lnTo>
                  <a:pt x="1905" y="2647"/>
                </a:lnTo>
                <a:lnTo>
                  <a:pt x="1905" y="2648"/>
                </a:lnTo>
                <a:lnTo>
                  <a:pt x="1904" y="2654"/>
                </a:lnTo>
                <a:lnTo>
                  <a:pt x="1902" y="2654"/>
                </a:lnTo>
                <a:lnTo>
                  <a:pt x="1902" y="2657"/>
                </a:lnTo>
                <a:lnTo>
                  <a:pt x="1902" y="2659"/>
                </a:lnTo>
                <a:lnTo>
                  <a:pt x="1900" y="2660"/>
                </a:lnTo>
                <a:lnTo>
                  <a:pt x="1900" y="2662"/>
                </a:lnTo>
                <a:lnTo>
                  <a:pt x="1898" y="2664"/>
                </a:lnTo>
                <a:lnTo>
                  <a:pt x="1897" y="2669"/>
                </a:lnTo>
                <a:lnTo>
                  <a:pt x="1898" y="2669"/>
                </a:lnTo>
                <a:lnTo>
                  <a:pt x="1898" y="2671"/>
                </a:lnTo>
                <a:lnTo>
                  <a:pt x="1898" y="2672"/>
                </a:lnTo>
                <a:lnTo>
                  <a:pt x="1898" y="2671"/>
                </a:lnTo>
                <a:lnTo>
                  <a:pt x="1897" y="2672"/>
                </a:lnTo>
                <a:lnTo>
                  <a:pt x="1895" y="2674"/>
                </a:lnTo>
                <a:lnTo>
                  <a:pt x="1893" y="2679"/>
                </a:lnTo>
                <a:lnTo>
                  <a:pt x="1893" y="2682"/>
                </a:lnTo>
                <a:lnTo>
                  <a:pt x="1892" y="2691"/>
                </a:lnTo>
                <a:lnTo>
                  <a:pt x="1892" y="2694"/>
                </a:lnTo>
                <a:lnTo>
                  <a:pt x="1888" y="2696"/>
                </a:lnTo>
                <a:lnTo>
                  <a:pt x="1887" y="2700"/>
                </a:lnTo>
                <a:lnTo>
                  <a:pt x="1885" y="2701"/>
                </a:lnTo>
                <a:lnTo>
                  <a:pt x="1883" y="2703"/>
                </a:lnTo>
                <a:lnTo>
                  <a:pt x="1881" y="2701"/>
                </a:lnTo>
                <a:lnTo>
                  <a:pt x="1883" y="2701"/>
                </a:lnTo>
                <a:lnTo>
                  <a:pt x="1880" y="2701"/>
                </a:lnTo>
                <a:lnTo>
                  <a:pt x="1878" y="2706"/>
                </a:lnTo>
                <a:lnTo>
                  <a:pt x="1878" y="2708"/>
                </a:lnTo>
                <a:lnTo>
                  <a:pt x="1881" y="2713"/>
                </a:lnTo>
                <a:lnTo>
                  <a:pt x="1881" y="2718"/>
                </a:lnTo>
                <a:lnTo>
                  <a:pt x="1883" y="2735"/>
                </a:lnTo>
                <a:lnTo>
                  <a:pt x="1881" y="2751"/>
                </a:lnTo>
                <a:lnTo>
                  <a:pt x="1881" y="2754"/>
                </a:lnTo>
                <a:lnTo>
                  <a:pt x="1880" y="2754"/>
                </a:lnTo>
                <a:lnTo>
                  <a:pt x="1881" y="2751"/>
                </a:lnTo>
                <a:lnTo>
                  <a:pt x="1880" y="2752"/>
                </a:lnTo>
                <a:lnTo>
                  <a:pt x="1880" y="2757"/>
                </a:lnTo>
                <a:lnTo>
                  <a:pt x="1880" y="2764"/>
                </a:lnTo>
                <a:lnTo>
                  <a:pt x="1880" y="2776"/>
                </a:lnTo>
                <a:lnTo>
                  <a:pt x="1880" y="2781"/>
                </a:lnTo>
                <a:lnTo>
                  <a:pt x="1878" y="2786"/>
                </a:lnTo>
                <a:lnTo>
                  <a:pt x="1878" y="2793"/>
                </a:lnTo>
                <a:lnTo>
                  <a:pt x="1880" y="2803"/>
                </a:lnTo>
                <a:lnTo>
                  <a:pt x="1881" y="2808"/>
                </a:lnTo>
                <a:lnTo>
                  <a:pt x="1881" y="2813"/>
                </a:lnTo>
                <a:lnTo>
                  <a:pt x="1885" y="2820"/>
                </a:lnTo>
                <a:lnTo>
                  <a:pt x="1890" y="2827"/>
                </a:lnTo>
                <a:lnTo>
                  <a:pt x="1890" y="2829"/>
                </a:lnTo>
                <a:lnTo>
                  <a:pt x="1892" y="2832"/>
                </a:lnTo>
                <a:lnTo>
                  <a:pt x="1893" y="2837"/>
                </a:lnTo>
                <a:lnTo>
                  <a:pt x="1893" y="2839"/>
                </a:lnTo>
                <a:lnTo>
                  <a:pt x="1909" y="2851"/>
                </a:lnTo>
                <a:lnTo>
                  <a:pt x="1915" y="2859"/>
                </a:lnTo>
                <a:lnTo>
                  <a:pt x="1917" y="2865"/>
                </a:lnTo>
                <a:lnTo>
                  <a:pt x="1921" y="2868"/>
                </a:lnTo>
                <a:lnTo>
                  <a:pt x="1927" y="2880"/>
                </a:lnTo>
                <a:lnTo>
                  <a:pt x="1927" y="2887"/>
                </a:lnTo>
                <a:lnTo>
                  <a:pt x="1934" y="2897"/>
                </a:lnTo>
                <a:lnTo>
                  <a:pt x="1936" y="2900"/>
                </a:lnTo>
                <a:lnTo>
                  <a:pt x="1944" y="2914"/>
                </a:lnTo>
                <a:lnTo>
                  <a:pt x="1944" y="2919"/>
                </a:lnTo>
                <a:lnTo>
                  <a:pt x="1949" y="2922"/>
                </a:lnTo>
                <a:lnTo>
                  <a:pt x="1953" y="2926"/>
                </a:lnTo>
                <a:lnTo>
                  <a:pt x="1953" y="2927"/>
                </a:lnTo>
                <a:lnTo>
                  <a:pt x="1955" y="2931"/>
                </a:lnTo>
                <a:lnTo>
                  <a:pt x="1955" y="2938"/>
                </a:lnTo>
                <a:lnTo>
                  <a:pt x="1960" y="2946"/>
                </a:lnTo>
                <a:lnTo>
                  <a:pt x="1961" y="2950"/>
                </a:lnTo>
                <a:lnTo>
                  <a:pt x="1961" y="2955"/>
                </a:lnTo>
                <a:lnTo>
                  <a:pt x="1963" y="2960"/>
                </a:lnTo>
                <a:lnTo>
                  <a:pt x="1970" y="2968"/>
                </a:lnTo>
                <a:lnTo>
                  <a:pt x="1972" y="2972"/>
                </a:lnTo>
                <a:lnTo>
                  <a:pt x="1977" y="2978"/>
                </a:lnTo>
                <a:lnTo>
                  <a:pt x="1978" y="2982"/>
                </a:lnTo>
                <a:lnTo>
                  <a:pt x="1985" y="2992"/>
                </a:lnTo>
                <a:lnTo>
                  <a:pt x="1987" y="2995"/>
                </a:lnTo>
                <a:lnTo>
                  <a:pt x="1992" y="3002"/>
                </a:lnTo>
                <a:lnTo>
                  <a:pt x="1992" y="3004"/>
                </a:lnTo>
                <a:lnTo>
                  <a:pt x="1990" y="3006"/>
                </a:lnTo>
                <a:lnTo>
                  <a:pt x="1995" y="3009"/>
                </a:lnTo>
                <a:lnTo>
                  <a:pt x="2007" y="3023"/>
                </a:lnTo>
                <a:lnTo>
                  <a:pt x="2007" y="3024"/>
                </a:lnTo>
                <a:lnTo>
                  <a:pt x="2012" y="3031"/>
                </a:lnTo>
                <a:lnTo>
                  <a:pt x="2014" y="3035"/>
                </a:lnTo>
                <a:lnTo>
                  <a:pt x="2016" y="3040"/>
                </a:lnTo>
                <a:lnTo>
                  <a:pt x="2019" y="3045"/>
                </a:lnTo>
                <a:lnTo>
                  <a:pt x="2019" y="3047"/>
                </a:lnTo>
                <a:lnTo>
                  <a:pt x="2019" y="3050"/>
                </a:lnTo>
                <a:lnTo>
                  <a:pt x="2019" y="3055"/>
                </a:lnTo>
                <a:lnTo>
                  <a:pt x="2021" y="3057"/>
                </a:lnTo>
                <a:lnTo>
                  <a:pt x="2019" y="3062"/>
                </a:lnTo>
                <a:lnTo>
                  <a:pt x="2017" y="3065"/>
                </a:lnTo>
                <a:lnTo>
                  <a:pt x="2016" y="3069"/>
                </a:lnTo>
                <a:lnTo>
                  <a:pt x="2017" y="3065"/>
                </a:lnTo>
                <a:lnTo>
                  <a:pt x="2014" y="3065"/>
                </a:lnTo>
                <a:lnTo>
                  <a:pt x="2016" y="3060"/>
                </a:lnTo>
                <a:lnTo>
                  <a:pt x="2014" y="3062"/>
                </a:lnTo>
                <a:lnTo>
                  <a:pt x="2014" y="3064"/>
                </a:lnTo>
                <a:lnTo>
                  <a:pt x="2014" y="3065"/>
                </a:lnTo>
                <a:lnTo>
                  <a:pt x="2014" y="3072"/>
                </a:lnTo>
                <a:lnTo>
                  <a:pt x="2017" y="3084"/>
                </a:lnTo>
                <a:lnTo>
                  <a:pt x="2017" y="3087"/>
                </a:lnTo>
                <a:lnTo>
                  <a:pt x="2016" y="3087"/>
                </a:lnTo>
                <a:lnTo>
                  <a:pt x="2017" y="3086"/>
                </a:lnTo>
                <a:lnTo>
                  <a:pt x="2016" y="3086"/>
                </a:lnTo>
                <a:lnTo>
                  <a:pt x="2017" y="3086"/>
                </a:lnTo>
                <a:lnTo>
                  <a:pt x="2016" y="3086"/>
                </a:lnTo>
                <a:lnTo>
                  <a:pt x="2014" y="3087"/>
                </a:lnTo>
                <a:lnTo>
                  <a:pt x="2019" y="3099"/>
                </a:lnTo>
                <a:lnTo>
                  <a:pt x="2017" y="3106"/>
                </a:lnTo>
                <a:lnTo>
                  <a:pt x="2019" y="3113"/>
                </a:lnTo>
                <a:lnTo>
                  <a:pt x="2016" y="3116"/>
                </a:lnTo>
                <a:lnTo>
                  <a:pt x="2016" y="3120"/>
                </a:lnTo>
                <a:lnTo>
                  <a:pt x="2019" y="3130"/>
                </a:lnTo>
                <a:lnTo>
                  <a:pt x="2024" y="3140"/>
                </a:lnTo>
                <a:lnTo>
                  <a:pt x="2024" y="3142"/>
                </a:lnTo>
                <a:lnTo>
                  <a:pt x="2023" y="3145"/>
                </a:lnTo>
                <a:lnTo>
                  <a:pt x="2031" y="3157"/>
                </a:lnTo>
                <a:lnTo>
                  <a:pt x="2033" y="3161"/>
                </a:lnTo>
                <a:lnTo>
                  <a:pt x="2033" y="3164"/>
                </a:lnTo>
                <a:lnTo>
                  <a:pt x="2038" y="3172"/>
                </a:lnTo>
                <a:lnTo>
                  <a:pt x="2033" y="3184"/>
                </a:lnTo>
                <a:lnTo>
                  <a:pt x="2034" y="3188"/>
                </a:lnTo>
                <a:lnTo>
                  <a:pt x="2036" y="3189"/>
                </a:lnTo>
                <a:lnTo>
                  <a:pt x="2034" y="3193"/>
                </a:lnTo>
                <a:lnTo>
                  <a:pt x="2038" y="3196"/>
                </a:lnTo>
                <a:lnTo>
                  <a:pt x="2036" y="3200"/>
                </a:lnTo>
                <a:lnTo>
                  <a:pt x="2036" y="3205"/>
                </a:lnTo>
                <a:lnTo>
                  <a:pt x="2034" y="3206"/>
                </a:lnTo>
                <a:lnTo>
                  <a:pt x="2040" y="3212"/>
                </a:lnTo>
                <a:lnTo>
                  <a:pt x="2040" y="3215"/>
                </a:lnTo>
                <a:lnTo>
                  <a:pt x="2041" y="3218"/>
                </a:lnTo>
                <a:lnTo>
                  <a:pt x="2043" y="3223"/>
                </a:lnTo>
                <a:lnTo>
                  <a:pt x="2041" y="3225"/>
                </a:lnTo>
                <a:lnTo>
                  <a:pt x="2040" y="3227"/>
                </a:lnTo>
                <a:lnTo>
                  <a:pt x="2041" y="3229"/>
                </a:lnTo>
                <a:lnTo>
                  <a:pt x="2041" y="3230"/>
                </a:lnTo>
                <a:lnTo>
                  <a:pt x="2041" y="3235"/>
                </a:lnTo>
                <a:lnTo>
                  <a:pt x="2043" y="3237"/>
                </a:lnTo>
                <a:lnTo>
                  <a:pt x="2048" y="3239"/>
                </a:lnTo>
                <a:lnTo>
                  <a:pt x="2050" y="3242"/>
                </a:lnTo>
                <a:lnTo>
                  <a:pt x="2050" y="3244"/>
                </a:lnTo>
                <a:lnTo>
                  <a:pt x="2051" y="3249"/>
                </a:lnTo>
                <a:lnTo>
                  <a:pt x="2053" y="3249"/>
                </a:lnTo>
                <a:lnTo>
                  <a:pt x="2051" y="3252"/>
                </a:lnTo>
                <a:lnTo>
                  <a:pt x="2051" y="3251"/>
                </a:lnTo>
                <a:lnTo>
                  <a:pt x="2051" y="3254"/>
                </a:lnTo>
                <a:lnTo>
                  <a:pt x="2050" y="3251"/>
                </a:lnTo>
                <a:lnTo>
                  <a:pt x="2048" y="3252"/>
                </a:lnTo>
                <a:lnTo>
                  <a:pt x="2048" y="3251"/>
                </a:lnTo>
                <a:lnTo>
                  <a:pt x="2048" y="3256"/>
                </a:lnTo>
                <a:lnTo>
                  <a:pt x="2048" y="3257"/>
                </a:lnTo>
                <a:lnTo>
                  <a:pt x="2050" y="3256"/>
                </a:lnTo>
                <a:lnTo>
                  <a:pt x="2050" y="3259"/>
                </a:lnTo>
                <a:lnTo>
                  <a:pt x="2051" y="3263"/>
                </a:lnTo>
                <a:lnTo>
                  <a:pt x="2051" y="3264"/>
                </a:lnTo>
                <a:lnTo>
                  <a:pt x="2055" y="3266"/>
                </a:lnTo>
                <a:lnTo>
                  <a:pt x="2055" y="3273"/>
                </a:lnTo>
                <a:lnTo>
                  <a:pt x="2057" y="3274"/>
                </a:lnTo>
                <a:lnTo>
                  <a:pt x="2057" y="3276"/>
                </a:lnTo>
                <a:lnTo>
                  <a:pt x="2057" y="3278"/>
                </a:lnTo>
                <a:lnTo>
                  <a:pt x="2057" y="3280"/>
                </a:lnTo>
                <a:lnTo>
                  <a:pt x="2058" y="3286"/>
                </a:lnTo>
                <a:lnTo>
                  <a:pt x="2062" y="3290"/>
                </a:lnTo>
                <a:lnTo>
                  <a:pt x="2062" y="3291"/>
                </a:lnTo>
                <a:lnTo>
                  <a:pt x="2065" y="3295"/>
                </a:lnTo>
                <a:lnTo>
                  <a:pt x="2067" y="3298"/>
                </a:lnTo>
                <a:lnTo>
                  <a:pt x="2070" y="3303"/>
                </a:lnTo>
                <a:lnTo>
                  <a:pt x="2070" y="3305"/>
                </a:lnTo>
                <a:lnTo>
                  <a:pt x="2072" y="3308"/>
                </a:lnTo>
                <a:lnTo>
                  <a:pt x="2079" y="3315"/>
                </a:lnTo>
                <a:lnTo>
                  <a:pt x="2079" y="3319"/>
                </a:lnTo>
                <a:lnTo>
                  <a:pt x="2084" y="3326"/>
                </a:lnTo>
                <a:lnTo>
                  <a:pt x="2096" y="3334"/>
                </a:lnTo>
                <a:lnTo>
                  <a:pt x="2111" y="3349"/>
                </a:lnTo>
                <a:lnTo>
                  <a:pt x="2118" y="3353"/>
                </a:lnTo>
                <a:lnTo>
                  <a:pt x="2123" y="3358"/>
                </a:lnTo>
                <a:lnTo>
                  <a:pt x="2123" y="3360"/>
                </a:lnTo>
                <a:lnTo>
                  <a:pt x="2125" y="3365"/>
                </a:lnTo>
                <a:lnTo>
                  <a:pt x="2130" y="3368"/>
                </a:lnTo>
                <a:lnTo>
                  <a:pt x="2131" y="3373"/>
                </a:lnTo>
                <a:lnTo>
                  <a:pt x="2135" y="3377"/>
                </a:lnTo>
                <a:lnTo>
                  <a:pt x="2136" y="3382"/>
                </a:lnTo>
                <a:lnTo>
                  <a:pt x="2143" y="3394"/>
                </a:lnTo>
                <a:lnTo>
                  <a:pt x="2145" y="3399"/>
                </a:lnTo>
                <a:lnTo>
                  <a:pt x="2145" y="3400"/>
                </a:lnTo>
                <a:lnTo>
                  <a:pt x="2147" y="3402"/>
                </a:lnTo>
                <a:lnTo>
                  <a:pt x="2147" y="3405"/>
                </a:lnTo>
                <a:lnTo>
                  <a:pt x="2148" y="3412"/>
                </a:lnTo>
                <a:lnTo>
                  <a:pt x="2150" y="3419"/>
                </a:lnTo>
                <a:lnTo>
                  <a:pt x="2153" y="3421"/>
                </a:lnTo>
                <a:lnTo>
                  <a:pt x="2155" y="3429"/>
                </a:lnTo>
                <a:lnTo>
                  <a:pt x="2155" y="3431"/>
                </a:lnTo>
                <a:lnTo>
                  <a:pt x="2159" y="3439"/>
                </a:lnTo>
                <a:lnTo>
                  <a:pt x="2167" y="3451"/>
                </a:lnTo>
                <a:lnTo>
                  <a:pt x="2167" y="3453"/>
                </a:lnTo>
                <a:lnTo>
                  <a:pt x="2170" y="3458"/>
                </a:lnTo>
                <a:lnTo>
                  <a:pt x="2176" y="3468"/>
                </a:lnTo>
                <a:lnTo>
                  <a:pt x="2179" y="3472"/>
                </a:lnTo>
                <a:lnTo>
                  <a:pt x="2182" y="3479"/>
                </a:lnTo>
                <a:lnTo>
                  <a:pt x="2189" y="3485"/>
                </a:lnTo>
                <a:lnTo>
                  <a:pt x="2191" y="3491"/>
                </a:lnTo>
                <a:lnTo>
                  <a:pt x="2201" y="3501"/>
                </a:lnTo>
                <a:lnTo>
                  <a:pt x="2203" y="3506"/>
                </a:lnTo>
                <a:lnTo>
                  <a:pt x="2206" y="3511"/>
                </a:lnTo>
                <a:lnTo>
                  <a:pt x="2206" y="3514"/>
                </a:lnTo>
                <a:lnTo>
                  <a:pt x="2210" y="3518"/>
                </a:lnTo>
                <a:lnTo>
                  <a:pt x="2210" y="3519"/>
                </a:lnTo>
                <a:lnTo>
                  <a:pt x="2211" y="3526"/>
                </a:lnTo>
                <a:lnTo>
                  <a:pt x="2211" y="3530"/>
                </a:lnTo>
                <a:lnTo>
                  <a:pt x="2213" y="3538"/>
                </a:lnTo>
                <a:lnTo>
                  <a:pt x="2213" y="3540"/>
                </a:lnTo>
                <a:lnTo>
                  <a:pt x="2211" y="3540"/>
                </a:lnTo>
                <a:lnTo>
                  <a:pt x="2213" y="3547"/>
                </a:lnTo>
                <a:lnTo>
                  <a:pt x="2211" y="3553"/>
                </a:lnTo>
                <a:lnTo>
                  <a:pt x="2208" y="3557"/>
                </a:lnTo>
                <a:lnTo>
                  <a:pt x="2203" y="3562"/>
                </a:lnTo>
                <a:lnTo>
                  <a:pt x="2198" y="3564"/>
                </a:lnTo>
                <a:lnTo>
                  <a:pt x="2196" y="3560"/>
                </a:lnTo>
                <a:lnTo>
                  <a:pt x="2194" y="3560"/>
                </a:lnTo>
                <a:lnTo>
                  <a:pt x="2194" y="3559"/>
                </a:lnTo>
                <a:lnTo>
                  <a:pt x="2193" y="3560"/>
                </a:lnTo>
                <a:lnTo>
                  <a:pt x="2191" y="3559"/>
                </a:lnTo>
                <a:lnTo>
                  <a:pt x="2191" y="3560"/>
                </a:lnTo>
                <a:lnTo>
                  <a:pt x="2191" y="3564"/>
                </a:lnTo>
                <a:lnTo>
                  <a:pt x="2187" y="3565"/>
                </a:lnTo>
                <a:lnTo>
                  <a:pt x="2189" y="3567"/>
                </a:lnTo>
                <a:lnTo>
                  <a:pt x="2187" y="3569"/>
                </a:lnTo>
                <a:lnTo>
                  <a:pt x="2189" y="3570"/>
                </a:lnTo>
                <a:lnTo>
                  <a:pt x="2189" y="3572"/>
                </a:lnTo>
                <a:lnTo>
                  <a:pt x="2189" y="3574"/>
                </a:lnTo>
                <a:lnTo>
                  <a:pt x="2191" y="3574"/>
                </a:lnTo>
                <a:lnTo>
                  <a:pt x="2189" y="3576"/>
                </a:lnTo>
                <a:lnTo>
                  <a:pt x="2191" y="3576"/>
                </a:lnTo>
                <a:lnTo>
                  <a:pt x="2193" y="3576"/>
                </a:lnTo>
                <a:lnTo>
                  <a:pt x="2194" y="3576"/>
                </a:lnTo>
                <a:lnTo>
                  <a:pt x="2193" y="3576"/>
                </a:lnTo>
                <a:lnTo>
                  <a:pt x="2194" y="3574"/>
                </a:lnTo>
                <a:lnTo>
                  <a:pt x="2196" y="3574"/>
                </a:lnTo>
                <a:lnTo>
                  <a:pt x="2194" y="3576"/>
                </a:lnTo>
                <a:lnTo>
                  <a:pt x="2196" y="3574"/>
                </a:lnTo>
                <a:lnTo>
                  <a:pt x="2198" y="3576"/>
                </a:lnTo>
                <a:lnTo>
                  <a:pt x="2198" y="3579"/>
                </a:lnTo>
                <a:lnTo>
                  <a:pt x="2199" y="3581"/>
                </a:lnTo>
                <a:lnTo>
                  <a:pt x="2199" y="3582"/>
                </a:lnTo>
                <a:lnTo>
                  <a:pt x="2201" y="3582"/>
                </a:lnTo>
                <a:lnTo>
                  <a:pt x="2201" y="3584"/>
                </a:lnTo>
                <a:lnTo>
                  <a:pt x="2199" y="3584"/>
                </a:lnTo>
                <a:lnTo>
                  <a:pt x="2196" y="3581"/>
                </a:lnTo>
                <a:lnTo>
                  <a:pt x="2196" y="3579"/>
                </a:lnTo>
                <a:lnTo>
                  <a:pt x="2194" y="3579"/>
                </a:lnTo>
                <a:lnTo>
                  <a:pt x="2196" y="3579"/>
                </a:lnTo>
                <a:lnTo>
                  <a:pt x="2194" y="3577"/>
                </a:lnTo>
                <a:lnTo>
                  <a:pt x="2194" y="3579"/>
                </a:lnTo>
                <a:lnTo>
                  <a:pt x="2193" y="3579"/>
                </a:lnTo>
                <a:lnTo>
                  <a:pt x="2194" y="3579"/>
                </a:lnTo>
                <a:lnTo>
                  <a:pt x="2194" y="3581"/>
                </a:lnTo>
                <a:lnTo>
                  <a:pt x="2196" y="3582"/>
                </a:lnTo>
                <a:lnTo>
                  <a:pt x="2201" y="3586"/>
                </a:lnTo>
                <a:lnTo>
                  <a:pt x="2203" y="3591"/>
                </a:lnTo>
                <a:lnTo>
                  <a:pt x="2203" y="3593"/>
                </a:lnTo>
                <a:lnTo>
                  <a:pt x="2208" y="3594"/>
                </a:lnTo>
                <a:lnTo>
                  <a:pt x="2211" y="3598"/>
                </a:lnTo>
                <a:lnTo>
                  <a:pt x="2211" y="3599"/>
                </a:lnTo>
                <a:lnTo>
                  <a:pt x="2211" y="3603"/>
                </a:lnTo>
                <a:lnTo>
                  <a:pt x="2213" y="3603"/>
                </a:lnTo>
                <a:lnTo>
                  <a:pt x="2218" y="3610"/>
                </a:lnTo>
                <a:lnTo>
                  <a:pt x="2218" y="3611"/>
                </a:lnTo>
                <a:lnTo>
                  <a:pt x="2220" y="3616"/>
                </a:lnTo>
                <a:lnTo>
                  <a:pt x="2220" y="3618"/>
                </a:lnTo>
                <a:lnTo>
                  <a:pt x="2220" y="3620"/>
                </a:lnTo>
                <a:lnTo>
                  <a:pt x="2218" y="3620"/>
                </a:lnTo>
                <a:lnTo>
                  <a:pt x="2216" y="3620"/>
                </a:lnTo>
                <a:lnTo>
                  <a:pt x="2218" y="3620"/>
                </a:lnTo>
                <a:lnTo>
                  <a:pt x="2215" y="3620"/>
                </a:lnTo>
                <a:lnTo>
                  <a:pt x="2215" y="3623"/>
                </a:lnTo>
                <a:lnTo>
                  <a:pt x="2211" y="3627"/>
                </a:lnTo>
                <a:lnTo>
                  <a:pt x="2213" y="3628"/>
                </a:lnTo>
                <a:lnTo>
                  <a:pt x="2213" y="3627"/>
                </a:lnTo>
                <a:lnTo>
                  <a:pt x="2215" y="3628"/>
                </a:lnTo>
                <a:lnTo>
                  <a:pt x="2213" y="3632"/>
                </a:lnTo>
                <a:lnTo>
                  <a:pt x="2211" y="3632"/>
                </a:lnTo>
                <a:lnTo>
                  <a:pt x="2215" y="3635"/>
                </a:lnTo>
                <a:lnTo>
                  <a:pt x="2215" y="3639"/>
                </a:lnTo>
                <a:lnTo>
                  <a:pt x="2216" y="3640"/>
                </a:lnTo>
                <a:lnTo>
                  <a:pt x="2220" y="3642"/>
                </a:lnTo>
                <a:lnTo>
                  <a:pt x="2218" y="3640"/>
                </a:lnTo>
                <a:lnTo>
                  <a:pt x="2220" y="3637"/>
                </a:lnTo>
                <a:lnTo>
                  <a:pt x="2218" y="3635"/>
                </a:lnTo>
                <a:lnTo>
                  <a:pt x="2216" y="3633"/>
                </a:lnTo>
                <a:lnTo>
                  <a:pt x="2218" y="3632"/>
                </a:lnTo>
                <a:lnTo>
                  <a:pt x="2220" y="3630"/>
                </a:lnTo>
                <a:lnTo>
                  <a:pt x="2227" y="3628"/>
                </a:lnTo>
                <a:lnTo>
                  <a:pt x="2235" y="3628"/>
                </a:lnTo>
                <a:lnTo>
                  <a:pt x="2238" y="3632"/>
                </a:lnTo>
                <a:lnTo>
                  <a:pt x="2237" y="3633"/>
                </a:lnTo>
                <a:lnTo>
                  <a:pt x="2238" y="3637"/>
                </a:lnTo>
                <a:lnTo>
                  <a:pt x="2237" y="3640"/>
                </a:lnTo>
                <a:lnTo>
                  <a:pt x="2237" y="3642"/>
                </a:lnTo>
                <a:lnTo>
                  <a:pt x="2237" y="3644"/>
                </a:lnTo>
                <a:lnTo>
                  <a:pt x="2238" y="3644"/>
                </a:lnTo>
                <a:lnTo>
                  <a:pt x="2240" y="3644"/>
                </a:lnTo>
                <a:lnTo>
                  <a:pt x="2242" y="3642"/>
                </a:lnTo>
                <a:lnTo>
                  <a:pt x="2244" y="3644"/>
                </a:lnTo>
                <a:lnTo>
                  <a:pt x="2245" y="3642"/>
                </a:lnTo>
                <a:lnTo>
                  <a:pt x="2249" y="3642"/>
                </a:lnTo>
                <a:lnTo>
                  <a:pt x="2250" y="3644"/>
                </a:lnTo>
                <a:lnTo>
                  <a:pt x="2252" y="3645"/>
                </a:lnTo>
                <a:lnTo>
                  <a:pt x="2254" y="3645"/>
                </a:lnTo>
                <a:lnTo>
                  <a:pt x="2255" y="3645"/>
                </a:lnTo>
                <a:lnTo>
                  <a:pt x="2257" y="3647"/>
                </a:lnTo>
                <a:lnTo>
                  <a:pt x="2261" y="3645"/>
                </a:lnTo>
                <a:lnTo>
                  <a:pt x="2264" y="3647"/>
                </a:lnTo>
                <a:lnTo>
                  <a:pt x="2266" y="3652"/>
                </a:lnTo>
                <a:lnTo>
                  <a:pt x="2261" y="3657"/>
                </a:lnTo>
                <a:lnTo>
                  <a:pt x="2267" y="3656"/>
                </a:lnTo>
                <a:lnTo>
                  <a:pt x="2269" y="3657"/>
                </a:lnTo>
                <a:lnTo>
                  <a:pt x="2272" y="3659"/>
                </a:lnTo>
                <a:lnTo>
                  <a:pt x="2274" y="3661"/>
                </a:lnTo>
                <a:lnTo>
                  <a:pt x="2276" y="3661"/>
                </a:lnTo>
                <a:lnTo>
                  <a:pt x="2276" y="3662"/>
                </a:lnTo>
                <a:lnTo>
                  <a:pt x="2278" y="3662"/>
                </a:lnTo>
                <a:lnTo>
                  <a:pt x="2278" y="3664"/>
                </a:lnTo>
                <a:lnTo>
                  <a:pt x="2279" y="3664"/>
                </a:lnTo>
                <a:lnTo>
                  <a:pt x="2281" y="3662"/>
                </a:lnTo>
                <a:lnTo>
                  <a:pt x="2289" y="3664"/>
                </a:lnTo>
                <a:lnTo>
                  <a:pt x="2295" y="3666"/>
                </a:lnTo>
                <a:lnTo>
                  <a:pt x="2296" y="3667"/>
                </a:lnTo>
                <a:lnTo>
                  <a:pt x="2300" y="3666"/>
                </a:lnTo>
                <a:close/>
                <a:moveTo>
                  <a:pt x="1779" y="15"/>
                </a:moveTo>
                <a:lnTo>
                  <a:pt x="1781" y="15"/>
                </a:lnTo>
                <a:lnTo>
                  <a:pt x="1779" y="15"/>
                </a:lnTo>
                <a:close/>
                <a:moveTo>
                  <a:pt x="1830" y="19"/>
                </a:moveTo>
                <a:lnTo>
                  <a:pt x="1832" y="19"/>
                </a:lnTo>
                <a:lnTo>
                  <a:pt x="1832" y="20"/>
                </a:lnTo>
                <a:lnTo>
                  <a:pt x="1830" y="20"/>
                </a:lnTo>
                <a:lnTo>
                  <a:pt x="1830" y="19"/>
                </a:lnTo>
                <a:close/>
                <a:moveTo>
                  <a:pt x="1013" y="70"/>
                </a:moveTo>
                <a:lnTo>
                  <a:pt x="1013" y="71"/>
                </a:lnTo>
                <a:lnTo>
                  <a:pt x="1013" y="70"/>
                </a:lnTo>
                <a:close/>
                <a:moveTo>
                  <a:pt x="1842" y="87"/>
                </a:moveTo>
                <a:lnTo>
                  <a:pt x="1842" y="88"/>
                </a:lnTo>
                <a:lnTo>
                  <a:pt x="1842" y="87"/>
                </a:lnTo>
                <a:close/>
                <a:moveTo>
                  <a:pt x="1832" y="90"/>
                </a:moveTo>
                <a:lnTo>
                  <a:pt x="1832" y="92"/>
                </a:lnTo>
                <a:lnTo>
                  <a:pt x="1832" y="90"/>
                </a:lnTo>
                <a:close/>
                <a:moveTo>
                  <a:pt x="1853" y="143"/>
                </a:moveTo>
                <a:lnTo>
                  <a:pt x="1854" y="143"/>
                </a:lnTo>
                <a:lnTo>
                  <a:pt x="1856" y="141"/>
                </a:lnTo>
                <a:lnTo>
                  <a:pt x="1854" y="139"/>
                </a:lnTo>
                <a:lnTo>
                  <a:pt x="1856" y="139"/>
                </a:lnTo>
                <a:lnTo>
                  <a:pt x="1856" y="138"/>
                </a:lnTo>
                <a:lnTo>
                  <a:pt x="1854" y="138"/>
                </a:lnTo>
                <a:lnTo>
                  <a:pt x="1853" y="136"/>
                </a:lnTo>
                <a:lnTo>
                  <a:pt x="1854" y="139"/>
                </a:lnTo>
                <a:lnTo>
                  <a:pt x="1853" y="139"/>
                </a:lnTo>
                <a:lnTo>
                  <a:pt x="1853" y="141"/>
                </a:lnTo>
                <a:lnTo>
                  <a:pt x="1851" y="141"/>
                </a:lnTo>
                <a:lnTo>
                  <a:pt x="1849" y="139"/>
                </a:lnTo>
                <a:lnTo>
                  <a:pt x="1849" y="141"/>
                </a:lnTo>
                <a:lnTo>
                  <a:pt x="1847" y="143"/>
                </a:lnTo>
                <a:lnTo>
                  <a:pt x="1847" y="144"/>
                </a:lnTo>
                <a:lnTo>
                  <a:pt x="1853" y="143"/>
                </a:lnTo>
                <a:close/>
                <a:moveTo>
                  <a:pt x="1856" y="136"/>
                </a:moveTo>
                <a:lnTo>
                  <a:pt x="1858" y="136"/>
                </a:lnTo>
                <a:lnTo>
                  <a:pt x="1858" y="138"/>
                </a:lnTo>
                <a:lnTo>
                  <a:pt x="1856" y="138"/>
                </a:lnTo>
                <a:lnTo>
                  <a:pt x="1856" y="136"/>
                </a:lnTo>
                <a:close/>
                <a:moveTo>
                  <a:pt x="1856" y="139"/>
                </a:moveTo>
                <a:lnTo>
                  <a:pt x="1858" y="139"/>
                </a:lnTo>
                <a:lnTo>
                  <a:pt x="1858" y="141"/>
                </a:lnTo>
                <a:lnTo>
                  <a:pt x="1856" y="141"/>
                </a:lnTo>
                <a:lnTo>
                  <a:pt x="1856" y="139"/>
                </a:lnTo>
                <a:close/>
                <a:moveTo>
                  <a:pt x="1847" y="144"/>
                </a:moveTo>
                <a:lnTo>
                  <a:pt x="1846" y="144"/>
                </a:lnTo>
                <a:lnTo>
                  <a:pt x="1841" y="144"/>
                </a:lnTo>
                <a:lnTo>
                  <a:pt x="1839" y="146"/>
                </a:lnTo>
                <a:lnTo>
                  <a:pt x="1844" y="148"/>
                </a:lnTo>
                <a:lnTo>
                  <a:pt x="1847" y="144"/>
                </a:lnTo>
                <a:close/>
                <a:moveTo>
                  <a:pt x="1805" y="160"/>
                </a:moveTo>
                <a:lnTo>
                  <a:pt x="1807" y="160"/>
                </a:lnTo>
                <a:lnTo>
                  <a:pt x="1805" y="160"/>
                </a:lnTo>
                <a:close/>
                <a:moveTo>
                  <a:pt x="1836" y="196"/>
                </a:moveTo>
                <a:lnTo>
                  <a:pt x="1837" y="194"/>
                </a:lnTo>
                <a:lnTo>
                  <a:pt x="1839" y="192"/>
                </a:lnTo>
                <a:lnTo>
                  <a:pt x="1839" y="196"/>
                </a:lnTo>
                <a:lnTo>
                  <a:pt x="1841" y="190"/>
                </a:lnTo>
                <a:lnTo>
                  <a:pt x="1844" y="190"/>
                </a:lnTo>
                <a:lnTo>
                  <a:pt x="1844" y="187"/>
                </a:lnTo>
                <a:lnTo>
                  <a:pt x="1842" y="187"/>
                </a:lnTo>
                <a:lnTo>
                  <a:pt x="1836" y="184"/>
                </a:lnTo>
                <a:lnTo>
                  <a:pt x="1839" y="185"/>
                </a:lnTo>
                <a:lnTo>
                  <a:pt x="1830" y="184"/>
                </a:lnTo>
                <a:lnTo>
                  <a:pt x="1827" y="184"/>
                </a:lnTo>
                <a:lnTo>
                  <a:pt x="1829" y="189"/>
                </a:lnTo>
                <a:lnTo>
                  <a:pt x="1827" y="190"/>
                </a:lnTo>
                <a:lnTo>
                  <a:pt x="1827" y="192"/>
                </a:lnTo>
                <a:lnTo>
                  <a:pt x="1829" y="194"/>
                </a:lnTo>
                <a:lnTo>
                  <a:pt x="1830" y="194"/>
                </a:lnTo>
                <a:lnTo>
                  <a:pt x="1830" y="192"/>
                </a:lnTo>
                <a:lnTo>
                  <a:pt x="1832" y="192"/>
                </a:lnTo>
                <a:lnTo>
                  <a:pt x="1834" y="194"/>
                </a:lnTo>
                <a:lnTo>
                  <a:pt x="1834" y="196"/>
                </a:lnTo>
                <a:lnTo>
                  <a:pt x="1836" y="197"/>
                </a:lnTo>
                <a:lnTo>
                  <a:pt x="1836" y="196"/>
                </a:lnTo>
                <a:close/>
                <a:moveTo>
                  <a:pt x="1825" y="192"/>
                </a:moveTo>
                <a:lnTo>
                  <a:pt x="1827" y="192"/>
                </a:lnTo>
                <a:lnTo>
                  <a:pt x="1825" y="192"/>
                </a:lnTo>
                <a:close/>
                <a:moveTo>
                  <a:pt x="1841" y="194"/>
                </a:moveTo>
                <a:lnTo>
                  <a:pt x="1841" y="196"/>
                </a:lnTo>
                <a:lnTo>
                  <a:pt x="1841" y="194"/>
                </a:lnTo>
                <a:close/>
                <a:moveTo>
                  <a:pt x="1846" y="209"/>
                </a:moveTo>
                <a:lnTo>
                  <a:pt x="1847" y="209"/>
                </a:lnTo>
                <a:lnTo>
                  <a:pt x="1847" y="211"/>
                </a:lnTo>
                <a:lnTo>
                  <a:pt x="1846" y="211"/>
                </a:lnTo>
                <a:lnTo>
                  <a:pt x="1846" y="209"/>
                </a:lnTo>
                <a:close/>
                <a:moveTo>
                  <a:pt x="2959" y="320"/>
                </a:moveTo>
                <a:lnTo>
                  <a:pt x="2961" y="320"/>
                </a:lnTo>
                <a:lnTo>
                  <a:pt x="2969" y="320"/>
                </a:lnTo>
                <a:lnTo>
                  <a:pt x="2961" y="320"/>
                </a:lnTo>
                <a:lnTo>
                  <a:pt x="2959" y="320"/>
                </a:lnTo>
                <a:lnTo>
                  <a:pt x="2952" y="323"/>
                </a:lnTo>
                <a:lnTo>
                  <a:pt x="2959" y="320"/>
                </a:lnTo>
                <a:close/>
                <a:moveTo>
                  <a:pt x="2975" y="321"/>
                </a:moveTo>
                <a:lnTo>
                  <a:pt x="2969" y="320"/>
                </a:lnTo>
                <a:lnTo>
                  <a:pt x="2976" y="323"/>
                </a:lnTo>
                <a:lnTo>
                  <a:pt x="2975" y="321"/>
                </a:lnTo>
                <a:close/>
                <a:moveTo>
                  <a:pt x="2976" y="323"/>
                </a:moveTo>
                <a:lnTo>
                  <a:pt x="2978" y="323"/>
                </a:lnTo>
                <a:lnTo>
                  <a:pt x="2976" y="323"/>
                </a:lnTo>
                <a:close/>
                <a:moveTo>
                  <a:pt x="2978" y="323"/>
                </a:moveTo>
                <a:lnTo>
                  <a:pt x="2980" y="323"/>
                </a:lnTo>
                <a:lnTo>
                  <a:pt x="2978" y="323"/>
                </a:lnTo>
                <a:close/>
                <a:moveTo>
                  <a:pt x="2958" y="325"/>
                </a:moveTo>
                <a:lnTo>
                  <a:pt x="2959" y="325"/>
                </a:lnTo>
                <a:lnTo>
                  <a:pt x="2958" y="325"/>
                </a:lnTo>
                <a:close/>
                <a:moveTo>
                  <a:pt x="2990" y="493"/>
                </a:moveTo>
                <a:lnTo>
                  <a:pt x="2990" y="495"/>
                </a:lnTo>
                <a:lnTo>
                  <a:pt x="2990" y="493"/>
                </a:lnTo>
                <a:close/>
                <a:moveTo>
                  <a:pt x="2990" y="493"/>
                </a:moveTo>
                <a:lnTo>
                  <a:pt x="2990" y="495"/>
                </a:lnTo>
                <a:lnTo>
                  <a:pt x="2990" y="493"/>
                </a:lnTo>
                <a:close/>
                <a:moveTo>
                  <a:pt x="2990" y="493"/>
                </a:moveTo>
                <a:lnTo>
                  <a:pt x="2990" y="495"/>
                </a:lnTo>
                <a:lnTo>
                  <a:pt x="2990" y="493"/>
                </a:lnTo>
                <a:close/>
                <a:moveTo>
                  <a:pt x="2990" y="497"/>
                </a:moveTo>
                <a:lnTo>
                  <a:pt x="2990" y="498"/>
                </a:lnTo>
                <a:lnTo>
                  <a:pt x="2990" y="497"/>
                </a:lnTo>
                <a:close/>
                <a:moveTo>
                  <a:pt x="2990" y="498"/>
                </a:moveTo>
                <a:lnTo>
                  <a:pt x="2992" y="498"/>
                </a:lnTo>
                <a:lnTo>
                  <a:pt x="2992" y="500"/>
                </a:lnTo>
                <a:lnTo>
                  <a:pt x="2990" y="500"/>
                </a:lnTo>
                <a:lnTo>
                  <a:pt x="2990" y="498"/>
                </a:lnTo>
                <a:close/>
                <a:moveTo>
                  <a:pt x="2986" y="498"/>
                </a:moveTo>
                <a:lnTo>
                  <a:pt x="2988" y="498"/>
                </a:lnTo>
                <a:lnTo>
                  <a:pt x="2988" y="500"/>
                </a:lnTo>
                <a:lnTo>
                  <a:pt x="2986" y="500"/>
                </a:lnTo>
                <a:lnTo>
                  <a:pt x="2986" y="498"/>
                </a:lnTo>
                <a:close/>
                <a:moveTo>
                  <a:pt x="2995" y="498"/>
                </a:moveTo>
                <a:lnTo>
                  <a:pt x="2997" y="498"/>
                </a:lnTo>
                <a:lnTo>
                  <a:pt x="2997" y="500"/>
                </a:lnTo>
                <a:lnTo>
                  <a:pt x="2995" y="500"/>
                </a:lnTo>
                <a:lnTo>
                  <a:pt x="2995" y="498"/>
                </a:lnTo>
                <a:close/>
                <a:moveTo>
                  <a:pt x="2995" y="500"/>
                </a:moveTo>
                <a:lnTo>
                  <a:pt x="2997" y="500"/>
                </a:lnTo>
                <a:lnTo>
                  <a:pt x="2997" y="502"/>
                </a:lnTo>
                <a:lnTo>
                  <a:pt x="2995" y="502"/>
                </a:lnTo>
                <a:lnTo>
                  <a:pt x="2995" y="500"/>
                </a:lnTo>
                <a:close/>
                <a:moveTo>
                  <a:pt x="2995" y="505"/>
                </a:moveTo>
                <a:lnTo>
                  <a:pt x="2995" y="503"/>
                </a:lnTo>
                <a:lnTo>
                  <a:pt x="2993" y="502"/>
                </a:lnTo>
                <a:lnTo>
                  <a:pt x="2993" y="503"/>
                </a:lnTo>
                <a:lnTo>
                  <a:pt x="2995" y="505"/>
                </a:lnTo>
                <a:lnTo>
                  <a:pt x="2993" y="505"/>
                </a:lnTo>
                <a:lnTo>
                  <a:pt x="2995" y="505"/>
                </a:lnTo>
                <a:close/>
                <a:moveTo>
                  <a:pt x="3007" y="510"/>
                </a:moveTo>
                <a:lnTo>
                  <a:pt x="3007" y="509"/>
                </a:lnTo>
                <a:lnTo>
                  <a:pt x="3003" y="507"/>
                </a:lnTo>
                <a:lnTo>
                  <a:pt x="3002" y="507"/>
                </a:lnTo>
                <a:lnTo>
                  <a:pt x="3002" y="509"/>
                </a:lnTo>
                <a:lnTo>
                  <a:pt x="3005" y="509"/>
                </a:lnTo>
                <a:lnTo>
                  <a:pt x="3007" y="510"/>
                </a:lnTo>
                <a:close/>
                <a:moveTo>
                  <a:pt x="3000" y="520"/>
                </a:moveTo>
                <a:lnTo>
                  <a:pt x="3003" y="524"/>
                </a:lnTo>
                <a:lnTo>
                  <a:pt x="3000" y="520"/>
                </a:lnTo>
                <a:close/>
                <a:moveTo>
                  <a:pt x="2998" y="522"/>
                </a:moveTo>
                <a:lnTo>
                  <a:pt x="3000" y="522"/>
                </a:lnTo>
                <a:lnTo>
                  <a:pt x="3000" y="524"/>
                </a:lnTo>
                <a:lnTo>
                  <a:pt x="2998" y="524"/>
                </a:lnTo>
                <a:lnTo>
                  <a:pt x="2998" y="522"/>
                </a:lnTo>
                <a:close/>
                <a:moveTo>
                  <a:pt x="3003" y="522"/>
                </a:moveTo>
                <a:lnTo>
                  <a:pt x="3005" y="522"/>
                </a:lnTo>
                <a:lnTo>
                  <a:pt x="3005" y="524"/>
                </a:lnTo>
                <a:lnTo>
                  <a:pt x="3003" y="524"/>
                </a:lnTo>
                <a:lnTo>
                  <a:pt x="3003" y="522"/>
                </a:lnTo>
                <a:close/>
                <a:moveTo>
                  <a:pt x="3005" y="546"/>
                </a:moveTo>
                <a:lnTo>
                  <a:pt x="3003" y="544"/>
                </a:lnTo>
                <a:lnTo>
                  <a:pt x="3003" y="546"/>
                </a:lnTo>
                <a:lnTo>
                  <a:pt x="3005" y="548"/>
                </a:lnTo>
                <a:lnTo>
                  <a:pt x="3005" y="546"/>
                </a:lnTo>
                <a:close/>
                <a:moveTo>
                  <a:pt x="3065" y="651"/>
                </a:moveTo>
                <a:lnTo>
                  <a:pt x="3065" y="653"/>
                </a:lnTo>
                <a:lnTo>
                  <a:pt x="3065" y="651"/>
                </a:lnTo>
                <a:close/>
                <a:moveTo>
                  <a:pt x="3116" y="704"/>
                </a:moveTo>
                <a:lnTo>
                  <a:pt x="3117" y="704"/>
                </a:lnTo>
                <a:lnTo>
                  <a:pt x="3117" y="706"/>
                </a:lnTo>
                <a:lnTo>
                  <a:pt x="3116" y="706"/>
                </a:lnTo>
                <a:lnTo>
                  <a:pt x="3116" y="704"/>
                </a:lnTo>
                <a:close/>
                <a:moveTo>
                  <a:pt x="3092" y="740"/>
                </a:moveTo>
                <a:lnTo>
                  <a:pt x="3094" y="740"/>
                </a:lnTo>
                <a:lnTo>
                  <a:pt x="3094" y="742"/>
                </a:lnTo>
                <a:lnTo>
                  <a:pt x="3092" y="742"/>
                </a:lnTo>
                <a:lnTo>
                  <a:pt x="3092" y="740"/>
                </a:lnTo>
                <a:close/>
                <a:moveTo>
                  <a:pt x="3094" y="740"/>
                </a:moveTo>
                <a:lnTo>
                  <a:pt x="3095" y="740"/>
                </a:lnTo>
                <a:lnTo>
                  <a:pt x="3095" y="743"/>
                </a:lnTo>
                <a:lnTo>
                  <a:pt x="3094" y="743"/>
                </a:lnTo>
                <a:lnTo>
                  <a:pt x="3094" y="740"/>
                </a:lnTo>
                <a:close/>
                <a:moveTo>
                  <a:pt x="3092" y="740"/>
                </a:moveTo>
                <a:lnTo>
                  <a:pt x="3094" y="740"/>
                </a:lnTo>
                <a:lnTo>
                  <a:pt x="3094" y="742"/>
                </a:lnTo>
                <a:lnTo>
                  <a:pt x="3092" y="742"/>
                </a:lnTo>
                <a:lnTo>
                  <a:pt x="3092" y="740"/>
                </a:lnTo>
                <a:close/>
                <a:moveTo>
                  <a:pt x="3117" y="747"/>
                </a:moveTo>
                <a:lnTo>
                  <a:pt x="3119" y="747"/>
                </a:lnTo>
                <a:lnTo>
                  <a:pt x="3117" y="747"/>
                </a:lnTo>
                <a:close/>
                <a:moveTo>
                  <a:pt x="3139" y="772"/>
                </a:moveTo>
                <a:lnTo>
                  <a:pt x="3141" y="772"/>
                </a:lnTo>
                <a:lnTo>
                  <a:pt x="3141" y="774"/>
                </a:lnTo>
                <a:lnTo>
                  <a:pt x="3139" y="774"/>
                </a:lnTo>
                <a:lnTo>
                  <a:pt x="3139" y="772"/>
                </a:lnTo>
                <a:close/>
                <a:moveTo>
                  <a:pt x="3172" y="849"/>
                </a:moveTo>
                <a:lnTo>
                  <a:pt x="3172" y="845"/>
                </a:lnTo>
                <a:lnTo>
                  <a:pt x="3170" y="847"/>
                </a:lnTo>
                <a:lnTo>
                  <a:pt x="3170" y="850"/>
                </a:lnTo>
                <a:lnTo>
                  <a:pt x="3172" y="849"/>
                </a:lnTo>
                <a:close/>
                <a:moveTo>
                  <a:pt x="448" y="856"/>
                </a:moveTo>
                <a:lnTo>
                  <a:pt x="448" y="857"/>
                </a:lnTo>
                <a:lnTo>
                  <a:pt x="448" y="856"/>
                </a:lnTo>
                <a:close/>
                <a:moveTo>
                  <a:pt x="448" y="856"/>
                </a:moveTo>
                <a:lnTo>
                  <a:pt x="448" y="859"/>
                </a:lnTo>
                <a:lnTo>
                  <a:pt x="448" y="856"/>
                </a:lnTo>
                <a:close/>
                <a:moveTo>
                  <a:pt x="450" y="857"/>
                </a:moveTo>
                <a:lnTo>
                  <a:pt x="450" y="859"/>
                </a:lnTo>
                <a:lnTo>
                  <a:pt x="450" y="857"/>
                </a:lnTo>
                <a:close/>
                <a:moveTo>
                  <a:pt x="455" y="903"/>
                </a:moveTo>
                <a:lnTo>
                  <a:pt x="455" y="900"/>
                </a:lnTo>
                <a:lnTo>
                  <a:pt x="457" y="898"/>
                </a:lnTo>
                <a:lnTo>
                  <a:pt x="457" y="896"/>
                </a:lnTo>
                <a:lnTo>
                  <a:pt x="455" y="895"/>
                </a:lnTo>
                <a:lnTo>
                  <a:pt x="454" y="896"/>
                </a:lnTo>
                <a:lnTo>
                  <a:pt x="452" y="896"/>
                </a:lnTo>
                <a:lnTo>
                  <a:pt x="452" y="901"/>
                </a:lnTo>
                <a:lnTo>
                  <a:pt x="450" y="901"/>
                </a:lnTo>
                <a:lnTo>
                  <a:pt x="448" y="901"/>
                </a:lnTo>
                <a:lnTo>
                  <a:pt x="448" y="905"/>
                </a:lnTo>
                <a:lnTo>
                  <a:pt x="450" y="903"/>
                </a:lnTo>
                <a:lnTo>
                  <a:pt x="450" y="907"/>
                </a:lnTo>
                <a:lnTo>
                  <a:pt x="452" y="908"/>
                </a:lnTo>
                <a:lnTo>
                  <a:pt x="455" y="903"/>
                </a:lnTo>
                <a:close/>
                <a:moveTo>
                  <a:pt x="455" y="900"/>
                </a:moveTo>
                <a:lnTo>
                  <a:pt x="457" y="900"/>
                </a:lnTo>
                <a:lnTo>
                  <a:pt x="457" y="903"/>
                </a:lnTo>
                <a:lnTo>
                  <a:pt x="455" y="903"/>
                </a:lnTo>
                <a:lnTo>
                  <a:pt x="455" y="900"/>
                </a:lnTo>
                <a:close/>
                <a:moveTo>
                  <a:pt x="3216" y="947"/>
                </a:moveTo>
                <a:lnTo>
                  <a:pt x="3218" y="947"/>
                </a:lnTo>
                <a:lnTo>
                  <a:pt x="3216" y="947"/>
                </a:lnTo>
                <a:close/>
                <a:moveTo>
                  <a:pt x="3207" y="949"/>
                </a:moveTo>
                <a:lnTo>
                  <a:pt x="3209" y="949"/>
                </a:lnTo>
                <a:lnTo>
                  <a:pt x="3209" y="951"/>
                </a:lnTo>
                <a:lnTo>
                  <a:pt x="3207" y="951"/>
                </a:lnTo>
                <a:lnTo>
                  <a:pt x="3207" y="949"/>
                </a:lnTo>
                <a:close/>
                <a:moveTo>
                  <a:pt x="3233" y="951"/>
                </a:moveTo>
                <a:lnTo>
                  <a:pt x="3233" y="953"/>
                </a:lnTo>
                <a:lnTo>
                  <a:pt x="3233" y="951"/>
                </a:lnTo>
                <a:close/>
                <a:moveTo>
                  <a:pt x="3241" y="961"/>
                </a:moveTo>
                <a:lnTo>
                  <a:pt x="3241" y="963"/>
                </a:lnTo>
                <a:lnTo>
                  <a:pt x="3241" y="961"/>
                </a:lnTo>
                <a:close/>
                <a:moveTo>
                  <a:pt x="3223" y="975"/>
                </a:moveTo>
                <a:lnTo>
                  <a:pt x="3224" y="975"/>
                </a:lnTo>
                <a:lnTo>
                  <a:pt x="3224" y="976"/>
                </a:lnTo>
                <a:lnTo>
                  <a:pt x="3223" y="976"/>
                </a:lnTo>
                <a:lnTo>
                  <a:pt x="3223" y="975"/>
                </a:lnTo>
                <a:close/>
                <a:moveTo>
                  <a:pt x="3224" y="975"/>
                </a:moveTo>
                <a:lnTo>
                  <a:pt x="3226" y="975"/>
                </a:lnTo>
                <a:lnTo>
                  <a:pt x="3226" y="976"/>
                </a:lnTo>
                <a:lnTo>
                  <a:pt x="3224" y="976"/>
                </a:lnTo>
                <a:lnTo>
                  <a:pt x="3224" y="975"/>
                </a:lnTo>
                <a:close/>
                <a:moveTo>
                  <a:pt x="3224" y="976"/>
                </a:moveTo>
                <a:lnTo>
                  <a:pt x="3228" y="976"/>
                </a:lnTo>
                <a:lnTo>
                  <a:pt x="3228" y="978"/>
                </a:lnTo>
                <a:lnTo>
                  <a:pt x="3224" y="978"/>
                </a:lnTo>
                <a:lnTo>
                  <a:pt x="3224" y="976"/>
                </a:lnTo>
                <a:close/>
                <a:moveTo>
                  <a:pt x="3226" y="978"/>
                </a:moveTo>
                <a:lnTo>
                  <a:pt x="3228" y="978"/>
                </a:lnTo>
                <a:lnTo>
                  <a:pt x="3226" y="978"/>
                </a:lnTo>
                <a:close/>
                <a:moveTo>
                  <a:pt x="3223" y="978"/>
                </a:moveTo>
                <a:lnTo>
                  <a:pt x="3226" y="978"/>
                </a:lnTo>
                <a:lnTo>
                  <a:pt x="3223" y="978"/>
                </a:lnTo>
                <a:close/>
                <a:moveTo>
                  <a:pt x="3231" y="981"/>
                </a:moveTo>
                <a:lnTo>
                  <a:pt x="3231" y="980"/>
                </a:lnTo>
                <a:lnTo>
                  <a:pt x="3230" y="980"/>
                </a:lnTo>
                <a:lnTo>
                  <a:pt x="3230" y="981"/>
                </a:lnTo>
                <a:lnTo>
                  <a:pt x="3231" y="981"/>
                </a:lnTo>
                <a:lnTo>
                  <a:pt x="3233" y="983"/>
                </a:lnTo>
                <a:lnTo>
                  <a:pt x="3231" y="981"/>
                </a:lnTo>
                <a:close/>
                <a:moveTo>
                  <a:pt x="8" y="1044"/>
                </a:moveTo>
                <a:lnTo>
                  <a:pt x="13" y="1039"/>
                </a:lnTo>
                <a:lnTo>
                  <a:pt x="15" y="1039"/>
                </a:lnTo>
                <a:lnTo>
                  <a:pt x="18" y="1038"/>
                </a:lnTo>
                <a:lnTo>
                  <a:pt x="20" y="1034"/>
                </a:lnTo>
                <a:lnTo>
                  <a:pt x="18" y="1034"/>
                </a:lnTo>
                <a:lnTo>
                  <a:pt x="17" y="1031"/>
                </a:lnTo>
                <a:lnTo>
                  <a:pt x="13" y="1029"/>
                </a:lnTo>
                <a:lnTo>
                  <a:pt x="8" y="1032"/>
                </a:lnTo>
                <a:lnTo>
                  <a:pt x="5" y="1034"/>
                </a:lnTo>
                <a:lnTo>
                  <a:pt x="1" y="1036"/>
                </a:lnTo>
                <a:lnTo>
                  <a:pt x="0" y="1038"/>
                </a:lnTo>
                <a:lnTo>
                  <a:pt x="1" y="1039"/>
                </a:lnTo>
                <a:lnTo>
                  <a:pt x="1" y="1043"/>
                </a:lnTo>
                <a:lnTo>
                  <a:pt x="3" y="1044"/>
                </a:lnTo>
                <a:lnTo>
                  <a:pt x="5" y="1044"/>
                </a:lnTo>
                <a:lnTo>
                  <a:pt x="8" y="1044"/>
                </a:lnTo>
                <a:close/>
                <a:moveTo>
                  <a:pt x="25" y="1049"/>
                </a:moveTo>
                <a:lnTo>
                  <a:pt x="25" y="1048"/>
                </a:lnTo>
                <a:lnTo>
                  <a:pt x="22" y="1046"/>
                </a:lnTo>
                <a:lnTo>
                  <a:pt x="23" y="1044"/>
                </a:lnTo>
                <a:lnTo>
                  <a:pt x="22" y="1044"/>
                </a:lnTo>
                <a:lnTo>
                  <a:pt x="20" y="1044"/>
                </a:lnTo>
                <a:lnTo>
                  <a:pt x="18" y="1044"/>
                </a:lnTo>
                <a:lnTo>
                  <a:pt x="18" y="1046"/>
                </a:lnTo>
                <a:lnTo>
                  <a:pt x="15" y="1046"/>
                </a:lnTo>
                <a:lnTo>
                  <a:pt x="13" y="1049"/>
                </a:lnTo>
                <a:lnTo>
                  <a:pt x="18" y="1051"/>
                </a:lnTo>
                <a:lnTo>
                  <a:pt x="25" y="1049"/>
                </a:lnTo>
                <a:close/>
                <a:moveTo>
                  <a:pt x="124" y="1060"/>
                </a:moveTo>
                <a:lnTo>
                  <a:pt x="125" y="1061"/>
                </a:lnTo>
                <a:lnTo>
                  <a:pt x="124" y="1058"/>
                </a:lnTo>
                <a:lnTo>
                  <a:pt x="125" y="1056"/>
                </a:lnTo>
                <a:lnTo>
                  <a:pt x="124" y="1053"/>
                </a:lnTo>
                <a:lnTo>
                  <a:pt x="125" y="1051"/>
                </a:lnTo>
                <a:lnTo>
                  <a:pt x="124" y="1049"/>
                </a:lnTo>
                <a:lnTo>
                  <a:pt x="125" y="1048"/>
                </a:lnTo>
                <a:lnTo>
                  <a:pt x="124" y="1048"/>
                </a:lnTo>
                <a:lnTo>
                  <a:pt x="120" y="1049"/>
                </a:lnTo>
                <a:lnTo>
                  <a:pt x="119" y="1051"/>
                </a:lnTo>
                <a:lnTo>
                  <a:pt x="120" y="1053"/>
                </a:lnTo>
                <a:lnTo>
                  <a:pt x="120" y="1055"/>
                </a:lnTo>
                <a:lnTo>
                  <a:pt x="122" y="1056"/>
                </a:lnTo>
                <a:lnTo>
                  <a:pt x="122" y="1058"/>
                </a:lnTo>
                <a:lnTo>
                  <a:pt x="124" y="1061"/>
                </a:lnTo>
                <a:lnTo>
                  <a:pt x="124" y="1060"/>
                </a:lnTo>
                <a:close/>
                <a:moveTo>
                  <a:pt x="34" y="1053"/>
                </a:moveTo>
                <a:lnTo>
                  <a:pt x="32" y="1053"/>
                </a:lnTo>
                <a:lnTo>
                  <a:pt x="30" y="1051"/>
                </a:lnTo>
                <a:lnTo>
                  <a:pt x="29" y="1049"/>
                </a:lnTo>
                <a:lnTo>
                  <a:pt x="29" y="1051"/>
                </a:lnTo>
                <a:lnTo>
                  <a:pt x="30" y="1053"/>
                </a:lnTo>
                <a:lnTo>
                  <a:pt x="34" y="1053"/>
                </a:lnTo>
                <a:close/>
                <a:moveTo>
                  <a:pt x="54" y="1063"/>
                </a:moveTo>
                <a:lnTo>
                  <a:pt x="57" y="1061"/>
                </a:lnTo>
                <a:lnTo>
                  <a:pt x="59" y="1061"/>
                </a:lnTo>
                <a:lnTo>
                  <a:pt x="63" y="1063"/>
                </a:lnTo>
                <a:lnTo>
                  <a:pt x="68" y="1063"/>
                </a:lnTo>
                <a:lnTo>
                  <a:pt x="68" y="1061"/>
                </a:lnTo>
                <a:lnTo>
                  <a:pt x="66" y="1060"/>
                </a:lnTo>
                <a:lnTo>
                  <a:pt x="61" y="1060"/>
                </a:lnTo>
                <a:lnTo>
                  <a:pt x="57" y="1058"/>
                </a:lnTo>
                <a:lnTo>
                  <a:pt x="54" y="1058"/>
                </a:lnTo>
                <a:lnTo>
                  <a:pt x="51" y="1056"/>
                </a:lnTo>
                <a:lnTo>
                  <a:pt x="47" y="1058"/>
                </a:lnTo>
                <a:lnTo>
                  <a:pt x="47" y="1060"/>
                </a:lnTo>
                <a:lnTo>
                  <a:pt x="51" y="1061"/>
                </a:lnTo>
                <a:lnTo>
                  <a:pt x="52" y="1066"/>
                </a:lnTo>
                <a:lnTo>
                  <a:pt x="54" y="1063"/>
                </a:lnTo>
                <a:close/>
                <a:moveTo>
                  <a:pt x="34" y="1056"/>
                </a:moveTo>
                <a:lnTo>
                  <a:pt x="35" y="1056"/>
                </a:lnTo>
                <a:lnTo>
                  <a:pt x="35" y="1058"/>
                </a:lnTo>
                <a:lnTo>
                  <a:pt x="34" y="1058"/>
                </a:lnTo>
                <a:lnTo>
                  <a:pt x="34" y="1056"/>
                </a:lnTo>
                <a:close/>
                <a:moveTo>
                  <a:pt x="37" y="1060"/>
                </a:moveTo>
                <a:lnTo>
                  <a:pt x="39" y="1060"/>
                </a:lnTo>
                <a:lnTo>
                  <a:pt x="37" y="1060"/>
                </a:lnTo>
                <a:close/>
                <a:moveTo>
                  <a:pt x="3316" y="1065"/>
                </a:moveTo>
                <a:lnTo>
                  <a:pt x="3320" y="1065"/>
                </a:lnTo>
                <a:lnTo>
                  <a:pt x="3318" y="1063"/>
                </a:lnTo>
                <a:lnTo>
                  <a:pt x="3316" y="1065"/>
                </a:lnTo>
                <a:lnTo>
                  <a:pt x="3316" y="1066"/>
                </a:lnTo>
                <a:lnTo>
                  <a:pt x="3316" y="1065"/>
                </a:lnTo>
                <a:close/>
                <a:moveTo>
                  <a:pt x="3286" y="1073"/>
                </a:moveTo>
                <a:lnTo>
                  <a:pt x="3289" y="1073"/>
                </a:lnTo>
                <a:lnTo>
                  <a:pt x="3286" y="1073"/>
                </a:lnTo>
                <a:close/>
                <a:moveTo>
                  <a:pt x="3304" y="1075"/>
                </a:moveTo>
                <a:lnTo>
                  <a:pt x="3306" y="1075"/>
                </a:lnTo>
                <a:lnTo>
                  <a:pt x="3304" y="1073"/>
                </a:lnTo>
                <a:lnTo>
                  <a:pt x="3303" y="1073"/>
                </a:lnTo>
                <a:lnTo>
                  <a:pt x="3304" y="1075"/>
                </a:lnTo>
                <a:lnTo>
                  <a:pt x="3304" y="1077"/>
                </a:lnTo>
                <a:lnTo>
                  <a:pt x="3304" y="1075"/>
                </a:lnTo>
                <a:close/>
                <a:moveTo>
                  <a:pt x="3320" y="1073"/>
                </a:moveTo>
                <a:lnTo>
                  <a:pt x="3321" y="1073"/>
                </a:lnTo>
                <a:lnTo>
                  <a:pt x="3321" y="1075"/>
                </a:lnTo>
                <a:lnTo>
                  <a:pt x="3320" y="1075"/>
                </a:lnTo>
                <a:lnTo>
                  <a:pt x="3320" y="1073"/>
                </a:lnTo>
                <a:close/>
                <a:moveTo>
                  <a:pt x="3299" y="1073"/>
                </a:moveTo>
                <a:lnTo>
                  <a:pt x="3301" y="1073"/>
                </a:lnTo>
                <a:lnTo>
                  <a:pt x="3301" y="1075"/>
                </a:lnTo>
                <a:lnTo>
                  <a:pt x="3299" y="1075"/>
                </a:lnTo>
                <a:lnTo>
                  <a:pt x="3299" y="1073"/>
                </a:lnTo>
                <a:close/>
                <a:moveTo>
                  <a:pt x="3320" y="1077"/>
                </a:moveTo>
                <a:lnTo>
                  <a:pt x="3321" y="1077"/>
                </a:lnTo>
                <a:lnTo>
                  <a:pt x="3321" y="1078"/>
                </a:lnTo>
                <a:lnTo>
                  <a:pt x="3320" y="1078"/>
                </a:lnTo>
                <a:lnTo>
                  <a:pt x="3320" y="1077"/>
                </a:lnTo>
                <a:close/>
                <a:moveTo>
                  <a:pt x="131" y="1092"/>
                </a:moveTo>
                <a:lnTo>
                  <a:pt x="136" y="1089"/>
                </a:lnTo>
                <a:lnTo>
                  <a:pt x="136" y="1087"/>
                </a:lnTo>
                <a:lnTo>
                  <a:pt x="136" y="1083"/>
                </a:lnTo>
                <a:lnTo>
                  <a:pt x="134" y="1080"/>
                </a:lnTo>
                <a:lnTo>
                  <a:pt x="131" y="1078"/>
                </a:lnTo>
                <a:lnTo>
                  <a:pt x="129" y="1080"/>
                </a:lnTo>
                <a:lnTo>
                  <a:pt x="125" y="1080"/>
                </a:lnTo>
                <a:lnTo>
                  <a:pt x="124" y="1078"/>
                </a:lnTo>
                <a:lnTo>
                  <a:pt x="124" y="1082"/>
                </a:lnTo>
                <a:lnTo>
                  <a:pt x="124" y="1085"/>
                </a:lnTo>
                <a:lnTo>
                  <a:pt x="122" y="1087"/>
                </a:lnTo>
                <a:lnTo>
                  <a:pt x="120" y="1090"/>
                </a:lnTo>
                <a:lnTo>
                  <a:pt x="125" y="1092"/>
                </a:lnTo>
                <a:lnTo>
                  <a:pt x="129" y="1092"/>
                </a:lnTo>
                <a:lnTo>
                  <a:pt x="131" y="1092"/>
                </a:lnTo>
                <a:close/>
                <a:moveTo>
                  <a:pt x="3309" y="1080"/>
                </a:moveTo>
                <a:lnTo>
                  <a:pt x="3311" y="1080"/>
                </a:lnTo>
                <a:lnTo>
                  <a:pt x="3309" y="1080"/>
                </a:lnTo>
                <a:close/>
                <a:moveTo>
                  <a:pt x="3313" y="1080"/>
                </a:moveTo>
                <a:lnTo>
                  <a:pt x="3313" y="1082"/>
                </a:lnTo>
                <a:lnTo>
                  <a:pt x="3313" y="1080"/>
                </a:lnTo>
                <a:close/>
                <a:moveTo>
                  <a:pt x="3318" y="1085"/>
                </a:moveTo>
                <a:lnTo>
                  <a:pt x="3318" y="1083"/>
                </a:lnTo>
                <a:lnTo>
                  <a:pt x="3320" y="1083"/>
                </a:lnTo>
                <a:lnTo>
                  <a:pt x="3318" y="1082"/>
                </a:lnTo>
                <a:lnTo>
                  <a:pt x="3318" y="1083"/>
                </a:lnTo>
                <a:lnTo>
                  <a:pt x="3316" y="1085"/>
                </a:lnTo>
                <a:lnTo>
                  <a:pt x="3316" y="1087"/>
                </a:lnTo>
                <a:lnTo>
                  <a:pt x="3318" y="1085"/>
                </a:lnTo>
                <a:close/>
                <a:moveTo>
                  <a:pt x="122" y="1082"/>
                </a:moveTo>
                <a:lnTo>
                  <a:pt x="124" y="1082"/>
                </a:lnTo>
                <a:lnTo>
                  <a:pt x="122" y="1082"/>
                </a:lnTo>
                <a:close/>
                <a:moveTo>
                  <a:pt x="3284" y="1089"/>
                </a:moveTo>
                <a:lnTo>
                  <a:pt x="3284" y="1087"/>
                </a:lnTo>
                <a:lnTo>
                  <a:pt x="3282" y="1083"/>
                </a:lnTo>
                <a:lnTo>
                  <a:pt x="3281" y="1083"/>
                </a:lnTo>
                <a:lnTo>
                  <a:pt x="3282" y="1085"/>
                </a:lnTo>
                <a:lnTo>
                  <a:pt x="3282" y="1089"/>
                </a:lnTo>
                <a:lnTo>
                  <a:pt x="3284" y="1089"/>
                </a:lnTo>
                <a:close/>
                <a:moveTo>
                  <a:pt x="3313" y="1090"/>
                </a:moveTo>
                <a:lnTo>
                  <a:pt x="3313" y="1089"/>
                </a:lnTo>
                <a:lnTo>
                  <a:pt x="3315" y="1089"/>
                </a:lnTo>
                <a:lnTo>
                  <a:pt x="3316" y="1089"/>
                </a:lnTo>
                <a:lnTo>
                  <a:pt x="3316" y="1087"/>
                </a:lnTo>
                <a:lnTo>
                  <a:pt x="3313" y="1087"/>
                </a:lnTo>
                <a:lnTo>
                  <a:pt x="3311" y="1085"/>
                </a:lnTo>
                <a:lnTo>
                  <a:pt x="3311" y="1089"/>
                </a:lnTo>
                <a:lnTo>
                  <a:pt x="3309" y="1089"/>
                </a:lnTo>
                <a:lnTo>
                  <a:pt x="3309" y="1090"/>
                </a:lnTo>
                <a:lnTo>
                  <a:pt x="3311" y="1090"/>
                </a:lnTo>
                <a:lnTo>
                  <a:pt x="3313" y="1092"/>
                </a:lnTo>
                <a:lnTo>
                  <a:pt x="3316" y="1092"/>
                </a:lnTo>
                <a:lnTo>
                  <a:pt x="3313" y="1090"/>
                </a:lnTo>
                <a:close/>
                <a:moveTo>
                  <a:pt x="3316" y="1087"/>
                </a:moveTo>
                <a:lnTo>
                  <a:pt x="3320" y="1087"/>
                </a:lnTo>
                <a:lnTo>
                  <a:pt x="3320" y="1090"/>
                </a:lnTo>
                <a:lnTo>
                  <a:pt x="3316" y="1090"/>
                </a:lnTo>
                <a:lnTo>
                  <a:pt x="3316" y="1087"/>
                </a:lnTo>
                <a:close/>
                <a:moveTo>
                  <a:pt x="3308" y="1087"/>
                </a:moveTo>
                <a:lnTo>
                  <a:pt x="3308" y="1089"/>
                </a:lnTo>
                <a:lnTo>
                  <a:pt x="3308" y="1087"/>
                </a:lnTo>
                <a:close/>
                <a:moveTo>
                  <a:pt x="3323" y="1090"/>
                </a:moveTo>
                <a:lnTo>
                  <a:pt x="3325" y="1090"/>
                </a:lnTo>
                <a:lnTo>
                  <a:pt x="3325" y="1092"/>
                </a:lnTo>
                <a:lnTo>
                  <a:pt x="3323" y="1092"/>
                </a:lnTo>
                <a:lnTo>
                  <a:pt x="3323" y="1090"/>
                </a:lnTo>
                <a:close/>
                <a:moveTo>
                  <a:pt x="3316" y="1092"/>
                </a:moveTo>
                <a:lnTo>
                  <a:pt x="3318" y="1092"/>
                </a:lnTo>
                <a:lnTo>
                  <a:pt x="3318" y="1094"/>
                </a:lnTo>
                <a:lnTo>
                  <a:pt x="3316" y="1094"/>
                </a:lnTo>
                <a:lnTo>
                  <a:pt x="3316" y="1092"/>
                </a:lnTo>
                <a:close/>
                <a:moveTo>
                  <a:pt x="3311" y="1092"/>
                </a:moveTo>
                <a:lnTo>
                  <a:pt x="3313" y="1092"/>
                </a:lnTo>
                <a:lnTo>
                  <a:pt x="3313" y="1094"/>
                </a:lnTo>
                <a:lnTo>
                  <a:pt x="3311" y="1094"/>
                </a:lnTo>
                <a:lnTo>
                  <a:pt x="3311" y="1092"/>
                </a:lnTo>
                <a:close/>
                <a:moveTo>
                  <a:pt x="3289" y="1092"/>
                </a:moveTo>
                <a:lnTo>
                  <a:pt x="3289" y="1094"/>
                </a:lnTo>
                <a:lnTo>
                  <a:pt x="3289" y="1092"/>
                </a:lnTo>
                <a:close/>
                <a:moveTo>
                  <a:pt x="3321" y="1094"/>
                </a:moveTo>
                <a:lnTo>
                  <a:pt x="3323" y="1094"/>
                </a:lnTo>
                <a:lnTo>
                  <a:pt x="3323" y="1095"/>
                </a:lnTo>
                <a:lnTo>
                  <a:pt x="3321" y="1095"/>
                </a:lnTo>
                <a:lnTo>
                  <a:pt x="3321" y="1094"/>
                </a:lnTo>
                <a:close/>
                <a:moveTo>
                  <a:pt x="3289" y="1094"/>
                </a:moveTo>
                <a:lnTo>
                  <a:pt x="3292" y="1094"/>
                </a:lnTo>
                <a:lnTo>
                  <a:pt x="3292" y="1095"/>
                </a:lnTo>
                <a:lnTo>
                  <a:pt x="3289" y="1095"/>
                </a:lnTo>
                <a:lnTo>
                  <a:pt x="3289" y="1094"/>
                </a:lnTo>
                <a:close/>
                <a:moveTo>
                  <a:pt x="3318" y="1095"/>
                </a:moveTo>
                <a:lnTo>
                  <a:pt x="3320" y="1095"/>
                </a:lnTo>
                <a:lnTo>
                  <a:pt x="3318" y="1095"/>
                </a:lnTo>
                <a:close/>
                <a:moveTo>
                  <a:pt x="3326" y="1095"/>
                </a:moveTo>
                <a:lnTo>
                  <a:pt x="3328" y="1095"/>
                </a:lnTo>
                <a:lnTo>
                  <a:pt x="3328" y="1097"/>
                </a:lnTo>
                <a:lnTo>
                  <a:pt x="3326" y="1097"/>
                </a:lnTo>
                <a:lnTo>
                  <a:pt x="3326" y="1095"/>
                </a:lnTo>
                <a:close/>
                <a:moveTo>
                  <a:pt x="3313" y="1095"/>
                </a:moveTo>
                <a:lnTo>
                  <a:pt x="3315" y="1095"/>
                </a:lnTo>
                <a:lnTo>
                  <a:pt x="3315" y="1097"/>
                </a:lnTo>
                <a:lnTo>
                  <a:pt x="3313" y="1097"/>
                </a:lnTo>
                <a:lnTo>
                  <a:pt x="3313" y="1095"/>
                </a:lnTo>
                <a:close/>
                <a:moveTo>
                  <a:pt x="3338" y="1095"/>
                </a:moveTo>
                <a:lnTo>
                  <a:pt x="3340" y="1095"/>
                </a:lnTo>
                <a:lnTo>
                  <a:pt x="3340" y="1097"/>
                </a:lnTo>
                <a:lnTo>
                  <a:pt x="3338" y="1097"/>
                </a:lnTo>
                <a:lnTo>
                  <a:pt x="3338" y="1095"/>
                </a:lnTo>
                <a:close/>
                <a:moveTo>
                  <a:pt x="3330" y="1109"/>
                </a:moveTo>
                <a:lnTo>
                  <a:pt x="3328" y="1111"/>
                </a:lnTo>
                <a:lnTo>
                  <a:pt x="3328" y="1109"/>
                </a:lnTo>
                <a:lnTo>
                  <a:pt x="3326" y="1109"/>
                </a:lnTo>
                <a:lnTo>
                  <a:pt x="3325" y="1106"/>
                </a:lnTo>
                <a:lnTo>
                  <a:pt x="3323" y="1106"/>
                </a:lnTo>
                <a:lnTo>
                  <a:pt x="3321" y="1107"/>
                </a:lnTo>
                <a:lnTo>
                  <a:pt x="3320" y="1107"/>
                </a:lnTo>
                <a:lnTo>
                  <a:pt x="3325" y="1109"/>
                </a:lnTo>
                <a:lnTo>
                  <a:pt x="3323" y="1109"/>
                </a:lnTo>
                <a:lnTo>
                  <a:pt x="3321" y="1111"/>
                </a:lnTo>
                <a:lnTo>
                  <a:pt x="3318" y="1109"/>
                </a:lnTo>
                <a:lnTo>
                  <a:pt x="3316" y="1106"/>
                </a:lnTo>
                <a:lnTo>
                  <a:pt x="3316" y="1100"/>
                </a:lnTo>
                <a:lnTo>
                  <a:pt x="3315" y="1100"/>
                </a:lnTo>
                <a:lnTo>
                  <a:pt x="3316" y="1102"/>
                </a:lnTo>
                <a:lnTo>
                  <a:pt x="3315" y="1102"/>
                </a:lnTo>
                <a:lnTo>
                  <a:pt x="3315" y="1100"/>
                </a:lnTo>
                <a:lnTo>
                  <a:pt x="3313" y="1099"/>
                </a:lnTo>
                <a:lnTo>
                  <a:pt x="3311" y="1097"/>
                </a:lnTo>
                <a:lnTo>
                  <a:pt x="3308" y="1097"/>
                </a:lnTo>
                <a:lnTo>
                  <a:pt x="3309" y="1097"/>
                </a:lnTo>
                <a:lnTo>
                  <a:pt x="3309" y="1099"/>
                </a:lnTo>
                <a:lnTo>
                  <a:pt x="3311" y="1099"/>
                </a:lnTo>
                <a:lnTo>
                  <a:pt x="3311" y="1100"/>
                </a:lnTo>
                <a:lnTo>
                  <a:pt x="3309" y="1099"/>
                </a:lnTo>
                <a:lnTo>
                  <a:pt x="3309" y="1100"/>
                </a:lnTo>
                <a:lnTo>
                  <a:pt x="3309" y="1102"/>
                </a:lnTo>
                <a:lnTo>
                  <a:pt x="3306" y="1102"/>
                </a:lnTo>
                <a:lnTo>
                  <a:pt x="3306" y="1104"/>
                </a:lnTo>
                <a:lnTo>
                  <a:pt x="3308" y="1106"/>
                </a:lnTo>
                <a:lnTo>
                  <a:pt x="3308" y="1104"/>
                </a:lnTo>
                <a:lnTo>
                  <a:pt x="3309" y="1104"/>
                </a:lnTo>
                <a:lnTo>
                  <a:pt x="3313" y="1107"/>
                </a:lnTo>
                <a:lnTo>
                  <a:pt x="3313" y="1109"/>
                </a:lnTo>
                <a:lnTo>
                  <a:pt x="3311" y="1109"/>
                </a:lnTo>
                <a:lnTo>
                  <a:pt x="3309" y="1109"/>
                </a:lnTo>
                <a:lnTo>
                  <a:pt x="3309" y="1107"/>
                </a:lnTo>
                <a:lnTo>
                  <a:pt x="3309" y="1109"/>
                </a:lnTo>
                <a:lnTo>
                  <a:pt x="3308" y="1107"/>
                </a:lnTo>
                <a:lnTo>
                  <a:pt x="3306" y="1106"/>
                </a:lnTo>
                <a:lnTo>
                  <a:pt x="3308" y="1109"/>
                </a:lnTo>
                <a:lnTo>
                  <a:pt x="3308" y="1111"/>
                </a:lnTo>
                <a:lnTo>
                  <a:pt x="3311" y="1111"/>
                </a:lnTo>
                <a:lnTo>
                  <a:pt x="3313" y="1112"/>
                </a:lnTo>
                <a:lnTo>
                  <a:pt x="3315" y="1112"/>
                </a:lnTo>
                <a:lnTo>
                  <a:pt x="3316" y="1111"/>
                </a:lnTo>
                <a:lnTo>
                  <a:pt x="3318" y="1112"/>
                </a:lnTo>
                <a:lnTo>
                  <a:pt x="3321" y="1112"/>
                </a:lnTo>
                <a:lnTo>
                  <a:pt x="3325" y="1112"/>
                </a:lnTo>
                <a:lnTo>
                  <a:pt x="3328" y="1112"/>
                </a:lnTo>
                <a:lnTo>
                  <a:pt x="3332" y="1112"/>
                </a:lnTo>
                <a:lnTo>
                  <a:pt x="3330" y="1109"/>
                </a:lnTo>
                <a:close/>
                <a:moveTo>
                  <a:pt x="3315" y="1097"/>
                </a:moveTo>
                <a:lnTo>
                  <a:pt x="3316" y="1097"/>
                </a:lnTo>
                <a:lnTo>
                  <a:pt x="3316" y="1099"/>
                </a:lnTo>
                <a:lnTo>
                  <a:pt x="3315" y="1099"/>
                </a:lnTo>
                <a:lnTo>
                  <a:pt x="3315" y="1097"/>
                </a:lnTo>
                <a:close/>
                <a:moveTo>
                  <a:pt x="3335" y="1097"/>
                </a:moveTo>
                <a:lnTo>
                  <a:pt x="3335" y="1099"/>
                </a:lnTo>
                <a:lnTo>
                  <a:pt x="3335" y="1097"/>
                </a:lnTo>
                <a:close/>
                <a:moveTo>
                  <a:pt x="3338" y="1099"/>
                </a:moveTo>
                <a:lnTo>
                  <a:pt x="3338" y="1100"/>
                </a:lnTo>
                <a:lnTo>
                  <a:pt x="3338" y="1099"/>
                </a:lnTo>
                <a:close/>
                <a:moveTo>
                  <a:pt x="3328" y="1099"/>
                </a:moveTo>
                <a:lnTo>
                  <a:pt x="3328" y="1100"/>
                </a:lnTo>
                <a:lnTo>
                  <a:pt x="3328" y="1099"/>
                </a:lnTo>
                <a:close/>
                <a:moveTo>
                  <a:pt x="3323" y="1100"/>
                </a:moveTo>
                <a:lnTo>
                  <a:pt x="3325" y="1100"/>
                </a:lnTo>
                <a:lnTo>
                  <a:pt x="3323" y="1100"/>
                </a:lnTo>
                <a:close/>
                <a:moveTo>
                  <a:pt x="3343" y="1100"/>
                </a:moveTo>
                <a:lnTo>
                  <a:pt x="3345" y="1100"/>
                </a:lnTo>
                <a:lnTo>
                  <a:pt x="3345" y="1102"/>
                </a:lnTo>
                <a:lnTo>
                  <a:pt x="3343" y="1102"/>
                </a:lnTo>
                <a:lnTo>
                  <a:pt x="3343" y="1100"/>
                </a:lnTo>
                <a:close/>
                <a:moveTo>
                  <a:pt x="3333" y="1104"/>
                </a:moveTo>
                <a:lnTo>
                  <a:pt x="3335" y="1104"/>
                </a:lnTo>
                <a:lnTo>
                  <a:pt x="3333" y="1104"/>
                </a:lnTo>
                <a:close/>
                <a:moveTo>
                  <a:pt x="3347" y="1104"/>
                </a:moveTo>
                <a:lnTo>
                  <a:pt x="3349" y="1104"/>
                </a:lnTo>
                <a:lnTo>
                  <a:pt x="3347" y="1104"/>
                </a:lnTo>
                <a:close/>
                <a:moveTo>
                  <a:pt x="3320" y="1107"/>
                </a:moveTo>
                <a:lnTo>
                  <a:pt x="3320" y="1104"/>
                </a:lnTo>
                <a:lnTo>
                  <a:pt x="3318" y="1104"/>
                </a:lnTo>
                <a:lnTo>
                  <a:pt x="3320" y="1106"/>
                </a:lnTo>
                <a:lnTo>
                  <a:pt x="3318" y="1107"/>
                </a:lnTo>
                <a:lnTo>
                  <a:pt x="3320" y="1107"/>
                </a:lnTo>
                <a:close/>
                <a:moveTo>
                  <a:pt x="3306" y="1104"/>
                </a:moveTo>
                <a:lnTo>
                  <a:pt x="3308" y="1104"/>
                </a:lnTo>
                <a:lnTo>
                  <a:pt x="3308" y="1106"/>
                </a:lnTo>
                <a:lnTo>
                  <a:pt x="3306" y="1106"/>
                </a:lnTo>
                <a:lnTo>
                  <a:pt x="3306" y="1104"/>
                </a:lnTo>
                <a:close/>
                <a:moveTo>
                  <a:pt x="3342" y="1104"/>
                </a:moveTo>
                <a:lnTo>
                  <a:pt x="3342" y="1106"/>
                </a:lnTo>
                <a:lnTo>
                  <a:pt x="3342" y="1104"/>
                </a:lnTo>
                <a:close/>
                <a:moveTo>
                  <a:pt x="3304" y="1106"/>
                </a:moveTo>
                <a:lnTo>
                  <a:pt x="3306" y="1106"/>
                </a:lnTo>
                <a:lnTo>
                  <a:pt x="3304" y="1106"/>
                </a:lnTo>
                <a:close/>
                <a:moveTo>
                  <a:pt x="3345" y="1107"/>
                </a:moveTo>
                <a:lnTo>
                  <a:pt x="3347" y="1107"/>
                </a:lnTo>
                <a:lnTo>
                  <a:pt x="3347" y="1109"/>
                </a:lnTo>
                <a:lnTo>
                  <a:pt x="3345" y="1109"/>
                </a:lnTo>
                <a:lnTo>
                  <a:pt x="3345" y="1107"/>
                </a:lnTo>
                <a:close/>
                <a:moveTo>
                  <a:pt x="3349" y="1109"/>
                </a:moveTo>
                <a:lnTo>
                  <a:pt x="3350" y="1109"/>
                </a:lnTo>
                <a:lnTo>
                  <a:pt x="3349" y="1109"/>
                </a:lnTo>
                <a:close/>
                <a:moveTo>
                  <a:pt x="3349" y="1112"/>
                </a:moveTo>
                <a:lnTo>
                  <a:pt x="3350" y="1112"/>
                </a:lnTo>
                <a:lnTo>
                  <a:pt x="3349" y="1112"/>
                </a:lnTo>
                <a:close/>
                <a:moveTo>
                  <a:pt x="3308" y="1114"/>
                </a:moveTo>
                <a:lnTo>
                  <a:pt x="3309" y="1114"/>
                </a:lnTo>
                <a:lnTo>
                  <a:pt x="3308" y="1114"/>
                </a:lnTo>
                <a:close/>
                <a:moveTo>
                  <a:pt x="3349" y="1114"/>
                </a:moveTo>
                <a:lnTo>
                  <a:pt x="3352" y="1114"/>
                </a:lnTo>
                <a:lnTo>
                  <a:pt x="3352" y="1118"/>
                </a:lnTo>
                <a:lnTo>
                  <a:pt x="3349" y="1118"/>
                </a:lnTo>
                <a:lnTo>
                  <a:pt x="3349" y="1114"/>
                </a:lnTo>
                <a:close/>
                <a:moveTo>
                  <a:pt x="3352" y="1116"/>
                </a:moveTo>
                <a:lnTo>
                  <a:pt x="3354" y="1116"/>
                </a:lnTo>
                <a:lnTo>
                  <a:pt x="3354" y="1118"/>
                </a:lnTo>
                <a:lnTo>
                  <a:pt x="3352" y="1118"/>
                </a:lnTo>
                <a:lnTo>
                  <a:pt x="3352" y="1116"/>
                </a:lnTo>
                <a:close/>
                <a:moveTo>
                  <a:pt x="3304" y="1116"/>
                </a:moveTo>
                <a:lnTo>
                  <a:pt x="3304" y="1118"/>
                </a:lnTo>
                <a:lnTo>
                  <a:pt x="3304" y="1116"/>
                </a:lnTo>
                <a:close/>
                <a:moveTo>
                  <a:pt x="3299" y="1116"/>
                </a:moveTo>
                <a:lnTo>
                  <a:pt x="3301" y="1116"/>
                </a:lnTo>
                <a:lnTo>
                  <a:pt x="3301" y="1118"/>
                </a:lnTo>
                <a:lnTo>
                  <a:pt x="3299" y="1118"/>
                </a:lnTo>
                <a:lnTo>
                  <a:pt x="3299" y="1116"/>
                </a:lnTo>
                <a:close/>
                <a:moveTo>
                  <a:pt x="3326" y="1116"/>
                </a:moveTo>
                <a:lnTo>
                  <a:pt x="3330" y="1116"/>
                </a:lnTo>
                <a:lnTo>
                  <a:pt x="3330" y="1118"/>
                </a:lnTo>
                <a:lnTo>
                  <a:pt x="3326" y="1118"/>
                </a:lnTo>
                <a:lnTo>
                  <a:pt x="3326" y="1116"/>
                </a:lnTo>
                <a:close/>
                <a:moveTo>
                  <a:pt x="3347" y="1116"/>
                </a:moveTo>
                <a:lnTo>
                  <a:pt x="3349" y="1116"/>
                </a:lnTo>
                <a:lnTo>
                  <a:pt x="3349" y="1118"/>
                </a:lnTo>
                <a:lnTo>
                  <a:pt x="3347" y="1118"/>
                </a:lnTo>
                <a:lnTo>
                  <a:pt x="3347" y="1116"/>
                </a:lnTo>
                <a:close/>
                <a:moveTo>
                  <a:pt x="3296" y="1116"/>
                </a:moveTo>
                <a:lnTo>
                  <a:pt x="3296" y="1118"/>
                </a:lnTo>
                <a:lnTo>
                  <a:pt x="3298" y="1119"/>
                </a:lnTo>
                <a:lnTo>
                  <a:pt x="3296" y="1116"/>
                </a:lnTo>
                <a:close/>
                <a:moveTo>
                  <a:pt x="115" y="1133"/>
                </a:moveTo>
                <a:lnTo>
                  <a:pt x="115" y="1131"/>
                </a:lnTo>
                <a:lnTo>
                  <a:pt x="114" y="1126"/>
                </a:lnTo>
                <a:lnTo>
                  <a:pt x="112" y="1126"/>
                </a:lnTo>
                <a:lnTo>
                  <a:pt x="112" y="1124"/>
                </a:lnTo>
                <a:lnTo>
                  <a:pt x="110" y="1124"/>
                </a:lnTo>
                <a:lnTo>
                  <a:pt x="110" y="1126"/>
                </a:lnTo>
                <a:lnTo>
                  <a:pt x="108" y="1126"/>
                </a:lnTo>
                <a:lnTo>
                  <a:pt x="107" y="1128"/>
                </a:lnTo>
                <a:lnTo>
                  <a:pt x="108" y="1129"/>
                </a:lnTo>
                <a:lnTo>
                  <a:pt x="107" y="1133"/>
                </a:lnTo>
                <a:lnTo>
                  <a:pt x="108" y="1135"/>
                </a:lnTo>
                <a:lnTo>
                  <a:pt x="112" y="1136"/>
                </a:lnTo>
                <a:lnTo>
                  <a:pt x="115" y="1133"/>
                </a:lnTo>
                <a:close/>
                <a:moveTo>
                  <a:pt x="93" y="1146"/>
                </a:moveTo>
                <a:lnTo>
                  <a:pt x="95" y="1146"/>
                </a:lnTo>
                <a:lnTo>
                  <a:pt x="97" y="1143"/>
                </a:lnTo>
                <a:lnTo>
                  <a:pt x="97" y="1141"/>
                </a:lnTo>
                <a:lnTo>
                  <a:pt x="97" y="1140"/>
                </a:lnTo>
                <a:lnTo>
                  <a:pt x="95" y="1138"/>
                </a:lnTo>
                <a:lnTo>
                  <a:pt x="93" y="1135"/>
                </a:lnTo>
                <a:lnTo>
                  <a:pt x="91" y="1135"/>
                </a:lnTo>
                <a:lnTo>
                  <a:pt x="90" y="1133"/>
                </a:lnTo>
                <a:lnTo>
                  <a:pt x="88" y="1129"/>
                </a:lnTo>
                <a:lnTo>
                  <a:pt x="85" y="1128"/>
                </a:lnTo>
                <a:lnTo>
                  <a:pt x="85" y="1126"/>
                </a:lnTo>
                <a:lnTo>
                  <a:pt x="85" y="1124"/>
                </a:lnTo>
                <a:lnTo>
                  <a:pt x="81" y="1124"/>
                </a:lnTo>
                <a:lnTo>
                  <a:pt x="81" y="1126"/>
                </a:lnTo>
                <a:lnTo>
                  <a:pt x="80" y="1126"/>
                </a:lnTo>
                <a:lnTo>
                  <a:pt x="81" y="1129"/>
                </a:lnTo>
                <a:lnTo>
                  <a:pt x="80" y="1133"/>
                </a:lnTo>
                <a:lnTo>
                  <a:pt x="81" y="1135"/>
                </a:lnTo>
                <a:lnTo>
                  <a:pt x="80" y="1138"/>
                </a:lnTo>
                <a:lnTo>
                  <a:pt x="83" y="1141"/>
                </a:lnTo>
                <a:lnTo>
                  <a:pt x="88" y="1146"/>
                </a:lnTo>
                <a:lnTo>
                  <a:pt x="93" y="1146"/>
                </a:lnTo>
                <a:close/>
                <a:moveTo>
                  <a:pt x="3321" y="1129"/>
                </a:moveTo>
                <a:lnTo>
                  <a:pt x="3323" y="1129"/>
                </a:lnTo>
                <a:lnTo>
                  <a:pt x="3323" y="1131"/>
                </a:lnTo>
                <a:lnTo>
                  <a:pt x="3321" y="1131"/>
                </a:lnTo>
                <a:lnTo>
                  <a:pt x="3321" y="1129"/>
                </a:lnTo>
                <a:close/>
                <a:moveTo>
                  <a:pt x="3315" y="1129"/>
                </a:moveTo>
                <a:lnTo>
                  <a:pt x="3316" y="1129"/>
                </a:lnTo>
                <a:lnTo>
                  <a:pt x="3315" y="1129"/>
                </a:lnTo>
                <a:close/>
                <a:moveTo>
                  <a:pt x="3313" y="1129"/>
                </a:moveTo>
                <a:lnTo>
                  <a:pt x="3315" y="1129"/>
                </a:lnTo>
                <a:lnTo>
                  <a:pt x="3313" y="1129"/>
                </a:lnTo>
                <a:close/>
                <a:moveTo>
                  <a:pt x="3323" y="1135"/>
                </a:moveTo>
                <a:lnTo>
                  <a:pt x="3323" y="1133"/>
                </a:lnTo>
                <a:lnTo>
                  <a:pt x="3325" y="1131"/>
                </a:lnTo>
                <a:lnTo>
                  <a:pt x="3321" y="1133"/>
                </a:lnTo>
                <a:lnTo>
                  <a:pt x="3321" y="1135"/>
                </a:lnTo>
                <a:lnTo>
                  <a:pt x="3323" y="1136"/>
                </a:lnTo>
                <a:lnTo>
                  <a:pt x="3323" y="1135"/>
                </a:lnTo>
                <a:close/>
                <a:moveTo>
                  <a:pt x="3318" y="1131"/>
                </a:moveTo>
                <a:lnTo>
                  <a:pt x="3318" y="1133"/>
                </a:lnTo>
                <a:lnTo>
                  <a:pt x="3318" y="1131"/>
                </a:lnTo>
                <a:close/>
                <a:moveTo>
                  <a:pt x="3316" y="1133"/>
                </a:moveTo>
                <a:lnTo>
                  <a:pt x="3316" y="1135"/>
                </a:lnTo>
                <a:lnTo>
                  <a:pt x="3316" y="1133"/>
                </a:lnTo>
                <a:close/>
                <a:moveTo>
                  <a:pt x="3325" y="1135"/>
                </a:moveTo>
                <a:lnTo>
                  <a:pt x="3326" y="1135"/>
                </a:lnTo>
                <a:lnTo>
                  <a:pt x="3326" y="1136"/>
                </a:lnTo>
                <a:lnTo>
                  <a:pt x="3325" y="1136"/>
                </a:lnTo>
                <a:lnTo>
                  <a:pt x="3325" y="1135"/>
                </a:lnTo>
                <a:close/>
                <a:moveTo>
                  <a:pt x="3323" y="1136"/>
                </a:moveTo>
                <a:lnTo>
                  <a:pt x="3323" y="1138"/>
                </a:lnTo>
                <a:lnTo>
                  <a:pt x="3323" y="1136"/>
                </a:lnTo>
                <a:close/>
                <a:moveTo>
                  <a:pt x="3325" y="1136"/>
                </a:moveTo>
                <a:lnTo>
                  <a:pt x="3326" y="1136"/>
                </a:lnTo>
                <a:lnTo>
                  <a:pt x="3326" y="1138"/>
                </a:lnTo>
                <a:lnTo>
                  <a:pt x="3325" y="1138"/>
                </a:lnTo>
                <a:lnTo>
                  <a:pt x="3325" y="1136"/>
                </a:lnTo>
                <a:close/>
                <a:moveTo>
                  <a:pt x="3333" y="1138"/>
                </a:moveTo>
                <a:lnTo>
                  <a:pt x="3335" y="1138"/>
                </a:lnTo>
                <a:lnTo>
                  <a:pt x="3333" y="1138"/>
                </a:lnTo>
                <a:close/>
                <a:moveTo>
                  <a:pt x="3325" y="1143"/>
                </a:moveTo>
                <a:lnTo>
                  <a:pt x="3326" y="1141"/>
                </a:lnTo>
                <a:lnTo>
                  <a:pt x="3326" y="1138"/>
                </a:lnTo>
                <a:lnTo>
                  <a:pt x="3325" y="1138"/>
                </a:lnTo>
                <a:lnTo>
                  <a:pt x="3323" y="1141"/>
                </a:lnTo>
                <a:lnTo>
                  <a:pt x="3323" y="1143"/>
                </a:lnTo>
                <a:lnTo>
                  <a:pt x="3325" y="1143"/>
                </a:lnTo>
                <a:close/>
                <a:moveTo>
                  <a:pt x="52" y="1150"/>
                </a:moveTo>
                <a:lnTo>
                  <a:pt x="54" y="1148"/>
                </a:lnTo>
                <a:lnTo>
                  <a:pt x="54" y="1141"/>
                </a:lnTo>
                <a:lnTo>
                  <a:pt x="52" y="1140"/>
                </a:lnTo>
                <a:lnTo>
                  <a:pt x="49" y="1140"/>
                </a:lnTo>
                <a:lnTo>
                  <a:pt x="44" y="1141"/>
                </a:lnTo>
                <a:lnTo>
                  <a:pt x="42" y="1145"/>
                </a:lnTo>
                <a:lnTo>
                  <a:pt x="44" y="1148"/>
                </a:lnTo>
                <a:lnTo>
                  <a:pt x="49" y="1152"/>
                </a:lnTo>
                <a:lnTo>
                  <a:pt x="52" y="1150"/>
                </a:lnTo>
                <a:close/>
                <a:moveTo>
                  <a:pt x="3330" y="1140"/>
                </a:moveTo>
                <a:lnTo>
                  <a:pt x="3332" y="1140"/>
                </a:lnTo>
                <a:lnTo>
                  <a:pt x="3330" y="1140"/>
                </a:lnTo>
                <a:close/>
                <a:moveTo>
                  <a:pt x="35" y="1143"/>
                </a:moveTo>
                <a:lnTo>
                  <a:pt x="37" y="1143"/>
                </a:lnTo>
                <a:lnTo>
                  <a:pt x="35" y="1143"/>
                </a:lnTo>
                <a:close/>
                <a:moveTo>
                  <a:pt x="3338" y="1143"/>
                </a:moveTo>
                <a:lnTo>
                  <a:pt x="3340" y="1143"/>
                </a:lnTo>
                <a:lnTo>
                  <a:pt x="3338" y="1143"/>
                </a:lnTo>
                <a:close/>
                <a:moveTo>
                  <a:pt x="35" y="1150"/>
                </a:moveTo>
                <a:lnTo>
                  <a:pt x="34" y="1146"/>
                </a:lnTo>
                <a:lnTo>
                  <a:pt x="32" y="1146"/>
                </a:lnTo>
                <a:lnTo>
                  <a:pt x="32" y="1148"/>
                </a:lnTo>
                <a:lnTo>
                  <a:pt x="30" y="1148"/>
                </a:lnTo>
                <a:lnTo>
                  <a:pt x="30" y="1150"/>
                </a:lnTo>
                <a:lnTo>
                  <a:pt x="34" y="1152"/>
                </a:lnTo>
                <a:lnTo>
                  <a:pt x="35" y="1150"/>
                </a:lnTo>
                <a:close/>
                <a:moveTo>
                  <a:pt x="3347" y="1148"/>
                </a:moveTo>
                <a:lnTo>
                  <a:pt x="3349" y="1148"/>
                </a:lnTo>
                <a:lnTo>
                  <a:pt x="3349" y="1150"/>
                </a:lnTo>
                <a:lnTo>
                  <a:pt x="3347" y="1150"/>
                </a:lnTo>
                <a:lnTo>
                  <a:pt x="3347" y="1148"/>
                </a:lnTo>
                <a:close/>
                <a:moveTo>
                  <a:pt x="3354" y="1153"/>
                </a:moveTo>
                <a:lnTo>
                  <a:pt x="3355" y="1153"/>
                </a:lnTo>
                <a:lnTo>
                  <a:pt x="3355" y="1155"/>
                </a:lnTo>
                <a:lnTo>
                  <a:pt x="3354" y="1155"/>
                </a:lnTo>
                <a:lnTo>
                  <a:pt x="3354" y="1153"/>
                </a:lnTo>
                <a:close/>
                <a:moveTo>
                  <a:pt x="448" y="1194"/>
                </a:moveTo>
                <a:lnTo>
                  <a:pt x="447" y="1192"/>
                </a:lnTo>
                <a:lnTo>
                  <a:pt x="447" y="1196"/>
                </a:lnTo>
                <a:lnTo>
                  <a:pt x="448" y="1197"/>
                </a:lnTo>
                <a:lnTo>
                  <a:pt x="448" y="1194"/>
                </a:lnTo>
                <a:close/>
                <a:moveTo>
                  <a:pt x="445" y="1199"/>
                </a:moveTo>
                <a:lnTo>
                  <a:pt x="447" y="1197"/>
                </a:lnTo>
                <a:lnTo>
                  <a:pt x="447" y="1196"/>
                </a:lnTo>
                <a:lnTo>
                  <a:pt x="447" y="1192"/>
                </a:lnTo>
                <a:lnTo>
                  <a:pt x="445" y="1192"/>
                </a:lnTo>
                <a:lnTo>
                  <a:pt x="443" y="1192"/>
                </a:lnTo>
                <a:lnTo>
                  <a:pt x="442" y="1194"/>
                </a:lnTo>
                <a:lnTo>
                  <a:pt x="438" y="1192"/>
                </a:lnTo>
                <a:lnTo>
                  <a:pt x="437" y="1194"/>
                </a:lnTo>
                <a:lnTo>
                  <a:pt x="437" y="1197"/>
                </a:lnTo>
                <a:lnTo>
                  <a:pt x="438" y="1197"/>
                </a:lnTo>
                <a:lnTo>
                  <a:pt x="438" y="1199"/>
                </a:lnTo>
                <a:lnTo>
                  <a:pt x="440" y="1199"/>
                </a:lnTo>
                <a:lnTo>
                  <a:pt x="442" y="1201"/>
                </a:lnTo>
                <a:lnTo>
                  <a:pt x="445" y="1199"/>
                </a:lnTo>
                <a:close/>
                <a:moveTo>
                  <a:pt x="445" y="1197"/>
                </a:moveTo>
                <a:lnTo>
                  <a:pt x="448" y="1197"/>
                </a:lnTo>
                <a:lnTo>
                  <a:pt x="448" y="1199"/>
                </a:lnTo>
                <a:lnTo>
                  <a:pt x="445" y="1199"/>
                </a:lnTo>
                <a:lnTo>
                  <a:pt x="445" y="1197"/>
                </a:lnTo>
                <a:close/>
                <a:moveTo>
                  <a:pt x="440" y="1203"/>
                </a:moveTo>
                <a:lnTo>
                  <a:pt x="440" y="1201"/>
                </a:lnTo>
                <a:lnTo>
                  <a:pt x="440" y="1199"/>
                </a:lnTo>
                <a:lnTo>
                  <a:pt x="438" y="1199"/>
                </a:lnTo>
                <a:lnTo>
                  <a:pt x="438" y="1197"/>
                </a:lnTo>
                <a:lnTo>
                  <a:pt x="437" y="1197"/>
                </a:lnTo>
                <a:lnTo>
                  <a:pt x="437" y="1199"/>
                </a:lnTo>
                <a:lnTo>
                  <a:pt x="437" y="1201"/>
                </a:lnTo>
                <a:lnTo>
                  <a:pt x="437" y="1199"/>
                </a:lnTo>
                <a:lnTo>
                  <a:pt x="438" y="1203"/>
                </a:lnTo>
                <a:lnTo>
                  <a:pt x="440" y="1203"/>
                </a:lnTo>
                <a:close/>
                <a:moveTo>
                  <a:pt x="3410" y="1197"/>
                </a:moveTo>
                <a:lnTo>
                  <a:pt x="3410" y="1199"/>
                </a:lnTo>
                <a:lnTo>
                  <a:pt x="3410" y="1197"/>
                </a:lnTo>
                <a:close/>
                <a:moveTo>
                  <a:pt x="435" y="1201"/>
                </a:moveTo>
                <a:lnTo>
                  <a:pt x="435" y="1197"/>
                </a:lnTo>
                <a:lnTo>
                  <a:pt x="435" y="1203"/>
                </a:lnTo>
                <a:lnTo>
                  <a:pt x="435" y="1201"/>
                </a:lnTo>
                <a:close/>
                <a:moveTo>
                  <a:pt x="3408" y="1197"/>
                </a:moveTo>
                <a:lnTo>
                  <a:pt x="3408" y="1199"/>
                </a:lnTo>
                <a:lnTo>
                  <a:pt x="3408" y="1197"/>
                </a:lnTo>
                <a:close/>
                <a:moveTo>
                  <a:pt x="445" y="1209"/>
                </a:moveTo>
                <a:lnTo>
                  <a:pt x="447" y="1209"/>
                </a:lnTo>
                <a:lnTo>
                  <a:pt x="448" y="1206"/>
                </a:lnTo>
                <a:lnTo>
                  <a:pt x="448" y="1204"/>
                </a:lnTo>
                <a:lnTo>
                  <a:pt x="448" y="1203"/>
                </a:lnTo>
                <a:lnTo>
                  <a:pt x="448" y="1201"/>
                </a:lnTo>
                <a:lnTo>
                  <a:pt x="448" y="1199"/>
                </a:lnTo>
                <a:lnTo>
                  <a:pt x="445" y="1201"/>
                </a:lnTo>
                <a:lnTo>
                  <a:pt x="442" y="1204"/>
                </a:lnTo>
                <a:lnTo>
                  <a:pt x="442" y="1208"/>
                </a:lnTo>
                <a:lnTo>
                  <a:pt x="443" y="1209"/>
                </a:lnTo>
                <a:lnTo>
                  <a:pt x="445" y="1209"/>
                </a:lnTo>
                <a:close/>
                <a:moveTo>
                  <a:pt x="440" y="1199"/>
                </a:moveTo>
                <a:lnTo>
                  <a:pt x="440" y="1203"/>
                </a:lnTo>
                <a:lnTo>
                  <a:pt x="440" y="1199"/>
                </a:lnTo>
                <a:close/>
                <a:moveTo>
                  <a:pt x="440" y="1201"/>
                </a:moveTo>
                <a:lnTo>
                  <a:pt x="442" y="1201"/>
                </a:lnTo>
                <a:lnTo>
                  <a:pt x="442" y="1203"/>
                </a:lnTo>
                <a:lnTo>
                  <a:pt x="440" y="1203"/>
                </a:lnTo>
                <a:lnTo>
                  <a:pt x="440" y="1201"/>
                </a:lnTo>
                <a:close/>
                <a:moveTo>
                  <a:pt x="442" y="1201"/>
                </a:moveTo>
                <a:lnTo>
                  <a:pt x="443" y="1201"/>
                </a:lnTo>
                <a:lnTo>
                  <a:pt x="443" y="1203"/>
                </a:lnTo>
                <a:lnTo>
                  <a:pt x="442" y="1203"/>
                </a:lnTo>
                <a:lnTo>
                  <a:pt x="442" y="1201"/>
                </a:lnTo>
                <a:close/>
                <a:moveTo>
                  <a:pt x="440" y="1201"/>
                </a:moveTo>
                <a:lnTo>
                  <a:pt x="442" y="1201"/>
                </a:lnTo>
                <a:lnTo>
                  <a:pt x="442" y="1203"/>
                </a:lnTo>
                <a:lnTo>
                  <a:pt x="440" y="1203"/>
                </a:lnTo>
                <a:lnTo>
                  <a:pt x="440" y="1201"/>
                </a:lnTo>
                <a:close/>
                <a:moveTo>
                  <a:pt x="447" y="1208"/>
                </a:moveTo>
                <a:lnTo>
                  <a:pt x="448" y="1208"/>
                </a:lnTo>
                <a:lnTo>
                  <a:pt x="447" y="1208"/>
                </a:lnTo>
                <a:close/>
                <a:moveTo>
                  <a:pt x="442" y="1208"/>
                </a:moveTo>
                <a:lnTo>
                  <a:pt x="442" y="1209"/>
                </a:lnTo>
                <a:lnTo>
                  <a:pt x="442" y="1208"/>
                </a:lnTo>
                <a:close/>
                <a:moveTo>
                  <a:pt x="440" y="1209"/>
                </a:moveTo>
                <a:lnTo>
                  <a:pt x="442" y="1209"/>
                </a:lnTo>
                <a:lnTo>
                  <a:pt x="442" y="1211"/>
                </a:lnTo>
                <a:lnTo>
                  <a:pt x="440" y="1211"/>
                </a:lnTo>
                <a:lnTo>
                  <a:pt x="440" y="1209"/>
                </a:lnTo>
                <a:close/>
                <a:moveTo>
                  <a:pt x="3439" y="1231"/>
                </a:moveTo>
                <a:lnTo>
                  <a:pt x="3440" y="1231"/>
                </a:lnTo>
                <a:lnTo>
                  <a:pt x="3440" y="1233"/>
                </a:lnTo>
                <a:lnTo>
                  <a:pt x="3439" y="1233"/>
                </a:lnTo>
                <a:lnTo>
                  <a:pt x="3439" y="1231"/>
                </a:lnTo>
                <a:close/>
                <a:moveTo>
                  <a:pt x="3454" y="1240"/>
                </a:moveTo>
                <a:lnTo>
                  <a:pt x="3456" y="1240"/>
                </a:lnTo>
                <a:lnTo>
                  <a:pt x="3456" y="1242"/>
                </a:lnTo>
                <a:lnTo>
                  <a:pt x="3454" y="1242"/>
                </a:lnTo>
                <a:lnTo>
                  <a:pt x="3454" y="1240"/>
                </a:lnTo>
                <a:close/>
                <a:moveTo>
                  <a:pt x="3457" y="1243"/>
                </a:moveTo>
                <a:lnTo>
                  <a:pt x="3459" y="1243"/>
                </a:lnTo>
                <a:lnTo>
                  <a:pt x="3457" y="1243"/>
                </a:lnTo>
                <a:close/>
                <a:moveTo>
                  <a:pt x="3452" y="1243"/>
                </a:moveTo>
                <a:lnTo>
                  <a:pt x="3454" y="1243"/>
                </a:lnTo>
                <a:lnTo>
                  <a:pt x="3454" y="1245"/>
                </a:lnTo>
                <a:lnTo>
                  <a:pt x="3452" y="1245"/>
                </a:lnTo>
                <a:lnTo>
                  <a:pt x="3452" y="1243"/>
                </a:lnTo>
                <a:close/>
                <a:moveTo>
                  <a:pt x="3456" y="1243"/>
                </a:moveTo>
                <a:lnTo>
                  <a:pt x="3456" y="1245"/>
                </a:lnTo>
                <a:lnTo>
                  <a:pt x="3456" y="1243"/>
                </a:lnTo>
                <a:close/>
                <a:moveTo>
                  <a:pt x="3459" y="1247"/>
                </a:moveTo>
                <a:lnTo>
                  <a:pt x="3457" y="1245"/>
                </a:lnTo>
                <a:lnTo>
                  <a:pt x="3456" y="1245"/>
                </a:lnTo>
                <a:lnTo>
                  <a:pt x="3457" y="1247"/>
                </a:lnTo>
                <a:lnTo>
                  <a:pt x="3457" y="1248"/>
                </a:lnTo>
                <a:lnTo>
                  <a:pt x="3459" y="1250"/>
                </a:lnTo>
                <a:lnTo>
                  <a:pt x="3459" y="1247"/>
                </a:lnTo>
                <a:close/>
                <a:moveTo>
                  <a:pt x="3451" y="1245"/>
                </a:moveTo>
                <a:lnTo>
                  <a:pt x="3452" y="1245"/>
                </a:lnTo>
                <a:lnTo>
                  <a:pt x="3451" y="1245"/>
                </a:lnTo>
                <a:close/>
                <a:moveTo>
                  <a:pt x="442" y="1245"/>
                </a:moveTo>
                <a:lnTo>
                  <a:pt x="443" y="1245"/>
                </a:lnTo>
                <a:lnTo>
                  <a:pt x="443" y="1247"/>
                </a:lnTo>
                <a:lnTo>
                  <a:pt x="442" y="1247"/>
                </a:lnTo>
                <a:lnTo>
                  <a:pt x="442" y="1245"/>
                </a:lnTo>
                <a:close/>
                <a:moveTo>
                  <a:pt x="445" y="1248"/>
                </a:moveTo>
                <a:lnTo>
                  <a:pt x="443" y="1247"/>
                </a:lnTo>
                <a:lnTo>
                  <a:pt x="442" y="1247"/>
                </a:lnTo>
                <a:lnTo>
                  <a:pt x="442" y="1245"/>
                </a:lnTo>
                <a:lnTo>
                  <a:pt x="440" y="1247"/>
                </a:lnTo>
                <a:lnTo>
                  <a:pt x="442" y="1248"/>
                </a:lnTo>
                <a:lnTo>
                  <a:pt x="440" y="1248"/>
                </a:lnTo>
                <a:lnTo>
                  <a:pt x="442" y="1248"/>
                </a:lnTo>
                <a:lnTo>
                  <a:pt x="443" y="1250"/>
                </a:lnTo>
                <a:lnTo>
                  <a:pt x="442" y="1250"/>
                </a:lnTo>
                <a:lnTo>
                  <a:pt x="442" y="1252"/>
                </a:lnTo>
                <a:lnTo>
                  <a:pt x="443" y="1254"/>
                </a:lnTo>
                <a:lnTo>
                  <a:pt x="445" y="1248"/>
                </a:lnTo>
                <a:close/>
                <a:moveTo>
                  <a:pt x="3459" y="1247"/>
                </a:moveTo>
                <a:lnTo>
                  <a:pt x="3461" y="1247"/>
                </a:lnTo>
                <a:lnTo>
                  <a:pt x="3461" y="1248"/>
                </a:lnTo>
                <a:lnTo>
                  <a:pt x="3459" y="1248"/>
                </a:lnTo>
                <a:lnTo>
                  <a:pt x="3459" y="1247"/>
                </a:lnTo>
                <a:close/>
                <a:moveTo>
                  <a:pt x="3456" y="1248"/>
                </a:moveTo>
                <a:lnTo>
                  <a:pt x="3456" y="1250"/>
                </a:lnTo>
                <a:lnTo>
                  <a:pt x="3456" y="1248"/>
                </a:lnTo>
                <a:close/>
                <a:moveTo>
                  <a:pt x="3454" y="1248"/>
                </a:moveTo>
                <a:lnTo>
                  <a:pt x="3454" y="1250"/>
                </a:lnTo>
                <a:lnTo>
                  <a:pt x="3454" y="1248"/>
                </a:lnTo>
                <a:close/>
                <a:moveTo>
                  <a:pt x="3451" y="1248"/>
                </a:moveTo>
                <a:lnTo>
                  <a:pt x="3452" y="1248"/>
                </a:lnTo>
                <a:lnTo>
                  <a:pt x="3452" y="1250"/>
                </a:lnTo>
                <a:lnTo>
                  <a:pt x="3451" y="1250"/>
                </a:lnTo>
                <a:lnTo>
                  <a:pt x="3451" y="1248"/>
                </a:lnTo>
                <a:close/>
                <a:moveTo>
                  <a:pt x="3456" y="1250"/>
                </a:moveTo>
                <a:lnTo>
                  <a:pt x="3457" y="1250"/>
                </a:lnTo>
                <a:lnTo>
                  <a:pt x="3456" y="1250"/>
                </a:lnTo>
                <a:close/>
                <a:moveTo>
                  <a:pt x="3457" y="1250"/>
                </a:moveTo>
                <a:lnTo>
                  <a:pt x="3459" y="1250"/>
                </a:lnTo>
                <a:lnTo>
                  <a:pt x="3459" y="1252"/>
                </a:lnTo>
                <a:lnTo>
                  <a:pt x="3457" y="1252"/>
                </a:lnTo>
                <a:lnTo>
                  <a:pt x="3457" y="1250"/>
                </a:lnTo>
                <a:close/>
                <a:moveTo>
                  <a:pt x="440" y="1255"/>
                </a:moveTo>
                <a:lnTo>
                  <a:pt x="442" y="1257"/>
                </a:lnTo>
                <a:lnTo>
                  <a:pt x="443" y="1255"/>
                </a:lnTo>
                <a:lnTo>
                  <a:pt x="443" y="1254"/>
                </a:lnTo>
                <a:lnTo>
                  <a:pt x="442" y="1254"/>
                </a:lnTo>
                <a:lnTo>
                  <a:pt x="440" y="1254"/>
                </a:lnTo>
                <a:lnTo>
                  <a:pt x="438" y="1255"/>
                </a:lnTo>
                <a:lnTo>
                  <a:pt x="438" y="1257"/>
                </a:lnTo>
                <a:lnTo>
                  <a:pt x="440" y="1257"/>
                </a:lnTo>
                <a:lnTo>
                  <a:pt x="440" y="1255"/>
                </a:lnTo>
                <a:close/>
                <a:moveTo>
                  <a:pt x="443" y="1260"/>
                </a:moveTo>
                <a:lnTo>
                  <a:pt x="445" y="1259"/>
                </a:lnTo>
                <a:lnTo>
                  <a:pt x="445" y="1257"/>
                </a:lnTo>
                <a:lnTo>
                  <a:pt x="445" y="1255"/>
                </a:lnTo>
                <a:lnTo>
                  <a:pt x="443" y="1255"/>
                </a:lnTo>
                <a:lnTo>
                  <a:pt x="442" y="1257"/>
                </a:lnTo>
                <a:lnTo>
                  <a:pt x="442" y="1260"/>
                </a:lnTo>
                <a:lnTo>
                  <a:pt x="443" y="1260"/>
                </a:lnTo>
                <a:close/>
                <a:moveTo>
                  <a:pt x="442" y="1262"/>
                </a:moveTo>
                <a:lnTo>
                  <a:pt x="440" y="1255"/>
                </a:lnTo>
                <a:lnTo>
                  <a:pt x="440" y="1257"/>
                </a:lnTo>
                <a:lnTo>
                  <a:pt x="437" y="1255"/>
                </a:lnTo>
                <a:lnTo>
                  <a:pt x="435" y="1257"/>
                </a:lnTo>
                <a:lnTo>
                  <a:pt x="433" y="1260"/>
                </a:lnTo>
                <a:lnTo>
                  <a:pt x="435" y="1264"/>
                </a:lnTo>
                <a:lnTo>
                  <a:pt x="437" y="1264"/>
                </a:lnTo>
                <a:lnTo>
                  <a:pt x="442" y="1262"/>
                </a:lnTo>
                <a:close/>
                <a:moveTo>
                  <a:pt x="445" y="1257"/>
                </a:moveTo>
                <a:lnTo>
                  <a:pt x="447" y="1257"/>
                </a:lnTo>
                <a:lnTo>
                  <a:pt x="447" y="1259"/>
                </a:lnTo>
                <a:lnTo>
                  <a:pt x="445" y="1259"/>
                </a:lnTo>
                <a:lnTo>
                  <a:pt x="445" y="1257"/>
                </a:lnTo>
                <a:close/>
                <a:moveTo>
                  <a:pt x="437" y="1266"/>
                </a:moveTo>
                <a:lnTo>
                  <a:pt x="440" y="1266"/>
                </a:lnTo>
                <a:lnTo>
                  <a:pt x="440" y="1267"/>
                </a:lnTo>
                <a:lnTo>
                  <a:pt x="437" y="1267"/>
                </a:lnTo>
                <a:lnTo>
                  <a:pt x="437" y="1266"/>
                </a:lnTo>
                <a:close/>
                <a:moveTo>
                  <a:pt x="437" y="1269"/>
                </a:moveTo>
                <a:lnTo>
                  <a:pt x="438" y="1269"/>
                </a:lnTo>
                <a:lnTo>
                  <a:pt x="438" y="1271"/>
                </a:lnTo>
                <a:lnTo>
                  <a:pt x="437" y="1271"/>
                </a:lnTo>
                <a:lnTo>
                  <a:pt x="437" y="1269"/>
                </a:lnTo>
                <a:close/>
                <a:moveTo>
                  <a:pt x="438" y="1271"/>
                </a:moveTo>
                <a:lnTo>
                  <a:pt x="440" y="1271"/>
                </a:lnTo>
                <a:lnTo>
                  <a:pt x="438" y="1271"/>
                </a:lnTo>
                <a:close/>
                <a:moveTo>
                  <a:pt x="482" y="1293"/>
                </a:moveTo>
                <a:lnTo>
                  <a:pt x="479" y="1294"/>
                </a:lnTo>
                <a:lnTo>
                  <a:pt x="479" y="1296"/>
                </a:lnTo>
                <a:lnTo>
                  <a:pt x="482" y="1293"/>
                </a:lnTo>
                <a:close/>
                <a:moveTo>
                  <a:pt x="465" y="1300"/>
                </a:moveTo>
                <a:lnTo>
                  <a:pt x="462" y="1298"/>
                </a:lnTo>
                <a:lnTo>
                  <a:pt x="459" y="1294"/>
                </a:lnTo>
                <a:lnTo>
                  <a:pt x="459" y="1298"/>
                </a:lnTo>
                <a:lnTo>
                  <a:pt x="457" y="1300"/>
                </a:lnTo>
                <a:lnTo>
                  <a:pt x="457" y="1301"/>
                </a:lnTo>
                <a:lnTo>
                  <a:pt x="462" y="1301"/>
                </a:lnTo>
                <a:lnTo>
                  <a:pt x="465" y="1300"/>
                </a:lnTo>
                <a:close/>
                <a:moveTo>
                  <a:pt x="472" y="1298"/>
                </a:moveTo>
                <a:lnTo>
                  <a:pt x="476" y="1298"/>
                </a:lnTo>
                <a:lnTo>
                  <a:pt x="476" y="1300"/>
                </a:lnTo>
                <a:lnTo>
                  <a:pt x="472" y="1300"/>
                </a:lnTo>
                <a:lnTo>
                  <a:pt x="472" y="1298"/>
                </a:lnTo>
                <a:close/>
                <a:moveTo>
                  <a:pt x="472" y="1306"/>
                </a:moveTo>
                <a:lnTo>
                  <a:pt x="474" y="1300"/>
                </a:lnTo>
                <a:lnTo>
                  <a:pt x="472" y="1300"/>
                </a:lnTo>
                <a:lnTo>
                  <a:pt x="469" y="1300"/>
                </a:lnTo>
                <a:lnTo>
                  <a:pt x="465" y="1300"/>
                </a:lnTo>
                <a:lnTo>
                  <a:pt x="465" y="1303"/>
                </a:lnTo>
                <a:lnTo>
                  <a:pt x="469" y="1305"/>
                </a:lnTo>
                <a:lnTo>
                  <a:pt x="469" y="1306"/>
                </a:lnTo>
                <a:lnTo>
                  <a:pt x="472" y="1306"/>
                </a:lnTo>
                <a:close/>
                <a:moveTo>
                  <a:pt x="503" y="1300"/>
                </a:moveTo>
                <a:lnTo>
                  <a:pt x="505" y="1300"/>
                </a:lnTo>
                <a:lnTo>
                  <a:pt x="505" y="1301"/>
                </a:lnTo>
                <a:lnTo>
                  <a:pt x="503" y="1301"/>
                </a:lnTo>
                <a:lnTo>
                  <a:pt x="503" y="1300"/>
                </a:lnTo>
                <a:close/>
                <a:moveTo>
                  <a:pt x="501" y="1300"/>
                </a:moveTo>
                <a:lnTo>
                  <a:pt x="503" y="1300"/>
                </a:lnTo>
                <a:lnTo>
                  <a:pt x="503" y="1301"/>
                </a:lnTo>
                <a:lnTo>
                  <a:pt x="501" y="1301"/>
                </a:lnTo>
                <a:lnTo>
                  <a:pt x="501" y="1300"/>
                </a:lnTo>
                <a:close/>
                <a:moveTo>
                  <a:pt x="474" y="1301"/>
                </a:moveTo>
                <a:lnTo>
                  <a:pt x="474" y="1303"/>
                </a:lnTo>
                <a:lnTo>
                  <a:pt x="474" y="1301"/>
                </a:lnTo>
                <a:close/>
                <a:moveTo>
                  <a:pt x="479" y="1306"/>
                </a:moveTo>
                <a:lnTo>
                  <a:pt x="481" y="1306"/>
                </a:lnTo>
                <a:lnTo>
                  <a:pt x="479" y="1306"/>
                </a:lnTo>
                <a:close/>
                <a:moveTo>
                  <a:pt x="3471" y="1306"/>
                </a:moveTo>
                <a:lnTo>
                  <a:pt x="3473" y="1306"/>
                </a:lnTo>
                <a:lnTo>
                  <a:pt x="3473" y="1308"/>
                </a:lnTo>
                <a:lnTo>
                  <a:pt x="3471" y="1308"/>
                </a:lnTo>
                <a:lnTo>
                  <a:pt x="3471" y="1306"/>
                </a:lnTo>
                <a:close/>
                <a:moveTo>
                  <a:pt x="498" y="1318"/>
                </a:moveTo>
                <a:lnTo>
                  <a:pt x="496" y="1318"/>
                </a:lnTo>
                <a:lnTo>
                  <a:pt x="496" y="1317"/>
                </a:lnTo>
                <a:lnTo>
                  <a:pt x="498" y="1317"/>
                </a:lnTo>
                <a:lnTo>
                  <a:pt x="499" y="1315"/>
                </a:lnTo>
                <a:lnTo>
                  <a:pt x="499" y="1317"/>
                </a:lnTo>
                <a:lnTo>
                  <a:pt x="501" y="1317"/>
                </a:lnTo>
                <a:lnTo>
                  <a:pt x="499" y="1315"/>
                </a:lnTo>
                <a:lnTo>
                  <a:pt x="499" y="1313"/>
                </a:lnTo>
                <a:lnTo>
                  <a:pt x="501" y="1311"/>
                </a:lnTo>
                <a:lnTo>
                  <a:pt x="498" y="1313"/>
                </a:lnTo>
                <a:lnTo>
                  <a:pt x="496" y="1315"/>
                </a:lnTo>
                <a:lnTo>
                  <a:pt x="494" y="1315"/>
                </a:lnTo>
                <a:lnTo>
                  <a:pt x="493" y="1317"/>
                </a:lnTo>
                <a:lnTo>
                  <a:pt x="493" y="1318"/>
                </a:lnTo>
                <a:lnTo>
                  <a:pt x="496" y="1318"/>
                </a:lnTo>
                <a:lnTo>
                  <a:pt x="498" y="1318"/>
                </a:lnTo>
                <a:close/>
                <a:moveTo>
                  <a:pt x="479" y="1317"/>
                </a:moveTo>
                <a:lnTo>
                  <a:pt x="477" y="1315"/>
                </a:lnTo>
                <a:lnTo>
                  <a:pt x="476" y="1313"/>
                </a:lnTo>
                <a:lnTo>
                  <a:pt x="474" y="1315"/>
                </a:lnTo>
                <a:lnTo>
                  <a:pt x="476" y="1315"/>
                </a:lnTo>
                <a:lnTo>
                  <a:pt x="476" y="1317"/>
                </a:lnTo>
                <a:lnTo>
                  <a:pt x="477" y="1318"/>
                </a:lnTo>
                <a:lnTo>
                  <a:pt x="479" y="1317"/>
                </a:lnTo>
                <a:close/>
                <a:moveTo>
                  <a:pt x="460" y="1320"/>
                </a:moveTo>
                <a:lnTo>
                  <a:pt x="462" y="1317"/>
                </a:lnTo>
                <a:lnTo>
                  <a:pt x="460" y="1315"/>
                </a:lnTo>
                <a:lnTo>
                  <a:pt x="459" y="1315"/>
                </a:lnTo>
                <a:lnTo>
                  <a:pt x="457" y="1317"/>
                </a:lnTo>
                <a:lnTo>
                  <a:pt x="454" y="1317"/>
                </a:lnTo>
                <a:lnTo>
                  <a:pt x="452" y="1318"/>
                </a:lnTo>
                <a:lnTo>
                  <a:pt x="454" y="1320"/>
                </a:lnTo>
                <a:lnTo>
                  <a:pt x="457" y="1318"/>
                </a:lnTo>
                <a:lnTo>
                  <a:pt x="459" y="1320"/>
                </a:lnTo>
                <a:lnTo>
                  <a:pt x="460" y="1320"/>
                </a:lnTo>
                <a:close/>
                <a:moveTo>
                  <a:pt x="476" y="1317"/>
                </a:moveTo>
                <a:lnTo>
                  <a:pt x="474" y="1315"/>
                </a:lnTo>
                <a:lnTo>
                  <a:pt x="472" y="1317"/>
                </a:lnTo>
                <a:lnTo>
                  <a:pt x="474" y="1318"/>
                </a:lnTo>
                <a:lnTo>
                  <a:pt x="476" y="1317"/>
                </a:lnTo>
                <a:close/>
                <a:moveTo>
                  <a:pt x="476" y="1317"/>
                </a:moveTo>
                <a:lnTo>
                  <a:pt x="477" y="1317"/>
                </a:lnTo>
                <a:lnTo>
                  <a:pt x="477" y="1318"/>
                </a:lnTo>
                <a:lnTo>
                  <a:pt x="476" y="1318"/>
                </a:lnTo>
                <a:lnTo>
                  <a:pt x="476" y="1317"/>
                </a:lnTo>
                <a:close/>
                <a:moveTo>
                  <a:pt x="462" y="1322"/>
                </a:moveTo>
                <a:lnTo>
                  <a:pt x="465" y="1318"/>
                </a:lnTo>
                <a:lnTo>
                  <a:pt x="465" y="1317"/>
                </a:lnTo>
                <a:lnTo>
                  <a:pt x="462" y="1318"/>
                </a:lnTo>
                <a:lnTo>
                  <a:pt x="460" y="1320"/>
                </a:lnTo>
                <a:lnTo>
                  <a:pt x="459" y="1322"/>
                </a:lnTo>
                <a:lnTo>
                  <a:pt x="462" y="1322"/>
                </a:lnTo>
                <a:close/>
                <a:moveTo>
                  <a:pt x="476" y="1322"/>
                </a:moveTo>
                <a:lnTo>
                  <a:pt x="479" y="1322"/>
                </a:lnTo>
                <a:lnTo>
                  <a:pt x="477" y="1318"/>
                </a:lnTo>
                <a:lnTo>
                  <a:pt x="476" y="1318"/>
                </a:lnTo>
                <a:lnTo>
                  <a:pt x="474" y="1318"/>
                </a:lnTo>
                <a:lnTo>
                  <a:pt x="472" y="1318"/>
                </a:lnTo>
                <a:lnTo>
                  <a:pt x="469" y="1322"/>
                </a:lnTo>
                <a:lnTo>
                  <a:pt x="472" y="1323"/>
                </a:lnTo>
                <a:lnTo>
                  <a:pt x="474" y="1322"/>
                </a:lnTo>
                <a:lnTo>
                  <a:pt x="476" y="1322"/>
                </a:lnTo>
                <a:lnTo>
                  <a:pt x="476" y="1323"/>
                </a:lnTo>
                <a:lnTo>
                  <a:pt x="476" y="1322"/>
                </a:lnTo>
                <a:close/>
                <a:moveTo>
                  <a:pt x="3485" y="1318"/>
                </a:moveTo>
                <a:lnTo>
                  <a:pt x="3485" y="1320"/>
                </a:lnTo>
                <a:lnTo>
                  <a:pt x="3485" y="1318"/>
                </a:lnTo>
                <a:close/>
                <a:moveTo>
                  <a:pt x="489" y="1322"/>
                </a:moveTo>
                <a:lnTo>
                  <a:pt x="491" y="1322"/>
                </a:lnTo>
                <a:lnTo>
                  <a:pt x="491" y="1320"/>
                </a:lnTo>
                <a:lnTo>
                  <a:pt x="491" y="1318"/>
                </a:lnTo>
                <a:lnTo>
                  <a:pt x="489" y="1318"/>
                </a:lnTo>
                <a:lnTo>
                  <a:pt x="489" y="1320"/>
                </a:lnTo>
                <a:lnTo>
                  <a:pt x="488" y="1322"/>
                </a:lnTo>
                <a:lnTo>
                  <a:pt x="489" y="1322"/>
                </a:lnTo>
                <a:close/>
                <a:moveTo>
                  <a:pt x="3485" y="1322"/>
                </a:moveTo>
                <a:lnTo>
                  <a:pt x="3485" y="1323"/>
                </a:lnTo>
                <a:lnTo>
                  <a:pt x="3485" y="1322"/>
                </a:lnTo>
                <a:close/>
                <a:moveTo>
                  <a:pt x="459" y="1322"/>
                </a:moveTo>
                <a:lnTo>
                  <a:pt x="459" y="1323"/>
                </a:lnTo>
                <a:lnTo>
                  <a:pt x="459" y="1322"/>
                </a:lnTo>
                <a:close/>
                <a:moveTo>
                  <a:pt x="469" y="1325"/>
                </a:moveTo>
                <a:lnTo>
                  <a:pt x="469" y="1323"/>
                </a:lnTo>
                <a:lnTo>
                  <a:pt x="471" y="1323"/>
                </a:lnTo>
                <a:lnTo>
                  <a:pt x="469" y="1323"/>
                </a:lnTo>
                <a:lnTo>
                  <a:pt x="465" y="1323"/>
                </a:lnTo>
                <a:lnTo>
                  <a:pt x="465" y="1325"/>
                </a:lnTo>
                <a:lnTo>
                  <a:pt x="467" y="1325"/>
                </a:lnTo>
                <a:lnTo>
                  <a:pt x="469" y="1325"/>
                </a:lnTo>
                <a:close/>
                <a:moveTo>
                  <a:pt x="472" y="1325"/>
                </a:moveTo>
                <a:lnTo>
                  <a:pt x="474" y="1325"/>
                </a:lnTo>
                <a:lnTo>
                  <a:pt x="472" y="1325"/>
                </a:lnTo>
                <a:close/>
                <a:moveTo>
                  <a:pt x="479" y="1325"/>
                </a:moveTo>
                <a:lnTo>
                  <a:pt x="482" y="1325"/>
                </a:lnTo>
                <a:lnTo>
                  <a:pt x="482" y="1328"/>
                </a:lnTo>
                <a:lnTo>
                  <a:pt x="479" y="1328"/>
                </a:lnTo>
                <a:lnTo>
                  <a:pt x="479" y="1325"/>
                </a:lnTo>
                <a:close/>
                <a:moveTo>
                  <a:pt x="484" y="1327"/>
                </a:moveTo>
                <a:lnTo>
                  <a:pt x="484" y="1325"/>
                </a:lnTo>
                <a:lnTo>
                  <a:pt x="482" y="1327"/>
                </a:lnTo>
                <a:lnTo>
                  <a:pt x="482" y="1328"/>
                </a:lnTo>
                <a:lnTo>
                  <a:pt x="484" y="1328"/>
                </a:lnTo>
                <a:lnTo>
                  <a:pt x="484" y="1327"/>
                </a:lnTo>
                <a:close/>
                <a:moveTo>
                  <a:pt x="471" y="1327"/>
                </a:moveTo>
                <a:lnTo>
                  <a:pt x="472" y="1328"/>
                </a:lnTo>
                <a:lnTo>
                  <a:pt x="471" y="1328"/>
                </a:lnTo>
                <a:lnTo>
                  <a:pt x="472" y="1328"/>
                </a:lnTo>
                <a:lnTo>
                  <a:pt x="472" y="1327"/>
                </a:lnTo>
                <a:lnTo>
                  <a:pt x="469" y="1327"/>
                </a:lnTo>
                <a:lnTo>
                  <a:pt x="467" y="1327"/>
                </a:lnTo>
                <a:lnTo>
                  <a:pt x="467" y="1328"/>
                </a:lnTo>
                <a:lnTo>
                  <a:pt x="469" y="1330"/>
                </a:lnTo>
                <a:lnTo>
                  <a:pt x="471" y="1327"/>
                </a:lnTo>
                <a:close/>
                <a:moveTo>
                  <a:pt x="464" y="1327"/>
                </a:moveTo>
                <a:lnTo>
                  <a:pt x="465" y="1327"/>
                </a:lnTo>
                <a:lnTo>
                  <a:pt x="464" y="1327"/>
                </a:lnTo>
                <a:close/>
                <a:moveTo>
                  <a:pt x="488" y="1327"/>
                </a:moveTo>
                <a:lnTo>
                  <a:pt x="489" y="1327"/>
                </a:lnTo>
                <a:lnTo>
                  <a:pt x="489" y="1328"/>
                </a:lnTo>
                <a:lnTo>
                  <a:pt x="488" y="1328"/>
                </a:lnTo>
                <a:lnTo>
                  <a:pt x="488" y="1327"/>
                </a:lnTo>
                <a:close/>
                <a:moveTo>
                  <a:pt x="454" y="1330"/>
                </a:moveTo>
                <a:lnTo>
                  <a:pt x="450" y="1328"/>
                </a:lnTo>
                <a:lnTo>
                  <a:pt x="448" y="1330"/>
                </a:lnTo>
                <a:lnTo>
                  <a:pt x="454" y="1330"/>
                </a:lnTo>
                <a:close/>
                <a:moveTo>
                  <a:pt x="464" y="1334"/>
                </a:moveTo>
                <a:lnTo>
                  <a:pt x="465" y="1332"/>
                </a:lnTo>
                <a:lnTo>
                  <a:pt x="465" y="1330"/>
                </a:lnTo>
                <a:lnTo>
                  <a:pt x="464" y="1328"/>
                </a:lnTo>
                <a:lnTo>
                  <a:pt x="464" y="1330"/>
                </a:lnTo>
                <a:lnTo>
                  <a:pt x="464" y="1328"/>
                </a:lnTo>
                <a:lnTo>
                  <a:pt x="462" y="1328"/>
                </a:lnTo>
                <a:lnTo>
                  <a:pt x="462" y="1330"/>
                </a:lnTo>
                <a:lnTo>
                  <a:pt x="460" y="1330"/>
                </a:lnTo>
                <a:lnTo>
                  <a:pt x="459" y="1332"/>
                </a:lnTo>
                <a:lnTo>
                  <a:pt x="460" y="1334"/>
                </a:lnTo>
                <a:lnTo>
                  <a:pt x="464" y="1334"/>
                </a:lnTo>
                <a:close/>
                <a:moveTo>
                  <a:pt x="482" y="1334"/>
                </a:moveTo>
                <a:lnTo>
                  <a:pt x="482" y="1332"/>
                </a:lnTo>
                <a:lnTo>
                  <a:pt x="481" y="1332"/>
                </a:lnTo>
                <a:lnTo>
                  <a:pt x="482" y="1332"/>
                </a:lnTo>
                <a:lnTo>
                  <a:pt x="481" y="1330"/>
                </a:lnTo>
                <a:lnTo>
                  <a:pt x="482" y="1330"/>
                </a:lnTo>
                <a:lnTo>
                  <a:pt x="482" y="1328"/>
                </a:lnTo>
                <a:lnTo>
                  <a:pt x="481" y="1328"/>
                </a:lnTo>
                <a:lnTo>
                  <a:pt x="479" y="1334"/>
                </a:lnTo>
                <a:lnTo>
                  <a:pt x="481" y="1334"/>
                </a:lnTo>
                <a:lnTo>
                  <a:pt x="482" y="1334"/>
                </a:lnTo>
                <a:close/>
                <a:moveTo>
                  <a:pt x="488" y="1335"/>
                </a:moveTo>
                <a:lnTo>
                  <a:pt x="488" y="1334"/>
                </a:lnTo>
                <a:lnTo>
                  <a:pt x="488" y="1332"/>
                </a:lnTo>
                <a:lnTo>
                  <a:pt x="489" y="1334"/>
                </a:lnTo>
                <a:lnTo>
                  <a:pt x="489" y="1332"/>
                </a:lnTo>
                <a:lnTo>
                  <a:pt x="491" y="1332"/>
                </a:lnTo>
                <a:lnTo>
                  <a:pt x="491" y="1328"/>
                </a:lnTo>
                <a:lnTo>
                  <a:pt x="488" y="1328"/>
                </a:lnTo>
                <a:lnTo>
                  <a:pt x="488" y="1330"/>
                </a:lnTo>
                <a:lnTo>
                  <a:pt x="486" y="1330"/>
                </a:lnTo>
                <a:lnTo>
                  <a:pt x="486" y="1332"/>
                </a:lnTo>
                <a:lnTo>
                  <a:pt x="484" y="1332"/>
                </a:lnTo>
                <a:lnTo>
                  <a:pt x="486" y="1334"/>
                </a:lnTo>
                <a:lnTo>
                  <a:pt x="484" y="1334"/>
                </a:lnTo>
                <a:lnTo>
                  <a:pt x="486" y="1335"/>
                </a:lnTo>
                <a:lnTo>
                  <a:pt x="488" y="1335"/>
                </a:lnTo>
                <a:close/>
                <a:moveTo>
                  <a:pt x="454" y="1328"/>
                </a:moveTo>
                <a:lnTo>
                  <a:pt x="455" y="1328"/>
                </a:lnTo>
                <a:lnTo>
                  <a:pt x="455" y="1330"/>
                </a:lnTo>
                <a:lnTo>
                  <a:pt x="454" y="1330"/>
                </a:lnTo>
                <a:lnTo>
                  <a:pt x="454" y="1328"/>
                </a:lnTo>
                <a:close/>
                <a:moveTo>
                  <a:pt x="488" y="1328"/>
                </a:moveTo>
                <a:lnTo>
                  <a:pt x="488" y="1330"/>
                </a:lnTo>
                <a:lnTo>
                  <a:pt x="488" y="1328"/>
                </a:lnTo>
                <a:close/>
                <a:moveTo>
                  <a:pt x="505" y="1332"/>
                </a:moveTo>
                <a:lnTo>
                  <a:pt x="508" y="1332"/>
                </a:lnTo>
                <a:lnTo>
                  <a:pt x="508" y="1330"/>
                </a:lnTo>
                <a:lnTo>
                  <a:pt x="506" y="1330"/>
                </a:lnTo>
                <a:lnTo>
                  <a:pt x="505" y="1332"/>
                </a:lnTo>
                <a:lnTo>
                  <a:pt x="503" y="1332"/>
                </a:lnTo>
                <a:lnTo>
                  <a:pt x="505" y="1332"/>
                </a:lnTo>
                <a:close/>
                <a:moveTo>
                  <a:pt x="3675" y="1332"/>
                </a:moveTo>
                <a:lnTo>
                  <a:pt x="3677" y="1332"/>
                </a:lnTo>
                <a:lnTo>
                  <a:pt x="3677" y="1334"/>
                </a:lnTo>
                <a:lnTo>
                  <a:pt x="3675" y="1334"/>
                </a:lnTo>
                <a:lnTo>
                  <a:pt x="3675" y="1332"/>
                </a:lnTo>
                <a:close/>
                <a:moveTo>
                  <a:pt x="467" y="1342"/>
                </a:moveTo>
                <a:lnTo>
                  <a:pt x="471" y="1342"/>
                </a:lnTo>
                <a:lnTo>
                  <a:pt x="471" y="1340"/>
                </a:lnTo>
                <a:lnTo>
                  <a:pt x="472" y="1340"/>
                </a:lnTo>
                <a:lnTo>
                  <a:pt x="471" y="1339"/>
                </a:lnTo>
                <a:lnTo>
                  <a:pt x="472" y="1339"/>
                </a:lnTo>
                <a:lnTo>
                  <a:pt x="471" y="1337"/>
                </a:lnTo>
                <a:lnTo>
                  <a:pt x="471" y="1335"/>
                </a:lnTo>
                <a:lnTo>
                  <a:pt x="467" y="1334"/>
                </a:lnTo>
                <a:lnTo>
                  <a:pt x="467" y="1335"/>
                </a:lnTo>
                <a:lnTo>
                  <a:pt x="465" y="1335"/>
                </a:lnTo>
                <a:lnTo>
                  <a:pt x="464" y="1339"/>
                </a:lnTo>
                <a:lnTo>
                  <a:pt x="462" y="1339"/>
                </a:lnTo>
                <a:lnTo>
                  <a:pt x="464" y="1337"/>
                </a:lnTo>
                <a:lnTo>
                  <a:pt x="462" y="1339"/>
                </a:lnTo>
                <a:lnTo>
                  <a:pt x="460" y="1340"/>
                </a:lnTo>
                <a:lnTo>
                  <a:pt x="465" y="1342"/>
                </a:lnTo>
                <a:lnTo>
                  <a:pt x="467" y="1342"/>
                </a:lnTo>
                <a:close/>
                <a:moveTo>
                  <a:pt x="474" y="1340"/>
                </a:moveTo>
                <a:lnTo>
                  <a:pt x="476" y="1339"/>
                </a:lnTo>
                <a:lnTo>
                  <a:pt x="474" y="1335"/>
                </a:lnTo>
                <a:lnTo>
                  <a:pt x="474" y="1334"/>
                </a:lnTo>
                <a:lnTo>
                  <a:pt x="472" y="1335"/>
                </a:lnTo>
                <a:lnTo>
                  <a:pt x="472" y="1334"/>
                </a:lnTo>
                <a:lnTo>
                  <a:pt x="471" y="1337"/>
                </a:lnTo>
                <a:lnTo>
                  <a:pt x="472" y="1339"/>
                </a:lnTo>
                <a:lnTo>
                  <a:pt x="472" y="1337"/>
                </a:lnTo>
                <a:lnTo>
                  <a:pt x="472" y="1339"/>
                </a:lnTo>
                <a:lnTo>
                  <a:pt x="472" y="1340"/>
                </a:lnTo>
                <a:lnTo>
                  <a:pt x="474" y="1340"/>
                </a:lnTo>
                <a:close/>
                <a:moveTo>
                  <a:pt x="479" y="1340"/>
                </a:moveTo>
                <a:lnTo>
                  <a:pt x="479" y="1335"/>
                </a:lnTo>
                <a:lnTo>
                  <a:pt x="476" y="1334"/>
                </a:lnTo>
                <a:lnTo>
                  <a:pt x="476" y="1335"/>
                </a:lnTo>
                <a:lnTo>
                  <a:pt x="474" y="1335"/>
                </a:lnTo>
                <a:lnTo>
                  <a:pt x="476" y="1337"/>
                </a:lnTo>
                <a:lnTo>
                  <a:pt x="477" y="1337"/>
                </a:lnTo>
                <a:lnTo>
                  <a:pt x="474" y="1340"/>
                </a:lnTo>
                <a:lnTo>
                  <a:pt x="477" y="1339"/>
                </a:lnTo>
                <a:lnTo>
                  <a:pt x="474" y="1342"/>
                </a:lnTo>
                <a:lnTo>
                  <a:pt x="479" y="1342"/>
                </a:lnTo>
                <a:lnTo>
                  <a:pt x="479" y="1340"/>
                </a:lnTo>
                <a:close/>
                <a:moveTo>
                  <a:pt x="513" y="1337"/>
                </a:moveTo>
                <a:lnTo>
                  <a:pt x="515" y="1337"/>
                </a:lnTo>
                <a:lnTo>
                  <a:pt x="513" y="1337"/>
                </a:lnTo>
                <a:close/>
                <a:moveTo>
                  <a:pt x="491" y="1342"/>
                </a:moveTo>
                <a:lnTo>
                  <a:pt x="493" y="1342"/>
                </a:lnTo>
                <a:lnTo>
                  <a:pt x="491" y="1342"/>
                </a:lnTo>
                <a:close/>
                <a:moveTo>
                  <a:pt x="476" y="1342"/>
                </a:moveTo>
                <a:lnTo>
                  <a:pt x="472" y="1342"/>
                </a:lnTo>
                <a:lnTo>
                  <a:pt x="476" y="1342"/>
                </a:lnTo>
                <a:close/>
                <a:moveTo>
                  <a:pt x="488" y="1342"/>
                </a:moveTo>
                <a:lnTo>
                  <a:pt x="489" y="1342"/>
                </a:lnTo>
                <a:lnTo>
                  <a:pt x="489" y="1344"/>
                </a:lnTo>
                <a:lnTo>
                  <a:pt x="488" y="1344"/>
                </a:lnTo>
                <a:lnTo>
                  <a:pt x="488" y="1342"/>
                </a:lnTo>
                <a:close/>
                <a:moveTo>
                  <a:pt x="533" y="1344"/>
                </a:moveTo>
                <a:lnTo>
                  <a:pt x="535" y="1344"/>
                </a:lnTo>
                <a:lnTo>
                  <a:pt x="535" y="1345"/>
                </a:lnTo>
                <a:lnTo>
                  <a:pt x="533" y="1345"/>
                </a:lnTo>
                <a:lnTo>
                  <a:pt x="533" y="1344"/>
                </a:lnTo>
                <a:close/>
                <a:moveTo>
                  <a:pt x="489" y="1344"/>
                </a:moveTo>
                <a:lnTo>
                  <a:pt x="491" y="1344"/>
                </a:lnTo>
                <a:lnTo>
                  <a:pt x="491" y="1345"/>
                </a:lnTo>
                <a:lnTo>
                  <a:pt x="489" y="1345"/>
                </a:lnTo>
                <a:lnTo>
                  <a:pt x="489" y="1344"/>
                </a:lnTo>
                <a:close/>
                <a:moveTo>
                  <a:pt x="527" y="1354"/>
                </a:moveTo>
                <a:lnTo>
                  <a:pt x="525" y="1352"/>
                </a:lnTo>
                <a:lnTo>
                  <a:pt x="523" y="1352"/>
                </a:lnTo>
                <a:lnTo>
                  <a:pt x="525" y="1352"/>
                </a:lnTo>
                <a:lnTo>
                  <a:pt x="527" y="1352"/>
                </a:lnTo>
                <a:lnTo>
                  <a:pt x="525" y="1351"/>
                </a:lnTo>
                <a:lnTo>
                  <a:pt x="527" y="1351"/>
                </a:lnTo>
                <a:lnTo>
                  <a:pt x="530" y="1347"/>
                </a:lnTo>
                <a:lnTo>
                  <a:pt x="527" y="1345"/>
                </a:lnTo>
                <a:lnTo>
                  <a:pt x="523" y="1347"/>
                </a:lnTo>
                <a:lnTo>
                  <a:pt x="520" y="1351"/>
                </a:lnTo>
                <a:lnTo>
                  <a:pt x="523" y="1356"/>
                </a:lnTo>
                <a:lnTo>
                  <a:pt x="527" y="1356"/>
                </a:lnTo>
                <a:lnTo>
                  <a:pt x="527" y="1354"/>
                </a:lnTo>
                <a:close/>
                <a:moveTo>
                  <a:pt x="528" y="1345"/>
                </a:moveTo>
                <a:lnTo>
                  <a:pt x="530" y="1345"/>
                </a:lnTo>
                <a:lnTo>
                  <a:pt x="530" y="1347"/>
                </a:lnTo>
                <a:lnTo>
                  <a:pt x="528" y="1347"/>
                </a:lnTo>
                <a:lnTo>
                  <a:pt x="528" y="1345"/>
                </a:lnTo>
                <a:close/>
                <a:moveTo>
                  <a:pt x="530" y="1347"/>
                </a:moveTo>
                <a:lnTo>
                  <a:pt x="532" y="1347"/>
                </a:lnTo>
                <a:lnTo>
                  <a:pt x="532" y="1349"/>
                </a:lnTo>
                <a:lnTo>
                  <a:pt x="530" y="1349"/>
                </a:lnTo>
                <a:lnTo>
                  <a:pt x="530" y="1347"/>
                </a:lnTo>
                <a:close/>
                <a:moveTo>
                  <a:pt x="530" y="1354"/>
                </a:moveTo>
                <a:lnTo>
                  <a:pt x="530" y="1352"/>
                </a:lnTo>
                <a:lnTo>
                  <a:pt x="530" y="1351"/>
                </a:lnTo>
                <a:lnTo>
                  <a:pt x="530" y="1349"/>
                </a:lnTo>
                <a:lnTo>
                  <a:pt x="527" y="1351"/>
                </a:lnTo>
                <a:lnTo>
                  <a:pt x="528" y="1354"/>
                </a:lnTo>
                <a:lnTo>
                  <a:pt x="530" y="1354"/>
                </a:lnTo>
                <a:close/>
                <a:moveTo>
                  <a:pt x="530" y="1349"/>
                </a:moveTo>
                <a:lnTo>
                  <a:pt x="530" y="1352"/>
                </a:lnTo>
                <a:lnTo>
                  <a:pt x="530" y="1349"/>
                </a:lnTo>
                <a:close/>
                <a:moveTo>
                  <a:pt x="544" y="1361"/>
                </a:moveTo>
                <a:lnTo>
                  <a:pt x="545" y="1354"/>
                </a:lnTo>
                <a:lnTo>
                  <a:pt x="544" y="1354"/>
                </a:lnTo>
                <a:lnTo>
                  <a:pt x="542" y="1354"/>
                </a:lnTo>
                <a:lnTo>
                  <a:pt x="540" y="1356"/>
                </a:lnTo>
                <a:lnTo>
                  <a:pt x="539" y="1359"/>
                </a:lnTo>
                <a:lnTo>
                  <a:pt x="539" y="1361"/>
                </a:lnTo>
                <a:lnTo>
                  <a:pt x="540" y="1359"/>
                </a:lnTo>
                <a:lnTo>
                  <a:pt x="539" y="1361"/>
                </a:lnTo>
                <a:lnTo>
                  <a:pt x="540" y="1362"/>
                </a:lnTo>
                <a:lnTo>
                  <a:pt x="544" y="1361"/>
                </a:lnTo>
                <a:close/>
                <a:moveTo>
                  <a:pt x="567" y="1385"/>
                </a:moveTo>
                <a:lnTo>
                  <a:pt x="571" y="1385"/>
                </a:lnTo>
                <a:lnTo>
                  <a:pt x="571" y="1388"/>
                </a:lnTo>
                <a:lnTo>
                  <a:pt x="567" y="1388"/>
                </a:lnTo>
                <a:lnTo>
                  <a:pt x="567" y="1385"/>
                </a:lnTo>
                <a:close/>
                <a:moveTo>
                  <a:pt x="571" y="1391"/>
                </a:moveTo>
                <a:lnTo>
                  <a:pt x="571" y="1390"/>
                </a:lnTo>
                <a:lnTo>
                  <a:pt x="571" y="1391"/>
                </a:lnTo>
                <a:lnTo>
                  <a:pt x="571" y="1386"/>
                </a:lnTo>
                <a:lnTo>
                  <a:pt x="571" y="1388"/>
                </a:lnTo>
                <a:lnTo>
                  <a:pt x="569" y="1388"/>
                </a:lnTo>
                <a:lnTo>
                  <a:pt x="569" y="1386"/>
                </a:lnTo>
                <a:lnTo>
                  <a:pt x="566" y="1390"/>
                </a:lnTo>
                <a:lnTo>
                  <a:pt x="567" y="1390"/>
                </a:lnTo>
                <a:lnTo>
                  <a:pt x="566" y="1390"/>
                </a:lnTo>
                <a:lnTo>
                  <a:pt x="567" y="1391"/>
                </a:lnTo>
                <a:lnTo>
                  <a:pt x="571" y="1391"/>
                </a:lnTo>
                <a:close/>
                <a:moveTo>
                  <a:pt x="571" y="1388"/>
                </a:moveTo>
                <a:lnTo>
                  <a:pt x="573" y="1388"/>
                </a:lnTo>
                <a:lnTo>
                  <a:pt x="573" y="1390"/>
                </a:lnTo>
                <a:lnTo>
                  <a:pt x="571" y="1390"/>
                </a:lnTo>
                <a:lnTo>
                  <a:pt x="571" y="1388"/>
                </a:lnTo>
                <a:close/>
                <a:moveTo>
                  <a:pt x="574" y="1393"/>
                </a:moveTo>
                <a:lnTo>
                  <a:pt x="574" y="1391"/>
                </a:lnTo>
                <a:lnTo>
                  <a:pt x="574" y="1393"/>
                </a:lnTo>
                <a:lnTo>
                  <a:pt x="574" y="1391"/>
                </a:lnTo>
                <a:lnTo>
                  <a:pt x="573" y="1391"/>
                </a:lnTo>
                <a:lnTo>
                  <a:pt x="571" y="1393"/>
                </a:lnTo>
                <a:lnTo>
                  <a:pt x="574" y="1395"/>
                </a:lnTo>
                <a:lnTo>
                  <a:pt x="574" y="1393"/>
                </a:lnTo>
                <a:close/>
                <a:moveTo>
                  <a:pt x="591" y="1398"/>
                </a:moveTo>
                <a:lnTo>
                  <a:pt x="591" y="1400"/>
                </a:lnTo>
                <a:lnTo>
                  <a:pt x="591" y="1398"/>
                </a:lnTo>
                <a:close/>
                <a:moveTo>
                  <a:pt x="586" y="1405"/>
                </a:moveTo>
                <a:lnTo>
                  <a:pt x="590" y="1402"/>
                </a:lnTo>
                <a:lnTo>
                  <a:pt x="584" y="1403"/>
                </a:lnTo>
                <a:lnTo>
                  <a:pt x="584" y="1405"/>
                </a:lnTo>
                <a:lnTo>
                  <a:pt x="586" y="1405"/>
                </a:lnTo>
                <a:close/>
                <a:moveTo>
                  <a:pt x="593" y="1405"/>
                </a:moveTo>
                <a:lnTo>
                  <a:pt x="591" y="1403"/>
                </a:lnTo>
                <a:lnTo>
                  <a:pt x="591" y="1405"/>
                </a:lnTo>
                <a:lnTo>
                  <a:pt x="591" y="1403"/>
                </a:lnTo>
                <a:lnTo>
                  <a:pt x="590" y="1405"/>
                </a:lnTo>
                <a:lnTo>
                  <a:pt x="590" y="1403"/>
                </a:lnTo>
                <a:lnTo>
                  <a:pt x="588" y="1403"/>
                </a:lnTo>
                <a:lnTo>
                  <a:pt x="588" y="1405"/>
                </a:lnTo>
                <a:lnTo>
                  <a:pt x="588" y="1407"/>
                </a:lnTo>
                <a:lnTo>
                  <a:pt x="590" y="1408"/>
                </a:lnTo>
                <a:lnTo>
                  <a:pt x="593" y="1405"/>
                </a:lnTo>
                <a:close/>
                <a:moveTo>
                  <a:pt x="583" y="1419"/>
                </a:moveTo>
                <a:lnTo>
                  <a:pt x="586" y="1419"/>
                </a:lnTo>
                <a:lnTo>
                  <a:pt x="586" y="1422"/>
                </a:lnTo>
                <a:lnTo>
                  <a:pt x="583" y="1422"/>
                </a:lnTo>
                <a:lnTo>
                  <a:pt x="583" y="1419"/>
                </a:lnTo>
                <a:close/>
                <a:moveTo>
                  <a:pt x="586" y="1420"/>
                </a:moveTo>
                <a:lnTo>
                  <a:pt x="588" y="1420"/>
                </a:lnTo>
                <a:lnTo>
                  <a:pt x="588" y="1424"/>
                </a:lnTo>
                <a:lnTo>
                  <a:pt x="586" y="1424"/>
                </a:lnTo>
                <a:lnTo>
                  <a:pt x="586" y="1420"/>
                </a:lnTo>
                <a:close/>
                <a:moveTo>
                  <a:pt x="584" y="1422"/>
                </a:moveTo>
                <a:lnTo>
                  <a:pt x="586" y="1422"/>
                </a:lnTo>
                <a:lnTo>
                  <a:pt x="584" y="1422"/>
                </a:lnTo>
                <a:close/>
                <a:moveTo>
                  <a:pt x="603" y="1432"/>
                </a:moveTo>
                <a:lnTo>
                  <a:pt x="605" y="1432"/>
                </a:lnTo>
                <a:lnTo>
                  <a:pt x="603" y="1432"/>
                </a:lnTo>
                <a:close/>
                <a:moveTo>
                  <a:pt x="618" y="1449"/>
                </a:moveTo>
                <a:lnTo>
                  <a:pt x="620" y="1449"/>
                </a:lnTo>
                <a:lnTo>
                  <a:pt x="620" y="1451"/>
                </a:lnTo>
                <a:lnTo>
                  <a:pt x="618" y="1451"/>
                </a:lnTo>
                <a:lnTo>
                  <a:pt x="618" y="1449"/>
                </a:lnTo>
                <a:close/>
                <a:moveTo>
                  <a:pt x="613" y="1449"/>
                </a:moveTo>
                <a:lnTo>
                  <a:pt x="615" y="1449"/>
                </a:lnTo>
                <a:lnTo>
                  <a:pt x="615" y="1451"/>
                </a:lnTo>
                <a:lnTo>
                  <a:pt x="613" y="1451"/>
                </a:lnTo>
                <a:lnTo>
                  <a:pt x="613" y="1449"/>
                </a:lnTo>
                <a:close/>
                <a:moveTo>
                  <a:pt x="617" y="1451"/>
                </a:moveTo>
                <a:lnTo>
                  <a:pt x="618" y="1451"/>
                </a:lnTo>
                <a:lnTo>
                  <a:pt x="618" y="1453"/>
                </a:lnTo>
                <a:lnTo>
                  <a:pt x="617" y="1453"/>
                </a:lnTo>
                <a:lnTo>
                  <a:pt x="617" y="1451"/>
                </a:lnTo>
                <a:close/>
                <a:moveTo>
                  <a:pt x="620" y="1453"/>
                </a:moveTo>
                <a:lnTo>
                  <a:pt x="620" y="1454"/>
                </a:lnTo>
                <a:lnTo>
                  <a:pt x="620" y="1453"/>
                </a:lnTo>
                <a:close/>
                <a:moveTo>
                  <a:pt x="620" y="1453"/>
                </a:moveTo>
                <a:lnTo>
                  <a:pt x="622" y="1453"/>
                </a:lnTo>
                <a:lnTo>
                  <a:pt x="622" y="1454"/>
                </a:lnTo>
                <a:lnTo>
                  <a:pt x="620" y="1454"/>
                </a:lnTo>
                <a:lnTo>
                  <a:pt x="620" y="1453"/>
                </a:lnTo>
                <a:close/>
                <a:moveTo>
                  <a:pt x="618" y="1466"/>
                </a:moveTo>
                <a:lnTo>
                  <a:pt x="620" y="1466"/>
                </a:lnTo>
                <a:lnTo>
                  <a:pt x="620" y="1468"/>
                </a:lnTo>
                <a:lnTo>
                  <a:pt x="618" y="1468"/>
                </a:lnTo>
                <a:lnTo>
                  <a:pt x="618" y="1466"/>
                </a:lnTo>
                <a:close/>
                <a:moveTo>
                  <a:pt x="625" y="1466"/>
                </a:moveTo>
                <a:lnTo>
                  <a:pt x="627" y="1466"/>
                </a:lnTo>
                <a:lnTo>
                  <a:pt x="627" y="1468"/>
                </a:lnTo>
                <a:lnTo>
                  <a:pt x="625" y="1468"/>
                </a:lnTo>
                <a:lnTo>
                  <a:pt x="625" y="1466"/>
                </a:lnTo>
                <a:close/>
                <a:moveTo>
                  <a:pt x="622" y="1468"/>
                </a:moveTo>
                <a:lnTo>
                  <a:pt x="622" y="1470"/>
                </a:lnTo>
                <a:lnTo>
                  <a:pt x="622" y="1468"/>
                </a:lnTo>
                <a:close/>
                <a:moveTo>
                  <a:pt x="627" y="1468"/>
                </a:moveTo>
                <a:lnTo>
                  <a:pt x="629" y="1468"/>
                </a:lnTo>
                <a:lnTo>
                  <a:pt x="629" y="1470"/>
                </a:lnTo>
                <a:lnTo>
                  <a:pt x="627" y="1470"/>
                </a:lnTo>
                <a:lnTo>
                  <a:pt x="627" y="1468"/>
                </a:lnTo>
                <a:close/>
                <a:moveTo>
                  <a:pt x="613" y="1488"/>
                </a:moveTo>
                <a:lnTo>
                  <a:pt x="617" y="1488"/>
                </a:lnTo>
                <a:lnTo>
                  <a:pt x="617" y="1492"/>
                </a:lnTo>
                <a:lnTo>
                  <a:pt x="613" y="1492"/>
                </a:lnTo>
                <a:lnTo>
                  <a:pt x="613" y="1488"/>
                </a:lnTo>
                <a:close/>
                <a:moveTo>
                  <a:pt x="649" y="1510"/>
                </a:moveTo>
                <a:lnTo>
                  <a:pt x="651" y="1510"/>
                </a:lnTo>
                <a:lnTo>
                  <a:pt x="651" y="1512"/>
                </a:lnTo>
                <a:lnTo>
                  <a:pt x="649" y="1512"/>
                </a:lnTo>
                <a:lnTo>
                  <a:pt x="649" y="1510"/>
                </a:lnTo>
                <a:close/>
                <a:moveTo>
                  <a:pt x="622" y="1514"/>
                </a:moveTo>
                <a:lnTo>
                  <a:pt x="624" y="1514"/>
                </a:lnTo>
                <a:lnTo>
                  <a:pt x="624" y="1516"/>
                </a:lnTo>
                <a:lnTo>
                  <a:pt x="622" y="1516"/>
                </a:lnTo>
                <a:lnTo>
                  <a:pt x="622" y="1514"/>
                </a:lnTo>
                <a:close/>
                <a:moveTo>
                  <a:pt x="647" y="1514"/>
                </a:moveTo>
                <a:lnTo>
                  <a:pt x="649" y="1514"/>
                </a:lnTo>
                <a:lnTo>
                  <a:pt x="649" y="1516"/>
                </a:lnTo>
                <a:lnTo>
                  <a:pt x="647" y="1516"/>
                </a:lnTo>
                <a:lnTo>
                  <a:pt x="647" y="1514"/>
                </a:lnTo>
                <a:close/>
                <a:moveTo>
                  <a:pt x="649" y="1527"/>
                </a:moveTo>
                <a:lnTo>
                  <a:pt x="649" y="1522"/>
                </a:lnTo>
                <a:lnTo>
                  <a:pt x="651" y="1522"/>
                </a:lnTo>
                <a:lnTo>
                  <a:pt x="651" y="1519"/>
                </a:lnTo>
                <a:lnTo>
                  <a:pt x="647" y="1519"/>
                </a:lnTo>
                <a:lnTo>
                  <a:pt x="646" y="1517"/>
                </a:lnTo>
                <a:lnTo>
                  <a:pt x="646" y="1516"/>
                </a:lnTo>
                <a:lnTo>
                  <a:pt x="647" y="1516"/>
                </a:lnTo>
                <a:lnTo>
                  <a:pt x="646" y="1514"/>
                </a:lnTo>
                <a:lnTo>
                  <a:pt x="641" y="1514"/>
                </a:lnTo>
                <a:lnTo>
                  <a:pt x="639" y="1516"/>
                </a:lnTo>
                <a:lnTo>
                  <a:pt x="635" y="1516"/>
                </a:lnTo>
                <a:lnTo>
                  <a:pt x="634" y="1516"/>
                </a:lnTo>
                <a:lnTo>
                  <a:pt x="632" y="1516"/>
                </a:lnTo>
                <a:lnTo>
                  <a:pt x="630" y="1517"/>
                </a:lnTo>
                <a:lnTo>
                  <a:pt x="627" y="1517"/>
                </a:lnTo>
                <a:lnTo>
                  <a:pt x="644" y="1522"/>
                </a:lnTo>
                <a:lnTo>
                  <a:pt x="647" y="1524"/>
                </a:lnTo>
                <a:lnTo>
                  <a:pt x="647" y="1527"/>
                </a:lnTo>
                <a:lnTo>
                  <a:pt x="649" y="1527"/>
                </a:lnTo>
                <a:close/>
                <a:moveTo>
                  <a:pt x="651" y="1516"/>
                </a:moveTo>
                <a:lnTo>
                  <a:pt x="652" y="1516"/>
                </a:lnTo>
                <a:lnTo>
                  <a:pt x="651" y="1516"/>
                </a:lnTo>
                <a:close/>
                <a:moveTo>
                  <a:pt x="649" y="1519"/>
                </a:moveTo>
                <a:lnTo>
                  <a:pt x="651" y="1519"/>
                </a:lnTo>
                <a:lnTo>
                  <a:pt x="651" y="1517"/>
                </a:lnTo>
                <a:lnTo>
                  <a:pt x="647" y="1516"/>
                </a:lnTo>
                <a:lnTo>
                  <a:pt x="646" y="1517"/>
                </a:lnTo>
                <a:lnTo>
                  <a:pt x="647" y="1519"/>
                </a:lnTo>
                <a:lnTo>
                  <a:pt x="649" y="1519"/>
                </a:lnTo>
                <a:close/>
                <a:moveTo>
                  <a:pt x="625" y="1517"/>
                </a:moveTo>
                <a:lnTo>
                  <a:pt x="627" y="1517"/>
                </a:lnTo>
                <a:lnTo>
                  <a:pt x="625" y="1517"/>
                </a:lnTo>
                <a:close/>
                <a:moveTo>
                  <a:pt x="652" y="1519"/>
                </a:moveTo>
                <a:lnTo>
                  <a:pt x="652" y="1521"/>
                </a:lnTo>
                <a:lnTo>
                  <a:pt x="652" y="1519"/>
                </a:lnTo>
                <a:close/>
                <a:moveTo>
                  <a:pt x="651" y="1524"/>
                </a:moveTo>
                <a:lnTo>
                  <a:pt x="652" y="1524"/>
                </a:lnTo>
                <a:lnTo>
                  <a:pt x="652" y="1526"/>
                </a:lnTo>
                <a:lnTo>
                  <a:pt x="651" y="1526"/>
                </a:lnTo>
                <a:lnTo>
                  <a:pt x="651" y="1524"/>
                </a:lnTo>
                <a:close/>
                <a:moveTo>
                  <a:pt x="654" y="1526"/>
                </a:moveTo>
                <a:lnTo>
                  <a:pt x="658" y="1526"/>
                </a:lnTo>
                <a:lnTo>
                  <a:pt x="658" y="1527"/>
                </a:lnTo>
                <a:lnTo>
                  <a:pt x="654" y="1527"/>
                </a:lnTo>
                <a:lnTo>
                  <a:pt x="654" y="1526"/>
                </a:lnTo>
                <a:close/>
                <a:moveTo>
                  <a:pt x="697" y="1548"/>
                </a:moveTo>
                <a:lnTo>
                  <a:pt x="698" y="1548"/>
                </a:lnTo>
                <a:lnTo>
                  <a:pt x="697" y="1548"/>
                </a:lnTo>
                <a:close/>
                <a:moveTo>
                  <a:pt x="1562" y="1628"/>
                </a:moveTo>
                <a:lnTo>
                  <a:pt x="1564" y="1628"/>
                </a:lnTo>
                <a:lnTo>
                  <a:pt x="1562" y="1628"/>
                </a:lnTo>
                <a:close/>
                <a:moveTo>
                  <a:pt x="1562" y="1628"/>
                </a:moveTo>
                <a:lnTo>
                  <a:pt x="1564" y="1628"/>
                </a:lnTo>
                <a:lnTo>
                  <a:pt x="1564" y="1630"/>
                </a:lnTo>
                <a:lnTo>
                  <a:pt x="1562" y="1630"/>
                </a:lnTo>
                <a:lnTo>
                  <a:pt x="1562" y="1628"/>
                </a:lnTo>
                <a:close/>
                <a:moveTo>
                  <a:pt x="1560" y="1630"/>
                </a:moveTo>
                <a:lnTo>
                  <a:pt x="1564" y="1630"/>
                </a:lnTo>
                <a:lnTo>
                  <a:pt x="1560" y="1630"/>
                </a:lnTo>
                <a:close/>
                <a:moveTo>
                  <a:pt x="1695" y="1643"/>
                </a:moveTo>
                <a:lnTo>
                  <a:pt x="1695" y="1645"/>
                </a:lnTo>
                <a:lnTo>
                  <a:pt x="1696" y="1647"/>
                </a:lnTo>
                <a:lnTo>
                  <a:pt x="1695" y="1643"/>
                </a:lnTo>
                <a:close/>
                <a:moveTo>
                  <a:pt x="1701" y="1652"/>
                </a:moveTo>
                <a:lnTo>
                  <a:pt x="1698" y="1650"/>
                </a:lnTo>
                <a:lnTo>
                  <a:pt x="1696" y="1648"/>
                </a:lnTo>
                <a:lnTo>
                  <a:pt x="1696" y="1647"/>
                </a:lnTo>
                <a:lnTo>
                  <a:pt x="1695" y="1645"/>
                </a:lnTo>
                <a:lnTo>
                  <a:pt x="1696" y="1650"/>
                </a:lnTo>
                <a:lnTo>
                  <a:pt x="1698" y="1652"/>
                </a:lnTo>
                <a:lnTo>
                  <a:pt x="1698" y="1650"/>
                </a:lnTo>
                <a:lnTo>
                  <a:pt x="1698" y="1652"/>
                </a:lnTo>
                <a:lnTo>
                  <a:pt x="1700" y="1653"/>
                </a:lnTo>
                <a:lnTo>
                  <a:pt x="1701" y="1655"/>
                </a:lnTo>
                <a:lnTo>
                  <a:pt x="1703" y="1657"/>
                </a:lnTo>
                <a:lnTo>
                  <a:pt x="1701" y="1652"/>
                </a:lnTo>
                <a:close/>
                <a:moveTo>
                  <a:pt x="1701" y="1650"/>
                </a:moveTo>
                <a:lnTo>
                  <a:pt x="1700" y="1648"/>
                </a:lnTo>
                <a:lnTo>
                  <a:pt x="1698" y="1647"/>
                </a:lnTo>
                <a:lnTo>
                  <a:pt x="1696" y="1645"/>
                </a:lnTo>
                <a:lnTo>
                  <a:pt x="1696" y="1647"/>
                </a:lnTo>
                <a:lnTo>
                  <a:pt x="1696" y="1648"/>
                </a:lnTo>
                <a:lnTo>
                  <a:pt x="1701" y="1652"/>
                </a:lnTo>
                <a:lnTo>
                  <a:pt x="1701" y="1650"/>
                </a:lnTo>
                <a:close/>
                <a:moveTo>
                  <a:pt x="1700" y="1650"/>
                </a:moveTo>
                <a:lnTo>
                  <a:pt x="1700" y="1652"/>
                </a:lnTo>
                <a:lnTo>
                  <a:pt x="1700" y="1650"/>
                </a:lnTo>
                <a:close/>
                <a:moveTo>
                  <a:pt x="1698" y="1652"/>
                </a:moveTo>
                <a:lnTo>
                  <a:pt x="1700" y="1652"/>
                </a:lnTo>
                <a:lnTo>
                  <a:pt x="1700" y="1655"/>
                </a:lnTo>
                <a:lnTo>
                  <a:pt x="1698" y="1655"/>
                </a:lnTo>
                <a:lnTo>
                  <a:pt x="1698" y="1652"/>
                </a:lnTo>
                <a:close/>
                <a:moveTo>
                  <a:pt x="1698" y="1652"/>
                </a:moveTo>
                <a:lnTo>
                  <a:pt x="1698" y="1653"/>
                </a:lnTo>
                <a:lnTo>
                  <a:pt x="1701" y="1657"/>
                </a:lnTo>
                <a:lnTo>
                  <a:pt x="1698" y="1652"/>
                </a:lnTo>
                <a:close/>
                <a:moveTo>
                  <a:pt x="1700" y="1653"/>
                </a:moveTo>
                <a:lnTo>
                  <a:pt x="1700" y="1655"/>
                </a:lnTo>
                <a:lnTo>
                  <a:pt x="1700" y="1653"/>
                </a:lnTo>
                <a:close/>
                <a:moveTo>
                  <a:pt x="1703" y="1655"/>
                </a:moveTo>
                <a:lnTo>
                  <a:pt x="1705" y="1655"/>
                </a:lnTo>
                <a:lnTo>
                  <a:pt x="1705" y="1657"/>
                </a:lnTo>
                <a:lnTo>
                  <a:pt x="1703" y="1657"/>
                </a:lnTo>
                <a:lnTo>
                  <a:pt x="1703" y="1655"/>
                </a:lnTo>
                <a:close/>
                <a:moveTo>
                  <a:pt x="1701" y="1655"/>
                </a:moveTo>
                <a:lnTo>
                  <a:pt x="1703" y="1655"/>
                </a:lnTo>
                <a:lnTo>
                  <a:pt x="1703" y="1657"/>
                </a:lnTo>
                <a:lnTo>
                  <a:pt x="1701" y="1657"/>
                </a:lnTo>
                <a:lnTo>
                  <a:pt x="1701" y="1655"/>
                </a:lnTo>
                <a:close/>
                <a:moveTo>
                  <a:pt x="1703" y="1657"/>
                </a:moveTo>
                <a:lnTo>
                  <a:pt x="1705" y="1657"/>
                </a:lnTo>
                <a:lnTo>
                  <a:pt x="1705" y="1658"/>
                </a:lnTo>
                <a:lnTo>
                  <a:pt x="1703" y="1658"/>
                </a:lnTo>
                <a:lnTo>
                  <a:pt x="1703" y="1657"/>
                </a:lnTo>
                <a:close/>
                <a:moveTo>
                  <a:pt x="1717" y="1657"/>
                </a:moveTo>
                <a:lnTo>
                  <a:pt x="1718" y="1657"/>
                </a:lnTo>
                <a:lnTo>
                  <a:pt x="1718" y="1658"/>
                </a:lnTo>
                <a:lnTo>
                  <a:pt x="1717" y="1658"/>
                </a:lnTo>
                <a:lnTo>
                  <a:pt x="1717" y="1657"/>
                </a:lnTo>
                <a:close/>
                <a:moveTo>
                  <a:pt x="1718" y="1657"/>
                </a:moveTo>
                <a:lnTo>
                  <a:pt x="1718" y="1658"/>
                </a:lnTo>
                <a:lnTo>
                  <a:pt x="1718" y="1657"/>
                </a:lnTo>
                <a:close/>
                <a:moveTo>
                  <a:pt x="1717" y="1658"/>
                </a:moveTo>
                <a:lnTo>
                  <a:pt x="1718" y="1658"/>
                </a:lnTo>
                <a:lnTo>
                  <a:pt x="1718" y="1660"/>
                </a:lnTo>
                <a:lnTo>
                  <a:pt x="1717" y="1660"/>
                </a:lnTo>
                <a:lnTo>
                  <a:pt x="1717" y="1658"/>
                </a:lnTo>
                <a:close/>
                <a:moveTo>
                  <a:pt x="1717" y="1660"/>
                </a:moveTo>
                <a:lnTo>
                  <a:pt x="1717" y="1662"/>
                </a:lnTo>
                <a:lnTo>
                  <a:pt x="1717" y="1660"/>
                </a:lnTo>
                <a:close/>
                <a:moveTo>
                  <a:pt x="1642" y="1660"/>
                </a:moveTo>
                <a:lnTo>
                  <a:pt x="1642" y="1662"/>
                </a:lnTo>
                <a:lnTo>
                  <a:pt x="1642" y="1660"/>
                </a:lnTo>
                <a:close/>
                <a:moveTo>
                  <a:pt x="1720" y="1660"/>
                </a:moveTo>
                <a:lnTo>
                  <a:pt x="1722" y="1660"/>
                </a:lnTo>
                <a:lnTo>
                  <a:pt x="1722" y="1664"/>
                </a:lnTo>
                <a:lnTo>
                  <a:pt x="1720" y="1664"/>
                </a:lnTo>
                <a:lnTo>
                  <a:pt x="1720" y="1660"/>
                </a:lnTo>
                <a:close/>
                <a:moveTo>
                  <a:pt x="1717" y="1662"/>
                </a:moveTo>
                <a:lnTo>
                  <a:pt x="1718" y="1662"/>
                </a:lnTo>
                <a:lnTo>
                  <a:pt x="1718" y="1664"/>
                </a:lnTo>
                <a:lnTo>
                  <a:pt x="1717" y="1664"/>
                </a:lnTo>
                <a:lnTo>
                  <a:pt x="1717" y="1662"/>
                </a:lnTo>
                <a:close/>
                <a:moveTo>
                  <a:pt x="1720" y="1667"/>
                </a:moveTo>
                <a:lnTo>
                  <a:pt x="1720" y="1665"/>
                </a:lnTo>
                <a:lnTo>
                  <a:pt x="1722" y="1664"/>
                </a:lnTo>
                <a:lnTo>
                  <a:pt x="1720" y="1662"/>
                </a:lnTo>
                <a:lnTo>
                  <a:pt x="1720" y="1664"/>
                </a:lnTo>
                <a:lnTo>
                  <a:pt x="1720" y="1662"/>
                </a:lnTo>
                <a:lnTo>
                  <a:pt x="1718" y="1662"/>
                </a:lnTo>
                <a:lnTo>
                  <a:pt x="1718" y="1664"/>
                </a:lnTo>
                <a:lnTo>
                  <a:pt x="1717" y="1664"/>
                </a:lnTo>
                <a:lnTo>
                  <a:pt x="1718" y="1665"/>
                </a:lnTo>
                <a:lnTo>
                  <a:pt x="1718" y="1667"/>
                </a:lnTo>
                <a:lnTo>
                  <a:pt x="1720" y="1667"/>
                </a:lnTo>
                <a:close/>
                <a:moveTo>
                  <a:pt x="1640" y="1662"/>
                </a:moveTo>
                <a:lnTo>
                  <a:pt x="1642" y="1662"/>
                </a:lnTo>
                <a:lnTo>
                  <a:pt x="1642" y="1664"/>
                </a:lnTo>
                <a:lnTo>
                  <a:pt x="1640" y="1664"/>
                </a:lnTo>
                <a:lnTo>
                  <a:pt x="1640" y="1662"/>
                </a:lnTo>
                <a:close/>
                <a:moveTo>
                  <a:pt x="1645" y="1670"/>
                </a:moveTo>
                <a:lnTo>
                  <a:pt x="1644" y="1667"/>
                </a:lnTo>
                <a:lnTo>
                  <a:pt x="1644" y="1665"/>
                </a:lnTo>
                <a:lnTo>
                  <a:pt x="1642" y="1664"/>
                </a:lnTo>
                <a:lnTo>
                  <a:pt x="1640" y="1664"/>
                </a:lnTo>
                <a:lnTo>
                  <a:pt x="1638" y="1664"/>
                </a:lnTo>
                <a:lnTo>
                  <a:pt x="1640" y="1667"/>
                </a:lnTo>
                <a:lnTo>
                  <a:pt x="1642" y="1667"/>
                </a:lnTo>
                <a:lnTo>
                  <a:pt x="1642" y="1670"/>
                </a:lnTo>
                <a:lnTo>
                  <a:pt x="1642" y="1669"/>
                </a:lnTo>
                <a:lnTo>
                  <a:pt x="1644" y="1669"/>
                </a:lnTo>
                <a:lnTo>
                  <a:pt x="1644" y="1670"/>
                </a:lnTo>
                <a:lnTo>
                  <a:pt x="1645" y="1670"/>
                </a:lnTo>
                <a:close/>
                <a:moveTo>
                  <a:pt x="1715" y="1664"/>
                </a:moveTo>
                <a:lnTo>
                  <a:pt x="1717" y="1664"/>
                </a:lnTo>
                <a:lnTo>
                  <a:pt x="1717" y="1665"/>
                </a:lnTo>
                <a:lnTo>
                  <a:pt x="1715" y="1665"/>
                </a:lnTo>
                <a:lnTo>
                  <a:pt x="1715" y="1664"/>
                </a:lnTo>
                <a:close/>
                <a:moveTo>
                  <a:pt x="1638" y="1664"/>
                </a:moveTo>
                <a:lnTo>
                  <a:pt x="1640" y="1664"/>
                </a:lnTo>
                <a:lnTo>
                  <a:pt x="1640" y="1665"/>
                </a:lnTo>
                <a:lnTo>
                  <a:pt x="1638" y="1665"/>
                </a:lnTo>
                <a:lnTo>
                  <a:pt x="1638" y="1664"/>
                </a:lnTo>
                <a:close/>
                <a:moveTo>
                  <a:pt x="1717" y="1664"/>
                </a:moveTo>
                <a:lnTo>
                  <a:pt x="1718" y="1664"/>
                </a:lnTo>
                <a:lnTo>
                  <a:pt x="1718" y="1667"/>
                </a:lnTo>
                <a:lnTo>
                  <a:pt x="1717" y="1667"/>
                </a:lnTo>
                <a:lnTo>
                  <a:pt x="1717" y="1664"/>
                </a:lnTo>
                <a:close/>
                <a:moveTo>
                  <a:pt x="1722" y="1667"/>
                </a:moveTo>
                <a:lnTo>
                  <a:pt x="1722" y="1664"/>
                </a:lnTo>
                <a:lnTo>
                  <a:pt x="1720" y="1667"/>
                </a:lnTo>
                <a:lnTo>
                  <a:pt x="1722" y="1669"/>
                </a:lnTo>
                <a:lnTo>
                  <a:pt x="1722" y="1670"/>
                </a:lnTo>
                <a:lnTo>
                  <a:pt x="1723" y="1672"/>
                </a:lnTo>
                <a:lnTo>
                  <a:pt x="1722" y="1667"/>
                </a:lnTo>
                <a:close/>
                <a:moveTo>
                  <a:pt x="1637" y="1665"/>
                </a:moveTo>
                <a:lnTo>
                  <a:pt x="1638" y="1665"/>
                </a:lnTo>
                <a:lnTo>
                  <a:pt x="1638" y="1667"/>
                </a:lnTo>
                <a:lnTo>
                  <a:pt x="1637" y="1667"/>
                </a:lnTo>
                <a:lnTo>
                  <a:pt x="1637" y="1665"/>
                </a:lnTo>
                <a:close/>
                <a:moveTo>
                  <a:pt x="1732" y="1669"/>
                </a:moveTo>
                <a:lnTo>
                  <a:pt x="1730" y="1667"/>
                </a:lnTo>
                <a:lnTo>
                  <a:pt x="1730" y="1665"/>
                </a:lnTo>
                <a:lnTo>
                  <a:pt x="1729" y="1665"/>
                </a:lnTo>
                <a:lnTo>
                  <a:pt x="1729" y="1667"/>
                </a:lnTo>
                <a:lnTo>
                  <a:pt x="1732" y="1672"/>
                </a:lnTo>
                <a:lnTo>
                  <a:pt x="1732" y="1669"/>
                </a:lnTo>
                <a:close/>
                <a:moveTo>
                  <a:pt x="1718" y="1667"/>
                </a:moveTo>
                <a:lnTo>
                  <a:pt x="1717" y="1667"/>
                </a:lnTo>
                <a:lnTo>
                  <a:pt x="1717" y="1665"/>
                </a:lnTo>
                <a:lnTo>
                  <a:pt x="1715" y="1665"/>
                </a:lnTo>
                <a:lnTo>
                  <a:pt x="1715" y="1669"/>
                </a:lnTo>
                <a:lnTo>
                  <a:pt x="1718" y="1667"/>
                </a:lnTo>
                <a:close/>
                <a:moveTo>
                  <a:pt x="1647" y="1669"/>
                </a:moveTo>
                <a:lnTo>
                  <a:pt x="1645" y="1667"/>
                </a:lnTo>
                <a:lnTo>
                  <a:pt x="1644" y="1665"/>
                </a:lnTo>
                <a:lnTo>
                  <a:pt x="1645" y="1667"/>
                </a:lnTo>
                <a:lnTo>
                  <a:pt x="1645" y="1670"/>
                </a:lnTo>
                <a:lnTo>
                  <a:pt x="1647" y="1670"/>
                </a:lnTo>
                <a:lnTo>
                  <a:pt x="1647" y="1669"/>
                </a:lnTo>
                <a:close/>
                <a:moveTo>
                  <a:pt x="1642" y="1667"/>
                </a:moveTo>
                <a:lnTo>
                  <a:pt x="1640" y="1667"/>
                </a:lnTo>
                <a:lnTo>
                  <a:pt x="1640" y="1665"/>
                </a:lnTo>
                <a:lnTo>
                  <a:pt x="1638" y="1665"/>
                </a:lnTo>
                <a:lnTo>
                  <a:pt x="1640" y="1667"/>
                </a:lnTo>
                <a:lnTo>
                  <a:pt x="1638" y="1667"/>
                </a:lnTo>
                <a:lnTo>
                  <a:pt x="1638" y="1669"/>
                </a:lnTo>
                <a:lnTo>
                  <a:pt x="1640" y="1669"/>
                </a:lnTo>
                <a:lnTo>
                  <a:pt x="1642" y="1670"/>
                </a:lnTo>
                <a:lnTo>
                  <a:pt x="1642" y="1667"/>
                </a:lnTo>
                <a:close/>
                <a:moveTo>
                  <a:pt x="1705" y="1667"/>
                </a:moveTo>
                <a:lnTo>
                  <a:pt x="1706" y="1667"/>
                </a:lnTo>
                <a:lnTo>
                  <a:pt x="1706" y="1669"/>
                </a:lnTo>
                <a:lnTo>
                  <a:pt x="1705" y="1669"/>
                </a:lnTo>
                <a:lnTo>
                  <a:pt x="1705" y="1667"/>
                </a:lnTo>
                <a:close/>
                <a:moveTo>
                  <a:pt x="1722" y="1672"/>
                </a:moveTo>
                <a:lnTo>
                  <a:pt x="1722" y="1670"/>
                </a:lnTo>
                <a:lnTo>
                  <a:pt x="1720" y="1667"/>
                </a:lnTo>
                <a:lnTo>
                  <a:pt x="1718" y="1667"/>
                </a:lnTo>
                <a:lnTo>
                  <a:pt x="1718" y="1669"/>
                </a:lnTo>
                <a:lnTo>
                  <a:pt x="1717" y="1670"/>
                </a:lnTo>
                <a:lnTo>
                  <a:pt x="1718" y="1670"/>
                </a:lnTo>
                <a:lnTo>
                  <a:pt x="1717" y="1670"/>
                </a:lnTo>
                <a:lnTo>
                  <a:pt x="1718" y="1674"/>
                </a:lnTo>
                <a:lnTo>
                  <a:pt x="1722" y="1674"/>
                </a:lnTo>
                <a:lnTo>
                  <a:pt x="1722" y="1672"/>
                </a:lnTo>
                <a:close/>
                <a:moveTo>
                  <a:pt x="1645" y="1667"/>
                </a:moveTo>
                <a:lnTo>
                  <a:pt x="1645" y="1669"/>
                </a:lnTo>
                <a:lnTo>
                  <a:pt x="1645" y="1667"/>
                </a:lnTo>
                <a:close/>
                <a:moveTo>
                  <a:pt x="1717" y="1667"/>
                </a:moveTo>
                <a:lnTo>
                  <a:pt x="1718" y="1667"/>
                </a:lnTo>
                <a:lnTo>
                  <a:pt x="1718" y="1669"/>
                </a:lnTo>
                <a:lnTo>
                  <a:pt x="1717" y="1669"/>
                </a:lnTo>
                <a:lnTo>
                  <a:pt x="1717" y="1667"/>
                </a:lnTo>
                <a:close/>
                <a:moveTo>
                  <a:pt x="1638" y="1679"/>
                </a:moveTo>
                <a:lnTo>
                  <a:pt x="1640" y="1679"/>
                </a:lnTo>
                <a:lnTo>
                  <a:pt x="1638" y="1677"/>
                </a:lnTo>
                <a:lnTo>
                  <a:pt x="1637" y="1672"/>
                </a:lnTo>
                <a:lnTo>
                  <a:pt x="1633" y="1670"/>
                </a:lnTo>
                <a:lnTo>
                  <a:pt x="1635" y="1669"/>
                </a:lnTo>
                <a:lnTo>
                  <a:pt x="1633" y="1669"/>
                </a:lnTo>
                <a:lnTo>
                  <a:pt x="1632" y="1669"/>
                </a:lnTo>
                <a:lnTo>
                  <a:pt x="1630" y="1669"/>
                </a:lnTo>
                <a:lnTo>
                  <a:pt x="1628" y="1670"/>
                </a:lnTo>
                <a:lnTo>
                  <a:pt x="1630" y="1675"/>
                </a:lnTo>
                <a:lnTo>
                  <a:pt x="1632" y="1675"/>
                </a:lnTo>
                <a:lnTo>
                  <a:pt x="1632" y="1677"/>
                </a:lnTo>
                <a:lnTo>
                  <a:pt x="1633" y="1675"/>
                </a:lnTo>
                <a:lnTo>
                  <a:pt x="1633" y="1674"/>
                </a:lnTo>
                <a:lnTo>
                  <a:pt x="1633" y="1675"/>
                </a:lnTo>
                <a:lnTo>
                  <a:pt x="1635" y="1677"/>
                </a:lnTo>
                <a:lnTo>
                  <a:pt x="1637" y="1679"/>
                </a:lnTo>
                <a:lnTo>
                  <a:pt x="1638" y="1681"/>
                </a:lnTo>
                <a:lnTo>
                  <a:pt x="1638" y="1679"/>
                </a:lnTo>
                <a:close/>
                <a:moveTo>
                  <a:pt x="1642" y="1677"/>
                </a:moveTo>
                <a:lnTo>
                  <a:pt x="1642" y="1674"/>
                </a:lnTo>
                <a:lnTo>
                  <a:pt x="1640" y="1670"/>
                </a:lnTo>
                <a:lnTo>
                  <a:pt x="1638" y="1669"/>
                </a:lnTo>
                <a:lnTo>
                  <a:pt x="1640" y="1677"/>
                </a:lnTo>
                <a:lnTo>
                  <a:pt x="1642" y="1677"/>
                </a:lnTo>
                <a:close/>
                <a:moveTo>
                  <a:pt x="1637" y="1669"/>
                </a:moveTo>
                <a:lnTo>
                  <a:pt x="1635" y="1669"/>
                </a:lnTo>
                <a:lnTo>
                  <a:pt x="1635" y="1670"/>
                </a:lnTo>
                <a:lnTo>
                  <a:pt x="1637" y="1670"/>
                </a:lnTo>
                <a:lnTo>
                  <a:pt x="1637" y="1674"/>
                </a:lnTo>
                <a:lnTo>
                  <a:pt x="1637" y="1669"/>
                </a:lnTo>
                <a:close/>
                <a:moveTo>
                  <a:pt x="1652" y="1669"/>
                </a:moveTo>
                <a:lnTo>
                  <a:pt x="1654" y="1669"/>
                </a:lnTo>
                <a:lnTo>
                  <a:pt x="1654" y="1670"/>
                </a:lnTo>
                <a:lnTo>
                  <a:pt x="1652" y="1670"/>
                </a:lnTo>
                <a:lnTo>
                  <a:pt x="1652" y="1669"/>
                </a:lnTo>
                <a:close/>
                <a:moveTo>
                  <a:pt x="1647" y="1675"/>
                </a:moveTo>
                <a:lnTo>
                  <a:pt x="1647" y="1672"/>
                </a:lnTo>
                <a:lnTo>
                  <a:pt x="1645" y="1670"/>
                </a:lnTo>
                <a:lnTo>
                  <a:pt x="1644" y="1670"/>
                </a:lnTo>
                <a:lnTo>
                  <a:pt x="1644" y="1669"/>
                </a:lnTo>
                <a:lnTo>
                  <a:pt x="1642" y="1670"/>
                </a:lnTo>
                <a:lnTo>
                  <a:pt x="1644" y="1670"/>
                </a:lnTo>
                <a:lnTo>
                  <a:pt x="1644" y="1672"/>
                </a:lnTo>
                <a:lnTo>
                  <a:pt x="1644" y="1674"/>
                </a:lnTo>
                <a:lnTo>
                  <a:pt x="1645" y="1672"/>
                </a:lnTo>
                <a:lnTo>
                  <a:pt x="1647" y="1672"/>
                </a:lnTo>
                <a:lnTo>
                  <a:pt x="1645" y="1674"/>
                </a:lnTo>
                <a:lnTo>
                  <a:pt x="1644" y="1674"/>
                </a:lnTo>
                <a:lnTo>
                  <a:pt x="1644" y="1675"/>
                </a:lnTo>
                <a:lnTo>
                  <a:pt x="1647" y="1675"/>
                </a:lnTo>
                <a:close/>
                <a:moveTo>
                  <a:pt x="1718" y="1672"/>
                </a:moveTo>
                <a:lnTo>
                  <a:pt x="1717" y="1670"/>
                </a:lnTo>
                <a:lnTo>
                  <a:pt x="1717" y="1669"/>
                </a:lnTo>
                <a:lnTo>
                  <a:pt x="1715" y="1670"/>
                </a:lnTo>
                <a:lnTo>
                  <a:pt x="1715" y="1674"/>
                </a:lnTo>
                <a:lnTo>
                  <a:pt x="1718" y="1672"/>
                </a:lnTo>
                <a:close/>
                <a:moveTo>
                  <a:pt x="1737" y="1669"/>
                </a:moveTo>
                <a:lnTo>
                  <a:pt x="1737" y="1670"/>
                </a:lnTo>
                <a:lnTo>
                  <a:pt x="1737" y="1669"/>
                </a:lnTo>
                <a:close/>
                <a:moveTo>
                  <a:pt x="1654" y="1669"/>
                </a:moveTo>
                <a:lnTo>
                  <a:pt x="1655" y="1669"/>
                </a:lnTo>
                <a:lnTo>
                  <a:pt x="1655" y="1672"/>
                </a:lnTo>
                <a:lnTo>
                  <a:pt x="1654" y="1672"/>
                </a:lnTo>
                <a:lnTo>
                  <a:pt x="1654" y="1669"/>
                </a:lnTo>
                <a:close/>
                <a:moveTo>
                  <a:pt x="1652" y="1670"/>
                </a:moveTo>
                <a:lnTo>
                  <a:pt x="1654" y="1670"/>
                </a:lnTo>
                <a:lnTo>
                  <a:pt x="1652" y="1670"/>
                </a:lnTo>
                <a:close/>
                <a:moveTo>
                  <a:pt x="1655" y="1670"/>
                </a:moveTo>
                <a:lnTo>
                  <a:pt x="1655" y="1672"/>
                </a:lnTo>
                <a:lnTo>
                  <a:pt x="1655" y="1674"/>
                </a:lnTo>
                <a:lnTo>
                  <a:pt x="1655" y="1670"/>
                </a:lnTo>
                <a:close/>
                <a:moveTo>
                  <a:pt x="1655" y="1670"/>
                </a:moveTo>
                <a:lnTo>
                  <a:pt x="1659" y="1670"/>
                </a:lnTo>
                <a:lnTo>
                  <a:pt x="1659" y="1674"/>
                </a:lnTo>
                <a:lnTo>
                  <a:pt x="1655" y="1674"/>
                </a:lnTo>
                <a:lnTo>
                  <a:pt x="1655" y="1670"/>
                </a:lnTo>
                <a:close/>
                <a:moveTo>
                  <a:pt x="1644" y="1672"/>
                </a:moveTo>
                <a:lnTo>
                  <a:pt x="1644" y="1670"/>
                </a:lnTo>
                <a:lnTo>
                  <a:pt x="1642" y="1670"/>
                </a:lnTo>
                <a:lnTo>
                  <a:pt x="1642" y="1674"/>
                </a:lnTo>
                <a:lnTo>
                  <a:pt x="1642" y="1675"/>
                </a:lnTo>
                <a:lnTo>
                  <a:pt x="1644" y="1675"/>
                </a:lnTo>
                <a:lnTo>
                  <a:pt x="1644" y="1672"/>
                </a:lnTo>
                <a:close/>
                <a:moveTo>
                  <a:pt x="1661" y="1674"/>
                </a:moveTo>
                <a:lnTo>
                  <a:pt x="1661" y="1672"/>
                </a:lnTo>
                <a:lnTo>
                  <a:pt x="1662" y="1672"/>
                </a:lnTo>
                <a:lnTo>
                  <a:pt x="1662" y="1674"/>
                </a:lnTo>
                <a:lnTo>
                  <a:pt x="1664" y="1674"/>
                </a:lnTo>
                <a:lnTo>
                  <a:pt x="1666" y="1674"/>
                </a:lnTo>
                <a:lnTo>
                  <a:pt x="1666" y="1672"/>
                </a:lnTo>
                <a:lnTo>
                  <a:pt x="1664" y="1672"/>
                </a:lnTo>
                <a:lnTo>
                  <a:pt x="1662" y="1670"/>
                </a:lnTo>
                <a:lnTo>
                  <a:pt x="1661" y="1670"/>
                </a:lnTo>
                <a:lnTo>
                  <a:pt x="1661" y="1672"/>
                </a:lnTo>
                <a:lnTo>
                  <a:pt x="1659" y="1672"/>
                </a:lnTo>
                <a:lnTo>
                  <a:pt x="1659" y="1674"/>
                </a:lnTo>
                <a:lnTo>
                  <a:pt x="1661" y="1674"/>
                </a:lnTo>
                <a:close/>
                <a:moveTo>
                  <a:pt x="1652" y="1670"/>
                </a:moveTo>
                <a:lnTo>
                  <a:pt x="1654" y="1670"/>
                </a:lnTo>
                <a:lnTo>
                  <a:pt x="1654" y="1672"/>
                </a:lnTo>
                <a:lnTo>
                  <a:pt x="1652" y="1672"/>
                </a:lnTo>
                <a:lnTo>
                  <a:pt x="1652" y="1670"/>
                </a:lnTo>
                <a:close/>
                <a:moveTo>
                  <a:pt x="1654" y="1670"/>
                </a:moveTo>
                <a:lnTo>
                  <a:pt x="1655" y="1670"/>
                </a:lnTo>
                <a:lnTo>
                  <a:pt x="1655" y="1672"/>
                </a:lnTo>
                <a:lnTo>
                  <a:pt x="1654" y="1672"/>
                </a:lnTo>
                <a:lnTo>
                  <a:pt x="1654" y="1670"/>
                </a:lnTo>
                <a:close/>
                <a:moveTo>
                  <a:pt x="1725" y="1674"/>
                </a:moveTo>
                <a:lnTo>
                  <a:pt x="1723" y="1672"/>
                </a:lnTo>
                <a:lnTo>
                  <a:pt x="1722" y="1672"/>
                </a:lnTo>
                <a:lnTo>
                  <a:pt x="1722" y="1674"/>
                </a:lnTo>
                <a:lnTo>
                  <a:pt x="1718" y="1674"/>
                </a:lnTo>
                <a:lnTo>
                  <a:pt x="1717" y="1674"/>
                </a:lnTo>
                <a:lnTo>
                  <a:pt x="1723" y="1674"/>
                </a:lnTo>
                <a:lnTo>
                  <a:pt x="1725" y="1674"/>
                </a:lnTo>
                <a:close/>
                <a:moveTo>
                  <a:pt x="1657" y="1672"/>
                </a:moveTo>
                <a:lnTo>
                  <a:pt x="1659" y="1672"/>
                </a:lnTo>
                <a:lnTo>
                  <a:pt x="1657" y="1672"/>
                </a:lnTo>
                <a:close/>
                <a:moveTo>
                  <a:pt x="1655" y="1677"/>
                </a:moveTo>
                <a:lnTo>
                  <a:pt x="1654" y="1675"/>
                </a:lnTo>
                <a:lnTo>
                  <a:pt x="1655" y="1674"/>
                </a:lnTo>
                <a:lnTo>
                  <a:pt x="1652" y="1674"/>
                </a:lnTo>
                <a:lnTo>
                  <a:pt x="1650" y="1672"/>
                </a:lnTo>
                <a:lnTo>
                  <a:pt x="1645" y="1679"/>
                </a:lnTo>
                <a:lnTo>
                  <a:pt x="1649" y="1679"/>
                </a:lnTo>
                <a:lnTo>
                  <a:pt x="1655" y="1677"/>
                </a:lnTo>
                <a:close/>
                <a:moveTo>
                  <a:pt x="1572" y="1672"/>
                </a:moveTo>
                <a:lnTo>
                  <a:pt x="1574" y="1672"/>
                </a:lnTo>
                <a:lnTo>
                  <a:pt x="1574" y="1674"/>
                </a:lnTo>
                <a:lnTo>
                  <a:pt x="1572" y="1674"/>
                </a:lnTo>
                <a:lnTo>
                  <a:pt x="1572" y="1672"/>
                </a:lnTo>
                <a:close/>
                <a:moveTo>
                  <a:pt x="1644" y="1672"/>
                </a:moveTo>
                <a:lnTo>
                  <a:pt x="1645" y="1672"/>
                </a:lnTo>
                <a:lnTo>
                  <a:pt x="1645" y="1674"/>
                </a:lnTo>
                <a:lnTo>
                  <a:pt x="1644" y="1674"/>
                </a:lnTo>
                <a:lnTo>
                  <a:pt x="1644" y="1672"/>
                </a:lnTo>
                <a:close/>
                <a:moveTo>
                  <a:pt x="1667" y="1675"/>
                </a:moveTo>
                <a:lnTo>
                  <a:pt x="1667" y="1674"/>
                </a:lnTo>
                <a:lnTo>
                  <a:pt x="1666" y="1675"/>
                </a:lnTo>
                <a:lnTo>
                  <a:pt x="1666" y="1674"/>
                </a:lnTo>
                <a:lnTo>
                  <a:pt x="1666" y="1675"/>
                </a:lnTo>
                <a:lnTo>
                  <a:pt x="1661" y="1674"/>
                </a:lnTo>
                <a:lnTo>
                  <a:pt x="1659" y="1674"/>
                </a:lnTo>
                <a:lnTo>
                  <a:pt x="1659" y="1672"/>
                </a:lnTo>
                <a:lnTo>
                  <a:pt x="1657" y="1674"/>
                </a:lnTo>
                <a:lnTo>
                  <a:pt x="1655" y="1674"/>
                </a:lnTo>
                <a:lnTo>
                  <a:pt x="1655" y="1675"/>
                </a:lnTo>
                <a:lnTo>
                  <a:pt x="1661" y="1677"/>
                </a:lnTo>
                <a:lnTo>
                  <a:pt x="1667" y="1675"/>
                </a:lnTo>
                <a:close/>
                <a:moveTo>
                  <a:pt x="1661" y="1672"/>
                </a:moveTo>
                <a:lnTo>
                  <a:pt x="1662" y="1672"/>
                </a:lnTo>
                <a:lnTo>
                  <a:pt x="1662" y="1674"/>
                </a:lnTo>
                <a:lnTo>
                  <a:pt x="1661" y="1674"/>
                </a:lnTo>
                <a:lnTo>
                  <a:pt x="1661" y="1672"/>
                </a:lnTo>
                <a:close/>
                <a:moveTo>
                  <a:pt x="1666" y="1674"/>
                </a:moveTo>
                <a:lnTo>
                  <a:pt x="1667" y="1674"/>
                </a:lnTo>
                <a:lnTo>
                  <a:pt x="1666" y="1674"/>
                </a:lnTo>
                <a:lnTo>
                  <a:pt x="1664" y="1674"/>
                </a:lnTo>
                <a:lnTo>
                  <a:pt x="1666" y="1674"/>
                </a:lnTo>
                <a:close/>
                <a:moveTo>
                  <a:pt x="1637" y="1679"/>
                </a:moveTo>
                <a:lnTo>
                  <a:pt x="1635" y="1677"/>
                </a:lnTo>
                <a:lnTo>
                  <a:pt x="1633" y="1677"/>
                </a:lnTo>
                <a:lnTo>
                  <a:pt x="1633" y="1675"/>
                </a:lnTo>
                <a:lnTo>
                  <a:pt x="1632" y="1677"/>
                </a:lnTo>
                <a:lnTo>
                  <a:pt x="1632" y="1675"/>
                </a:lnTo>
                <a:lnTo>
                  <a:pt x="1630" y="1677"/>
                </a:lnTo>
                <a:lnTo>
                  <a:pt x="1632" y="1679"/>
                </a:lnTo>
                <a:lnTo>
                  <a:pt x="1637" y="1679"/>
                </a:lnTo>
                <a:close/>
                <a:moveTo>
                  <a:pt x="1610" y="1684"/>
                </a:moveTo>
                <a:lnTo>
                  <a:pt x="1606" y="1681"/>
                </a:lnTo>
                <a:lnTo>
                  <a:pt x="1604" y="1679"/>
                </a:lnTo>
                <a:lnTo>
                  <a:pt x="1604" y="1677"/>
                </a:lnTo>
                <a:lnTo>
                  <a:pt x="1601" y="1681"/>
                </a:lnTo>
                <a:lnTo>
                  <a:pt x="1599" y="1684"/>
                </a:lnTo>
                <a:lnTo>
                  <a:pt x="1603" y="1684"/>
                </a:lnTo>
                <a:lnTo>
                  <a:pt x="1610" y="1684"/>
                </a:lnTo>
                <a:close/>
                <a:moveTo>
                  <a:pt x="1593" y="1677"/>
                </a:moveTo>
                <a:lnTo>
                  <a:pt x="1594" y="1677"/>
                </a:lnTo>
                <a:lnTo>
                  <a:pt x="1594" y="1681"/>
                </a:lnTo>
                <a:lnTo>
                  <a:pt x="1593" y="1681"/>
                </a:lnTo>
                <a:lnTo>
                  <a:pt x="1593" y="1677"/>
                </a:lnTo>
                <a:close/>
                <a:moveTo>
                  <a:pt x="1599" y="1681"/>
                </a:moveTo>
                <a:lnTo>
                  <a:pt x="1601" y="1681"/>
                </a:lnTo>
                <a:lnTo>
                  <a:pt x="1599" y="1681"/>
                </a:lnTo>
                <a:close/>
                <a:moveTo>
                  <a:pt x="1764" y="1692"/>
                </a:moveTo>
                <a:lnTo>
                  <a:pt x="1764" y="1694"/>
                </a:lnTo>
                <a:lnTo>
                  <a:pt x="1764" y="1692"/>
                </a:lnTo>
                <a:close/>
                <a:moveTo>
                  <a:pt x="1761" y="1694"/>
                </a:moveTo>
                <a:lnTo>
                  <a:pt x="1763" y="1694"/>
                </a:lnTo>
                <a:lnTo>
                  <a:pt x="1763" y="1698"/>
                </a:lnTo>
                <a:lnTo>
                  <a:pt x="1761" y="1698"/>
                </a:lnTo>
                <a:lnTo>
                  <a:pt x="1761" y="1694"/>
                </a:lnTo>
                <a:close/>
                <a:moveTo>
                  <a:pt x="1761" y="1694"/>
                </a:moveTo>
                <a:lnTo>
                  <a:pt x="1763" y="1694"/>
                </a:lnTo>
                <a:lnTo>
                  <a:pt x="1763" y="1698"/>
                </a:lnTo>
                <a:lnTo>
                  <a:pt x="1761" y="1698"/>
                </a:lnTo>
                <a:lnTo>
                  <a:pt x="1761" y="1694"/>
                </a:lnTo>
                <a:close/>
                <a:moveTo>
                  <a:pt x="1757" y="1696"/>
                </a:moveTo>
                <a:lnTo>
                  <a:pt x="1759" y="1696"/>
                </a:lnTo>
                <a:lnTo>
                  <a:pt x="1759" y="1698"/>
                </a:lnTo>
                <a:lnTo>
                  <a:pt x="1757" y="1698"/>
                </a:lnTo>
                <a:lnTo>
                  <a:pt x="1757" y="1696"/>
                </a:lnTo>
                <a:close/>
                <a:moveTo>
                  <a:pt x="1763" y="1696"/>
                </a:moveTo>
                <a:lnTo>
                  <a:pt x="1764" y="1696"/>
                </a:lnTo>
                <a:lnTo>
                  <a:pt x="1764" y="1698"/>
                </a:lnTo>
                <a:lnTo>
                  <a:pt x="1763" y="1698"/>
                </a:lnTo>
                <a:lnTo>
                  <a:pt x="1763" y="1696"/>
                </a:lnTo>
                <a:close/>
                <a:moveTo>
                  <a:pt x="1759" y="1699"/>
                </a:moveTo>
                <a:lnTo>
                  <a:pt x="1761" y="1698"/>
                </a:lnTo>
                <a:lnTo>
                  <a:pt x="1761" y="1696"/>
                </a:lnTo>
                <a:lnTo>
                  <a:pt x="1759" y="1698"/>
                </a:lnTo>
                <a:lnTo>
                  <a:pt x="1757" y="1698"/>
                </a:lnTo>
                <a:lnTo>
                  <a:pt x="1756" y="1699"/>
                </a:lnTo>
                <a:lnTo>
                  <a:pt x="1759" y="1701"/>
                </a:lnTo>
                <a:lnTo>
                  <a:pt x="1759" y="1699"/>
                </a:lnTo>
                <a:close/>
                <a:moveTo>
                  <a:pt x="1763" y="1698"/>
                </a:moveTo>
                <a:lnTo>
                  <a:pt x="1764" y="1698"/>
                </a:lnTo>
                <a:lnTo>
                  <a:pt x="1764" y="1699"/>
                </a:lnTo>
                <a:lnTo>
                  <a:pt x="1763" y="1699"/>
                </a:lnTo>
                <a:lnTo>
                  <a:pt x="1763" y="1698"/>
                </a:lnTo>
                <a:close/>
                <a:moveTo>
                  <a:pt x="1761" y="1698"/>
                </a:moveTo>
                <a:lnTo>
                  <a:pt x="1763" y="1698"/>
                </a:lnTo>
                <a:lnTo>
                  <a:pt x="1763" y="1699"/>
                </a:lnTo>
                <a:lnTo>
                  <a:pt x="1761" y="1699"/>
                </a:lnTo>
                <a:lnTo>
                  <a:pt x="1761" y="1698"/>
                </a:lnTo>
                <a:close/>
                <a:moveTo>
                  <a:pt x="1764" y="1698"/>
                </a:moveTo>
                <a:lnTo>
                  <a:pt x="1766" y="1698"/>
                </a:lnTo>
                <a:lnTo>
                  <a:pt x="1766" y="1701"/>
                </a:lnTo>
                <a:lnTo>
                  <a:pt x="1764" y="1701"/>
                </a:lnTo>
                <a:lnTo>
                  <a:pt x="1764" y="1698"/>
                </a:lnTo>
                <a:close/>
                <a:moveTo>
                  <a:pt x="1764" y="1703"/>
                </a:moveTo>
                <a:lnTo>
                  <a:pt x="1761" y="1703"/>
                </a:lnTo>
                <a:lnTo>
                  <a:pt x="1761" y="1704"/>
                </a:lnTo>
                <a:lnTo>
                  <a:pt x="1761" y="1703"/>
                </a:lnTo>
                <a:lnTo>
                  <a:pt x="1763" y="1703"/>
                </a:lnTo>
                <a:lnTo>
                  <a:pt x="1763" y="1701"/>
                </a:lnTo>
                <a:lnTo>
                  <a:pt x="1763" y="1699"/>
                </a:lnTo>
                <a:lnTo>
                  <a:pt x="1761" y="1699"/>
                </a:lnTo>
                <a:lnTo>
                  <a:pt x="1761" y="1698"/>
                </a:lnTo>
                <a:lnTo>
                  <a:pt x="1761" y="1699"/>
                </a:lnTo>
                <a:lnTo>
                  <a:pt x="1761" y="1701"/>
                </a:lnTo>
                <a:lnTo>
                  <a:pt x="1759" y="1701"/>
                </a:lnTo>
                <a:lnTo>
                  <a:pt x="1757" y="1701"/>
                </a:lnTo>
                <a:lnTo>
                  <a:pt x="1756" y="1699"/>
                </a:lnTo>
                <a:lnTo>
                  <a:pt x="1756" y="1701"/>
                </a:lnTo>
                <a:lnTo>
                  <a:pt x="1756" y="1699"/>
                </a:lnTo>
                <a:lnTo>
                  <a:pt x="1754" y="1701"/>
                </a:lnTo>
                <a:lnTo>
                  <a:pt x="1756" y="1703"/>
                </a:lnTo>
                <a:lnTo>
                  <a:pt x="1759" y="1704"/>
                </a:lnTo>
                <a:lnTo>
                  <a:pt x="1761" y="1704"/>
                </a:lnTo>
                <a:lnTo>
                  <a:pt x="1764" y="1703"/>
                </a:lnTo>
                <a:close/>
                <a:moveTo>
                  <a:pt x="1757" y="1699"/>
                </a:moveTo>
                <a:lnTo>
                  <a:pt x="1761" y="1699"/>
                </a:lnTo>
                <a:lnTo>
                  <a:pt x="1761" y="1701"/>
                </a:lnTo>
                <a:lnTo>
                  <a:pt x="1757" y="1701"/>
                </a:lnTo>
                <a:lnTo>
                  <a:pt x="1757" y="1699"/>
                </a:lnTo>
                <a:close/>
                <a:moveTo>
                  <a:pt x="1774" y="1711"/>
                </a:moveTo>
                <a:lnTo>
                  <a:pt x="1774" y="1708"/>
                </a:lnTo>
                <a:lnTo>
                  <a:pt x="1773" y="1706"/>
                </a:lnTo>
                <a:lnTo>
                  <a:pt x="1771" y="1706"/>
                </a:lnTo>
                <a:lnTo>
                  <a:pt x="1769" y="1709"/>
                </a:lnTo>
                <a:lnTo>
                  <a:pt x="1771" y="1711"/>
                </a:lnTo>
                <a:lnTo>
                  <a:pt x="1773" y="1711"/>
                </a:lnTo>
                <a:lnTo>
                  <a:pt x="1774" y="1711"/>
                </a:lnTo>
                <a:close/>
                <a:moveTo>
                  <a:pt x="1723" y="1738"/>
                </a:moveTo>
                <a:lnTo>
                  <a:pt x="1729" y="1733"/>
                </a:lnTo>
                <a:lnTo>
                  <a:pt x="1729" y="1730"/>
                </a:lnTo>
                <a:lnTo>
                  <a:pt x="1730" y="1728"/>
                </a:lnTo>
                <a:lnTo>
                  <a:pt x="1730" y="1726"/>
                </a:lnTo>
                <a:lnTo>
                  <a:pt x="1732" y="1721"/>
                </a:lnTo>
                <a:lnTo>
                  <a:pt x="1735" y="1718"/>
                </a:lnTo>
                <a:lnTo>
                  <a:pt x="1737" y="1713"/>
                </a:lnTo>
                <a:lnTo>
                  <a:pt x="1735" y="1711"/>
                </a:lnTo>
                <a:lnTo>
                  <a:pt x="1734" y="1711"/>
                </a:lnTo>
                <a:lnTo>
                  <a:pt x="1732" y="1711"/>
                </a:lnTo>
                <a:lnTo>
                  <a:pt x="1727" y="1711"/>
                </a:lnTo>
                <a:lnTo>
                  <a:pt x="1725" y="1709"/>
                </a:lnTo>
                <a:lnTo>
                  <a:pt x="1723" y="1709"/>
                </a:lnTo>
                <a:lnTo>
                  <a:pt x="1720" y="1716"/>
                </a:lnTo>
                <a:lnTo>
                  <a:pt x="1720" y="1721"/>
                </a:lnTo>
                <a:lnTo>
                  <a:pt x="1718" y="1723"/>
                </a:lnTo>
                <a:lnTo>
                  <a:pt x="1718" y="1725"/>
                </a:lnTo>
                <a:lnTo>
                  <a:pt x="1718" y="1726"/>
                </a:lnTo>
                <a:lnTo>
                  <a:pt x="1713" y="1725"/>
                </a:lnTo>
                <a:lnTo>
                  <a:pt x="1712" y="1728"/>
                </a:lnTo>
                <a:lnTo>
                  <a:pt x="1710" y="1732"/>
                </a:lnTo>
                <a:lnTo>
                  <a:pt x="1712" y="1735"/>
                </a:lnTo>
                <a:lnTo>
                  <a:pt x="1717" y="1737"/>
                </a:lnTo>
                <a:lnTo>
                  <a:pt x="1718" y="1737"/>
                </a:lnTo>
                <a:lnTo>
                  <a:pt x="1723" y="1738"/>
                </a:lnTo>
                <a:close/>
                <a:moveTo>
                  <a:pt x="1776" y="1720"/>
                </a:moveTo>
                <a:lnTo>
                  <a:pt x="1778" y="1720"/>
                </a:lnTo>
                <a:lnTo>
                  <a:pt x="1776" y="1720"/>
                </a:lnTo>
                <a:close/>
                <a:moveTo>
                  <a:pt x="1776" y="1720"/>
                </a:moveTo>
                <a:lnTo>
                  <a:pt x="1773" y="1720"/>
                </a:lnTo>
                <a:lnTo>
                  <a:pt x="1771" y="1721"/>
                </a:lnTo>
                <a:lnTo>
                  <a:pt x="1773" y="1721"/>
                </a:lnTo>
                <a:lnTo>
                  <a:pt x="1776" y="1720"/>
                </a:lnTo>
                <a:close/>
                <a:moveTo>
                  <a:pt x="1774" y="1720"/>
                </a:moveTo>
                <a:lnTo>
                  <a:pt x="1776" y="1720"/>
                </a:lnTo>
                <a:lnTo>
                  <a:pt x="1776" y="1721"/>
                </a:lnTo>
                <a:lnTo>
                  <a:pt x="1774" y="1721"/>
                </a:lnTo>
                <a:lnTo>
                  <a:pt x="1774" y="1720"/>
                </a:lnTo>
                <a:close/>
                <a:moveTo>
                  <a:pt x="1659" y="1823"/>
                </a:moveTo>
                <a:lnTo>
                  <a:pt x="1661" y="1823"/>
                </a:lnTo>
                <a:lnTo>
                  <a:pt x="1661" y="1820"/>
                </a:lnTo>
                <a:lnTo>
                  <a:pt x="1662" y="1820"/>
                </a:lnTo>
                <a:lnTo>
                  <a:pt x="1661" y="1818"/>
                </a:lnTo>
                <a:lnTo>
                  <a:pt x="1662" y="1817"/>
                </a:lnTo>
                <a:lnTo>
                  <a:pt x="1659" y="1815"/>
                </a:lnTo>
                <a:lnTo>
                  <a:pt x="1657" y="1817"/>
                </a:lnTo>
                <a:lnTo>
                  <a:pt x="1657" y="1820"/>
                </a:lnTo>
                <a:lnTo>
                  <a:pt x="1655" y="1820"/>
                </a:lnTo>
                <a:lnTo>
                  <a:pt x="1655" y="1823"/>
                </a:lnTo>
                <a:lnTo>
                  <a:pt x="1657" y="1822"/>
                </a:lnTo>
                <a:lnTo>
                  <a:pt x="1659" y="1823"/>
                </a:lnTo>
                <a:close/>
                <a:moveTo>
                  <a:pt x="1778" y="1847"/>
                </a:moveTo>
                <a:lnTo>
                  <a:pt x="1779" y="1847"/>
                </a:lnTo>
                <a:lnTo>
                  <a:pt x="1779" y="1849"/>
                </a:lnTo>
                <a:lnTo>
                  <a:pt x="1778" y="1849"/>
                </a:lnTo>
                <a:lnTo>
                  <a:pt x="1778" y="1847"/>
                </a:lnTo>
                <a:close/>
                <a:moveTo>
                  <a:pt x="1764" y="1851"/>
                </a:moveTo>
                <a:lnTo>
                  <a:pt x="1766" y="1851"/>
                </a:lnTo>
                <a:lnTo>
                  <a:pt x="1766" y="1852"/>
                </a:lnTo>
                <a:lnTo>
                  <a:pt x="1764" y="1852"/>
                </a:lnTo>
                <a:lnTo>
                  <a:pt x="1764" y="1851"/>
                </a:lnTo>
                <a:close/>
                <a:moveTo>
                  <a:pt x="1756" y="1854"/>
                </a:moveTo>
                <a:lnTo>
                  <a:pt x="1757" y="1854"/>
                </a:lnTo>
                <a:lnTo>
                  <a:pt x="1757" y="1856"/>
                </a:lnTo>
                <a:lnTo>
                  <a:pt x="1756" y="1856"/>
                </a:lnTo>
                <a:lnTo>
                  <a:pt x="1756" y="1854"/>
                </a:lnTo>
                <a:close/>
                <a:moveTo>
                  <a:pt x="1768" y="1871"/>
                </a:moveTo>
                <a:lnTo>
                  <a:pt x="1768" y="1873"/>
                </a:lnTo>
                <a:lnTo>
                  <a:pt x="1768" y="1871"/>
                </a:lnTo>
                <a:close/>
                <a:moveTo>
                  <a:pt x="1768" y="1874"/>
                </a:moveTo>
                <a:lnTo>
                  <a:pt x="1769" y="1874"/>
                </a:lnTo>
                <a:lnTo>
                  <a:pt x="1769" y="1876"/>
                </a:lnTo>
                <a:lnTo>
                  <a:pt x="1768" y="1876"/>
                </a:lnTo>
                <a:lnTo>
                  <a:pt x="1768" y="1874"/>
                </a:lnTo>
                <a:close/>
                <a:moveTo>
                  <a:pt x="1615" y="1898"/>
                </a:moveTo>
                <a:lnTo>
                  <a:pt x="1616" y="1900"/>
                </a:lnTo>
                <a:lnTo>
                  <a:pt x="1616" y="1897"/>
                </a:lnTo>
                <a:lnTo>
                  <a:pt x="1618" y="1898"/>
                </a:lnTo>
                <a:lnTo>
                  <a:pt x="1621" y="1897"/>
                </a:lnTo>
                <a:lnTo>
                  <a:pt x="1620" y="1895"/>
                </a:lnTo>
                <a:lnTo>
                  <a:pt x="1625" y="1890"/>
                </a:lnTo>
                <a:lnTo>
                  <a:pt x="1625" y="1888"/>
                </a:lnTo>
                <a:lnTo>
                  <a:pt x="1627" y="1886"/>
                </a:lnTo>
                <a:lnTo>
                  <a:pt x="1625" y="1885"/>
                </a:lnTo>
                <a:lnTo>
                  <a:pt x="1623" y="1883"/>
                </a:lnTo>
                <a:lnTo>
                  <a:pt x="1625" y="1883"/>
                </a:lnTo>
                <a:lnTo>
                  <a:pt x="1623" y="1881"/>
                </a:lnTo>
                <a:lnTo>
                  <a:pt x="1618" y="1881"/>
                </a:lnTo>
                <a:lnTo>
                  <a:pt x="1616" y="1883"/>
                </a:lnTo>
                <a:lnTo>
                  <a:pt x="1615" y="1883"/>
                </a:lnTo>
                <a:lnTo>
                  <a:pt x="1613" y="1885"/>
                </a:lnTo>
                <a:lnTo>
                  <a:pt x="1611" y="1888"/>
                </a:lnTo>
                <a:lnTo>
                  <a:pt x="1611" y="1891"/>
                </a:lnTo>
                <a:lnTo>
                  <a:pt x="1613" y="1897"/>
                </a:lnTo>
                <a:lnTo>
                  <a:pt x="1615" y="1897"/>
                </a:lnTo>
                <a:lnTo>
                  <a:pt x="1613" y="1898"/>
                </a:lnTo>
                <a:lnTo>
                  <a:pt x="1615" y="1900"/>
                </a:lnTo>
                <a:lnTo>
                  <a:pt x="1615" y="1898"/>
                </a:lnTo>
                <a:close/>
                <a:moveTo>
                  <a:pt x="1786" y="1891"/>
                </a:moveTo>
                <a:lnTo>
                  <a:pt x="1788" y="1891"/>
                </a:lnTo>
                <a:lnTo>
                  <a:pt x="1788" y="1893"/>
                </a:lnTo>
                <a:lnTo>
                  <a:pt x="1786" y="1893"/>
                </a:lnTo>
                <a:lnTo>
                  <a:pt x="1786" y="1891"/>
                </a:lnTo>
                <a:close/>
                <a:moveTo>
                  <a:pt x="1785" y="1891"/>
                </a:moveTo>
                <a:lnTo>
                  <a:pt x="1786" y="1891"/>
                </a:lnTo>
                <a:lnTo>
                  <a:pt x="1786" y="1893"/>
                </a:lnTo>
                <a:lnTo>
                  <a:pt x="1785" y="1893"/>
                </a:lnTo>
                <a:lnTo>
                  <a:pt x="1785" y="1891"/>
                </a:lnTo>
                <a:close/>
                <a:moveTo>
                  <a:pt x="1613" y="1902"/>
                </a:moveTo>
                <a:lnTo>
                  <a:pt x="1615" y="1902"/>
                </a:lnTo>
                <a:lnTo>
                  <a:pt x="1613" y="1902"/>
                </a:lnTo>
                <a:close/>
                <a:moveTo>
                  <a:pt x="1744" y="1936"/>
                </a:moveTo>
                <a:lnTo>
                  <a:pt x="1744" y="1937"/>
                </a:lnTo>
                <a:lnTo>
                  <a:pt x="1744" y="1936"/>
                </a:lnTo>
                <a:close/>
                <a:moveTo>
                  <a:pt x="1567" y="1973"/>
                </a:moveTo>
                <a:lnTo>
                  <a:pt x="1570" y="1973"/>
                </a:lnTo>
                <a:lnTo>
                  <a:pt x="1570" y="1977"/>
                </a:lnTo>
                <a:lnTo>
                  <a:pt x="1567" y="1977"/>
                </a:lnTo>
                <a:lnTo>
                  <a:pt x="1567" y="1973"/>
                </a:lnTo>
                <a:close/>
                <a:moveTo>
                  <a:pt x="3384" y="1990"/>
                </a:moveTo>
                <a:lnTo>
                  <a:pt x="3386" y="1990"/>
                </a:lnTo>
                <a:lnTo>
                  <a:pt x="3386" y="1992"/>
                </a:lnTo>
                <a:lnTo>
                  <a:pt x="3384" y="1992"/>
                </a:lnTo>
                <a:lnTo>
                  <a:pt x="3384" y="1990"/>
                </a:lnTo>
                <a:close/>
                <a:moveTo>
                  <a:pt x="3376" y="2002"/>
                </a:moveTo>
                <a:lnTo>
                  <a:pt x="3374" y="2002"/>
                </a:lnTo>
                <a:lnTo>
                  <a:pt x="3372" y="2002"/>
                </a:lnTo>
                <a:lnTo>
                  <a:pt x="3374" y="2000"/>
                </a:lnTo>
                <a:lnTo>
                  <a:pt x="3372" y="2002"/>
                </a:lnTo>
                <a:lnTo>
                  <a:pt x="3374" y="2004"/>
                </a:lnTo>
                <a:lnTo>
                  <a:pt x="3372" y="2005"/>
                </a:lnTo>
                <a:lnTo>
                  <a:pt x="3376" y="2002"/>
                </a:lnTo>
                <a:close/>
                <a:moveTo>
                  <a:pt x="3367" y="2004"/>
                </a:moveTo>
                <a:lnTo>
                  <a:pt x="3371" y="2004"/>
                </a:lnTo>
                <a:lnTo>
                  <a:pt x="3367" y="2004"/>
                </a:lnTo>
                <a:close/>
                <a:moveTo>
                  <a:pt x="3360" y="2011"/>
                </a:moveTo>
                <a:lnTo>
                  <a:pt x="3362" y="2011"/>
                </a:lnTo>
                <a:lnTo>
                  <a:pt x="3366" y="2011"/>
                </a:lnTo>
                <a:lnTo>
                  <a:pt x="3366" y="2009"/>
                </a:lnTo>
                <a:lnTo>
                  <a:pt x="3367" y="2009"/>
                </a:lnTo>
                <a:lnTo>
                  <a:pt x="3369" y="2009"/>
                </a:lnTo>
                <a:lnTo>
                  <a:pt x="3369" y="2007"/>
                </a:lnTo>
                <a:lnTo>
                  <a:pt x="3366" y="2005"/>
                </a:lnTo>
                <a:lnTo>
                  <a:pt x="3364" y="2005"/>
                </a:lnTo>
                <a:lnTo>
                  <a:pt x="3362" y="2007"/>
                </a:lnTo>
                <a:lnTo>
                  <a:pt x="3359" y="2009"/>
                </a:lnTo>
                <a:lnTo>
                  <a:pt x="3359" y="2011"/>
                </a:lnTo>
                <a:lnTo>
                  <a:pt x="3359" y="2012"/>
                </a:lnTo>
                <a:lnTo>
                  <a:pt x="3360" y="2014"/>
                </a:lnTo>
                <a:lnTo>
                  <a:pt x="3360" y="2011"/>
                </a:lnTo>
                <a:close/>
                <a:moveTo>
                  <a:pt x="3291" y="2106"/>
                </a:moveTo>
                <a:lnTo>
                  <a:pt x="3294" y="2106"/>
                </a:lnTo>
                <a:lnTo>
                  <a:pt x="3294" y="2108"/>
                </a:lnTo>
                <a:lnTo>
                  <a:pt x="3291" y="2108"/>
                </a:lnTo>
                <a:lnTo>
                  <a:pt x="3291" y="2106"/>
                </a:lnTo>
                <a:close/>
                <a:moveTo>
                  <a:pt x="3299" y="2176"/>
                </a:moveTo>
                <a:lnTo>
                  <a:pt x="3299" y="2172"/>
                </a:lnTo>
                <a:lnTo>
                  <a:pt x="3301" y="2169"/>
                </a:lnTo>
                <a:lnTo>
                  <a:pt x="3303" y="2160"/>
                </a:lnTo>
                <a:lnTo>
                  <a:pt x="3301" y="2160"/>
                </a:lnTo>
                <a:lnTo>
                  <a:pt x="3301" y="2162"/>
                </a:lnTo>
                <a:lnTo>
                  <a:pt x="3301" y="2160"/>
                </a:lnTo>
                <a:lnTo>
                  <a:pt x="3301" y="2159"/>
                </a:lnTo>
                <a:lnTo>
                  <a:pt x="3301" y="2155"/>
                </a:lnTo>
                <a:lnTo>
                  <a:pt x="3303" y="2157"/>
                </a:lnTo>
                <a:lnTo>
                  <a:pt x="3303" y="2155"/>
                </a:lnTo>
                <a:lnTo>
                  <a:pt x="3303" y="2150"/>
                </a:lnTo>
                <a:lnTo>
                  <a:pt x="3303" y="2152"/>
                </a:lnTo>
                <a:lnTo>
                  <a:pt x="3301" y="2152"/>
                </a:lnTo>
                <a:lnTo>
                  <a:pt x="3301" y="2150"/>
                </a:lnTo>
                <a:lnTo>
                  <a:pt x="3301" y="2152"/>
                </a:lnTo>
                <a:lnTo>
                  <a:pt x="3299" y="2152"/>
                </a:lnTo>
                <a:lnTo>
                  <a:pt x="3301" y="2153"/>
                </a:lnTo>
                <a:lnTo>
                  <a:pt x="3299" y="2152"/>
                </a:lnTo>
                <a:lnTo>
                  <a:pt x="3294" y="2150"/>
                </a:lnTo>
                <a:lnTo>
                  <a:pt x="3294" y="2148"/>
                </a:lnTo>
                <a:lnTo>
                  <a:pt x="3292" y="2152"/>
                </a:lnTo>
                <a:lnTo>
                  <a:pt x="3294" y="2153"/>
                </a:lnTo>
                <a:lnTo>
                  <a:pt x="3292" y="2153"/>
                </a:lnTo>
                <a:lnTo>
                  <a:pt x="3294" y="2157"/>
                </a:lnTo>
                <a:lnTo>
                  <a:pt x="3292" y="2157"/>
                </a:lnTo>
                <a:lnTo>
                  <a:pt x="3296" y="2159"/>
                </a:lnTo>
                <a:lnTo>
                  <a:pt x="3294" y="2159"/>
                </a:lnTo>
                <a:lnTo>
                  <a:pt x="3294" y="2160"/>
                </a:lnTo>
                <a:lnTo>
                  <a:pt x="3294" y="2162"/>
                </a:lnTo>
                <a:lnTo>
                  <a:pt x="3296" y="2162"/>
                </a:lnTo>
                <a:lnTo>
                  <a:pt x="3294" y="2164"/>
                </a:lnTo>
                <a:lnTo>
                  <a:pt x="3296" y="2162"/>
                </a:lnTo>
                <a:lnTo>
                  <a:pt x="3296" y="2164"/>
                </a:lnTo>
                <a:lnTo>
                  <a:pt x="3296" y="2165"/>
                </a:lnTo>
                <a:lnTo>
                  <a:pt x="3294" y="2165"/>
                </a:lnTo>
                <a:lnTo>
                  <a:pt x="3292" y="2165"/>
                </a:lnTo>
                <a:lnTo>
                  <a:pt x="3292" y="2164"/>
                </a:lnTo>
                <a:lnTo>
                  <a:pt x="3291" y="2165"/>
                </a:lnTo>
                <a:lnTo>
                  <a:pt x="3292" y="2165"/>
                </a:lnTo>
                <a:lnTo>
                  <a:pt x="3292" y="2167"/>
                </a:lnTo>
                <a:lnTo>
                  <a:pt x="3294" y="2165"/>
                </a:lnTo>
                <a:lnTo>
                  <a:pt x="3298" y="2167"/>
                </a:lnTo>
                <a:lnTo>
                  <a:pt x="3296" y="2167"/>
                </a:lnTo>
                <a:lnTo>
                  <a:pt x="3294" y="2167"/>
                </a:lnTo>
                <a:lnTo>
                  <a:pt x="3294" y="2169"/>
                </a:lnTo>
                <a:lnTo>
                  <a:pt x="3292" y="2169"/>
                </a:lnTo>
                <a:lnTo>
                  <a:pt x="3294" y="2172"/>
                </a:lnTo>
                <a:lnTo>
                  <a:pt x="3292" y="2172"/>
                </a:lnTo>
                <a:lnTo>
                  <a:pt x="3292" y="2170"/>
                </a:lnTo>
                <a:lnTo>
                  <a:pt x="3291" y="2176"/>
                </a:lnTo>
                <a:lnTo>
                  <a:pt x="3291" y="2177"/>
                </a:lnTo>
                <a:lnTo>
                  <a:pt x="3292" y="2177"/>
                </a:lnTo>
                <a:lnTo>
                  <a:pt x="3294" y="2177"/>
                </a:lnTo>
                <a:lnTo>
                  <a:pt x="3296" y="2177"/>
                </a:lnTo>
                <a:lnTo>
                  <a:pt x="3294" y="2177"/>
                </a:lnTo>
                <a:lnTo>
                  <a:pt x="3296" y="2177"/>
                </a:lnTo>
                <a:lnTo>
                  <a:pt x="3296" y="2179"/>
                </a:lnTo>
                <a:lnTo>
                  <a:pt x="3299" y="2176"/>
                </a:lnTo>
                <a:close/>
                <a:moveTo>
                  <a:pt x="3292" y="2153"/>
                </a:moveTo>
                <a:lnTo>
                  <a:pt x="3292" y="2155"/>
                </a:lnTo>
                <a:lnTo>
                  <a:pt x="3292" y="2153"/>
                </a:lnTo>
                <a:close/>
                <a:moveTo>
                  <a:pt x="3291" y="2159"/>
                </a:moveTo>
                <a:lnTo>
                  <a:pt x="3292" y="2155"/>
                </a:lnTo>
                <a:lnTo>
                  <a:pt x="3291" y="2160"/>
                </a:lnTo>
                <a:lnTo>
                  <a:pt x="3291" y="2159"/>
                </a:lnTo>
                <a:close/>
                <a:moveTo>
                  <a:pt x="3303" y="2159"/>
                </a:moveTo>
                <a:lnTo>
                  <a:pt x="3303" y="2157"/>
                </a:lnTo>
                <a:lnTo>
                  <a:pt x="3301" y="2159"/>
                </a:lnTo>
                <a:lnTo>
                  <a:pt x="3303" y="2159"/>
                </a:lnTo>
                <a:lnTo>
                  <a:pt x="3301" y="2160"/>
                </a:lnTo>
                <a:lnTo>
                  <a:pt x="3303" y="2160"/>
                </a:lnTo>
                <a:lnTo>
                  <a:pt x="3303" y="2159"/>
                </a:lnTo>
                <a:close/>
                <a:moveTo>
                  <a:pt x="3291" y="2160"/>
                </a:moveTo>
                <a:lnTo>
                  <a:pt x="3291" y="2162"/>
                </a:lnTo>
                <a:lnTo>
                  <a:pt x="3291" y="2160"/>
                </a:lnTo>
                <a:close/>
                <a:moveTo>
                  <a:pt x="3289" y="2174"/>
                </a:moveTo>
                <a:lnTo>
                  <a:pt x="3291" y="2174"/>
                </a:lnTo>
                <a:lnTo>
                  <a:pt x="3289" y="2174"/>
                </a:lnTo>
                <a:close/>
                <a:moveTo>
                  <a:pt x="3292" y="2179"/>
                </a:moveTo>
                <a:lnTo>
                  <a:pt x="3292" y="2177"/>
                </a:lnTo>
                <a:lnTo>
                  <a:pt x="3291" y="2177"/>
                </a:lnTo>
                <a:lnTo>
                  <a:pt x="3289" y="2176"/>
                </a:lnTo>
                <a:lnTo>
                  <a:pt x="3287" y="2176"/>
                </a:lnTo>
                <a:lnTo>
                  <a:pt x="3289" y="2179"/>
                </a:lnTo>
                <a:lnTo>
                  <a:pt x="3291" y="2179"/>
                </a:lnTo>
                <a:lnTo>
                  <a:pt x="3292" y="2179"/>
                </a:lnTo>
                <a:close/>
                <a:moveTo>
                  <a:pt x="3287" y="2228"/>
                </a:moveTo>
                <a:lnTo>
                  <a:pt x="3289" y="2225"/>
                </a:lnTo>
                <a:lnTo>
                  <a:pt x="3286" y="2220"/>
                </a:lnTo>
                <a:lnTo>
                  <a:pt x="3286" y="2215"/>
                </a:lnTo>
                <a:lnTo>
                  <a:pt x="3284" y="2211"/>
                </a:lnTo>
                <a:lnTo>
                  <a:pt x="3284" y="2213"/>
                </a:lnTo>
                <a:lnTo>
                  <a:pt x="3284" y="2215"/>
                </a:lnTo>
                <a:lnTo>
                  <a:pt x="3284" y="2216"/>
                </a:lnTo>
                <a:lnTo>
                  <a:pt x="3282" y="2215"/>
                </a:lnTo>
                <a:lnTo>
                  <a:pt x="3282" y="2216"/>
                </a:lnTo>
                <a:lnTo>
                  <a:pt x="3281" y="2215"/>
                </a:lnTo>
                <a:lnTo>
                  <a:pt x="3281" y="2213"/>
                </a:lnTo>
                <a:lnTo>
                  <a:pt x="3281" y="2210"/>
                </a:lnTo>
                <a:lnTo>
                  <a:pt x="3279" y="2208"/>
                </a:lnTo>
                <a:lnTo>
                  <a:pt x="3277" y="2201"/>
                </a:lnTo>
                <a:lnTo>
                  <a:pt x="3277" y="2196"/>
                </a:lnTo>
                <a:lnTo>
                  <a:pt x="3274" y="2191"/>
                </a:lnTo>
                <a:lnTo>
                  <a:pt x="3272" y="2199"/>
                </a:lnTo>
                <a:lnTo>
                  <a:pt x="3270" y="2199"/>
                </a:lnTo>
                <a:lnTo>
                  <a:pt x="3270" y="2201"/>
                </a:lnTo>
                <a:lnTo>
                  <a:pt x="3269" y="2201"/>
                </a:lnTo>
                <a:lnTo>
                  <a:pt x="3269" y="2204"/>
                </a:lnTo>
                <a:lnTo>
                  <a:pt x="3270" y="2210"/>
                </a:lnTo>
                <a:lnTo>
                  <a:pt x="3270" y="2213"/>
                </a:lnTo>
                <a:lnTo>
                  <a:pt x="3269" y="2215"/>
                </a:lnTo>
                <a:lnTo>
                  <a:pt x="3269" y="2216"/>
                </a:lnTo>
                <a:lnTo>
                  <a:pt x="3274" y="2222"/>
                </a:lnTo>
                <a:lnTo>
                  <a:pt x="3274" y="2218"/>
                </a:lnTo>
                <a:lnTo>
                  <a:pt x="3274" y="2220"/>
                </a:lnTo>
                <a:lnTo>
                  <a:pt x="3274" y="2218"/>
                </a:lnTo>
                <a:lnTo>
                  <a:pt x="3277" y="2222"/>
                </a:lnTo>
                <a:lnTo>
                  <a:pt x="3277" y="2223"/>
                </a:lnTo>
                <a:lnTo>
                  <a:pt x="3281" y="2227"/>
                </a:lnTo>
                <a:lnTo>
                  <a:pt x="3281" y="2223"/>
                </a:lnTo>
                <a:lnTo>
                  <a:pt x="3279" y="2222"/>
                </a:lnTo>
                <a:lnTo>
                  <a:pt x="3282" y="2228"/>
                </a:lnTo>
                <a:lnTo>
                  <a:pt x="3284" y="2230"/>
                </a:lnTo>
                <a:lnTo>
                  <a:pt x="3286" y="2230"/>
                </a:lnTo>
                <a:lnTo>
                  <a:pt x="3287" y="2228"/>
                </a:lnTo>
                <a:close/>
                <a:moveTo>
                  <a:pt x="3270" y="2198"/>
                </a:moveTo>
                <a:lnTo>
                  <a:pt x="3270" y="2196"/>
                </a:lnTo>
                <a:lnTo>
                  <a:pt x="3270" y="2193"/>
                </a:lnTo>
                <a:lnTo>
                  <a:pt x="3269" y="2198"/>
                </a:lnTo>
                <a:lnTo>
                  <a:pt x="3270" y="2199"/>
                </a:lnTo>
                <a:lnTo>
                  <a:pt x="3270" y="2198"/>
                </a:lnTo>
                <a:close/>
                <a:moveTo>
                  <a:pt x="1939" y="2198"/>
                </a:moveTo>
                <a:lnTo>
                  <a:pt x="1941" y="2198"/>
                </a:lnTo>
                <a:lnTo>
                  <a:pt x="1938" y="2198"/>
                </a:lnTo>
                <a:lnTo>
                  <a:pt x="1936" y="2198"/>
                </a:lnTo>
                <a:lnTo>
                  <a:pt x="1938" y="2199"/>
                </a:lnTo>
                <a:lnTo>
                  <a:pt x="1939" y="2198"/>
                </a:lnTo>
                <a:close/>
                <a:moveTo>
                  <a:pt x="1938" y="2198"/>
                </a:moveTo>
                <a:lnTo>
                  <a:pt x="1941" y="2198"/>
                </a:lnTo>
                <a:lnTo>
                  <a:pt x="1941" y="2199"/>
                </a:lnTo>
                <a:lnTo>
                  <a:pt x="1938" y="2199"/>
                </a:lnTo>
                <a:lnTo>
                  <a:pt x="1938" y="2198"/>
                </a:lnTo>
                <a:close/>
                <a:moveTo>
                  <a:pt x="1936" y="2201"/>
                </a:moveTo>
                <a:lnTo>
                  <a:pt x="1939" y="2201"/>
                </a:lnTo>
                <a:lnTo>
                  <a:pt x="1943" y="2199"/>
                </a:lnTo>
                <a:lnTo>
                  <a:pt x="1939" y="2199"/>
                </a:lnTo>
                <a:lnTo>
                  <a:pt x="1936" y="2198"/>
                </a:lnTo>
                <a:lnTo>
                  <a:pt x="1934" y="2199"/>
                </a:lnTo>
                <a:lnTo>
                  <a:pt x="1932" y="2199"/>
                </a:lnTo>
                <a:lnTo>
                  <a:pt x="1932" y="2201"/>
                </a:lnTo>
                <a:lnTo>
                  <a:pt x="1929" y="2203"/>
                </a:lnTo>
                <a:lnTo>
                  <a:pt x="1929" y="2204"/>
                </a:lnTo>
                <a:lnTo>
                  <a:pt x="1929" y="2203"/>
                </a:lnTo>
                <a:lnTo>
                  <a:pt x="1932" y="2204"/>
                </a:lnTo>
                <a:lnTo>
                  <a:pt x="1936" y="2201"/>
                </a:lnTo>
                <a:close/>
                <a:moveTo>
                  <a:pt x="1944" y="2199"/>
                </a:moveTo>
                <a:lnTo>
                  <a:pt x="1946" y="2199"/>
                </a:lnTo>
                <a:lnTo>
                  <a:pt x="1944" y="2199"/>
                </a:lnTo>
                <a:close/>
                <a:moveTo>
                  <a:pt x="1943" y="2199"/>
                </a:moveTo>
                <a:lnTo>
                  <a:pt x="1944" y="2199"/>
                </a:lnTo>
                <a:lnTo>
                  <a:pt x="1943" y="2199"/>
                </a:lnTo>
                <a:close/>
                <a:moveTo>
                  <a:pt x="1931" y="2199"/>
                </a:moveTo>
                <a:lnTo>
                  <a:pt x="1932" y="2199"/>
                </a:lnTo>
                <a:lnTo>
                  <a:pt x="1932" y="2201"/>
                </a:lnTo>
                <a:lnTo>
                  <a:pt x="1931" y="2201"/>
                </a:lnTo>
                <a:lnTo>
                  <a:pt x="1931" y="2199"/>
                </a:lnTo>
                <a:close/>
                <a:moveTo>
                  <a:pt x="1936" y="2203"/>
                </a:moveTo>
                <a:lnTo>
                  <a:pt x="1938" y="2203"/>
                </a:lnTo>
                <a:lnTo>
                  <a:pt x="1936" y="2203"/>
                </a:lnTo>
                <a:close/>
                <a:moveTo>
                  <a:pt x="1934" y="2203"/>
                </a:moveTo>
                <a:lnTo>
                  <a:pt x="1936" y="2203"/>
                </a:lnTo>
                <a:lnTo>
                  <a:pt x="1934" y="2203"/>
                </a:lnTo>
                <a:close/>
                <a:moveTo>
                  <a:pt x="1938" y="2204"/>
                </a:moveTo>
                <a:lnTo>
                  <a:pt x="1939" y="2203"/>
                </a:lnTo>
                <a:lnTo>
                  <a:pt x="1934" y="2204"/>
                </a:lnTo>
                <a:lnTo>
                  <a:pt x="1938" y="2204"/>
                </a:lnTo>
                <a:close/>
                <a:moveTo>
                  <a:pt x="1934" y="2203"/>
                </a:moveTo>
                <a:lnTo>
                  <a:pt x="1934" y="2204"/>
                </a:lnTo>
                <a:lnTo>
                  <a:pt x="1934" y="2203"/>
                </a:lnTo>
                <a:close/>
                <a:moveTo>
                  <a:pt x="1939" y="2203"/>
                </a:moveTo>
                <a:lnTo>
                  <a:pt x="1941" y="2203"/>
                </a:lnTo>
                <a:lnTo>
                  <a:pt x="1941" y="2204"/>
                </a:lnTo>
                <a:lnTo>
                  <a:pt x="1939" y="2204"/>
                </a:lnTo>
                <a:lnTo>
                  <a:pt x="1939" y="2203"/>
                </a:lnTo>
                <a:close/>
                <a:moveTo>
                  <a:pt x="1929" y="2204"/>
                </a:moveTo>
                <a:lnTo>
                  <a:pt x="1931" y="2204"/>
                </a:lnTo>
                <a:lnTo>
                  <a:pt x="1929" y="2204"/>
                </a:lnTo>
                <a:close/>
                <a:moveTo>
                  <a:pt x="1914" y="2206"/>
                </a:moveTo>
                <a:lnTo>
                  <a:pt x="1917" y="2204"/>
                </a:lnTo>
                <a:lnTo>
                  <a:pt x="1915" y="2204"/>
                </a:lnTo>
                <a:lnTo>
                  <a:pt x="1914" y="2204"/>
                </a:lnTo>
                <a:lnTo>
                  <a:pt x="1912" y="2206"/>
                </a:lnTo>
                <a:lnTo>
                  <a:pt x="1914" y="2206"/>
                </a:lnTo>
                <a:close/>
                <a:moveTo>
                  <a:pt x="1931" y="2206"/>
                </a:moveTo>
                <a:lnTo>
                  <a:pt x="1932" y="2204"/>
                </a:lnTo>
                <a:lnTo>
                  <a:pt x="1927" y="2206"/>
                </a:lnTo>
                <a:lnTo>
                  <a:pt x="1931" y="2206"/>
                </a:lnTo>
                <a:close/>
                <a:moveTo>
                  <a:pt x="1932" y="2204"/>
                </a:moveTo>
                <a:lnTo>
                  <a:pt x="1934" y="2204"/>
                </a:lnTo>
                <a:lnTo>
                  <a:pt x="1934" y="2206"/>
                </a:lnTo>
                <a:lnTo>
                  <a:pt x="1932" y="2206"/>
                </a:lnTo>
                <a:lnTo>
                  <a:pt x="1932" y="2204"/>
                </a:lnTo>
                <a:close/>
                <a:moveTo>
                  <a:pt x="1921" y="2206"/>
                </a:moveTo>
                <a:lnTo>
                  <a:pt x="1922" y="2206"/>
                </a:lnTo>
                <a:lnTo>
                  <a:pt x="1921" y="2206"/>
                </a:lnTo>
                <a:close/>
                <a:moveTo>
                  <a:pt x="1932" y="2206"/>
                </a:moveTo>
                <a:lnTo>
                  <a:pt x="1934" y="2206"/>
                </a:lnTo>
                <a:lnTo>
                  <a:pt x="1932" y="2206"/>
                </a:lnTo>
                <a:close/>
                <a:moveTo>
                  <a:pt x="1934" y="2206"/>
                </a:moveTo>
                <a:lnTo>
                  <a:pt x="1934" y="2208"/>
                </a:lnTo>
                <a:lnTo>
                  <a:pt x="1934" y="2206"/>
                </a:lnTo>
                <a:close/>
                <a:moveTo>
                  <a:pt x="1931" y="2206"/>
                </a:moveTo>
                <a:lnTo>
                  <a:pt x="1932" y="2206"/>
                </a:lnTo>
                <a:lnTo>
                  <a:pt x="1931" y="2206"/>
                </a:lnTo>
                <a:close/>
                <a:moveTo>
                  <a:pt x="1922" y="2208"/>
                </a:moveTo>
                <a:lnTo>
                  <a:pt x="1926" y="2208"/>
                </a:lnTo>
                <a:lnTo>
                  <a:pt x="1926" y="2210"/>
                </a:lnTo>
                <a:lnTo>
                  <a:pt x="1922" y="2210"/>
                </a:lnTo>
                <a:lnTo>
                  <a:pt x="1922" y="2208"/>
                </a:lnTo>
                <a:close/>
                <a:moveTo>
                  <a:pt x="1929" y="2208"/>
                </a:moveTo>
                <a:lnTo>
                  <a:pt x="1931" y="2208"/>
                </a:lnTo>
                <a:lnTo>
                  <a:pt x="1929" y="2208"/>
                </a:lnTo>
                <a:close/>
                <a:moveTo>
                  <a:pt x="1907" y="2213"/>
                </a:moveTo>
                <a:lnTo>
                  <a:pt x="1907" y="2211"/>
                </a:lnTo>
                <a:lnTo>
                  <a:pt x="1905" y="2211"/>
                </a:lnTo>
                <a:lnTo>
                  <a:pt x="1907" y="2211"/>
                </a:lnTo>
                <a:lnTo>
                  <a:pt x="1909" y="2210"/>
                </a:lnTo>
                <a:lnTo>
                  <a:pt x="1905" y="2211"/>
                </a:lnTo>
                <a:lnTo>
                  <a:pt x="1905" y="2213"/>
                </a:lnTo>
                <a:lnTo>
                  <a:pt x="1907" y="2213"/>
                </a:lnTo>
                <a:close/>
                <a:moveTo>
                  <a:pt x="1905" y="2213"/>
                </a:moveTo>
                <a:lnTo>
                  <a:pt x="1907" y="2213"/>
                </a:lnTo>
                <a:lnTo>
                  <a:pt x="1905" y="2213"/>
                </a:lnTo>
                <a:close/>
                <a:moveTo>
                  <a:pt x="3275" y="2227"/>
                </a:moveTo>
                <a:lnTo>
                  <a:pt x="3275" y="2228"/>
                </a:lnTo>
                <a:lnTo>
                  <a:pt x="3275" y="2227"/>
                </a:lnTo>
                <a:close/>
                <a:moveTo>
                  <a:pt x="3272" y="2240"/>
                </a:moveTo>
                <a:lnTo>
                  <a:pt x="3272" y="2242"/>
                </a:lnTo>
                <a:lnTo>
                  <a:pt x="3272" y="2240"/>
                </a:lnTo>
                <a:close/>
                <a:moveTo>
                  <a:pt x="3298" y="2307"/>
                </a:moveTo>
                <a:lnTo>
                  <a:pt x="3296" y="2305"/>
                </a:lnTo>
                <a:lnTo>
                  <a:pt x="3298" y="2301"/>
                </a:lnTo>
                <a:lnTo>
                  <a:pt x="3299" y="2301"/>
                </a:lnTo>
                <a:lnTo>
                  <a:pt x="3301" y="2303"/>
                </a:lnTo>
                <a:lnTo>
                  <a:pt x="3303" y="2300"/>
                </a:lnTo>
                <a:lnTo>
                  <a:pt x="3303" y="2298"/>
                </a:lnTo>
                <a:lnTo>
                  <a:pt x="3304" y="2295"/>
                </a:lnTo>
                <a:lnTo>
                  <a:pt x="3304" y="2288"/>
                </a:lnTo>
                <a:lnTo>
                  <a:pt x="3303" y="2291"/>
                </a:lnTo>
                <a:lnTo>
                  <a:pt x="3301" y="2295"/>
                </a:lnTo>
                <a:lnTo>
                  <a:pt x="3299" y="2295"/>
                </a:lnTo>
                <a:lnTo>
                  <a:pt x="3298" y="2296"/>
                </a:lnTo>
                <a:lnTo>
                  <a:pt x="3299" y="2296"/>
                </a:lnTo>
                <a:lnTo>
                  <a:pt x="3294" y="2298"/>
                </a:lnTo>
                <a:lnTo>
                  <a:pt x="3296" y="2300"/>
                </a:lnTo>
                <a:lnTo>
                  <a:pt x="3292" y="2301"/>
                </a:lnTo>
                <a:lnTo>
                  <a:pt x="3289" y="2305"/>
                </a:lnTo>
                <a:lnTo>
                  <a:pt x="3291" y="2307"/>
                </a:lnTo>
                <a:lnTo>
                  <a:pt x="3294" y="2307"/>
                </a:lnTo>
                <a:lnTo>
                  <a:pt x="3298" y="2307"/>
                </a:lnTo>
                <a:close/>
                <a:moveTo>
                  <a:pt x="3299" y="2303"/>
                </a:moveTo>
                <a:lnTo>
                  <a:pt x="3301" y="2303"/>
                </a:lnTo>
                <a:lnTo>
                  <a:pt x="3301" y="2305"/>
                </a:lnTo>
                <a:lnTo>
                  <a:pt x="3299" y="2305"/>
                </a:lnTo>
                <a:lnTo>
                  <a:pt x="3299" y="2303"/>
                </a:lnTo>
                <a:close/>
                <a:moveTo>
                  <a:pt x="3284" y="2303"/>
                </a:moveTo>
                <a:lnTo>
                  <a:pt x="3286" y="2303"/>
                </a:lnTo>
                <a:lnTo>
                  <a:pt x="3286" y="2305"/>
                </a:lnTo>
                <a:lnTo>
                  <a:pt x="3284" y="2305"/>
                </a:lnTo>
                <a:lnTo>
                  <a:pt x="3284" y="2303"/>
                </a:lnTo>
                <a:close/>
                <a:moveTo>
                  <a:pt x="3299" y="2308"/>
                </a:moveTo>
                <a:lnTo>
                  <a:pt x="3299" y="2307"/>
                </a:lnTo>
                <a:lnTo>
                  <a:pt x="3299" y="2305"/>
                </a:lnTo>
                <a:lnTo>
                  <a:pt x="3299" y="2307"/>
                </a:lnTo>
                <a:lnTo>
                  <a:pt x="3298" y="2307"/>
                </a:lnTo>
                <a:lnTo>
                  <a:pt x="3298" y="2308"/>
                </a:lnTo>
                <a:lnTo>
                  <a:pt x="3299" y="2308"/>
                </a:lnTo>
                <a:close/>
                <a:moveTo>
                  <a:pt x="3298" y="2305"/>
                </a:moveTo>
                <a:lnTo>
                  <a:pt x="3298" y="2307"/>
                </a:lnTo>
                <a:lnTo>
                  <a:pt x="3298" y="2305"/>
                </a:lnTo>
                <a:close/>
                <a:moveTo>
                  <a:pt x="3294" y="2310"/>
                </a:moveTo>
                <a:lnTo>
                  <a:pt x="3296" y="2310"/>
                </a:lnTo>
                <a:lnTo>
                  <a:pt x="3294" y="2310"/>
                </a:lnTo>
                <a:close/>
                <a:moveTo>
                  <a:pt x="3284" y="2332"/>
                </a:moveTo>
                <a:lnTo>
                  <a:pt x="3286" y="2332"/>
                </a:lnTo>
                <a:lnTo>
                  <a:pt x="3286" y="2334"/>
                </a:lnTo>
                <a:lnTo>
                  <a:pt x="3284" y="2334"/>
                </a:lnTo>
                <a:lnTo>
                  <a:pt x="3284" y="2332"/>
                </a:lnTo>
                <a:close/>
                <a:moveTo>
                  <a:pt x="3281" y="2351"/>
                </a:moveTo>
                <a:lnTo>
                  <a:pt x="3281" y="2352"/>
                </a:lnTo>
                <a:lnTo>
                  <a:pt x="3281" y="2351"/>
                </a:lnTo>
                <a:close/>
                <a:moveTo>
                  <a:pt x="3279" y="2351"/>
                </a:moveTo>
                <a:lnTo>
                  <a:pt x="3281" y="2351"/>
                </a:lnTo>
                <a:lnTo>
                  <a:pt x="3281" y="2352"/>
                </a:lnTo>
                <a:lnTo>
                  <a:pt x="3279" y="2352"/>
                </a:lnTo>
                <a:lnTo>
                  <a:pt x="3279" y="2351"/>
                </a:lnTo>
                <a:close/>
                <a:moveTo>
                  <a:pt x="3279" y="2352"/>
                </a:moveTo>
                <a:lnTo>
                  <a:pt x="3282" y="2352"/>
                </a:lnTo>
                <a:lnTo>
                  <a:pt x="3279" y="2352"/>
                </a:lnTo>
                <a:close/>
                <a:moveTo>
                  <a:pt x="1948" y="2352"/>
                </a:moveTo>
                <a:lnTo>
                  <a:pt x="1948" y="2354"/>
                </a:lnTo>
                <a:lnTo>
                  <a:pt x="1948" y="2352"/>
                </a:lnTo>
                <a:close/>
                <a:moveTo>
                  <a:pt x="3284" y="2354"/>
                </a:moveTo>
                <a:lnTo>
                  <a:pt x="3286" y="2354"/>
                </a:lnTo>
                <a:lnTo>
                  <a:pt x="3286" y="2358"/>
                </a:lnTo>
                <a:lnTo>
                  <a:pt x="3284" y="2358"/>
                </a:lnTo>
                <a:lnTo>
                  <a:pt x="3284" y="2354"/>
                </a:lnTo>
                <a:close/>
                <a:moveTo>
                  <a:pt x="3326" y="2421"/>
                </a:moveTo>
                <a:lnTo>
                  <a:pt x="3326" y="2422"/>
                </a:lnTo>
                <a:lnTo>
                  <a:pt x="3326" y="2421"/>
                </a:lnTo>
                <a:close/>
                <a:moveTo>
                  <a:pt x="3328" y="2422"/>
                </a:moveTo>
                <a:lnTo>
                  <a:pt x="3328" y="2424"/>
                </a:lnTo>
                <a:lnTo>
                  <a:pt x="3328" y="2422"/>
                </a:lnTo>
                <a:close/>
                <a:moveTo>
                  <a:pt x="3342" y="2448"/>
                </a:moveTo>
                <a:lnTo>
                  <a:pt x="3343" y="2448"/>
                </a:lnTo>
                <a:lnTo>
                  <a:pt x="3343" y="2449"/>
                </a:lnTo>
                <a:lnTo>
                  <a:pt x="3342" y="2449"/>
                </a:lnTo>
                <a:lnTo>
                  <a:pt x="3342" y="2448"/>
                </a:lnTo>
                <a:close/>
                <a:moveTo>
                  <a:pt x="3342" y="2449"/>
                </a:moveTo>
                <a:lnTo>
                  <a:pt x="3343" y="2449"/>
                </a:lnTo>
                <a:lnTo>
                  <a:pt x="3343" y="2453"/>
                </a:lnTo>
                <a:lnTo>
                  <a:pt x="3342" y="2453"/>
                </a:lnTo>
                <a:lnTo>
                  <a:pt x="3342" y="2449"/>
                </a:lnTo>
                <a:close/>
                <a:moveTo>
                  <a:pt x="3340" y="2455"/>
                </a:moveTo>
                <a:lnTo>
                  <a:pt x="3342" y="2455"/>
                </a:lnTo>
                <a:lnTo>
                  <a:pt x="3340" y="2455"/>
                </a:lnTo>
                <a:close/>
                <a:moveTo>
                  <a:pt x="3345" y="2460"/>
                </a:moveTo>
                <a:lnTo>
                  <a:pt x="3342" y="2461"/>
                </a:lnTo>
                <a:lnTo>
                  <a:pt x="3340" y="2460"/>
                </a:lnTo>
                <a:lnTo>
                  <a:pt x="3342" y="2461"/>
                </a:lnTo>
                <a:lnTo>
                  <a:pt x="3345" y="2460"/>
                </a:lnTo>
                <a:close/>
                <a:moveTo>
                  <a:pt x="3342" y="2466"/>
                </a:moveTo>
                <a:lnTo>
                  <a:pt x="3345" y="2466"/>
                </a:lnTo>
                <a:lnTo>
                  <a:pt x="3345" y="2468"/>
                </a:lnTo>
                <a:lnTo>
                  <a:pt x="3342" y="2468"/>
                </a:lnTo>
                <a:lnTo>
                  <a:pt x="3342" y="2466"/>
                </a:lnTo>
                <a:close/>
                <a:moveTo>
                  <a:pt x="3338" y="2468"/>
                </a:moveTo>
                <a:lnTo>
                  <a:pt x="3342" y="2468"/>
                </a:lnTo>
                <a:lnTo>
                  <a:pt x="3338" y="2468"/>
                </a:lnTo>
                <a:close/>
                <a:moveTo>
                  <a:pt x="3486" y="2506"/>
                </a:moveTo>
                <a:lnTo>
                  <a:pt x="3488" y="2504"/>
                </a:lnTo>
                <a:lnTo>
                  <a:pt x="3485" y="2500"/>
                </a:lnTo>
                <a:lnTo>
                  <a:pt x="3485" y="2497"/>
                </a:lnTo>
                <a:lnTo>
                  <a:pt x="3481" y="2492"/>
                </a:lnTo>
                <a:lnTo>
                  <a:pt x="3483" y="2480"/>
                </a:lnTo>
                <a:lnTo>
                  <a:pt x="3481" y="2478"/>
                </a:lnTo>
                <a:lnTo>
                  <a:pt x="3479" y="2477"/>
                </a:lnTo>
                <a:lnTo>
                  <a:pt x="3476" y="2478"/>
                </a:lnTo>
                <a:lnTo>
                  <a:pt x="3474" y="2480"/>
                </a:lnTo>
                <a:lnTo>
                  <a:pt x="3474" y="2494"/>
                </a:lnTo>
                <a:lnTo>
                  <a:pt x="3473" y="2495"/>
                </a:lnTo>
                <a:lnTo>
                  <a:pt x="3473" y="2497"/>
                </a:lnTo>
                <a:lnTo>
                  <a:pt x="3476" y="2502"/>
                </a:lnTo>
                <a:lnTo>
                  <a:pt x="3481" y="2502"/>
                </a:lnTo>
                <a:lnTo>
                  <a:pt x="3483" y="2506"/>
                </a:lnTo>
                <a:lnTo>
                  <a:pt x="3485" y="2507"/>
                </a:lnTo>
                <a:lnTo>
                  <a:pt x="3486" y="2506"/>
                </a:lnTo>
                <a:close/>
                <a:moveTo>
                  <a:pt x="3578" y="3198"/>
                </a:moveTo>
                <a:lnTo>
                  <a:pt x="3590" y="3198"/>
                </a:lnTo>
                <a:lnTo>
                  <a:pt x="3595" y="3195"/>
                </a:lnTo>
                <a:lnTo>
                  <a:pt x="3598" y="3191"/>
                </a:lnTo>
                <a:lnTo>
                  <a:pt x="3607" y="3186"/>
                </a:lnTo>
                <a:lnTo>
                  <a:pt x="3624" y="3179"/>
                </a:lnTo>
                <a:lnTo>
                  <a:pt x="3631" y="3178"/>
                </a:lnTo>
                <a:lnTo>
                  <a:pt x="3638" y="3178"/>
                </a:lnTo>
                <a:lnTo>
                  <a:pt x="3644" y="3178"/>
                </a:lnTo>
                <a:lnTo>
                  <a:pt x="3646" y="3179"/>
                </a:lnTo>
                <a:lnTo>
                  <a:pt x="3649" y="3178"/>
                </a:lnTo>
                <a:lnTo>
                  <a:pt x="3651" y="3176"/>
                </a:lnTo>
                <a:lnTo>
                  <a:pt x="3649" y="3176"/>
                </a:lnTo>
                <a:lnTo>
                  <a:pt x="3649" y="3174"/>
                </a:lnTo>
                <a:lnTo>
                  <a:pt x="3649" y="3176"/>
                </a:lnTo>
                <a:lnTo>
                  <a:pt x="3653" y="3176"/>
                </a:lnTo>
                <a:lnTo>
                  <a:pt x="3655" y="3174"/>
                </a:lnTo>
                <a:lnTo>
                  <a:pt x="3656" y="3172"/>
                </a:lnTo>
                <a:lnTo>
                  <a:pt x="3660" y="3172"/>
                </a:lnTo>
                <a:lnTo>
                  <a:pt x="3658" y="3171"/>
                </a:lnTo>
                <a:lnTo>
                  <a:pt x="3660" y="3171"/>
                </a:lnTo>
                <a:lnTo>
                  <a:pt x="3658" y="3171"/>
                </a:lnTo>
                <a:lnTo>
                  <a:pt x="3660" y="3171"/>
                </a:lnTo>
                <a:lnTo>
                  <a:pt x="3660" y="3169"/>
                </a:lnTo>
                <a:lnTo>
                  <a:pt x="3660" y="3171"/>
                </a:lnTo>
                <a:lnTo>
                  <a:pt x="3661" y="3171"/>
                </a:lnTo>
                <a:lnTo>
                  <a:pt x="3661" y="3172"/>
                </a:lnTo>
                <a:lnTo>
                  <a:pt x="3663" y="3171"/>
                </a:lnTo>
                <a:lnTo>
                  <a:pt x="3663" y="3169"/>
                </a:lnTo>
                <a:lnTo>
                  <a:pt x="3665" y="3167"/>
                </a:lnTo>
                <a:lnTo>
                  <a:pt x="3668" y="3167"/>
                </a:lnTo>
                <a:lnTo>
                  <a:pt x="3666" y="3167"/>
                </a:lnTo>
                <a:lnTo>
                  <a:pt x="3666" y="3166"/>
                </a:lnTo>
                <a:lnTo>
                  <a:pt x="3668" y="3167"/>
                </a:lnTo>
                <a:lnTo>
                  <a:pt x="3670" y="3166"/>
                </a:lnTo>
                <a:lnTo>
                  <a:pt x="3668" y="3164"/>
                </a:lnTo>
                <a:lnTo>
                  <a:pt x="3670" y="3164"/>
                </a:lnTo>
                <a:lnTo>
                  <a:pt x="3670" y="3166"/>
                </a:lnTo>
                <a:lnTo>
                  <a:pt x="3672" y="3164"/>
                </a:lnTo>
                <a:lnTo>
                  <a:pt x="3670" y="3162"/>
                </a:lnTo>
                <a:lnTo>
                  <a:pt x="3670" y="3161"/>
                </a:lnTo>
                <a:lnTo>
                  <a:pt x="3672" y="3159"/>
                </a:lnTo>
                <a:lnTo>
                  <a:pt x="3673" y="3157"/>
                </a:lnTo>
                <a:lnTo>
                  <a:pt x="3672" y="3157"/>
                </a:lnTo>
                <a:lnTo>
                  <a:pt x="3673" y="3157"/>
                </a:lnTo>
                <a:lnTo>
                  <a:pt x="3673" y="3154"/>
                </a:lnTo>
                <a:lnTo>
                  <a:pt x="3678" y="3145"/>
                </a:lnTo>
                <a:lnTo>
                  <a:pt x="3682" y="3133"/>
                </a:lnTo>
                <a:lnTo>
                  <a:pt x="3687" y="3121"/>
                </a:lnTo>
                <a:lnTo>
                  <a:pt x="3687" y="3120"/>
                </a:lnTo>
                <a:lnTo>
                  <a:pt x="3689" y="3120"/>
                </a:lnTo>
                <a:lnTo>
                  <a:pt x="3694" y="3109"/>
                </a:lnTo>
                <a:lnTo>
                  <a:pt x="3694" y="3108"/>
                </a:lnTo>
                <a:lnTo>
                  <a:pt x="3692" y="3108"/>
                </a:lnTo>
                <a:lnTo>
                  <a:pt x="3694" y="3108"/>
                </a:lnTo>
                <a:lnTo>
                  <a:pt x="3695" y="3098"/>
                </a:lnTo>
                <a:lnTo>
                  <a:pt x="3694" y="3098"/>
                </a:lnTo>
                <a:lnTo>
                  <a:pt x="3692" y="3098"/>
                </a:lnTo>
                <a:lnTo>
                  <a:pt x="3694" y="3098"/>
                </a:lnTo>
                <a:lnTo>
                  <a:pt x="3694" y="3096"/>
                </a:lnTo>
                <a:lnTo>
                  <a:pt x="3694" y="3094"/>
                </a:lnTo>
                <a:lnTo>
                  <a:pt x="3694" y="3096"/>
                </a:lnTo>
                <a:lnTo>
                  <a:pt x="3695" y="3096"/>
                </a:lnTo>
                <a:lnTo>
                  <a:pt x="3695" y="3098"/>
                </a:lnTo>
                <a:lnTo>
                  <a:pt x="3697" y="3091"/>
                </a:lnTo>
                <a:lnTo>
                  <a:pt x="3699" y="3084"/>
                </a:lnTo>
                <a:lnTo>
                  <a:pt x="3699" y="3086"/>
                </a:lnTo>
                <a:lnTo>
                  <a:pt x="3699" y="3084"/>
                </a:lnTo>
                <a:lnTo>
                  <a:pt x="3700" y="3081"/>
                </a:lnTo>
                <a:lnTo>
                  <a:pt x="3702" y="3074"/>
                </a:lnTo>
                <a:lnTo>
                  <a:pt x="3706" y="3065"/>
                </a:lnTo>
                <a:lnTo>
                  <a:pt x="3707" y="3055"/>
                </a:lnTo>
                <a:lnTo>
                  <a:pt x="3709" y="3041"/>
                </a:lnTo>
                <a:lnTo>
                  <a:pt x="3712" y="3033"/>
                </a:lnTo>
                <a:lnTo>
                  <a:pt x="3719" y="3016"/>
                </a:lnTo>
                <a:lnTo>
                  <a:pt x="3724" y="3002"/>
                </a:lnTo>
                <a:lnTo>
                  <a:pt x="3726" y="2999"/>
                </a:lnTo>
                <a:lnTo>
                  <a:pt x="3728" y="2995"/>
                </a:lnTo>
                <a:lnTo>
                  <a:pt x="3726" y="2995"/>
                </a:lnTo>
                <a:lnTo>
                  <a:pt x="3726" y="2994"/>
                </a:lnTo>
                <a:lnTo>
                  <a:pt x="3728" y="2994"/>
                </a:lnTo>
                <a:lnTo>
                  <a:pt x="3726" y="2999"/>
                </a:lnTo>
                <a:lnTo>
                  <a:pt x="3729" y="2989"/>
                </a:lnTo>
                <a:lnTo>
                  <a:pt x="3731" y="2982"/>
                </a:lnTo>
                <a:lnTo>
                  <a:pt x="3733" y="2980"/>
                </a:lnTo>
                <a:lnTo>
                  <a:pt x="3731" y="2978"/>
                </a:lnTo>
                <a:lnTo>
                  <a:pt x="3733" y="2978"/>
                </a:lnTo>
                <a:lnTo>
                  <a:pt x="3736" y="2965"/>
                </a:lnTo>
                <a:lnTo>
                  <a:pt x="3738" y="2965"/>
                </a:lnTo>
                <a:lnTo>
                  <a:pt x="3736" y="2967"/>
                </a:lnTo>
                <a:lnTo>
                  <a:pt x="3736" y="2965"/>
                </a:lnTo>
                <a:lnTo>
                  <a:pt x="3736" y="2963"/>
                </a:lnTo>
                <a:lnTo>
                  <a:pt x="3738" y="2965"/>
                </a:lnTo>
                <a:lnTo>
                  <a:pt x="3738" y="2958"/>
                </a:lnTo>
                <a:lnTo>
                  <a:pt x="3740" y="2956"/>
                </a:lnTo>
                <a:lnTo>
                  <a:pt x="3740" y="2950"/>
                </a:lnTo>
                <a:lnTo>
                  <a:pt x="3745" y="2936"/>
                </a:lnTo>
                <a:lnTo>
                  <a:pt x="3746" y="2931"/>
                </a:lnTo>
                <a:lnTo>
                  <a:pt x="3757" y="2910"/>
                </a:lnTo>
                <a:lnTo>
                  <a:pt x="3755" y="2912"/>
                </a:lnTo>
                <a:lnTo>
                  <a:pt x="3757" y="2910"/>
                </a:lnTo>
                <a:lnTo>
                  <a:pt x="3757" y="2907"/>
                </a:lnTo>
                <a:lnTo>
                  <a:pt x="3758" y="2897"/>
                </a:lnTo>
                <a:lnTo>
                  <a:pt x="3765" y="2882"/>
                </a:lnTo>
                <a:lnTo>
                  <a:pt x="3765" y="2875"/>
                </a:lnTo>
                <a:lnTo>
                  <a:pt x="3770" y="2863"/>
                </a:lnTo>
                <a:lnTo>
                  <a:pt x="3777" y="2846"/>
                </a:lnTo>
                <a:lnTo>
                  <a:pt x="3782" y="2834"/>
                </a:lnTo>
                <a:lnTo>
                  <a:pt x="3784" y="2824"/>
                </a:lnTo>
                <a:lnTo>
                  <a:pt x="3785" y="2822"/>
                </a:lnTo>
                <a:lnTo>
                  <a:pt x="3787" y="2822"/>
                </a:lnTo>
                <a:lnTo>
                  <a:pt x="3785" y="2817"/>
                </a:lnTo>
                <a:lnTo>
                  <a:pt x="3785" y="2815"/>
                </a:lnTo>
                <a:lnTo>
                  <a:pt x="3792" y="2798"/>
                </a:lnTo>
                <a:lnTo>
                  <a:pt x="3792" y="2796"/>
                </a:lnTo>
                <a:lnTo>
                  <a:pt x="3790" y="2796"/>
                </a:lnTo>
                <a:lnTo>
                  <a:pt x="3789" y="2793"/>
                </a:lnTo>
                <a:lnTo>
                  <a:pt x="3789" y="2790"/>
                </a:lnTo>
                <a:lnTo>
                  <a:pt x="3789" y="2788"/>
                </a:lnTo>
                <a:lnTo>
                  <a:pt x="3787" y="2786"/>
                </a:lnTo>
                <a:lnTo>
                  <a:pt x="3789" y="2785"/>
                </a:lnTo>
                <a:lnTo>
                  <a:pt x="3785" y="2781"/>
                </a:lnTo>
                <a:lnTo>
                  <a:pt x="3787" y="2779"/>
                </a:lnTo>
                <a:lnTo>
                  <a:pt x="3796" y="2759"/>
                </a:lnTo>
                <a:lnTo>
                  <a:pt x="3799" y="2757"/>
                </a:lnTo>
                <a:lnTo>
                  <a:pt x="3807" y="2756"/>
                </a:lnTo>
                <a:lnTo>
                  <a:pt x="3806" y="2754"/>
                </a:lnTo>
                <a:lnTo>
                  <a:pt x="3804" y="2754"/>
                </a:lnTo>
                <a:lnTo>
                  <a:pt x="3802" y="2751"/>
                </a:lnTo>
                <a:lnTo>
                  <a:pt x="3802" y="2749"/>
                </a:lnTo>
                <a:lnTo>
                  <a:pt x="3802" y="2747"/>
                </a:lnTo>
                <a:lnTo>
                  <a:pt x="3804" y="2747"/>
                </a:lnTo>
                <a:lnTo>
                  <a:pt x="3802" y="2749"/>
                </a:lnTo>
                <a:lnTo>
                  <a:pt x="3804" y="2747"/>
                </a:lnTo>
                <a:lnTo>
                  <a:pt x="3806" y="2744"/>
                </a:lnTo>
                <a:lnTo>
                  <a:pt x="3806" y="2742"/>
                </a:lnTo>
                <a:lnTo>
                  <a:pt x="3807" y="2740"/>
                </a:lnTo>
                <a:lnTo>
                  <a:pt x="3807" y="2739"/>
                </a:lnTo>
                <a:lnTo>
                  <a:pt x="3809" y="2735"/>
                </a:lnTo>
                <a:lnTo>
                  <a:pt x="3809" y="2734"/>
                </a:lnTo>
                <a:lnTo>
                  <a:pt x="3807" y="2734"/>
                </a:lnTo>
                <a:lnTo>
                  <a:pt x="3807" y="2732"/>
                </a:lnTo>
                <a:lnTo>
                  <a:pt x="3806" y="2730"/>
                </a:lnTo>
                <a:lnTo>
                  <a:pt x="3807" y="2725"/>
                </a:lnTo>
                <a:lnTo>
                  <a:pt x="3809" y="2725"/>
                </a:lnTo>
                <a:lnTo>
                  <a:pt x="3809" y="2722"/>
                </a:lnTo>
                <a:lnTo>
                  <a:pt x="3809" y="2723"/>
                </a:lnTo>
                <a:lnTo>
                  <a:pt x="3807" y="2722"/>
                </a:lnTo>
                <a:lnTo>
                  <a:pt x="3802" y="2720"/>
                </a:lnTo>
                <a:lnTo>
                  <a:pt x="3799" y="2715"/>
                </a:lnTo>
                <a:lnTo>
                  <a:pt x="3799" y="2711"/>
                </a:lnTo>
                <a:lnTo>
                  <a:pt x="3802" y="2708"/>
                </a:lnTo>
                <a:lnTo>
                  <a:pt x="3801" y="2706"/>
                </a:lnTo>
                <a:lnTo>
                  <a:pt x="3801" y="2705"/>
                </a:lnTo>
                <a:lnTo>
                  <a:pt x="3799" y="2698"/>
                </a:lnTo>
                <a:lnTo>
                  <a:pt x="3797" y="2696"/>
                </a:lnTo>
                <a:lnTo>
                  <a:pt x="3797" y="2694"/>
                </a:lnTo>
                <a:lnTo>
                  <a:pt x="3797" y="2693"/>
                </a:lnTo>
                <a:lnTo>
                  <a:pt x="3796" y="2689"/>
                </a:lnTo>
                <a:lnTo>
                  <a:pt x="3801" y="2684"/>
                </a:lnTo>
                <a:lnTo>
                  <a:pt x="3802" y="2684"/>
                </a:lnTo>
                <a:lnTo>
                  <a:pt x="3804" y="2684"/>
                </a:lnTo>
                <a:lnTo>
                  <a:pt x="3806" y="2684"/>
                </a:lnTo>
                <a:lnTo>
                  <a:pt x="3807" y="2684"/>
                </a:lnTo>
                <a:lnTo>
                  <a:pt x="3809" y="2682"/>
                </a:lnTo>
                <a:lnTo>
                  <a:pt x="3811" y="2684"/>
                </a:lnTo>
                <a:lnTo>
                  <a:pt x="3811" y="2686"/>
                </a:lnTo>
                <a:lnTo>
                  <a:pt x="3811" y="2688"/>
                </a:lnTo>
                <a:lnTo>
                  <a:pt x="3811" y="2689"/>
                </a:lnTo>
                <a:lnTo>
                  <a:pt x="3813" y="2693"/>
                </a:lnTo>
                <a:lnTo>
                  <a:pt x="3814" y="2693"/>
                </a:lnTo>
                <a:lnTo>
                  <a:pt x="3814" y="2694"/>
                </a:lnTo>
                <a:lnTo>
                  <a:pt x="3814" y="2700"/>
                </a:lnTo>
                <a:lnTo>
                  <a:pt x="3816" y="2701"/>
                </a:lnTo>
                <a:lnTo>
                  <a:pt x="3816" y="2706"/>
                </a:lnTo>
                <a:lnTo>
                  <a:pt x="3819" y="2708"/>
                </a:lnTo>
                <a:lnTo>
                  <a:pt x="3823" y="2710"/>
                </a:lnTo>
                <a:lnTo>
                  <a:pt x="3824" y="2711"/>
                </a:lnTo>
                <a:lnTo>
                  <a:pt x="3828" y="2711"/>
                </a:lnTo>
                <a:lnTo>
                  <a:pt x="3828" y="2710"/>
                </a:lnTo>
                <a:lnTo>
                  <a:pt x="3826" y="2710"/>
                </a:lnTo>
                <a:lnTo>
                  <a:pt x="3828" y="2708"/>
                </a:lnTo>
                <a:lnTo>
                  <a:pt x="3831" y="2706"/>
                </a:lnTo>
                <a:lnTo>
                  <a:pt x="3831" y="2703"/>
                </a:lnTo>
                <a:lnTo>
                  <a:pt x="3833" y="2703"/>
                </a:lnTo>
                <a:lnTo>
                  <a:pt x="3831" y="2703"/>
                </a:lnTo>
                <a:lnTo>
                  <a:pt x="3833" y="2696"/>
                </a:lnTo>
                <a:lnTo>
                  <a:pt x="3836" y="2691"/>
                </a:lnTo>
                <a:lnTo>
                  <a:pt x="3838" y="2686"/>
                </a:lnTo>
                <a:lnTo>
                  <a:pt x="3840" y="2684"/>
                </a:lnTo>
                <a:lnTo>
                  <a:pt x="3838" y="2684"/>
                </a:lnTo>
                <a:lnTo>
                  <a:pt x="3840" y="2682"/>
                </a:lnTo>
                <a:lnTo>
                  <a:pt x="3840" y="2681"/>
                </a:lnTo>
                <a:lnTo>
                  <a:pt x="3840" y="2679"/>
                </a:lnTo>
                <a:lnTo>
                  <a:pt x="3840" y="2676"/>
                </a:lnTo>
                <a:lnTo>
                  <a:pt x="3840" y="2674"/>
                </a:lnTo>
                <a:lnTo>
                  <a:pt x="3840" y="2672"/>
                </a:lnTo>
                <a:lnTo>
                  <a:pt x="3838" y="2671"/>
                </a:lnTo>
                <a:lnTo>
                  <a:pt x="3838" y="2669"/>
                </a:lnTo>
                <a:lnTo>
                  <a:pt x="3833" y="2664"/>
                </a:lnTo>
                <a:lnTo>
                  <a:pt x="3831" y="2659"/>
                </a:lnTo>
                <a:lnTo>
                  <a:pt x="3828" y="2652"/>
                </a:lnTo>
                <a:lnTo>
                  <a:pt x="3828" y="2650"/>
                </a:lnTo>
                <a:lnTo>
                  <a:pt x="3826" y="2645"/>
                </a:lnTo>
                <a:lnTo>
                  <a:pt x="3824" y="2640"/>
                </a:lnTo>
                <a:lnTo>
                  <a:pt x="3824" y="2633"/>
                </a:lnTo>
                <a:lnTo>
                  <a:pt x="3826" y="2626"/>
                </a:lnTo>
                <a:lnTo>
                  <a:pt x="3824" y="2625"/>
                </a:lnTo>
                <a:lnTo>
                  <a:pt x="3823" y="2623"/>
                </a:lnTo>
                <a:lnTo>
                  <a:pt x="3824" y="2614"/>
                </a:lnTo>
                <a:lnTo>
                  <a:pt x="3823" y="2611"/>
                </a:lnTo>
                <a:lnTo>
                  <a:pt x="3823" y="2601"/>
                </a:lnTo>
                <a:lnTo>
                  <a:pt x="3819" y="2594"/>
                </a:lnTo>
                <a:lnTo>
                  <a:pt x="3819" y="2592"/>
                </a:lnTo>
                <a:lnTo>
                  <a:pt x="3819" y="2591"/>
                </a:lnTo>
                <a:lnTo>
                  <a:pt x="3819" y="2589"/>
                </a:lnTo>
                <a:lnTo>
                  <a:pt x="3818" y="2587"/>
                </a:lnTo>
                <a:lnTo>
                  <a:pt x="3816" y="2582"/>
                </a:lnTo>
                <a:lnTo>
                  <a:pt x="3818" y="2580"/>
                </a:lnTo>
                <a:lnTo>
                  <a:pt x="3816" y="2579"/>
                </a:lnTo>
                <a:lnTo>
                  <a:pt x="3814" y="2579"/>
                </a:lnTo>
                <a:lnTo>
                  <a:pt x="3814" y="2577"/>
                </a:lnTo>
                <a:lnTo>
                  <a:pt x="3814" y="2575"/>
                </a:lnTo>
                <a:lnTo>
                  <a:pt x="3813" y="2574"/>
                </a:lnTo>
                <a:lnTo>
                  <a:pt x="3813" y="2570"/>
                </a:lnTo>
                <a:lnTo>
                  <a:pt x="3811" y="2570"/>
                </a:lnTo>
                <a:lnTo>
                  <a:pt x="3813" y="2563"/>
                </a:lnTo>
                <a:lnTo>
                  <a:pt x="3811" y="2560"/>
                </a:lnTo>
                <a:lnTo>
                  <a:pt x="3809" y="2557"/>
                </a:lnTo>
                <a:lnTo>
                  <a:pt x="3809" y="2558"/>
                </a:lnTo>
                <a:lnTo>
                  <a:pt x="3807" y="2557"/>
                </a:lnTo>
                <a:lnTo>
                  <a:pt x="3809" y="2555"/>
                </a:lnTo>
                <a:lnTo>
                  <a:pt x="3807" y="2555"/>
                </a:lnTo>
                <a:lnTo>
                  <a:pt x="3806" y="2555"/>
                </a:lnTo>
                <a:lnTo>
                  <a:pt x="3804" y="2552"/>
                </a:lnTo>
                <a:lnTo>
                  <a:pt x="3806" y="2552"/>
                </a:lnTo>
                <a:lnTo>
                  <a:pt x="3804" y="2550"/>
                </a:lnTo>
                <a:lnTo>
                  <a:pt x="3802" y="2548"/>
                </a:lnTo>
                <a:lnTo>
                  <a:pt x="3802" y="2550"/>
                </a:lnTo>
                <a:lnTo>
                  <a:pt x="3801" y="2548"/>
                </a:lnTo>
                <a:lnTo>
                  <a:pt x="3802" y="2548"/>
                </a:lnTo>
                <a:lnTo>
                  <a:pt x="3801" y="2546"/>
                </a:lnTo>
                <a:lnTo>
                  <a:pt x="3801" y="2550"/>
                </a:lnTo>
                <a:lnTo>
                  <a:pt x="3799" y="2550"/>
                </a:lnTo>
                <a:lnTo>
                  <a:pt x="3799" y="2552"/>
                </a:lnTo>
                <a:lnTo>
                  <a:pt x="3799" y="2550"/>
                </a:lnTo>
                <a:lnTo>
                  <a:pt x="3797" y="2552"/>
                </a:lnTo>
                <a:lnTo>
                  <a:pt x="3799" y="2550"/>
                </a:lnTo>
                <a:lnTo>
                  <a:pt x="3797" y="2545"/>
                </a:lnTo>
                <a:lnTo>
                  <a:pt x="3796" y="2543"/>
                </a:lnTo>
                <a:lnTo>
                  <a:pt x="3794" y="2543"/>
                </a:lnTo>
                <a:lnTo>
                  <a:pt x="3792" y="2543"/>
                </a:lnTo>
                <a:lnTo>
                  <a:pt x="3794" y="2540"/>
                </a:lnTo>
                <a:lnTo>
                  <a:pt x="3792" y="2535"/>
                </a:lnTo>
                <a:lnTo>
                  <a:pt x="3794" y="2535"/>
                </a:lnTo>
                <a:lnTo>
                  <a:pt x="3794" y="2538"/>
                </a:lnTo>
                <a:lnTo>
                  <a:pt x="3796" y="2538"/>
                </a:lnTo>
                <a:lnTo>
                  <a:pt x="3796" y="2536"/>
                </a:lnTo>
                <a:lnTo>
                  <a:pt x="3794" y="2531"/>
                </a:lnTo>
                <a:lnTo>
                  <a:pt x="3792" y="2533"/>
                </a:lnTo>
                <a:lnTo>
                  <a:pt x="3794" y="2533"/>
                </a:lnTo>
                <a:lnTo>
                  <a:pt x="3792" y="2533"/>
                </a:lnTo>
                <a:lnTo>
                  <a:pt x="3790" y="2533"/>
                </a:lnTo>
                <a:lnTo>
                  <a:pt x="3790" y="2531"/>
                </a:lnTo>
                <a:lnTo>
                  <a:pt x="3789" y="2531"/>
                </a:lnTo>
                <a:lnTo>
                  <a:pt x="3790" y="2529"/>
                </a:lnTo>
                <a:lnTo>
                  <a:pt x="3792" y="2531"/>
                </a:lnTo>
                <a:lnTo>
                  <a:pt x="3792" y="2529"/>
                </a:lnTo>
                <a:lnTo>
                  <a:pt x="3790" y="2528"/>
                </a:lnTo>
                <a:lnTo>
                  <a:pt x="3789" y="2528"/>
                </a:lnTo>
                <a:lnTo>
                  <a:pt x="3787" y="2529"/>
                </a:lnTo>
                <a:lnTo>
                  <a:pt x="3787" y="2528"/>
                </a:lnTo>
                <a:lnTo>
                  <a:pt x="3787" y="2526"/>
                </a:lnTo>
                <a:lnTo>
                  <a:pt x="3785" y="2528"/>
                </a:lnTo>
                <a:lnTo>
                  <a:pt x="3785" y="2524"/>
                </a:lnTo>
                <a:lnTo>
                  <a:pt x="3785" y="2523"/>
                </a:lnTo>
                <a:lnTo>
                  <a:pt x="3784" y="2521"/>
                </a:lnTo>
                <a:lnTo>
                  <a:pt x="3782" y="2523"/>
                </a:lnTo>
                <a:lnTo>
                  <a:pt x="3784" y="2524"/>
                </a:lnTo>
                <a:lnTo>
                  <a:pt x="3782" y="2526"/>
                </a:lnTo>
                <a:lnTo>
                  <a:pt x="3780" y="2526"/>
                </a:lnTo>
                <a:lnTo>
                  <a:pt x="3780" y="2524"/>
                </a:lnTo>
                <a:lnTo>
                  <a:pt x="3780" y="2523"/>
                </a:lnTo>
                <a:lnTo>
                  <a:pt x="3779" y="2524"/>
                </a:lnTo>
                <a:lnTo>
                  <a:pt x="3777" y="2524"/>
                </a:lnTo>
                <a:lnTo>
                  <a:pt x="3777" y="2526"/>
                </a:lnTo>
                <a:lnTo>
                  <a:pt x="3775" y="2524"/>
                </a:lnTo>
                <a:lnTo>
                  <a:pt x="3775" y="2523"/>
                </a:lnTo>
                <a:lnTo>
                  <a:pt x="3779" y="2524"/>
                </a:lnTo>
                <a:lnTo>
                  <a:pt x="3779" y="2523"/>
                </a:lnTo>
                <a:lnTo>
                  <a:pt x="3777" y="2521"/>
                </a:lnTo>
                <a:lnTo>
                  <a:pt x="3777" y="2519"/>
                </a:lnTo>
                <a:lnTo>
                  <a:pt x="3777" y="2517"/>
                </a:lnTo>
                <a:lnTo>
                  <a:pt x="3779" y="2519"/>
                </a:lnTo>
                <a:lnTo>
                  <a:pt x="3780" y="2519"/>
                </a:lnTo>
                <a:lnTo>
                  <a:pt x="3780" y="2521"/>
                </a:lnTo>
                <a:lnTo>
                  <a:pt x="3780" y="2519"/>
                </a:lnTo>
                <a:lnTo>
                  <a:pt x="3780" y="2517"/>
                </a:lnTo>
                <a:lnTo>
                  <a:pt x="3784" y="2521"/>
                </a:lnTo>
                <a:lnTo>
                  <a:pt x="3782" y="2516"/>
                </a:lnTo>
                <a:lnTo>
                  <a:pt x="3784" y="2516"/>
                </a:lnTo>
                <a:lnTo>
                  <a:pt x="3782" y="2512"/>
                </a:lnTo>
                <a:lnTo>
                  <a:pt x="3780" y="2512"/>
                </a:lnTo>
                <a:lnTo>
                  <a:pt x="3782" y="2512"/>
                </a:lnTo>
                <a:lnTo>
                  <a:pt x="3780" y="2511"/>
                </a:lnTo>
                <a:lnTo>
                  <a:pt x="3780" y="2509"/>
                </a:lnTo>
                <a:lnTo>
                  <a:pt x="3779" y="2507"/>
                </a:lnTo>
                <a:lnTo>
                  <a:pt x="3777" y="2507"/>
                </a:lnTo>
                <a:lnTo>
                  <a:pt x="3775" y="2509"/>
                </a:lnTo>
                <a:lnTo>
                  <a:pt x="3777" y="2509"/>
                </a:lnTo>
                <a:lnTo>
                  <a:pt x="3777" y="2511"/>
                </a:lnTo>
                <a:lnTo>
                  <a:pt x="3775" y="2509"/>
                </a:lnTo>
                <a:lnTo>
                  <a:pt x="3775" y="2511"/>
                </a:lnTo>
                <a:lnTo>
                  <a:pt x="3773" y="2511"/>
                </a:lnTo>
                <a:lnTo>
                  <a:pt x="3773" y="2512"/>
                </a:lnTo>
                <a:lnTo>
                  <a:pt x="3775" y="2512"/>
                </a:lnTo>
                <a:lnTo>
                  <a:pt x="3775" y="2514"/>
                </a:lnTo>
                <a:lnTo>
                  <a:pt x="3777" y="2516"/>
                </a:lnTo>
                <a:lnTo>
                  <a:pt x="3775" y="2514"/>
                </a:lnTo>
                <a:lnTo>
                  <a:pt x="3775" y="2516"/>
                </a:lnTo>
                <a:lnTo>
                  <a:pt x="3772" y="2512"/>
                </a:lnTo>
                <a:lnTo>
                  <a:pt x="3772" y="2514"/>
                </a:lnTo>
                <a:lnTo>
                  <a:pt x="3770" y="2514"/>
                </a:lnTo>
                <a:lnTo>
                  <a:pt x="3772" y="2516"/>
                </a:lnTo>
                <a:lnTo>
                  <a:pt x="3772" y="2514"/>
                </a:lnTo>
                <a:lnTo>
                  <a:pt x="3773" y="2516"/>
                </a:lnTo>
                <a:lnTo>
                  <a:pt x="3773" y="2517"/>
                </a:lnTo>
                <a:lnTo>
                  <a:pt x="3773" y="2516"/>
                </a:lnTo>
                <a:lnTo>
                  <a:pt x="3775" y="2517"/>
                </a:lnTo>
                <a:lnTo>
                  <a:pt x="3773" y="2519"/>
                </a:lnTo>
                <a:lnTo>
                  <a:pt x="3773" y="2517"/>
                </a:lnTo>
                <a:lnTo>
                  <a:pt x="3773" y="2519"/>
                </a:lnTo>
                <a:lnTo>
                  <a:pt x="3772" y="2521"/>
                </a:lnTo>
                <a:lnTo>
                  <a:pt x="3773" y="2521"/>
                </a:lnTo>
                <a:lnTo>
                  <a:pt x="3772" y="2523"/>
                </a:lnTo>
                <a:lnTo>
                  <a:pt x="3770" y="2523"/>
                </a:lnTo>
                <a:lnTo>
                  <a:pt x="3770" y="2526"/>
                </a:lnTo>
                <a:lnTo>
                  <a:pt x="3768" y="2526"/>
                </a:lnTo>
                <a:lnTo>
                  <a:pt x="3768" y="2524"/>
                </a:lnTo>
                <a:lnTo>
                  <a:pt x="3767" y="2526"/>
                </a:lnTo>
                <a:lnTo>
                  <a:pt x="3765" y="2526"/>
                </a:lnTo>
                <a:lnTo>
                  <a:pt x="3763" y="2528"/>
                </a:lnTo>
                <a:lnTo>
                  <a:pt x="3763" y="2529"/>
                </a:lnTo>
                <a:lnTo>
                  <a:pt x="3762" y="2535"/>
                </a:lnTo>
                <a:lnTo>
                  <a:pt x="3760" y="2536"/>
                </a:lnTo>
                <a:lnTo>
                  <a:pt x="3758" y="2531"/>
                </a:lnTo>
                <a:lnTo>
                  <a:pt x="3755" y="2531"/>
                </a:lnTo>
                <a:lnTo>
                  <a:pt x="3753" y="2529"/>
                </a:lnTo>
                <a:lnTo>
                  <a:pt x="3751" y="2533"/>
                </a:lnTo>
                <a:lnTo>
                  <a:pt x="3753" y="2533"/>
                </a:lnTo>
                <a:lnTo>
                  <a:pt x="3753" y="2535"/>
                </a:lnTo>
                <a:lnTo>
                  <a:pt x="3757" y="2536"/>
                </a:lnTo>
                <a:lnTo>
                  <a:pt x="3757" y="2538"/>
                </a:lnTo>
                <a:lnTo>
                  <a:pt x="3758" y="2538"/>
                </a:lnTo>
                <a:lnTo>
                  <a:pt x="3760" y="2538"/>
                </a:lnTo>
                <a:lnTo>
                  <a:pt x="3758" y="2541"/>
                </a:lnTo>
                <a:lnTo>
                  <a:pt x="3758" y="2543"/>
                </a:lnTo>
                <a:lnTo>
                  <a:pt x="3760" y="2543"/>
                </a:lnTo>
                <a:lnTo>
                  <a:pt x="3760" y="2548"/>
                </a:lnTo>
                <a:lnTo>
                  <a:pt x="3762" y="2550"/>
                </a:lnTo>
                <a:lnTo>
                  <a:pt x="3762" y="2552"/>
                </a:lnTo>
                <a:lnTo>
                  <a:pt x="3763" y="2555"/>
                </a:lnTo>
                <a:lnTo>
                  <a:pt x="3762" y="2555"/>
                </a:lnTo>
                <a:lnTo>
                  <a:pt x="3762" y="2557"/>
                </a:lnTo>
                <a:lnTo>
                  <a:pt x="3760" y="2558"/>
                </a:lnTo>
                <a:lnTo>
                  <a:pt x="3762" y="2558"/>
                </a:lnTo>
                <a:lnTo>
                  <a:pt x="3760" y="2560"/>
                </a:lnTo>
                <a:lnTo>
                  <a:pt x="3758" y="2560"/>
                </a:lnTo>
                <a:lnTo>
                  <a:pt x="3758" y="2562"/>
                </a:lnTo>
                <a:lnTo>
                  <a:pt x="3757" y="2563"/>
                </a:lnTo>
                <a:lnTo>
                  <a:pt x="3757" y="2565"/>
                </a:lnTo>
                <a:lnTo>
                  <a:pt x="3757" y="2567"/>
                </a:lnTo>
                <a:lnTo>
                  <a:pt x="3755" y="2567"/>
                </a:lnTo>
                <a:lnTo>
                  <a:pt x="3757" y="2569"/>
                </a:lnTo>
                <a:lnTo>
                  <a:pt x="3755" y="2569"/>
                </a:lnTo>
                <a:lnTo>
                  <a:pt x="3757" y="2569"/>
                </a:lnTo>
                <a:lnTo>
                  <a:pt x="3755" y="2569"/>
                </a:lnTo>
                <a:lnTo>
                  <a:pt x="3757" y="2570"/>
                </a:lnTo>
                <a:lnTo>
                  <a:pt x="3755" y="2570"/>
                </a:lnTo>
                <a:lnTo>
                  <a:pt x="3757" y="2572"/>
                </a:lnTo>
                <a:lnTo>
                  <a:pt x="3755" y="2574"/>
                </a:lnTo>
                <a:lnTo>
                  <a:pt x="3757" y="2574"/>
                </a:lnTo>
                <a:lnTo>
                  <a:pt x="3755" y="2574"/>
                </a:lnTo>
                <a:lnTo>
                  <a:pt x="3753" y="2577"/>
                </a:lnTo>
                <a:lnTo>
                  <a:pt x="3755" y="2577"/>
                </a:lnTo>
                <a:lnTo>
                  <a:pt x="3755" y="2579"/>
                </a:lnTo>
                <a:lnTo>
                  <a:pt x="3751" y="2582"/>
                </a:lnTo>
                <a:lnTo>
                  <a:pt x="3748" y="2584"/>
                </a:lnTo>
                <a:lnTo>
                  <a:pt x="3748" y="2582"/>
                </a:lnTo>
                <a:lnTo>
                  <a:pt x="3748" y="2584"/>
                </a:lnTo>
                <a:lnTo>
                  <a:pt x="3745" y="2584"/>
                </a:lnTo>
                <a:lnTo>
                  <a:pt x="3738" y="2579"/>
                </a:lnTo>
                <a:lnTo>
                  <a:pt x="3740" y="2582"/>
                </a:lnTo>
                <a:lnTo>
                  <a:pt x="3741" y="2587"/>
                </a:lnTo>
                <a:lnTo>
                  <a:pt x="3743" y="2587"/>
                </a:lnTo>
                <a:lnTo>
                  <a:pt x="3741" y="2587"/>
                </a:lnTo>
                <a:lnTo>
                  <a:pt x="3741" y="2589"/>
                </a:lnTo>
                <a:lnTo>
                  <a:pt x="3740" y="2587"/>
                </a:lnTo>
                <a:lnTo>
                  <a:pt x="3740" y="2589"/>
                </a:lnTo>
                <a:lnTo>
                  <a:pt x="3740" y="2587"/>
                </a:lnTo>
                <a:lnTo>
                  <a:pt x="3738" y="2587"/>
                </a:lnTo>
                <a:lnTo>
                  <a:pt x="3736" y="2589"/>
                </a:lnTo>
                <a:lnTo>
                  <a:pt x="3738" y="2589"/>
                </a:lnTo>
                <a:lnTo>
                  <a:pt x="3736" y="2589"/>
                </a:lnTo>
                <a:lnTo>
                  <a:pt x="3736" y="2587"/>
                </a:lnTo>
                <a:lnTo>
                  <a:pt x="3734" y="2587"/>
                </a:lnTo>
                <a:lnTo>
                  <a:pt x="3734" y="2589"/>
                </a:lnTo>
                <a:lnTo>
                  <a:pt x="3734" y="2591"/>
                </a:lnTo>
                <a:lnTo>
                  <a:pt x="3734" y="2589"/>
                </a:lnTo>
                <a:lnTo>
                  <a:pt x="3734" y="2591"/>
                </a:lnTo>
                <a:lnTo>
                  <a:pt x="3733" y="2591"/>
                </a:lnTo>
                <a:lnTo>
                  <a:pt x="3733" y="2589"/>
                </a:lnTo>
                <a:lnTo>
                  <a:pt x="3733" y="2587"/>
                </a:lnTo>
                <a:lnTo>
                  <a:pt x="3731" y="2589"/>
                </a:lnTo>
                <a:lnTo>
                  <a:pt x="3733" y="2591"/>
                </a:lnTo>
                <a:lnTo>
                  <a:pt x="3731" y="2591"/>
                </a:lnTo>
                <a:lnTo>
                  <a:pt x="3733" y="2592"/>
                </a:lnTo>
                <a:lnTo>
                  <a:pt x="3731" y="2592"/>
                </a:lnTo>
                <a:lnTo>
                  <a:pt x="3731" y="2594"/>
                </a:lnTo>
                <a:lnTo>
                  <a:pt x="3731" y="2596"/>
                </a:lnTo>
                <a:lnTo>
                  <a:pt x="3731" y="2597"/>
                </a:lnTo>
                <a:lnTo>
                  <a:pt x="3731" y="2601"/>
                </a:lnTo>
                <a:lnTo>
                  <a:pt x="3731" y="2599"/>
                </a:lnTo>
                <a:lnTo>
                  <a:pt x="3728" y="2603"/>
                </a:lnTo>
                <a:lnTo>
                  <a:pt x="3726" y="2601"/>
                </a:lnTo>
                <a:lnTo>
                  <a:pt x="3723" y="2599"/>
                </a:lnTo>
                <a:lnTo>
                  <a:pt x="3723" y="2597"/>
                </a:lnTo>
                <a:lnTo>
                  <a:pt x="3724" y="2597"/>
                </a:lnTo>
                <a:lnTo>
                  <a:pt x="3723" y="2597"/>
                </a:lnTo>
                <a:lnTo>
                  <a:pt x="3723" y="2594"/>
                </a:lnTo>
                <a:lnTo>
                  <a:pt x="3723" y="2592"/>
                </a:lnTo>
                <a:lnTo>
                  <a:pt x="3721" y="2592"/>
                </a:lnTo>
                <a:lnTo>
                  <a:pt x="3723" y="2591"/>
                </a:lnTo>
                <a:lnTo>
                  <a:pt x="3721" y="2591"/>
                </a:lnTo>
                <a:lnTo>
                  <a:pt x="3719" y="2591"/>
                </a:lnTo>
                <a:lnTo>
                  <a:pt x="3717" y="2591"/>
                </a:lnTo>
                <a:lnTo>
                  <a:pt x="3719" y="2589"/>
                </a:lnTo>
                <a:lnTo>
                  <a:pt x="3717" y="2587"/>
                </a:lnTo>
                <a:lnTo>
                  <a:pt x="3716" y="2587"/>
                </a:lnTo>
                <a:lnTo>
                  <a:pt x="3717" y="2589"/>
                </a:lnTo>
                <a:lnTo>
                  <a:pt x="3716" y="2589"/>
                </a:lnTo>
                <a:lnTo>
                  <a:pt x="3716" y="2591"/>
                </a:lnTo>
                <a:lnTo>
                  <a:pt x="3714" y="2589"/>
                </a:lnTo>
                <a:lnTo>
                  <a:pt x="3714" y="2591"/>
                </a:lnTo>
                <a:lnTo>
                  <a:pt x="3714" y="2589"/>
                </a:lnTo>
                <a:lnTo>
                  <a:pt x="3712" y="2589"/>
                </a:lnTo>
                <a:lnTo>
                  <a:pt x="3714" y="2587"/>
                </a:lnTo>
                <a:lnTo>
                  <a:pt x="3712" y="2586"/>
                </a:lnTo>
                <a:lnTo>
                  <a:pt x="3711" y="2589"/>
                </a:lnTo>
                <a:lnTo>
                  <a:pt x="3712" y="2589"/>
                </a:lnTo>
                <a:lnTo>
                  <a:pt x="3712" y="2591"/>
                </a:lnTo>
                <a:lnTo>
                  <a:pt x="3709" y="2591"/>
                </a:lnTo>
                <a:lnTo>
                  <a:pt x="3709" y="2596"/>
                </a:lnTo>
                <a:lnTo>
                  <a:pt x="3711" y="2596"/>
                </a:lnTo>
                <a:lnTo>
                  <a:pt x="3709" y="2597"/>
                </a:lnTo>
                <a:lnTo>
                  <a:pt x="3707" y="2599"/>
                </a:lnTo>
                <a:lnTo>
                  <a:pt x="3709" y="2601"/>
                </a:lnTo>
                <a:lnTo>
                  <a:pt x="3709" y="2603"/>
                </a:lnTo>
                <a:lnTo>
                  <a:pt x="3709" y="2606"/>
                </a:lnTo>
                <a:lnTo>
                  <a:pt x="3712" y="2608"/>
                </a:lnTo>
                <a:lnTo>
                  <a:pt x="3714" y="2608"/>
                </a:lnTo>
                <a:lnTo>
                  <a:pt x="3714" y="2609"/>
                </a:lnTo>
                <a:lnTo>
                  <a:pt x="3716" y="2608"/>
                </a:lnTo>
                <a:lnTo>
                  <a:pt x="3714" y="2609"/>
                </a:lnTo>
                <a:lnTo>
                  <a:pt x="3716" y="2609"/>
                </a:lnTo>
                <a:lnTo>
                  <a:pt x="3714" y="2611"/>
                </a:lnTo>
                <a:lnTo>
                  <a:pt x="3714" y="2609"/>
                </a:lnTo>
                <a:lnTo>
                  <a:pt x="3714" y="2611"/>
                </a:lnTo>
                <a:lnTo>
                  <a:pt x="3711" y="2611"/>
                </a:lnTo>
                <a:lnTo>
                  <a:pt x="3714" y="2614"/>
                </a:lnTo>
                <a:lnTo>
                  <a:pt x="3716" y="2614"/>
                </a:lnTo>
                <a:lnTo>
                  <a:pt x="3716" y="2613"/>
                </a:lnTo>
                <a:lnTo>
                  <a:pt x="3717" y="2614"/>
                </a:lnTo>
                <a:lnTo>
                  <a:pt x="3716" y="2614"/>
                </a:lnTo>
                <a:lnTo>
                  <a:pt x="3717" y="2616"/>
                </a:lnTo>
                <a:lnTo>
                  <a:pt x="3716" y="2618"/>
                </a:lnTo>
                <a:lnTo>
                  <a:pt x="3717" y="2620"/>
                </a:lnTo>
                <a:lnTo>
                  <a:pt x="3716" y="2620"/>
                </a:lnTo>
                <a:lnTo>
                  <a:pt x="3714" y="2621"/>
                </a:lnTo>
                <a:lnTo>
                  <a:pt x="3716" y="2623"/>
                </a:lnTo>
                <a:lnTo>
                  <a:pt x="3716" y="2625"/>
                </a:lnTo>
                <a:lnTo>
                  <a:pt x="3714" y="2625"/>
                </a:lnTo>
                <a:lnTo>
                  <a:pt x="3714" y="2628"/>
                </a:lnTo>
                <a:lnTo>
                  <a:pt x="3714" y="2630"/>
                </a:lnTo>
                <a:lnTo>
                  <a:pt x="3714" y="2628"/>
                </a:lnTo>
                <a:lnTo>
                  <a:pt x="3712" y="2626"/>
                </a:lnTo>
                <a:lnTo>
                  <a:pt x="3714" y="2621"/>
                </a:lnTo>
                <a:lnTo>
                  <a:pt x="3714" y="2620"/>
                </a:lnTo>
                <a:lnTo>
                  <a:pt x="3714" y="2618"/>
                </a:lnTo>
                <a:lnTo>
                  <a:pt x="3712" y="2618"/>
                </a:lnTo>
                <a:lnTo>
                  <a:pt x="3712" y="2616"/>
                </a:lnTo>
                <a:lnTo>
                  <a:pt x="3711" y="2616"/>
                </a:lnTo>
                <a:lnTo>
                  <a:pt x="3709" y="2616"/>
                </a:lnTo>
                <a:lnTo>
                  <a:pt x="3711" y="2616"/>
                </a:lnTo>
                <a:lnTo>
                  <a:pt x="3709" y="2616"/>
                </a:lnTo>
                <a:lnTo>
                  <a:pt x="3712" y="2620"/>
                </a:lnTo>
                <a:lnTo>
                  <a:pt x="3711" y="2623"/>
                </a:lnTo>
                <a:lnTo>
                  <a:pt x="3711" y="2625"/>
                </a:lnTo>
                <a:lnTo>
                  <a:pt x="3709" y="2623"/>
                </a:lnTo>
                <a:lnTo>
                  <a:pt x="3709" y="2625"/>
                </a:lnTo>
                <a:lnTo>
                  <a:pt x="3707" y="2625"/>
                </a:lnTo>
                <a:lnTo>
                  <a:pt x="3704" y="2621"/>
                </a:lnTo>
                <a:lnTo>
                  <a:pt x="3704" y="2623"/>
                </a:lnTo>
                <a:lnTo>
                  <a:pt x="3702" y="2623"/>
                </a:lnTo>
                <a:lnTo>
                  <a:pt x="3704" y="2626"/>
                </a:lnTo>
                <a:lnTo>
                  <a:pt x="3700" y="2628"/>
                </a:lnTo>
                <a:lnTo>
                  <a:pt x="3699" y="2633"/>
                </a:lnTo>
                <a:lnTo>
                  <a:pt x="3700" y="2637"/>
                </a:lnTo>
                <a:lnTo>
                  <a:pt x="3700" y="2638"/>
                </a:lnTo>
                <a:lnTo>
                  <a:pt x="3700" y="2640"/>
                </a:lnTo>
                <a:lnTo>
                  <a:pt x="3700" y="2642"/>
                </a:lnTo>
                <a:lnTo>
                  <a:pt x="3704" y="2642"/>
                </a:lnTo>
                <a:lnTo>
                  <a:pt x="3704" y="2640"/>
                </a:lnTo>
                <a:lnTo>
                  <a:pt x="3706" y="2642"/>
                </a:lnTo>
                <a:lnTo>
                  <a:pt x="3707" y="2642"/>
                </a:lnTo>
                <a:lnTo>
                  <a:pt x="3709" y="2640"/>
                </a:lnTo>
                <a:lnTo>
                  <a:pt x="3714" y="2642"/>
                </a:lnTo>
                <a:lnTo>
                  <a:pt x="3714" y="2643"/>
                </a:lnTo>
                <a:lnTo>
                  <a:pt x="3714" y="2645"/>
                </a:lnTo>
                <a:lnTo>
                  <a:pt x="3714" y="2643"/>
                </a:lnTo>
                <a:lnTo>
                  <a:pt x="3712" y="2642"/>
                </a:lnTo>
                <a:lnTo>
                  <a:pt x="3711" y="2643"/>
                </a:lnTo>
                <a:lnTo>
                  <a:pt x="3711" y="2645"/>
                </a:lnTo>
                <a:lnTo>
                  <a:pt x="3711" y="2647"/>
                </a:lnTo>
                <a:lnTo>
                  <a:pt x="3711" y="2645"/>
                </a:lnTo>
                <a:lnTo>
                  <a:pt x="3706" y="2643"/>
                </a:lnTo>
                <a:lnTo>
                  <a:pt x="3704" y="2640"/>
                </a:lnTo>
                <a:lnTo>
                  <a:pt x="3704" y="2642"/>
                </a:lnTo>
                <a:lnTo>
                  <a:pt x="3702" y="2642"/>
                </a:lnTo>
                <a:lnTo>
                  <a:pt x="3700" y="2645"/>
                </a:lnTo>
                <a:lnTo>
                  <a:pt x="3699" y="2647"/>
                </a:lnTo>
                <a:lnTo>
                  <a:pt x="3699" y="2648"/>
                </a:lnTo>
                <a:lnTo>
                  <a:pt x="3695" y="2652"/>
                </a:lnTo>
                <a:lnTo>
                  <a:pt x="3697" y="2652"/>
                </a:lnTo>
                <a:lnTo>
                  <a:pt x="3695" y="2654"/>
                </a:lnTo>
                <a:lnTo>
                  <a:pt x="3694" y="2659"/>
                </a:lnTo>
                <a:lnTo>
                  <a:pt x="3692" y="2659"/>
                </a:lnTo>
                <a:lnTo>
                  <a:pt x="3692" y="2660"/>
                </a:lnTo>
                <a:lnTo>
                  <a:pt x="3692" y="2662"/>
                </a:lnTo>
                <a:lnTo>
                  <a:pt x="3692" y="2660"/>
                </a:lnTo>
                <a:lnTo>
                  <a:pt x="3690" y="2662"/>
                </a:lnTo>
                <a:lnTo>
                  <a:pt x="3689" y="2664"/>
                </a:lnTo>
                <a:lnTo>
                  <a:pt x="3689" y="2665"/>
                </a:lnTo>
                <a:lnTo>
                  <a:pt x="3685" y="2667"/>
                </a:lnTo>
                <a:lnTo>
                  <a:pt x="3683" y="2667"/>
                </a:lnTo>
                <a:lnTo>
                  <a:pt x="3685" y="2664"/>
                </a:lnTo>
                <a:lnTo>
                  <a:pt x="3683" y="2660"/>
                </a:lnTo>
                <a:lnTo>
                  <a:pt x="3690" y="2652"/>
                </a:lnTo>
                <a:lnTo>
                  <a:pt x="3689" y="2652"/>
                </a:lnTo>
                <a:lnTo>
                  <a:pt x="3689" y="2648"/>
                </a:lnTo>
                <a:lnTo>
                  <a:pt x="3689" y="2647"/>
                </a:lnTo>
                <a:lnTo>
                  <a:pt x="3687" y="2645"/>
                </a:lnTo>
                <a:lnTo>
                  <a:pt x="3685" y="2647"/>
                </a:lnTo>
                <a:lnTo>
                  <a:pt x="3678" y="2655"/>
                </a:lnTo>
                <a:lnTo>
                  <a:pt x="3682" y="2657"/>
                </a:lnTo>
                <a:lnTo>
                  <a:pt x="3682" y="2655"/>
                </a:lnTo>
                <a:lnTo>
                  <a:pt x="3682" y="2654"/>
                </a:lnTo>
                <a:lnTo>
                  <a:pt x="3683" y="2655"/>
                </a:lnTo>
                <a:lnTo>
                  <a:pt x="3682" y="2657"/>
                </a:lnTo>
                <a:lnTo>
                  <a:pt x="3680" y="2659"/>
                </a:lnTo>
                <a:lnTo>
                  <a:pt x="3680" y="2657"/>
                </a:lnTo>
                <a:lnTo>
                  <a:pt x="3678" y="2659"/>
                </a:lnTo>
                <a:lnTo>
                  <a:pt x="3677" y="2660"/>
                </a:lnTo>
                <a:lnTo>
                  <a:pt x="3677" y="2662"/>
                </a:lnTo>
                <a:lnTo>
                  <a:pt x="3675" y="2660"/>
                </a:lnTo>
                <a:lnTo>
                  <a:pt x="3675" y="2662"/>
                </a:lnTo>
                <a:lnTo>
                  <a:pt x="3673" y="2665"/>
                </a:lnTo>
                <a:lnTo>
                  <a:pt x="3672" y="2667"/>
                </a:lnTo>
                <a:lnTo>
                  <a:pt x="3670" y="2667"/>
                </a:lnTo>
                <a:lnTo>
                  <a:pt x="3666" y="2671"/>
                </a:lnTo>
                <a:lnTo>
                  <a:pt x="3666" y="2674"/>
                </a:lnTo>
                <a:lnTo>
                  <a:pt x="3668" y="2676"/>
                </a:lnTo>
                <a:lnTo>
                  <a:pt x="3668" y="2677"/>
                </a:lnTo>
                <a:lnTo>
                  <a:pt x="3670" y="2677"/>
                </a:lnTo>
                <a:lnTo>
                  <a:pt x="3672" y="2676"/>
                </a:lnTo>
                <a:lnTo>
                  <a:pt x="3672" y="2681"/>
                </a:lnTo>
                <a:lnTo>
                  <a:pt x="3673" y="2682"/>
                </a:lnTo>
                <a:lnTo>
                  <a:pt x="3675" y="2682"/>
                </a:lnTo>
                <a:lnTo>
                  <a:pt x="3675" y="2684"/>
                </a:lnTo>
                <a:lnTo>
                  <a:pt x="3673" y="2684"/>
                </a:lnTo>
                <a:lnTo>
                  <a:pt x="3673" y="2686"/>
                </a:lnTo>
                <a:lnTo>
                  <a:pt x="3672" y="2684"/>
                </a:lnTo>
                <a:lnTo>
                  <a:pt x="3672" y="2686"/>
                </a:lnTo>
                <a:lnTo>
                  <a:pt x="3670" y="2684"/>
                </a:lnTo>
                <a:lnTo>
                  <a:pt x="3668" y="2684"/>
                </a:lnTo>
                <a:lnTo>
                  <a:pt x="3670" y="2688"/>
                </a:lnTo>
                <a:lnTo>
                  <a:pt x="3668" y="2686"/>
                </a:lnTo>
                <a:lnTo>
                  <a:pt x="3668" y="2689"/>
                </a:lnTo>
                <a:lnTo>
                  <a:pt x="3668" y="2688"/>
                </a:lnTo>
                <a:lnTo>
                  <a:pt x="3666" y="2686"/>
                </a:lnTo>
                <a:lnTo>
                  <a:pt x="3666" y="2689"/>
                </a:lnTo>
                <a:lnTo>
                  <a:pt x="3666" y="2691"/>
                </a:lnTo>
                <a:lnTo>
                  <a:pt x="3663" y="2686"/>
                </a:lnTo>
                <a:lnTo>
                  <a:pt x="3661" y="2691"/>
                </a:lnTo>
                <a:lnTo>
                  <a:pt x="3660" y="2693"/>
                </a:lnTo>
                <a:lnTo>
                  <a:pt x="3660" y="2691"/>
                </a:lnTo>
                <a:lnTo>
                  <a:pt x="3658" y="2693"/>
                </a:lnTo>
                <a:lnTo>
                  <a:pt x="3661" y="2689"/>
                </a:lnTo>
                <a:lnTo>
                  <a:pt x="3663" y="2684"/>
                </a:lnTo>
                <a:lnTo>
                  <a:pt x="3668" y="2679"/>
                </a:lnTo>
                <a:lnTo>
                  <a:pt x="3661" y="2676"/>
                </a:lnTo>
                <a:lnTo>
                  <a:pt x="3661" y="2672"/>
                </a:lnTo>
                <a:lnTo>
                  <a:pt x="3658" y="2674"/>
                </a:lnTo>
                <a:lnTo>
                  <a:pt x="3646" y="2682"/>
                </a:lnTo>
                <a:lnTo>
                  <a:pt x="3648" y="2682"/>
                </a:lnTo>
                <a:lnTo>
                  <a:pt x="3648" y="2684"/>
                </a:lnTo>
                <a:lnTo>
                  <a:pt x="3646" y="2684"/>
                </a:lnTo>
                <a:lnTo>
                  <a:pt x="3648" y="2682"/>
                </a:lnTo>
                <a:lnTo>
                  <a:pt x="3644" y="2682"/>
                </a:lnTo>
                <a:lnTo>
                  <a:pt x="3638" y="2688"/>
                </a:lnTo>
                <a:lnTo>
                  <a:pt x="3638" y="2689"/>
                </a:lnTo>
                <a:lnTo>
                  <a:pt x="3638" y="2688"/>
                </a:lnTo>
                <a:lnTo>
                  <a:pt x="3634" y="2691"/>
                </a:lnTo>
                <a:lnTo>
                  <a:pt x="3632" y="2693"/>
                </a:lnTo>
                <a:lnTo>
                  <a:pt x="3629" y="2698"/>
                </a:lnTo>
                <a:lnTo>
                  <a:pt x="3631" y="2698"/>
                </a:lnTo>
                <a:lnTo>
                  <a:pt x="3632" y="2698"/>
                </a:lnTo>
                <a:lnTo>
                  <a:pt x="3632" y="2700"/>
                </a:lnTo>
                <a:lnTo>
                  <a:pt x="3629" y="2703"/>
                </a:lnTo>
                <a:lnTo>
                  <a:pt x="3629" y="2705"/>
                </a:lnTo>
                <a:lnTo>
                  <a:pt x="3632" y="2705"/>
                </a:lnTo>
                <a:lnTo>
                  <a:pt x="3638" y="2710"/>
                </a:lnTo>
                <a:lnTo>
                  <a:pt x="3639" y="2711"/>
                </a:lnTo>
                <a:lnTo>
                  <a:pt x="3644" y="2713"/>
                </a:lnTo>
                <a:lnTo>
                  <a:pt x="3646" y="2715"/>
                </a:lnTo>
                <a:lnTo>
                  <a:pt x="3644" y="2717"/>
                </a:lnTo>
                <a:lnTo>
                  <a:pt x="3644" y="2718"/>
                </a:lnTo>
                <a:lnTo>
                  <a:pt x="3643" y="2715"/>
                </a:lnTo>
                <a:lnTo>
                  <a:pt x="3641" y="2715"/>
                </a:lnTo>
                <a:lnTo>
                  <a:pt x="3634" y="2715"/>
                </a:lnTo>
                <a:lnTo>
                  <a:pt x="3631" y="2713"/>
                </a:lnTo>
                <a:lnTo>
                  <a:pt x="3626" y="2705"/>
                </a:lnTo>
                <a:lnTo>
                  <a:pt x="3624" y="2703"/>
                </a:lnTo>
                <a:lnTo>
                  <a:pt x="3626" y="2700"/>
                </a:lnTo>
                <a:lnTo>
                  <a:pt x="3626" y="2698"/>
                </a:lnTo>
                <a:lnTo>
                  <a:pt x="3622" y="2698"/>
                </a:lnTo>
                <a:lnTo>
                  <a:pt x="3617" y="2698"/>
                </a:lnTo>
                <a:lnTo>
                  <a:pt x="3614" y="2703"/>
                </a:lnTo>
                <a:lnTo>
                  <a:pt x="3615" y="2703"/>
                </a:lnTo>
                <a:lnTo>
                  <a:pt x="3619" y="2701"/>
                </a:lnTo>
                <a:lnTo>
                  <a:pt x="3617" y="2703"/>
                </a:lnTo>
                <a:lnTo>
                  <a:pt x="3615" y="2705"/>
                </a:lnTo>
                <a:lnTo>
                  <a:pt x="3617" y="2705"/>
                </a:lnTo>
                <a:lnTo>
                  <a:pt x="3615" y="2706"/>
                </a:lnTo>
                <a:lnTo>
                  <a:pt x="3614" y="2705"/>
                </a:lnTo>
                <a:lnTo>
                  <a:pt x="3612" y="2705"/>
                </a:lnTo>
                <a:lnTo>
                  <a:pt x="3610" y="2703"/>
                </a:lnTo>
                <a:lnTo>
                  <a:pt x="3612" y="2701"/>
                </a:lnTo>
                <a:lnTo>
                  <a:pt x="3609" y="2701"/>
                </a:lnTo>
                <a:lnTo>
                  <a:pt x="3605" y="2701"/>
                </a:lnTo>
                <a:lnTo>
                  <a:pt x="3605" y="2703"/>
                </a:lnTo>
                <a:lnTo>
                  <a:pt x="3605" y="2701"/>
                </a:lnTo>
                <a:lnTo>
                  <a:pt x="3604" y="2705"/>
                </a:lnTo>
                <a:lnTo>
                  <a:pt x="3602" y="2705"/>
                </a:lnTo>
                <a:lnTo>
                  <a:pt x="3602" y="2703"/>
                </a:lnTo>
                <a:lnTo>
                  <a:pt x="3600" y="2703"/>
                </a:lnTo>
                <a:lnTo>
                  <a:pt x="3602" y="2703"/>
                </a:lnTo>
                <a:lnTo>
                  <a:pt x="3598" y="2701"/>
                </a:lnTo>
                <a:lnTo>
                  <a:pt x="3597" y="2701"/>
                </a:lnTo>
                <a:lnTo>
                  <a:pt x="3593" y="2705"/>
                </a:lnTo>
                <a:lnTo>
                  <a:pt x="3595" y="2703"/>
                </a:lnTo>
                <a:lnTo>
                  <a:pt x="3593" y="2705"/>
                </a:lnTo>
                <a:lnTo>
                  <a:pt x="3595" y="2708"/>
                </a:lnTo>
                <a:lnTo>
                  <a:pt x="3593" y="2708"/>
                </a:lnTo>
                <a:lnTo>
                  <a:pt x="3593" y="2710"/>
                </a:lnTo>
                <a:lnTo>
                  <a:pt x="3595" y="2711"/>
                </a:lnTo>
                <a:lnTo>
                  <a:pt x="3593" y="2710"/>
                </a:lnTo>
                <a:lnTo>
                  <a:pt x="3593" y="2713"/>
                </a:lnTo>
                <a:lnTo>
                  <a:pt x="3593" y="2715"/>
                </a:lnTo>
                <a:lnTo>
                  <a:pt x="3593" y="2713"/>
                </a:lnTo>
                <a:lnTo>
                  <a:pt x="3593" y="2717"/>
                </a:lnTo>
                <a:lnTo>
                  <a:pt x="3593" y="2715"/>
                </a:lnTo>
                <a:lnTo>
                  <a:pt x="3592" y="2715"/>
                </a:lnTo>
                <a:lnTo>
                  <a:pt x="3593" y="2715"/>
                </a:lnTo>
                <a:lnTo>
                  <a:pt x="3592" y="2713"/>
                </a:lnTo>
                <a:lnTo>
                  <a:pt x="3592" y="2715"/>
                </a:lnTo>
                <a:lnTo>
                  <a:pt x="3590" y="2715"/>
                </a:lnTo>
                <a:lnTo>
                  <a:pt x="3590" y="2717"/>
                </a:lnTo>
                <a:lnTo>
                  <a:pt x="3592" y="2711"/>
                </a:lnTo>
                <a:lnTo>
                  <a:pt x="3592" y="2710"/>
                </a:lnTo>
                <a:lnTo>
                  <a:pt x="3583" y="2711"/>
                </a:lnTo>
                <a:lnTo>
                  <a:pt x="3580" y="2711"/>
                </a:lnTo>
                <a:lnTo>
                  <a:pt x="3581" y="2715"/>
                </a:lnTo>
                <a:lnTo>
                  <a:pt x="3581" y="2713"/>
                </a:lnTo>
                <a:lnTo>
                  <a:pt x="3583" y="2713"/>
                </a:lnTo>
                <a:lnTo>
                  <a:pt x="3583" y="2715"/>
                </a:lnTo>
                <a:lnTo>
                  <a:pt x="3581" y="2717"/>
                </a:lnTo>
                <a:lnTo>
                  <a:pt x="3580" y="2717"/>
                </a:lnTo>
                <a:lnTo>
                  <a:pt x="3580" y="2718"/>
                </a:lnTo>
                <a:lnTo>
                  <a:pt x="3581" y="2718"/>
                </a:lnTo>
                <a:lnTo>
                  <a:pt x="3580" y="2718"/>
                </a:lnTo>
                <a:lnTo>
                  <a:pt x="3578" y="2718"/>
                </a:lnTo>
                <a:lnTo>
                  <a:pt x="3578" y="2720"/>
                </a:lnTo>
                <a:lnTo>
                  <a:pt x="3576" y="2718"/>
                </a:lnTo>
                <a:lnTo>
                  <a:pt x="3578" y="2715"/>
                </a:lnTo>
                <a:lnTo>
                  <a:pt x="3576" y="2713"/>
                </a:lnTo>
                <a:lnTo>
                  <a:pt x="3576" y="2710"/>
                </a:lnTo>
                <a:lnTo>
                  <a:pt x="3575" y="2710"/>
                </a:lnTo>
                <a:lnTo>
                  <a:pt x="3570" y="2713"/>
                </a:lnTo>
                <a:lnTo>
                  <a:pt x="3563" y="2718"/>
                </a:lnTo>
                <a:lnTo>
                  <a:pt x="3559" y="2720"/>
                </a:lnTo>
                <a:lnTo>
                  <a:pt x="3563" y="2722"/>
                </a:lnTo>
                <a:lnTo>
                  <a:pt x="3563" y="2723"/>
                </a:lnTo>
                <a:lnTo>
                  <a:pt x="3563" y="2722"/>
                </a:lnTo>
                <a:lnTo>
                  <a:pt x="3558" y="2722"/>
                </a:lnTo>
                <a:lnTo>
                  <a:pt x="3556" y="2722"/>
                </a:lnTo>
                <a:lnTo>
                  <a:pt x="3556" y="2723"/>
                </a:lnTo>
                <a:lnTo>
                  <a:pt x="3554" y="2723"/>
                </a:lnTo>
                <a:lnTo>
                  <a:pt x="3556" y="2725"/>
                </a:lnTo>
                <a:lnTo>
                  <a:pt x="3554" y="2725"/>
                </a:lnTo>
                <a:lnTo>
                  <a:pt x="3556" y="2725"/>
                </a:lnTo>
                <a:lnTo>
                  <a:pt x="3554" y="2725"/>
                </a:lnTo>
                <a:lnTo>
                  <a:pt x="3553" y="2725"/>
                </a:lnTo>
                <a:lnTo>
                  <a:pt x="3551" y="2723"/>
                </a:lnTo>
                <a:lnTo>
                  <a:pt x="3549" y="2725"/>
                </a:lnTo>
                <a:lnTo>
                  <a:pt x="3551" y="2723"/>
                </a:lnTo>
                <a:lnTo>
                  <a:pt x="3549" y="2723"/>
                </a:lnTo>
                <a:lnTo>
                  <a:pt x="3551" y="2723"/>
                </a:lnTo>
                <a:lnTo>
                  <a:pt x="3546" y="2723"/>
                </a:lnTo>
                <a:lnTo>
                  <a:pt x="3537" y="2722"/>
                </a:lnTo>
                <a:lnTo>
                  <a:pt x="3539" y="2722"/>
                </a:lnTo>
                <a:lnTo>
                  <a:pt x="3539" y="2723"/>
                </a:lnTo>
                <a:lnTo>
                  <a:pt x="3537" y="2722"/>
                </a:lnTo>
                <a:lnTo>
                  <a:pt x="3536" y="2722"/>
                </a:lnTo>
                <a:lnTo>
                  <a:pt x="3534" y="2723"/>
                </a:lnTo>
                <a:lnTo>
                  <a:pt x="3534" y="2725"/>
                </a:lnTo>
                <a:lnTo>
                  <a:pt x="3532" y="2730"/>
                </a:lnTo>
                <a:lnTo>
                  <a:pt x="3536" y="2739"/>
                </a:lnTo>
                <a:lnTo>
                  <a:pt x="3536" y="2740"/>
                </a:lnTo>
                <a:lnTo>
                  <a:pt x="3534" y="2742"/>
                </a:lnTo>
                <a:lnTo>
                  <a:pt x="3536" y="2744"/>
                </a:lnTo>
                <a:lnTo>
                  <a:pt x="3536" y="2745"/>
                </a:lnTo>
                <a:lnTo>
                  <a:pt x="3537" y="2745"/>
                </a:lnTo>
                <a:lnTo>
                  <a:pt x="3536" y="2745"/>
                </a:lnTo>
                <a:lnTo>
                  <a:pt x="3536" y="2744"/>
                </a:lnTo>
                <a:lnTo>
                  <a:pt x="3534" y="2744"/>
                </a:lnTo>
                <a:lnTo>
                  <a:pt x="3534" y="2747"/>
                </a:lnTo>
                <a:lnTo>
                  <a:pt x="3534" y="2749"/>
                </a:lnTo>
                <a:lnTo>
                  <a:pt x="3532" y="2751"/>
                </a:lnTo>
                <a:lnTo>
                  <a:pt x="3530" y="2752"/>
                </a:lnTo>
                <a:lnTo>
                  <a:pt x="3529" y="2752"/>
                </a:lnTo>
                <a:lnTo>
                  <a:pt x="3529" y="2756"/>
                </a:lnTo>
                <a:lnTo>
                  <a:pt x="3529" y="2754"/>
                </a:lnTo>
                <a:lnTo>
                  <a:pt x="3525" y="2759"/>
                </a:lnTo>
                <a:lnTo>
                  <a:pt x="3525" y="2761"/>
                </a:lnTo>
                <a:lnTo>
                  <a:pt x="3524" y="2764"/>
                </a:lnTo>
                <a:lnTo>
                  <a:pt x="3520" y="2768"/>
                </a:lnTo>
                <a:lnTo>
                  <a:pt x="3520" y="2769"/>
                </a:lnTo>
                <a:lnTo>
                  <a:pt x="3519" y="2768"/>
                </a:lnTo>
                <a:lnTo>
                  <a:pt x="3517" y="2771"/>
                </a:lnTo>
                <a:lnTo>
                  <a:pt x="3519" y="2773"/>
                </a:lnTo>
                <a:lnTo>
                  <a:pt x="3517" y="2773"/>
                </a:lnTo>
                <a:lnTo>
                  <a:pt x="3517" y="2776"/>
                </a:lnTo>
                <a:lnTo>
                  <a:pt x="3515" y="2776"/>
                </a:lnTo>
                <a:lnTo>
                  <a:pt x="3513" y="2779"/>
                </a:lnTo>
                <a:lnTo>
                  <a:pt x="3513" y="2781"/>
                </a:lnTo>
                <a:lnTo>
                  <a:pt x="3512" y="2781"/>
                </a:lnTo>
                <a:lnTo>
                  <a:pt x="3512" y="2783"/>
                </a:lnTo>
                <a:lnTo>
                  <a:pt x="3510" y="2783"/>
                </a:lnTo>
                <a:lnTo>
                  <a:pt x="3508" y="2788"/>
                </a:lnTo>
                <a:lnTo>
                  <a:pt x="3510" y="2790"/>
                </a:lnTo>
                <a:lnTo>
                  <a:pt x="3508" y="2790"/>
                </a:lnTo>
                <a:lnTo>
                  <a:pt x="3510" y="2795"/>
                </a:lnTo>
                <a:lnTo>
                  <a:pt x="3510" y="2796"/>
                </a:lnTo>
                <a:lnTo>
                  <a:pt x="3510" y="2798"/>
                </a:lnTo>
                <a:lnTo>
                  <a:pt x="3512" y="2798"/>
                </a:lnTo>
                <a:lnTo>
                  <a:pt x="3510" y="2798"/>
                </a:lnTo>
                <a:lnTo>
                  <a:pt x="3510" y="2800"/>
                </a:lnTo>
                <a:lnTo>
                  <a:pt x="3512" y="2800"/>
                </a:lnTo>
                <a:lnTo>
                  <a:pt x="3513" y="2802"/>
                </a:lnTo>
                <a:lnTo>
                  <a:pt x="3512" y="2812"/>
                </a:lnTo>
                <a:lnTo>
                  <a:pt x="3513" y="2819"/>
                </a:lnTo>
                <a:lnTo>
                  <a:pt x="3515" y="2824"/>
                </a:lnTo>
                <a:lnTo>
                  <a:pt x="3515" y="2830"/>
                </a:lnTo>
                <a:lnTo>
                  <a:pt x="3513" y="2834"/>
                </a:lnTo>
                <a:lnTo>
                  <a:pt x="3519" y="2841"/>
                </a:lnTo>
                <a:lnTo>
                  <a:pt x="3520" y="2844"/>
                </a:lnTo>
                <a:lnTo>
                  <a:pt x="3524" y="2849"/>
                </a:lnTo>
                <a:lnTo>
                  <a:pt x="3522" y="2849"/>
                </a:lnTo>
                <a:lnTo>
                  <a:pt x="3525" y="2858"/>
                </a:lnTo>
                <a:lnTo>
                  <a:pt x="3524" y="2858"/>
                </a:lnTo>
                <a:lnTo>
                  <a:pt x="3525" y="2859"/>
                </a:lnTo>
                <a:lnTo>
                  <a:pt x="3524" y="2861"/>
                </a:lnTo>
                <a:lnTo>
                  <a:pt x="3525" y="2863"/>
                </a:lnTo>
                <a:lnTo>
                  <a:pt x="3524" y="2863"/>
                </a:lnTo>
                <a:lnTo>
                  <a:pt x="3524" y="2861"/>
                </a:lnTo>
                <a:lnTo>
                  <a:pt x="3524" y="2863"/>
                </a:lnTo>
                <a:lnTo>
                  <a:pt x="3524" y="2868"/>
                </a:lnTo>
                <a:lnTo>
                  <a:pt x="3525" y="2870"/>
                </a:lnTo>
                <a:lnTo>
                  <a:pt x="3524" y="2870"/>
                </a:lnTo>
                <a:lnTo>
                  <a:pt x="3525" y="2871"/>
                </a:lnTo>
                <a:lnTo>
                  <a:pt x="3525" y="2873"/>
                </a:lnTo>
                <a:lnTo>
                  <a:pt x="3527" y="2873"/>
                </a:lnTo>
                <a:lnTo>
                  <a:pt x="3529" y="2876"/>
                </a:lnTo>
                <a:lnTo>
                  <a:pt x="3529" y="2878"/>
                </a:lnTo>
                <a:lnTo>
                  <a:pt x="3530" y="2880"/>
                </a:lnTo>
                <a:lnTo>
                  <a:pt x="3534" y="2883"/>
                </a:lnTo>
                <a:lnTo>
                  <a:pt x="3532" y="2882"/>
                </a:lnTo>
                <a:lnTo>
                  <a:pt x="3536" y="2888"/>
                </a:lnTo>
                <a:lnTo>
                  <a:pt x="3536" y="2890"/>
                </a:lnTo>
                <a:lnTo>
                  <a:pt x="3536" y="2893"/>
                </a:lnTo>
                <a:lnTo>
                  <a:pt x="3536" y="2892"/>
                </a:lnTo>
                <a:lnTo>
                  <a:pt x="3534" y="2895"/>
                </a:lnTo>
                <a:lnTo>
                  <a:pt x="3532" y="2895"/>
                </a:lnTo>
                <a:lnTo>
                  <a:pt x="3532" y="2897"/>
                </a:lnTo>
                <a:lnTo>
                  <a:pt x="3534" y="2897"/>
                </a:lnTo>
                <a:lnTo>
                  <a:pt x="3534" y="2899"/>
                </a:lnTo>
                <a:lnTo>
                  <a:pt x="3534" y="2900"/>
                </a:lnTo>
                <a:lnTo>
                  <a:pt x="3534" y="2899"/>
                </a:lnTo>
                <a:lnTo>
                  <a:pt x="3532" y="2899"/>
                </a:lnTo>
                <a:lnTo>
                  <a:pt x="3534" y="2902"/>
                </a:lnTo>
                <a:lnTo>
                  <a:pt x="3532" y="2904"/>
                </a:lnTo>
                <a:lnTo>
                  <a:pt x="3534" y="2904"/>
                </a:lnTo>
                <a:lnTo>
                  <a:pt x="3532" y="2904"/>
                </a:lnTo>
                <a:lnTo>
                  <a:pt x="3532" y="2902"/>
                </a:lnTo>
                <a:lnTo>
                  <a:pt x="3532" y="2904"/>
                </a:lnTo>
                <a:lnTo>
                  <a:pt x="3532" y="2905"/>
                </a:lnTo>
                <a:lnTo>
                  <a:pt x="3534" y="2905"/>
                </a:lnTo>
                <a:lnTo>
                  <a:pt x="3532" y="2907"/>
                </a:lnTo>
                <a:lnTo>
                  <a:pt x="3534" y="2907"/>
                </a:lnTo>
                <a:lnTo>
                  <a:pt x="3536" y="2907"/>
                </a:lnTo>
                <a:lnTo>
                  <a:pt x="3536" y="2909"/>
                </a:lnTo>
                <a:lnTo>
                  <a:pt x="3537" y="2914"/>
                </a:lnTo>
                <a:lnTo>
                  <a:pt x="3536" y="2916"/>
                </a:lnTo>
                <a:lnTo>
                  <a:pt x="3537" y="2916"/>
                </a:lnTo>
                <a:lnTo>
                  <a:pt x="3536" y="2916"/>
                </a:lnTo>
                <a:lnTo>
                  <a:pt x="3536" y="2914"/>
                </a:lnTo>
                <a:lnTo>
                  <a:pt x="3534" y="2917"/>
                </a:lnTo>
                <a:lnTo>
                  <a:pt x="3536" y="2917"/>
                </a:lnTo>
                <a:lnTo>
                  <a:pt x="3534" y="2917"/>
                </a:lnTo>
                <a:lnTo>
                  <a:pt x="3532" y="2921"/>
                </a:lnTo>
                <a:lnTo>
                  <a:pt x="3532" y="2922"/>
                </a:lnTo>
                <a:lnTo>
                  <a:pt x="3530" y="2922"/>
                </a:lnTo>
                <a:lnTo>
                  <a:pt x="3530" y="2924"/>
                </a:lnTo>
                <a:lnTo>
                  <a:pt x="3527" y="2929"/>
                </a:lnTo>
                <a:lnTo>
                  <a:pt x="3525" y="2931"/>
                </a:lnTo>
                <a:lnTo>
                  <a:pt x="3525" y="2934"/>
                </a:lnTo>
                <a:lnTo>
                  <a:pt x="3520" y="2938"/>
                </a:lnTo>
                <a:lnTo>
                  <a:pt x="3519" y="2941"/>
                </a:lnTo>
                <a:lnTo>
                  <a:pt x="3519" y="2939"/>
                </a:lnTo>
                <a:lnTo>
                  <a:pt x="3513" y="2951"/>
                </a:lnTo>
                <a:lnTo>
                  <a:pt x="3515" y="2951"/>
                </a:lnTo>
                <a:lnTo>
                  <a:pt x="3512" y="2953"/>
                </a:lnTo>
                <a:lnTo>
                  <a:pt x="3513" y="2953"/>
                </a:lnTo>
                <a:lnTo>
                  <a:pt x="3512" y="2955"/>
                </a:lnTo>
                <a:lnTo>
                  <a:pt x="3512" y="2953"/>
                </a:lnTo>
                <a:lnTo>
                  <a:pt x="3510" y="2953"/>
                </a:lnTo>
                <a:lnTo>
                  <a:pt x="3510" y="2955"/>
                </a:lnTo>
                <a:lnTo>
                  <a:pt x="3508" y="2956"/>
                </a:lnTo>
                <a:lnTo>
                  <a:pt x="3510" y="2955"/>
                </a:lnTo>
                <a:lnTo>
                  <a:pt x="3508" y="2955"/>
                </a:lnTo>
                <a:lnTo>
                  <a:pt x="3507" y="2961"/>
                </a:lnTo>
                <a:lnTo>
                  <a:pt x="3503" y="2973"/>
                </a:lnTo>
                <a:lnTo>
                  <a:pt x="3502" y="2977"/>
                </a:lnTo>
                <a:lnTo>
                  <a:pt x="3500" y="2978"/>
                </a:lnTo>
                <a:lnTo>
                  <a:pt x="3498" y="2980"/>
                </a:lnTo>
                <a:lnTo>
                  <a:pt x="3496" y="2978"/>
                </a:lnTo>
                <a:lnTo>
                  <a:pt x="3493" y="2980"/>
                </a:lnTo>
                <a:lnTo>
                  <a:pt x="3491" y="2980"/>
                </a:lnTo>
                <a:lnTo>
                  <a:pt x="3488" y="2982"/>
                </a:lnTo>
                <a:lnTo>
                  <a:pt x="3486" y="2982"/>
                </a:lnTo>
                <a:lnTo>
                  <a:pt x="3485" y="2987"/>
                </a:lnTo>
                <a:lnTo>
                  <a:pt x="3485" y="2989"/>
                </a:lnTo>
                <a:lnTo>
                  <a:pt x="3485" y="2995"/>
                </a:lnTo>
                <a:lnTo>
                  <a:pt x="3485" y="2999"/>
                </a:lnTo>
                <a:lnTo>
                  <a:pt x="3483" y="2999"/>
                </a:lnTo>
                <a:lnTo>
                  <a:pt x="3481" y="3002"/>
                </a:lnTo>
                <a:lnTo>
                  <a:pt x="3479" y="3004"/>
                </a:lnTo>
                <a:lnTo>
                  <a:pt x="3478" y="3009"/>
                </a:lnTo>
                <a:lnTo>
                  <a:pt x="3479" y="3011"/>
                </a:lnTo>
                <a:lnTo>
                  <a:pt x="3478" y="3013"/>
                </a:lnTo>
                <a:lnTo>
                  <a:pt x="3476" y="3009"/>
                </a:lnTo>
                <a:lnTo>
                  <a:pt x="3476" y="3011"/>
                </a:lnTo>
                <a:lnTo>
                  <a:pt x="3476" y="3014"/>
                </a:lnTo>
                <a:lnTo>
                  <a:pt x="3474" y="3014"/>
                </a:lnTo>
                <a:lnTo>
                  <a:pt x="3474" y="3016"/>
                </a:lnTo>
                <a:lnTo>
                  <a:pt x="3473" y="3021"/>
                </a:lnTo>
                <a:lnTo>
                  <a:pt x="3474" y="3021"/>
                </a:lnTo>
                <a:lnTo>
                  <a:pt x="3473" y="3024"/>
                </a:lnTo>
                <a:lnTo>
                  <a:pt x="3474" y="3024"/>
                </a:lnTo>
                <a:lnTo>
                  <a:pt x="3474" y="3026"/>
                </a:lnTo>
                <a:lnTo>
                  <a:pt x="3476" y="3024"/>
                </a:lnTo>
                <a:lnTo>
                  <a:pt x="3478" y="3028"/>
                </a:lnTo>
                <a:lnTo>
                  <a:pt x="3476" y="3030"/>
                </a:lnTo>
                <a:lnTo>
                  <a:pt x="3476" y="3028"/>
                </a:lnTo>
                <a:lnTo>
                  <a:pt x="3473" y="3028"/>
                </a:lnTo>
                <a:lnTo>
                  <a:pt x="3473" y="3030"/>
                </a:lnTo>
                <a:lnTo>
                  <a:pt x="3473" y="3031"/>
                </a:lnTo>
                <a:lnTo>
                  <a:pt x="3473" y="3033"/>
                </a:lnTo>
                <a:lnTo>
                  <a:pt x="3474" y="3035"/>
                </a:lnTo>
                <a:lnTo>
                  <a:pt x="3476" y="3040"/>
                </a:lnTo>
                <a:lnTo>
                  <a:pt x="3476" y="3041"/>
                </a:lnTo>
                <a:lnTo>
                  <a:pt x="3476" y="3047"/>
                </a:lnTo>
                <a:lnTo>
                  <a:pt x="3478" y="3052"/>
                </a:lnTo>
                <a:lnTo>
                  <a:pt x="3479" y="3058"/>
                </a:lnTo>
                <a:lnTo>
                  <a:pt x="3486" y="3065"/>
                </a:lnTo>
                <a:lnTo>
                  <a:pt x="3486" y="3067"/>
                </a:lnTo>
                <a:lnTo>
                  <a:pt x="3488" y="3067"/>
                </a:lnTo>
                <a:lnTo>
                  <a:pt x="3491" y="3070"/>
                </a:lnTo>
                <a:lnTo>
                  <a:pt x="3493" y="3072"/>
                </a:lnTo>
                <a:lnTo>
                  <a:pt x="3493" y="3077"/>
                </a:lnTo>
                <a:lnTo>
                  <a:pt x="3493" y="3084"/>
                </a:lnTo>
                <a:lnTo>
                  <a:pt x="3493" y="3086"/>
                </a:lnTo>
                <a:lnTo>
                  <a:pt x="3495" y="3086"/>
                </a:lnTo>
                <a:lnTo>
                  <a:pt x="3500" y="3091"/>
                </a:lnTo>
                <a:lnTo>
                  <a:pt x="3500" y="3092"/>
                </a:lnTo>
                <a:lnTo>
                  <a:pt x="3500" y="3094"/>
                </a:lnTo>
                <a:lnTo>
                  <a:pt x="3498" y="3094"/>
                </a:lnTo>
                <a:lnTo>
                  <a:pt x="3498" y="3096"/>
                </a:lnTo>
                <a:lnTo>
                  <a:pt x="3500" y="3094"/>
                </a:lnTo>
                <a:lnTo>
                  <a:pt x="3500" y="3096"/>
                </a:lnTo>
                <a:lnTo>
                  <a:pt x="3495" y="3098"/>
                </a:lnTo>
                <a:lnTo>
                  <a:pt x="3493" y="3101"/>
                </a:lnTo>
                <a:lnTo>
                  <a:pt x="3495" y="3101"/>
                </a:lnTo>
                <a:lnTo>
                  <a:pt x="3493" y="3104"/>
                </a:lnTo>
                <a:lnTo>
                  <a:pt x="3495" y="3104"/>
                </a:lnTo>
                <a:lnTo>
                  <a:pt x="3493" y="3104"/>
                </a:lnTo>
                <a:lnTo>
                  <a:pt x="3495" y="3108"/>
                </a:lnTo>
                <a:lnTo>
                  <a:pt x="3495" y="3109"/>
                </a:lnTo>
                <a:lnTo>
                  <a:pt x="3495" y="3113"/>
                </a:lnTo>
                <a:lnTo>
                  <a:pt x="3496" y="3120"/>
                </a:lnTo>
                <a:lnTo>
                  <a:pt x="3495" y="3133"/>
                </a:lnTo>
                <a:lnTo>
                  <a:pt x="3496" y="3137"/>
                </a:lnTo>
                <a:lnTo>
                  <a:pt x="3498" y="3138"/>
                </a:lnTo>
                <a:lnTo>
                  <a:pt x="3503" y="3143"/>
                </a:lnTo>
                <a:lnTo>
                  <a:pt x="3508" y="3150"/>
                </a:lnTo>
                <a:lnTo>
                  <a:pt x="3508" y="3152"/>
                </a:lnTo>
                <a:lnTo>
                  <a:pt x="3508" y="3154"/>
                </a:lnTo>
                <a:lnTo>
                  <a:pt x="3508" y="3155"/>
                </a:lnTo>
                <a:lnTo>
                  <a:pt x="3510" y="3159"/>
                </a:lnTo>
                <a:lnTo>
                  <a:pt x="3513" y="3162"/>
                </a:lnTo>
                <a:lnTo>
                  <a:pt x="3513" y="3167"/>
                </a:lnTo>
                <a:lnTo>
                  <a:pt x="3513" y="3169"/>
                </a:lnTo>
                <a:lnTo>
                  <a:pt x="3515" y="3169"/>
                </a:lnTo>
                <a:lnTo>
                  <a:pt x="3515" y="3171"/>
                </a:lnTo>
                <a:lnTo>
                  <a:pt x="3517" y="3172"/>
                </a:lnTo>
                <a:lnTo>
                  <a:pt x="3520" y="3172"/>
                </a:lnTo>
                <a:lnTo>
                  <a:pt x="3522" y="3172"/>
                </a:lnTo>
                <a:lnTo>
                  <a:pt x="3529" y="3178"/>
                </a:lnTo>
                <a:lnTo>
                  <a:pt x="3532" y="3179"/>
                </a:lnTo>
                <a:lnTo>
                  <a:pt x="3534" y="3179"/>
                </a:lnTo>
                <a:lnTo>
                  <a:pt x="3534" y="3181"/>
                </a:lnTo>
                <a:lnTo>
                  <a:pt x="3530" y="3181"/>
                </a:lnTo>
                <a:lnTo>
                  <a:pt x="3530" y="3179"/>
                </a:lnTo>
                <a:lnTo>
                  <a:pt x="3527" y="3176"/>
                </a:lnTo>
                <a:lnTo>
                  <a:pt x="3530" y="3179"/>
                </a:lnTo>
                <a:lnTo>
                  <a:pt x="3530" y="3181"/>
                </a:lnTo>
                <a:lnTo>
                  <a:pt x="3529" y="3183"/>
                </a:lnTo>
                <a:lnTo>
                  <a:pt x="3534" y="3183"/>
                </a:lnTo>
                <a:lnTo>
                  <a:pt x="3544" y="3184"/>
                </a:lnTo>
                <a:lnTo>
                  <a:pt x="3553" y="3186"/>
                </a:lnTo>
                <a:lnTo>
                  <a:pt x="3559" y="3189"/>
                </a:lnTo>
                <a:lnTo>
                  <a:pt x="3561" y="3193"/>
                </a:lnTo>
                <a:lnTo>
                  <a:pt x="3568" y="3196"/>
                </a:lnTo>
                <a:lnTo>
                  <a:pt x="3570" y="3198"/>
                </a:lnTo>
                <a:lnTo>
                  <a:pt x="3571" y="3200"/>
                </a:lnTo>
                <a:lnTo>
                  <a:pt x="3578" y="3198"/>
                </a:lnTo>
                <a:close/>
                <a:moveTo>
                  <a:pt x="3338" y="2509"/>
                </a:moveTo>
                <a:lnTo>
                  <a:pt x="3340" y="2509"/>
                </a:lnTo>
                <a:lnTo>
                  <a:pt x="3338" y="2509"/>
                </a:lnTo>
                <a:close/>
                <a:moveTo>
                  <a:pt x="3539" y="2528"/>
                </a:moveTo>
                <a:lnTo>
                  <a:pt x="3539" y="2524"/>
                </a:lnTo>
                <a:lnTo>
                  <a:pt x="3539" y="2523"/>
                </a:lnTo>
                <a:lnTo>
                  <a:pt x="3537" y="2516"/>
                </a:lnTo>
                <a:lnTo>
                  <a:pt x="3537" y="2514"/>
                </a:lnTo>
                <a:lnTo>
                  <a:pt x="3536" y="2512"/>
                </a:lnTo>
                <a:lnTo>
                  <a:pt x="3534" y="2514"/>
                </a:lnTo>
                <a:lnTo>
                  <a:pt x="3534" y="2516"/>
                </a:lnTo>
                <a:lnTo>
                  <a:pt x="3534" y="2517"/>
                </a:lnTo>
                <a:lnTo>
                  <a:pt x="3530" y="2519"/>
                </a:lnTo>
                <a:lnTo>
                  <a:pt x="3527" y="2519"/>
                </a:lnTo>
                <a:lnTo>
                  <a:pt x="3522" y="2517"/>
                </a:lnTo>
                <a:lnTo>
                  <a:pt x="3529" y="2523"/>
                </a:lnTo>
                <a:lnTo>
                  <a:pt x="3532" y="2523"/>
                </a:lnTo>
                <a:lnTo>
                  <a:pt x="3532" y="2524"/>
                </a:lnTo>
                <a:lnTo>
                  <a:pt x="3537" y="2528"/>
                </a:lnTo>
                <a:lnTo>
                  <a:pt x="3537" y="2529"/>
                </a:lnTo>
                <a:lnTo>
                  <a:pt x="3539" y="2529"/>
                </a:lnTo>
                <a:lnTo>
                  <a:pt x="3539" y="2528"/>
                </a:lnTo>
                <a:close/>
                <a:moveTo>
                  <a:pt x="3784" y="2516"/>
                </a:moveTo>
                <a:lnTo>
                  <a:pt x="3784" y="2517"/>
                </a:lnTo>
                <a:lnTo>
                  <a:pt x="3784" y="2516"/>
                </a:lnTo>
                <a:close/>
                <a:moveTo>
                  <a:pt x="3340" y="2521"/>
                </a:moveTo>
                <a:lnTo>
                  <a:pt x="3340" y="2519"/>
                </a:lnTo>
                <a:lnTo>
                  <a:pt x="3338" y="2519"/>
                </a:lnTo>
                <a:lnTo>
                  <a:pt x="3340" y="2523"/>
                </a:lnTo>
                <a:lnTo>
                  <a:pt x="3340" y="2521"/>
                </a:lnTo>
                <a:close/>
                <a:moveTo>
                  <a:pt x="3765" y="2521"/>
                </a:moveTo>
                <a:lnTo>
                  <a:pt x="3767" y="2521"/>
                </a:lnTo>
                <a:lnTo>
                  <a:pt x="3767" y="2523"/>
                </a:lnTo>
                <a:lnTo>
                  <a:pt x="3765" y="2523"/>
                </a:lnTo>
                <a:lnTo>
                  <a:pt x="3765" y="2521"/>
                </a:lnTo>
                <a:close/>
                <a:moveTo>
                  <a:pt x="3505" y="2528"/>
                </a:moveTo>
                <a:lnTo>
                  <a:pt x="3498" y="2523"/>
                </a:lnTo>
                <a:lnTo>
                  <a:pt x="3495" y="2523"/>
                </a:lnTo>
                <a:lnTo>
                  <a:pt x="3493" y="2523"/>
                </a:lnTo>
                <a:lnTo>
                  <a:pt x="3493" y="2526"/>
                </a:lnTo>
                <a:lnTo>
                  <a:pt x="3495" y="2526"/>
                </a:lnTo>
                <a:lnTo>
                  <a:pt x="3495" y="2528"/>
                </a:lnTo>
                <a:lnTo>
                  <a:pt x="3500" y="2528"/>
                </a:lnTo>
                <a:lnTo>
                  <a:pt x="3500" y="2529"/>
                </a:lnTo>
                <a:lnTo>
                  <a:pt x="3502" y="2528"/>
                </a:lnTo>
                <a:lnTo>
                  <a:pt x="3505" y="2529"/>
                </a:lnTo>
                <a:lnTo>
                  <a:pt x="3505" y="2528"/>
                </a:lnTo>
                <a:close/>
                <a:moveTo>
                  <a:pt x="3340" y="2529"/>
                </a:moveTo>
                <a:lnTo>
                  <a:pt x="3340" y="2528"/>
                </a:lnTo>
                <a:lnTo>
                  <a:pt x="3342" y="2526"/>
                </a:lnTo>
                <a:lnTo>
                  <a:pt x="3338" y="2526"/>
                </a:lnTo>
                <a:lnTo>
                  <a:pt x="3340" y="2528"/>
                </a:lnTo>
                <a:lnTo>
                  <a:pt x="3338" y="2528"/>
                </a:lnTo>
                <a:lnTo>
                  <a:pt x="3337" y="2528"/>
                </a:lnTo>
                <a:lnTo>
                  <a:pt x="3338" y="2529"/>
                </a:lnTo>
                <a:lnTo>
                  <a:pt x="3338" y="2531"/>
                </a:lnTo>
                <a:lnTo>
                  <a:pt x="3340" y="2529"/>
                </a:lnTo>
                <a:close/>
                <a:moveTo>
                  <a:pt x="3496" y="2529"/>
                </a:moveTo>
                <a:lnTo>
                  <a:pt x="3498" y="2529"/>
                </a:lnTo>
                <a:lnTo>
                  <a:pt x="3498" y="2531"/>
                </a:lnTo>
                <a:lnTo>
                  <a:pt x="3496" y="2531"/>
                </a:lnTo>
                <a:lnTo>
                  <a:pt x="3496" y="2529"/>
                </a:lnTo>
                <a:close/>
                <a:moveTo>
                  <a:pt x="3495" y="2529"/>
                </a:moveTo>
                <a:lnTo>
                  <a:pt x="3495" y="2531"/>
                </a:lnTo>
                <a:lnTo>
                  <a:pt x="3495" y="2529"/>
                </a:lnTo>
                <a:close/>
                <a:moveTo>
                  <a:pt x="3792" y="2529"/>
                </a:moveTo>
                <a:lnTo>
                  <a:pt x="3794" y="2529"/>
                </a:lnTo>
                <a:lnTo>
                  <a:pt x="3794" y="2531"/>
                </a:lnTo>
                <a:lnTo>
                  <a:pt x="3792" y="2531"/>
                </a:lnTo>
                <a:lnTo>
                  <a:pt x="3792" y="2529"/>
                </a:lnTo>
                <a:close/>
                <a:moveTo>
                  <a:pt x="3498" y="2529"/>
                </a:moveTo>
                <a:lnTo>
                  <a:pt x="3498" y="2531"/>
                </a:lnTo>
                <a:lnTo>
                  <a:pt x="3498" y="2529"/>
                </a:lnTo>
                <a:close/>
                <a:moveTo>
                  <a:pt x="3340" y="2529"/>
                </a:moveTo>
                <a:lnTo>
                  <a:pt x="3340" y="2533"/>
                </a:lnTo>
                <a:lnTo>
                  <a:pt x="3340" y="2529"/>
                </a:lnTo>
                <a:close/>
                <a:moveTo>
                  <a:pt x="3338" y="2536"/>
                </a:moveTo>
                <a:lnTo>
                  <a:pt x="3340" y="2536"/>
                </a:lnTo>
                <a:lnTo>
                  <a:pt x="3340" y="2538"/>
                </a:lnTo>
                <a:lnTo>
                  <a:pt x="3338" y="2538"/>
                </a:lnTo>
                <a:lnTo>
                  <a:pt x="3338" y="2536"/>
                </a:lnTo>
                <a:close/>
                <a:moveTo>
                  <a:pt x="3794" y="2540"/>
                </a:moveTo>
                <a:lnTo>
                  <a:pt x="3796" y="2540"/>
                </a:lnTo>
                <a:lnTo>
                  <a:pt x="3796" y="2541"/>
                </a:lnTo>
                <a:lnTo>
                  <a:pt x="3794" y="2541"/>
                </a:lnTo>
                <a:lnTo>
                  <a:pt x="3794" y="2540"/>
                </a:lnTo>
                <a:close/>
                <a:moveTo>
                  <a:pt x="3340" y="2540"/>
                </a:moveTo>
                <a:lnTo>
                  <a:pt x="3342" y="2540"/>
                </a:lnTo>
                <a:lnTo>
                  <a:pt x="3342" y="2541"/>
                </a:lnTo>
                <a:lnTo>
                  <a:pt x="3340" y="2541"/>
                </a:lnTo>
                <a:lnTo>
                  <a:pt x="3340" y="2540"/>
                </a:lnTo>
                <a:close/>
                <a:moveTo>
                  <a:pt x="3794" y="2541"/>
                </a:moveTo>
                <a:lnTo>
                  <a:pt x="3796" y="2541"/>
                </a:lnTo>
                <a:lnTo>
                  <a:pt x="3794" y="2541"/>
                </a:lnTo>
                <a:close/>
                <a:moveTo>
                  <a:pt x="3563" y="2541"/>
                </a:moveTo>
                <a:lnTo>
                  <a:pt x="3564" y="2541"/>
                </a:lnTo>
                <a:lnTo>
                  <a:pt x="3564" y="2543"/>
                </a:lnTo>
                <a:lnTo>
                  <a:pt x="3563" y="2543"/>
                </a:lnTo>
                <a:lnTo>
                  <a:pt x="3563" y="2541"/>
                </a:lnTo>
                <a:close/>
                <a:moveTo>
                  <a:pt x="3571" y="2558"/>
                </a:moveTo>
                <a:lnTo>
                  <a:pt x="3571" y="2560"/>
                </a:lnTo>
                <a:lnTo>
                  <a:pt x="3573" y="2558"/>
                </a:lnTo>
                <a:lnTo>
                  <a:pt x="3571" y="2558"/>
                </a:lnTo>
                <a:lnTo>
                  <a:pt x="3571" y="2557"/>
                </a:lnTo>
                <a:lnTo>
                  <a:pt x="3573" y="2557"/>
                </a:lnTo>
                <a:lnTo>
                  <a:pt x="3573" y="2555"/>
                </a:lnTo>
                <a:lnTo>
                  <a:pt x="3575" y="2553"/>
                </a:lnTo>
                <a:lnTo>
                  <a:pt x="3573" y="2553"/>
                </a:lnTo>
                <a:lnTo>
                  <a:pt x="3573" y="2552"/>
                </a:lnTo>
                <a:lnTo>
                  <a:pt x="3575" y="2550"/>
                </a:lnTo>
                <a:lnTo>
                  <a:pt x="3575" y="2548"/>
                </a:lnTo>
                <a:lnTo>
                  <a:pt x="3573" y="2546"/>
                </a:lnTo>
                <a:lnTo>
                  <a:pt x="3571" y="2546"/>
                </a:lnTo>
                <a:lnTo>
                  <a:pt x="3570" y="2546"/>
                </a:lnTo>
                <a:lnTo>
                  <a:pt x="3570" y="2545"/>
                </a:lnTo>
                <a:lnTo>
                  <a:pt x="3568" y="2543"/>
                </a:lnTo>
                <a:lnTo>
                  <a:pt x="3566" y="2545"/>
                </a:lnTo>
                <a:lnTo>
                  <a:pt x="3564" y="2545"/>
                </a:lnTo>
                <a:lnTo>
                  <a:pt x="3564" y="2546"/>
                </a:lnTo>
                <a:lnTo>
                  <a:pt x="3566" y="2546"/>
                </a:lnTo>
                <a:lnTo>
                  <a:pt x="3564" y="2548"/>
                </a:lnTo>
                <a:lnTo>
                  <a:pt x="3568" y="2548"/>
                </a:lnTo>
                <a:lnTo>
                  <a:pt x="3568" y="2552"/>
                </a:lnTo>
                <a:lnTo>
                  <a:pt x="3568" y="2553"/>
                </a:lnTo>
                <a:lnTo>
                  <a:pt x="3570" y="2555"/>
                </a:lnTo>
                <a:lnTo>
                  <a:pt x="3570" y="2557"/>
                </a:lnTo>
                <a:lnTo>
                  <a:pt x="3568" y="2557"/>
                </a:lnTo>
                <a:lnTo>
                  <a:pt x="3568" y="2555"/>
                </a:lnTo>
                <a:lnTo>
                  <a:pt x="3566" y="2555"/>
                </a:lnTo>
                <a:lnTo>
                  <a:pt x="3568" y="2557"/>
                </a:lnTo>
                <a:lnTo>
                  <a:pt x="3566" y="2558"/>
                </a:lnTo>
                <a:lnTo>
                  <a:pt x="3568" y="2558"/>
                </a:lnTo>
                <a:lnTo>
                  <a:pt x="3568" y="2560"/>
                </a:lnTo>
                <a:lnTo>
                  <a:pt x="3570" y="2560"/>
                </a:lnTo>
                <a:lnTo>
                  <a:pt x="3571" y="2558"/>
                </a:lnTo>
                <a:close/>
                <a:moveTo>
                  <a:pt x="3797" y="2543"/>
                </a:moveTo>
                <a:lnTo>
                  <a:pt x="3799" y="2543"/>
                </a:lnTo>
                <a:lnTo>
                  <a:pt x="3799" y="2545"/>
                </a:lnTo>
                <a:lnTo>
                  <a:pt x="3797" y="2545"/>
                </a:lnTo>
                <a:lnTo>
                  <a:pt x="3797" y="2543"/>
                </a:lnTo>
                <a:close/>
                <a:moveTo>
                  <a:pt x="3748" y="2546"/>
                </a:moveTo>
                <a:lnTo>
                  <a:pt x="3750" y="2546"/>
                </a:lnTo>
                <a:lnTo>
                  <a:pt x="3750" y="2548"/>
                </a:lnTo>
                <a:lnTo>
                  <a:pt x="3748" y="2548"/>
                </a:lnTo>
                <a:lnTo>
                  <a:pt x="3748" y="2546"/>
                </a:lnTo>
                <a:close/>
                <a:moveTo>
                  <a:pt x="3575" y="2548"/>
                </a:moveTo>
                <a:lnTo>
                  <a:pt x="3578" y="2548"/>
                </a:lnTo>
                <a:lnTo>
                  <a:pt x="3578" y="2552"/>
                </a:lnTo>
                <a:lnTo>
                  <a:pt x="3575" y="2552"/>
                </a:lnTo>
                <a:lnTo>
                  <a:pt x="3575" y="2548"/>
                </a:lnTo>
                <a:close/>
                <a:moveTo>
                  <a:pt x="3804" y="2548"/>
                </a:moveTo>
                <a:lnTo>
                  <a:pt x="3804" y="2550"/>
                </a:lnTo>
                <a:lnTo>
                  <a:pt x="3804" y="2548"/>
                </a:lnTo>
                <a:close/>
                <a:moveTo>
                  <a:pt x="3806" y="2550"/>
                </a:moveTo>
                <a:lnTo>
                  <a:pt x="3807" y="2550"/>
                </a:lnTo>
                <a:lnTo>
                  <a:pt x="3807" y="2552"/>
                </a:lnTo>
                <a:lnTo>
                  <a:pt x="3806" y="2552"/>
                </a:lnTo>
                <a:lnTo>
                  <a:pt x="3806" y="2550"/>
                </a:lnTo>
                <a:close/>
                <a:moveTo>
                  <a:pt x="3746" y="2557"/>
                </a:moveTo>
                <a:lnTo>
                  <a:pt x="3745" y="2553"/>
                </a:lnTo>
                <a:lnTo>
                  <a:pt x="3746" y="2553"/>
                </a:lnTo>
                <a:lnTo>
                  <a:pt x="3746" y="2552"/>
                </a:lnTo>
                <a:lnTo>
                  <a:pt x="3745" y="2553"/>
                </a:lnTo>
                <a:lnTo>
                  <a:pt x="3745" y="2555"/>
                </a:lnTo>
                <a:lnTo>
                  <a:pt x="3745" y="2557"/>
                </a:lnTo>
                <a:lnTo>
                  <a:pt x="3743" y="2555"/>
                </a:lnTo>
                <a:lnTo>
                  <a:pt x="3741" y="2555"/>
                </a:lnTo>
                <a:lnTo>
                  <a:pt x="3745" y="2557"/>
                </a:lnTo>
                <a:lnTo>
                  <a:pt x="3746" y="2557"/>
                </a:lnTo>
                <a:close/>
                <a:moveTo>
                  <a:pt x="3733" y="2580"/>
                </a:moveTo>
                <a:lnTo>
                  <a:pt x="3731" y="2580"/>
                </a:lnTo>
                <a:lnTo>
                  <a:pt x="3731" y="2579"/>
                </a:lnTo>
                <a:lnTo>
                  <a:pt x="3731" y="2577"/>
                </a:lnTo>
                <a:lnTo>
                  <a:pt x="3733" y="2579"/>
                </a:lnTo>
                <a:lnTo>
                  <a:pt x="3733" y="2577"/>
                </a:lnTo>
                <a:lnTo>
                  <a:pt x="3731" y="2575"/>
                </a:lnTo>
                <a:lnTo>
                  <a:pt x="3731" y="2574"/>
                </a:lnTo>
                <a:lnTo>
                  <a:pt x="3729" y="2574"/>
                </a:lnTo>
                <a:lnTo>
                  <a:pt x="3731" y="2572"/>
                </a:lnTo>
                <a:lnTo>
                  <a:pt x="3729" y="2570"/>
                </a:lnTo>
                <a:lnTo>
                  <a:pt x="3728" y="2570"/>
                </a:lnTo>
                <a:lnTo>
                  <a:pt x="3728" y="2572"/>
                </a:lnTo>
                <a:lnTo>
                  <a:pt x="3728" y="2574"/>
                </a:lnTo>
                <a:lnTo>
                  <a:pt x="3726" y="2574"/>
                </a:lnTo>
                <a:lnTo>
                  <a:pt x="3724" y="2574"/>
                </a:lnTo>
                <a:lnTo>
                  <a:pt x="3723" y="2574"/>
                </a:lnTo>
                <a:lnTo>
                  <a:pt x="3724" y="2575"/>
                </a:lnTo>
                <a:lnTo>
                  <a:pt x="3724" y="2577"/>
                </a:lnTo>
                <a:lnTo>
                  <a:pt x="3724" y="2579"/>
                </a:lnTo>
                <a:lnTo>
                  <a:pt x="3726" y="2580"/>
                </a:lnTo>
                <a:lnTo>
                  <a:pt x="3728" y="2582"/>
                </a:lnTo>
                <a:lnTo>
                  <a:pt x="3729" y="2580"/>
                </a:lnTo>
                <a:lnTo>
                  <a:pt x="3731" y="2582"/>
                </a:lnTo>
                <a:lnTo>
                  <a:pt x="3733" y="2580"/>
                </a:lnTo>
                <a:close/>
                <a:moveTo>
                  <a:pt x="3723" y="2575"/>
                </a:moveTo>
                <a:lnTo>
                  <a:pt x="3723" y="2577"/>
                </a:lnTo>
                <a:lnTo>
                  <a:pt x="3723" y="2575"/>
                </a:lnTo>
                <a:close/>
                <a:moveTo>
                  <a:pt x="3741" y="2579"/>
                </a:moveTo>
                <a:lnTo>
                  <a:pt x="3740" y="2577"/>
                </a:lnTo>
                <a:lnTo>
                  <a:pt x="3738" y="2575"/>
                </a:lnTo>
                <a:lnTo>
                  <a:pt x="3738" y="2579"/>
                </a:lnTo>
                <a:lnTo>
                  <a:pt x="3740" y="2579"/>
                </a:lnTo>
                <a:lnTo>
                  <a:pt x="3741" y="2579"/>
                </a:lnTo>
                <a:close/>
                <a:moveTo>
                  <a:pt x="3731" y="2582"/>
                </a:moveTo>
                <a:lnTo>
                  <a:pt x="3733" y="2582"/>
                </a:lnTo>
                <a:lnTo>
                  <a:pt x="3733" y="2586"/>
                </a:lnTo>
                <a:lnTo>
                  <a:pt x="3731" y="2586"/>
                </a:lnTo>
                <a:lnTo>
                  <a:pt x="3731" y="2582"/>
                </a:lnTo>
                <a:close/>
                <a:moveTo>
                  <a:pt x="3704" y="2591"/>
                </a:moveTo>
                <a:lnTo>
                  <a:pt x="3706" y="2591"/>
                </a:lnTo>
                <a:lnTo>
                  <a:pt x="3704" y="2591"/>
                </a:lnTo>
                <a:close/>
                <a:moveTo>
                  <a:pt x="3702" y="2608"/>
                </a:moveTo>
                <a:lnTo>
                  <a:pt x="3704" y="2608"/>
                </a:lnTo>
                <a:lnTo>
                  <a:pt x="3704" y="2609"/>
                </a:lnTo>
                <a:lnTo>
                  <a:pt x="3702" y="2609"/>
                </a:lnTo>
                <a:lnTo>
                  <a:pt x="3702" y="2608"/>
                </a:lnTo>
                <a:close/>
                <a:moveTo>
                  <a:pt x="3704" y="2609"/>
                </a:moveTo>
                <a:lnTo>
                  <a:pt x="3704" y="2611"/>
                </a:lnTo>
                <a:lnTo>
                  <a:pt x="3704" y="2613"/>
                </a:lnTo>
                <a:lnTo>
                  <a:pt x="3706" y="2614"/>
                </a:lnTo>
                <a:lnTo>
                  <a:pt x="3704" y="2609"/>
                </a:lnTo>
                <a:close/>
                <a:moveTo>
                  <a:pt x="3700" y="2616"/>
                </a:moveTo>
                <a:lnTo>
                  <a:pt x="3702" y="2616"/>
                </a:lnTo>
                <a:lnTo>
                  <a:pt x="3702" y="2618"/>
                </a:lnTo>
                <a:lnTo>
                  <a:pt x="3700" y="2618"/>
                </a:lnTo>
                <a:lnTo>
                  <a:pt x="3700" y="2616"/>
                </a:lnTo>
                <a:close/>
                <a:moveTo>
                  <a:pt x="3704" y="2618"/>
                </a:moveTo>
                <a:lnTo>
                  <a:pt x="3706" y="2618"/>
                </a:lnTo>
                <a:lnTo>
                  <a:pt x="3706" y="2620"/>
                </a:lnTo>
                <a:lnTo>
                  <a:pt x="3704" y="2620"/>
                </a:lnTo>
                <a:lnTo>
                  <a:pt x="3704" y="2618"/>
                </a:lnTo>
                <a:close/>
                <a:moveTo>
                  <a:pt x="3714" y="2623"/>
                </a:moveTo>
                <a:lnTo>
                  <a:pt x="3716" y="2623"/>
                </a:lnTo>
                <a:lnTo>
                  <a:pt x="3714" y="2623"/>
                </a:lnTo>
                <a:close/>
                <a:moveTo>
                  <a:pt x="3695" y="2640"/>
                </a:moveTo>
                <a:lnTo>
                  <a:pt x="3695" y="2638"/>
                </a:lnTo>
                <a:lnTo>
                  <a:pt x="3694" y="2638"/>
                </a:lnTo>
                <a:lnTo>
                  <a:pt x="3695" y="2637"/>
                </a:lnTo>
                <a:lnTo>
                  <a:pt x="3694" y="2637"/>
                </a:lnTo>
                <a:lnTo>
                  <a:pt x="3694" y="2638"/>
                </a:lnTo>
                <a:lnTo>
                  <a:pt x="3692" y="2638"/>
                </a:lnTo>
                <a:lnTo>
                  <a:pt x="3694" y="2640"/>
                </a:lnTo>
                <a:lnTo>
                  <a:pt x="3695" y="2640"/>
                </a:lnTo>
                <a:close/>
                <a:moveTo>
                  <a:pt x="3709" y="2643"/>
                </a:moveTo>
                <a:lnTo>
                  <a:pt x="3712" y="2643"/>
                </a:lnTo>
                <a:lnTo>
                  <a:pt x="3709" y="2643"/>
                </a:lnTo>
                <a:close/>
                <a:moveTo>
                  <a:pt x="3350" y="2654"/>
                </a:moveTo>
                <a:lnTo>
                  <a:pt x="3352" y="2654"/>
                </a:lnTo>
                <a:lnTo>
                  <a:pt x="3352" y="2655"/>
                </a:lnTo>
                <a:lnTo>
                  <a:pt x="3350" y="2655"/>
                </a:lnTo>
                <a:lnTo>
                  <a:pt x="3350" y="2654"/>
                </a:lnTo>
                <a:close/>
                <a:moveTo>
                  <a:pt x="3673" y="2682"/>
                </a:moveTo>
                <a:lnTo>
                  <a:pt x="3675" y="2682"/>
                </a:lnTo>
                <a:lnTo>
                  <a:pt x="3675" y="2684"/>
                </a:lnTo>
                <a:lnTo>
                  <a:pt x="3673" y="2684"/>
                </a:lnTo>
                <a:lnTo>
                  <a:pt x="3673" y="2682"/>
                </a:lnTo>
                <a:close/>
                <a:moveTo>
                  <a:pt x="3673" y="2684"/>
                </a:moveTo>
                <a:lnTo>
                  <a:pt x="3675" y="2684"/>
                </a:lnTo>
                <a:lnTo>
                  <a:pt x="3673" y="2684"/>
                </a:lnTo>
                <a:close/>
                <a:moveTo>
                  <a:pt x="3672" y="2684"/>
                </a:moveTo>
                <a:lnTo>
                  <a:pt x="3673" y="2684"/>
                </a:lnTo>
                <a:lnTo>
                  <a:pt x="3673" y="2686"/>
                </a:lnTo>
                <a:lnTo>
                  <a:pt x="3672" y="2686"/>
                </a:lnTo>
                <a:lnTo>
                  <a:pt x="3672" y="2684"/>
                </a:lnTo>
                <a:close/>
                <a:moveTo>
                  <a:pt x="3672" y="2686"/>
                </a:moveTo>
                <a:lnTo>
                  <a:pt x="3673" y="2686"/>
                </a:lnTo>
                <a:lnTo>
                  <a:pt x="3672" y="2686"/>
                </a:lnTo>
                <a:close/>
                <a:moveTo>
                  <a:pt x="3666" y="2686"/>
                </a:moveTo>
                <a:lnTo>
                  <a:pt x="3668" y="2686"/>
                </a:lnTo>
                <a:lnTo>
                  <a:pt x="3666" y="2686"/>
                </a:lnTo>
                <a:close/>
                <a:moveTo>
                  <a:pt x="3666" y="2686"/>
                </a:moveTo>
                <a:lnTo>
                  <a:pt x="3666" y="2688"/>
                </a:lnTo>
                <a:lnTo>
                  <a:pt x="3666" y="2686"/>
                </a:lnTo>
                <a:close/>
                <a:moveTo>
                  <a:pt x="3804" y="2686"/>
                </a:moveTo>
                <a:lnTo>
                  <a:pt x="3804" y="2688"/>
                </a:lnTo>
                <a:lnTo>
                  <a:pt x="3804" y="2686"/>
                </a:lnTo>
                <a:close/>
                <a:moveTo>
                  <a:pt x="3666" y="2686"/>
                </a:moveTo>
                <a:lnTo>
                  <a:pt x="3668" y="2686"/>
                </a:lnTo>
                <a:lnTo>
                  <a:pt x="3666" y="2686"/>
                </a:lnTo>
                <a:close/>
                <a:moveTo>
                  <a:pt x="3665" y="2686"/>
                </a:moveTo>
                <a:lnTo>
                  <a:pt x="3666" y="2686"/>
                </a:lnTo>
                <a:lnTo>
                  <a:pt x="3666" y="2688"/>
                </a:lnTo>
                <a:lnTo>
                  <a:pt x="3665" y="2688"/>
                </a:lnTo>
                <a:lnTo>
                  <a:pt x="3665" y="2686"/>
                </a:lnTo>
                <a:close/>
                <a:moveTo>
                  <a:pt x="3665" y="2688"/>
                </a:moveTo>
                <a:lnTo>
                  <a:pt x="3666" y="2688"/>
                </a:lnTo>
                <a:lnTo>
                  <a:pt x="3666" y="2689"/>
                </a:lnTo>
                <a:lnTo>
                  <a:pt x="3665" y="2689"/>
                </a:lnTo>
                <a:lnTo>
                  <a:pt x="3665" y="2688"/>
                </a:lnTo>
                <a:close/>
                <a:moveTo>
                  <a:pt x="3665" y="2688"/>
                </a:moveTo>
                <a:lnTo>
                  <a:pt x="3666" y="2688"/>
                </a:lnTo>
                <a:lnTo>
                  <a:pt x="3666" y="2689"/>
                </a:lnTo>
                <a:lnTo>
                  <a:pt x="3665" y="2689"/>
                </a:lnTo>
                <a:lnTo>
                  <a:pt x="3665" y="2688"/>
                </a:lnTo>
                <a:close/>
                <a:moveTo>
                  <a:pt x="3660" y="2691"/>
                </a:moveTo>
                <a:lnTo>
                  <a:pt x="3661" y="2691"/>
                </a:lnTo>
                <a:lnTo>
                  <a:pt x="3660" y="2691"/>
                </a:lnTo>
                <a:close/>
                <a:moveTo>
                  <a:pt x="3631" y="2700"/>
                </a:moveTo>
                <a:lnTo>
                  <a:pt x="3632" y="2700"/>
                </a:lnTo>
                <a:lnTo>
                  <a:pt x="3631" y="2700"/>
                </a:lnTo>
                <a:close/>
                <a:moveTo>
                  <a:pt x="3612" y="2701"/>
                </a:moveTo>
                <a:lnTo>
                  <a:pt x="3612" y="2703"/>
                </a:lnTo>
                <a:lnTo>
                  <a:pt x="3612" y="2701"/>
                </a:lnTo>
                <a:close/>
                <a:moveTo>
                  <a:pt x="3602" y="2701"/>
                </a:moveTo>
                <a:lnTo>
                  <a:pt x="3604" y="2701"/>
                </a:lnTo>
                <a:lnTo>
                  <a:pt x="3604" y="2703"/>
                </a:lnTo>
                <a:lnTo>
                  <a:pt x="3602" y="2703"/>
                </a:lnTo>
                <a:lnTo>
                  <a:pt x="3602" y="2701"/>
                </a:lnTo>
                <a:close/>
                <a:moveTo>
                  <a:pt x="3602" y="2701"/>
                </a:moveTo>
                <a:lnTo>
                  <a:pt x="3604" y="2701"/>
                </a:lnTo>
                <a:lnTo>
                  <a:pt x="3604" y="2705"/>
                </a:lnTo>
                <a:lnTo>
                  <a:pt x="3602" y="2705"/>
                </a:lnTo>
                <a:lnTo>
                  <a:pt x="3602" y="2701"/>
                </a:lnTo>
                <a:close/>
                <a:moveTo>
                  <a:pt x="3612" y="2705"/>
                </a:moveTo>
                <a:lnTo>
                  <a:pt x="3614" y="2705"/>
                </a:lnTo>
                <a:lnTo>
                  <a:pt x="3612" y="2705"/>
                </a:lnTo>
                <a:close/>
                <a:moveTo>
                  <a:pt x="3615" y="2705"/>
                </a:moveTo>
                <a:lnTo>
                  <a:pt x="3617" y="2705"/>
                </a:lnTo>
                <a:lnTo>
                  <a:pt x="3615" y="2705"/>
                </a:lnTo>
                <a:close/>
                <a:moveTo>
                  <a:pt x="3631" y="2706"/>
                </a:moveTo>
                <a:lnTo>
                  <a:pt x="3634" y="2706"/>
                </a:lnTo>
                <a:lnTo>
                  <a:pt x="3631" y="2706"/>
                </a:lnTo>
                <a:close/>
                <a:moveTo>
                  <a:pt x="3631" y="2706"/>
                </a:moveTo>
                <a:lnTo>
                  <a:pt x="3632" y="2706"/>
                </a:lnTo>
                <a:lnTo>
                  <a:pt x="3632" y="2710"/>
                </a:lnTo>
                <a:lnTo>
                  <a:pt x="3631" y="2710"/>
                </a:lnTo>
                <a:lnTo>
                  <a:pt x="3631" y="2706"/>
                </a:lnTo>
                <a:close/>
                <a:moveTo>
                  <a:pt x="3634" y="2706"/>
                </a:moveTo>
                <a:lnTo>
                  <a:pt x="3636" y="2706"/>
                </a:lnTo>
                <a:lnTo>
                  <a:pt x="3636" y="2708"/>
                </a:lnTo>
                <a:lnTo>
                  <a:pt x="3634" y="2708"/>
                </a:lnTo>
                <a:lnTo>
                  <a:pt x="3634" y="2706"/>
                </a:lnTo>
                <a:close/>
                <a:moveTo>
                  <a:pt x="3629" y="2706"/>
                </a:moveTo>
                <a:lnTo>
                  <a:pt x="3632" y="2706"/>
                </a:lnTo>
                <a:lnTo>
                  <a:pt x="3632" y="2708"/>
                </a:lnTo>
                <a:lnTo>
                  <a:pt x="3629" y="2708"/>
                </a:lnTo>
                <a:lnTo>
                  <a:pt x="3629" y="2706"/>
                </a:lnTo>
                <a:close/>
                <a:moveTo>
                  <a:pt x="3632" y="2706"/>
                </a:moveTo>
                <a:lnTo>
                  <a:pt x="3634" y="2706"/>
                </a:lnTo>
                <a:lnTo>
                  <a:pt x="3634" y="2708"/>
                </a:lnTo>
                <a:lnTo>
                  <a:pt x="3632" y="2708"/>
                </a:lnTo>
                <a:lnTo>
                  <a:pt x="3632" y="2706"/>
                </a:lnTo>
                <a:close/>
                <a:moveTo>
                  <a:pt x="3644" y="2717"/>
                </a:moveTo>
                <a:lnTo>
                  <a:pt x="3646" y="2715"/>
                </a:lnTo>
                <a:lnTo>
                  <a:pt x="3644" y="2713"/>
                </a:lnTo>
                <a:lnTo>
                  <a:pt x="3643" y="2713"/>
                </a:lnTo>
                <a:lnTo>
                  <a:pt x="3641" y="2711"/>
                </a:lnTo>
                <a:lnTo>
                  <a:pt x="3639" y="2711"/>
                </a:lnTo>
                <a:lnTo>
                  <a:pt x="3639" y="2710"/>
                </a:lnTo>
                <a:lnTo>
                  <a:pt x="3634" y="2706"/>
                </a:lnTo>
                <a:lnTo>
                  <a:pt x="3636" y="2710"/>
                </a:lnTo>
                <a:lnTo>
                  <a:pt x="3639" y="2713"/>
                </a:lnTo>
                <a:lnTo>
                  <a:pt x="3643" y="2715"/>
                </a:lnTo>
                <a:lnTo>
                  <a:pt x="3644" y="2718"/>
                </a:lnTo>
                <a:lnTo>
                  <a:pt x="3644" y="2717"/>
                </a:lnTo>
                <a:close/>
                <a:moveTo>
                  <a:pt x="998" y="2710"/>
                </a:moveTo>
                <a:lnTo>
                  <a:pt x="998" y="2708"/>
                </a:lnTo>
                <a:lnTo>
                  <a:pt x="994" y="2706"/>
                </a:lnTo>
                <a:lnTo>
                  <a:pt x="991" y="2711"/>
                </a:lnTo>
                <a:lnTo>
                  <a:pt x="992" y="2713"/>
                </a:lnTo>
                <a:lnTo>
                  <a:pt x="998" y="2710"/>
                </a:lnTo>
                <a:close/>
                <a:moveTo>
                  <a:pt x="3627" y="2708"/>
                </a:moveTo>
                <a:lnTo>
                  <a:pt x="3629" y="2708"/>
                </a:lnTo>
                <a:lnTo>
                  <a:pt x="3629" y="2710"/>
                </a:lnTo>
                <a:lnTo>
                  <a:pt x="3627" y="2710"/>
                </a:lnTo>
                <a:lnTo>
                  <a:pt x="3627" y="2708"/>
                </a:lnTo>
                <a:close/>
                <a:moveTo>
                  <a:pt x="3629" y="2708"/>
                </a:moveTo>
                <a:lnTo>
                  <a:pt x="3631" y="2708"/>
                </a:lnTo>
                <a:lnTo>
                  <a:pt x="3631" y="2710"/>
                </a:lnTo>
                <a:lnTo>
                  <a:pt x="3629" y="2710"/>
                </a:lnTo>
                <a:lnTo>
                  <a:pt x="3629" y="2708"/>
                </a:lnTo>
                <a:close/>
                <a:moveTo>
                  <a:pt x="3634" y="2708"/>
                </a:moveTo>
                <a:lnTo>
                  <a:pt x="3636" y="2708"/>
                </a:lnTo>
                <a:lnTo>
                  <a:pt x="3636" y="2710"/>
                </a:lnTo>
                <a:lnTo>
                  <a:pt x="3634" y="2710"/>
                </a:lnTo>
                <a:lnTo>
                  <a:pt x="3634" y="2708"/>
                </a:lnTo>
                <a:close/>
                <a:moveTo>
                  <a:pt x="3631" y="2708"/>
                </a:moveTo>
                <a:lnTo>
                  <a:pt x="3632" y="2708"/>
                </a:lnTo>
                <a:lnTo>
                  <a:pt x="3632" y="2710"/>
                </a:lnTo>
                <a:lnTo>
                  <a:pt x="3631" y="2710"/>
                </a:lnTo>
                <a:lnTo>
                  <a:pt x="3631" y="2708"/>
                </a:lnTo>
                <a:close/>
                <a:moveTo>
                  <a:pt x="3631" y="2708"/>
                </a:moveTo>
                <a:lnTo>
                  <a:pt x="3632" y="2708"/>
                </a:lnTo>
                <a:lnTo>
                  <a:pt x="3632" y="2710"/>
                </a:lnTo>
                <a:lnTo>
                  <a:pt x="3631" y="2710"/>
                </a:lnTo>
                <a:lnTo>
                  <a:pt x="3631" y="2708"/>
                </a:lnTo>
                <a:close/>
                <a:moveTo>
                  <a:pt x="3632" y="2708"/>
                </a:moveTo>
                <a:lnTo>
                  <a:pt x="3636" y="2708"/>
                </a:lnTo>
                <a:lnTo>
                  <a:pt x="3636" y="2711"/>
                </a:lnTo>
                <a:lnTo>
                  <a:pt x="3632" y="2711"/>
                </a:lnTo>
                <a:lnTo>
                  <a:pt x="3632" y="2708"/>
                </a:lnTo>
                <a:close/>
                <a:moveTo>
                  <a:pt x="3643" y="2715"/>
                </a:moveTo>
                <a:lnTo>
                  <a:pt x="3641" y="2713"/>
                </a:lnTo>
                <a:lnTo>
                  <a:pt x="3639" y="2715"/>
                </a:lnTo>
                <a:lnTo>
                  <a:pt x="3629" y="2710"/>
                </a:lnTo>
                <a:lnTo>
                  <a:pt x="3631" y="2711"/>
                </a:lnTo>
                <a:lnTo>
                  <a:pt x="3634" y="2713"/>
                </a:lnTo>
                <a:lnTo>
                  <a:pt x="3641" y="2715"/>
                </a:lnTo>
                <a:lnTo>
                  <a:pt x="3643" y="2715"/>
                </a:lnTo>
                <a:close/>
                <a:moveTo>
                  <a:pt x="3632" y="2710"/>
                </a:moveTo>
                <a:lnTo>
                  <a:pt x="3634" y="2710"/>
                </a:lnTo>
                <a:lnTo>
                  <a:pt x="3632" y="2710"/>
                </a:lnTo>
                <a:close/>
                <a:moveTo>
                  <a:pt x="3631" y="2711"/>
                </a:moveTo>
                <a:lnTo>
                  <a:pt x="3629" y="2710"/>
                </a:lnTo>
                <a:lnTo>
                  <a:pt x="3631" y="2713"/>
                </a:lnTo>
                <a:lnTo>
                  <a:pt x="3634" y="2713"/>
                </a:lnTo>
                <a:lnTo>
                  <a:pt x="3631" y="2711"/>
                </a:lnTo>
                <a:close/>
                <a:moveTo>
                  <a:pt x="3641" y="2713"/>
                </a:moveTo>
                <a:lnTo>
                  <a:pt x="3639" y="2713"/>
                </a:lnTo>
                <a:lnTo>
                  <a:pt x="3636" y="2711"/>
                </a:lnTo>
                <a:lnTo>
                  <a:pt x="3634" y="2711"/>
                </a:lnTo>
                <a:lnTo>
                  <a:pt x="3639" y="2715"/>
                </a:lnTo>
                <a:lnTo>
                  <a:pt x="3641" y="2713"/>
                </a:lnTo>
                <a:close/>
                <a:moveTo>
                  <a:pt x="3639" y="2711"/>
                </a:moveTo>
                <a:lnTo>
                  <a:pt x="3641" y="2711"/>
                </a:lnTo>
                <a:lnTo>
                  <a:pt x="3639" y="2711"/>
                </a:lnTo>
                <a:close/>
                <a:moveTo>
                  <a:pt x="3631" y="2713"/>
                </a:moveTo>
                <a:lnTo>
                  <a:pt x="3632" y="2713"/>
                </a:lnTo>
                <a:lnTo>
                  <a:pt x="3631" y="2713"/>
                </a:lnTo>
                <a:close/>
                <a:moveTo>
                  <a:pt x="3580" y="2718"/>
                </a:moveTo>
                <a:lnTo>
                  <a:pt x="3581" y="2718"/>
                </a:lnTo>
                <a:lnTo>
                  <a:pt x="3580" y="2718"/>
                </a:lnTo>
                <a:close/>
                <a:moveTo>
                  <a:pt x="3807" y="2725"/>
                </a:moveTo>
                <a:lnTo>
                  <a:pt x="3807" y="2727"/>
                </a:lnTo>
                <a:lnTo>
                  <a:pt x="3807" y="2725"/>
                </a:lnTo>
                <a:close/>
                <a:moveTo>
                  <a:pt x="3807" y="2728"/>
                </a:moveTo>
                <a:lnTo>
                  <a:pt x="3809" y="2728"/>
                </a:lnTo>
                <a:lnTo>
                  <a:pt x="3807" y="2728"/>
                </a:lnTo>
                <a:close/>
                <a:moveTo>
                  <a:pt x="3809" y="2734"/>
                </a:moveTo>
                <a:lnTo>
                  <a:pt x="3811" y="2734"/>
                </a:lnTo>
                <a:lnTo>
                  <a:pt x="3811" y="2735"/>
                </a:lnTo>
                <a:lnTo>
                  <a:pt x="3809" y="2735"/>
                </a:lnTo>
                <a:lnTo>
                  <a:pt x="3809" y="2734"/>
                </a:lnTo>
                <a:close/>
                <a:moveTo>
                  <a:pt x="3809" y="2735"/>
                </a:moveTo>
                <a:lnTo>
                  <a:pt x="3811" y="2735"/>
                </a:lnTo>
                <a:lnTo>
                  <a:pt x="3809" y="2735"/>
                </a:lnTo>
                <a:close/>
                <a:moveTo>
                  <a:pt x="3807" y="2737"/>
                </a:moveTo>
                <a:lnTo>
                  <a:pt x="3807" y="2739"/>
                </a:lnTo>
                <a:lnTo>
                  <a:pt x="3807" y="2737"/>
                </a:lnTo>
                <a:close/>
                <a:moveTo>
                  <a:pt x="1876" y="2742"/>
                </a:moveTo>
                <a:lnTo>
                  <a:pt x="1878" y="2739"/>
                </a:lnTo>
                <a:lnTo>
                  <a:pt x="1876" y="2739"/>
                </a:lnTo>
                <a:lnTo>
                  <a:pt x="1875" y="2740"/>
                </a:lnTo>
                <a:lnTo>
                  <a:pt x="1875" y="2742"/>
                </a:lnTo>
                <a:lnTo>
                  <a:pt x="1876" y="2747"/>
                </a:lnTo>
                <a:lnTo>
                  <a:pt x="1878" y="2749"/>
                </a:lnTo>
                <a:lnTo>
                  <a:pt x="1876" y="2742"/>
                </a:lnTo>
                <a:close/>
                <a:moveTo>
                  <a:pt x="3807" y="2740"/>
                </a:moveTo>
                <a:lnTo>
                  <a:pt x="3807" y="2742"/>
                </a:lnTo>
                <a:lnTo>
                  <a:pt x="3807" y="2740"/>
                </a:lnTo>
                <a:close/>
                <a:moveTo>
                  <a:pt x="3813" y="2757"/>
                </a:moveTo>
                <a:lnTo>
                  <a:pt x="3811" y="2761"/>
                </a:lnTo>
                <a:lnTo>
                  <a:pt x="3813" y="2757"/>
                </a:lnTo>
                <a:lnTo>
                  <a:pt x="3818" y="2749"/>
                </a:lnTo>
                <a:lnTo>
                  <a:pt x="3816" y="2747"/>
                </a:lnTo>
                <a:lnTo>
                  <a:pt x="3814" y="2751"/>
                </a:lnTo>
                <a:lnTo>
                  <a:pt x="3814" y="2752"/>
                </a:lnTo>
                <a:lnTo>
                  <a:pt x="3813" y="2754"/>
                </a:lnTo>
                <a:lnTo>
                  <a:pt x="3811" y="2756"/>
                </a:lnTo>
                <a:lnTo>
                  <a:pt x="3809" y="2759"/>
                </a:lnTo>
                <a:lnTo>
                  <a:pt x="3809" y="2764"/>
                </a:lnTo>
                <a:lnTo>
                  <a:pt x="3807" y="2764"/>
                </a:lnTo>
                <a:lnTo>
                  <a:pt x="3806" y="2768"/>
                </a:lnTo>
                <a:lnTo>
                  <a:pt x="3813" y="2757"/>
                </a:lnTo>
                <a:close/>
                <a:moveTo>
                  <a:pt x="3806" y="2768"/>
                </a:moveTo>
                <a:lnTo>
                  <a:pt x="3806" y="2769"/>
                </a:lnTo>
                <a:lnTo>
                  <a:pt x="3806" y="2768"/>
                </a:lnTo>
                <a:close/>
                <a:moveTo>
                  <a:pt x="3508" y="2786"/>
                </a:moveTo>
                <a:lnTo>
                  <a:pt x="3510" y="2786"/>
                </a:lnTo>
                <a:lnTo>
                  <a:pt x="3510" y="2788"/>
                </a:lnTo>
                <a:lnTo>
                  <a:pt x="3508" y="2788"/>
                </a:lnTo>
                <a:lnTo>
                  <a:pt x="3508" y="2786"/>
                </a:lnTo>
                <a:close/>
                <a:moveTo>
                  <a:pt x="3150" y="2822"/>
                </a:moveTo>
                <a:lnTo>
                  <a:pt x="3151" y="2822"/>
                </a:lnTo>
                <a:lnTo>
                  <a:pt x="3151" y="2824"/>
                </a:lnTo>
                <a:lnTo>
                  <a:pt x="3150" y="2824"/>
                </a:lnTo>
                <a:lnTo>
                  <a:pt x="3150" y="2822"/>
                </a:lnTo>
                <a:close/>
                <a:moveTo>
                  <a:pt x="3146" y="2825"/>
                </a:moveTo>
                <a:lnTo>
                  <a:pt x="3148" y="2825"/>
                </a:lnTo>
                <a:lnTo>
                  <a:pt x="3146" y="2825"/>
                </a:lnTo>
                <a:close/>
                <a:moveTo>
                  <a:pt x="3524" y="2859"/>
                </a:moveTo>
                <a:lnTo>
                  <a:pt x="3524" y="2861"/>
                </a:lnTo>
                <a:lnTo>
                  <a:pt x="3524" y="2859"/>
                </a:lnTo>
                <a:close/>
                <a:moveTo>
                  <a:pt x="3532" y="2902"/>
                </a:moveTo>
                <a:lnTo>
                  <a:pt x="3532" y="2904"/>
                </a:lnTo>
                <a:lnTo>
                  <a:pt x="3532" y="2902"/>
                </a:lnTo>
                <a:close/>
                <a:moveTo>
                  <a:pt x="3532" y="2905"/>
                </a:moveTo>
                <a:lnTo>
                  <a:pt x="3534" y="2905"/>
                </a:lnTo>
                <a:lnTo>
                  <a:pt x="3532" y="2905"/>
                </a:lnTo>
                <a:close/>
                <a:moveTo>
                  <a:pt x="3534" y="2907"/>
                </a:moveTo>
                <a:lnTo>
                  <a:pt x="3536" y="2907"/>
                </a:lnTo>
                <a:lnTo>
                  <a:pt x="3534" y="2907"/>
                </a:lnTo>
                <a:close/>
                <a:moveTo>
                  <a:pt x="3534" y="2907"/>
                </a:moveTo>
                <a:lnTo>
                  <a:pt x="3536" y="2907"/>
                </a:lnTo>
                <a:lnTo>
                  <a:pt x="3536" y="2909"/>
                </a:lnTo>
                <a:lnTo>
                  <a:pt x="3534" y="2909"/>
                </a:lnTo>
                <a:lnTo>
                  <a:pt x="3534" y="2907"/>
                </a:lnTo>
                <a:close/>
                <a:moveTo>
                  <a:pt x="3536" y="2914"/>
                </a:moveTo>
                <a:lnTo>
                  <a:pt x="3536" y="2916"/>
                </a:lnTo>
                <a:lnTo>
                  <a:pt x="3536" y="2914"/>
                </a:lnTo>
                <a:close/>
                <a:moveTo>
                  <a:pt x="3054" y="2950"/>
                </a:moveTo>
                <a:lnTo>
                  <a:pt x="3054" y="2948"/>
                </a:lnTo>
                <a:lnTo>
                  <a:pt x="3053" y="2948"/>
                </a:lnTo>
                <a:lnTo>
                  <a:pt x="3054" y="2948"/>
                </a:lnTo>
                <a:lnTo>
                  <a:pt x="3053" y="2946"/>
                </a:lnTo>
                <a:lnTo>
                  <a:pt x="3051" y="2946"/>
                </a:lnTo>
                <a:lnTo>
                  <a:pt x="3051" y="2948"/>
                </a:lnTo>
                <a:lnTo>
                  <a:pt x="3051" y="2950"/>
                </a:lnTo>
                <a:lnTo>
                  <a:pt x="3054" y="2950"/>
                </a:lnTo>
                <a:close/>
                <a:moveTo>
                  <a:pt x="3061" y="2972"/>
                </a:moveTo>
                <a:lnTo>
                  <a:pt x="3063" y="2972"/>
                </a:lnTo>
                <a:lnTo>
                  <a:pt x="3063" y="2973"/>
                </a:lnTo>
                <a:lnTo>
                  <a:pt x="3061" y="2973"/>
                </a:lnTo>
                <a:lnTo>
                  <a:pt x="3061" y="2972"/>
                </a:lnTo>
                <a:close/>
                <a:moveTo>
                  <a:pt x="3061" y="2975"/>
                </a:moveTo>
                <a:lnTo>
                  <a:pt x="3061" y="2977"/>
                </a:lnTo>
                <a:lnTo>
                  <a:pt x="3061" y="2975"/>
                </a:lnTo>
                <a:close/>
                <a:moveTo>
                  <a:pt x="3082" y="2999"/>
                </a:moveTo>
                <a:lnTo>
                  <a:pt x="3082" y="2997"/>
                </a:lnTo>
                <a:lnTo>
                  <a:pt x="3082" y="2994"/>
                </a:lnTo>
                <a:lnTo>
                  <a:pt x="3080" y="2992"/>
                </a:lnTo>
                <a:lnTo>
                  <a:pt x="3080" y="2994"/>
                </a:lnTo>
                <a:lnTo>
                  <a:pt x="3080" y="2997"/>
                </a:lnTo>
                <a:lnTo>
                  <a:pt x="3078" y="2999"/>
                </a:lnTo>
                <a:lnTo>
                  <a:pt x="3078" y="3001"/>
                </a:lnTo>
                <a:lnTo>
                  <a:pt x="3078" y="3002"/>
                </a:lnTo>
                <a:lnTo>
                  <a:pt x="3080" y="3006"/>
                </a:lnTo>
                <a:lnTo>
                  <a:pt x="3082" y="2999"/>
                </a:lnTo>
                <a:close/>
                <a:moveTo>
                  <a:pt x="3077" y="3009"/>
                </a:moveTo>
                <a:lnTo>
                  <a:pt x="3080" y="3009"/>
                </a:lnTo>
                <a:lnTo>
                  <a:pt x="3080" y="3013"/>
                </a:lnTo>
                <a:lnTo>
                  <a:pt x="3077" y="3013"/>
                </a:lnTo>
                <a:lnTo>
                  <a:pt x="3077" y="3009"/>
                </a:lnTo>
                <a:close/>
                <a:moveTo>
                  <a:pt x="3078" y="3014"/>
                </a:moveTo>
                <a:lnTo>
                  <a:pt x="3078" y="3016"/>
                </a:lnTo>
                <a:lnTo>
                  <a:pt x="3078" y="3014"/>
                </a:lnTo>
                <a:close/>
                <a:moveTo>
                  <a:pt x="3083" y="3023"/>
                </a:moveTo>
                <a:lnTo>
                  <a:pt x="3083" y="3024"/>
                </a:lnTo>
                <a:lnTo>
                  <a:pt x="3083" y="3023"/>
                </a:lnTo>
                <a:close/>
                <a:moveTo>
                  <a:pt x="3473" y="3026"/>
                </a:moveTo>
                <a:lnTo>
                  <a:pt x="3474" y="3026"/>
                </a:lnTo>
                <a:lnTo>
                  <a:pt x="3473" y="3026"/>
                </a:lnTo>
                <a:close/>
                <a:moveTo>
                  <a:pt x="3527" y="3183"/>
                </a:moveTo>
                <a:lnTo>
                  <a:pt x="3529" y="3183"/>
                </a:lnTo>
                <a:lnTo>
                  <a:pt x="3527" y="3183"/>
                </a:lnTo>
                <a:close/>
                <a:moveTo>
                  <a:pt x="2941" y="3210"/>
                </a:moveTo>
                <a:lnTo>
                  <a:pt x="2941" y="3212"/>
                </a:lnTo>
                <a:lnTo>
                  <a:pt x="2941" y="3210"/>
                </a:lnTo>
                <a:close/>
                <a:moveTo>
                  <a:pt x="2939" y="3215"/>
                </a:moveTo>
                <a:lnTo>
                  <a:pt x="2939" y="3217"/>
                </a:lnTo>
                <a:lnTo>
                  <a:pt x="2939" y="3215"/>
                </a:lnTo>
                <a:close/>
                <a:moveTo>
                  <a:pt x="2954" y="3218"/>
                </a:moveTo>
                <a:lnTo>
                  <a:pt x="2952" y="3218"/>
                </a:lnTo>
                <a:lnTo>
                  <a:pt x="2951" y="3220"/>
                </a:lnTo>
                <a:lnTo>
                  <a:pt x="2949" y="3222"/>
                </a:lnTo>
                <a:lnTo>
                  <a:pt x="2951" y="3223"/>
                </a:lnTo>
                <a:lnTo>
                  <a:pt x="2951" y="3222"/>
                </a:lnTo>
                <a:lnTo>
                  <a:pt x="2951" y="3220"/>
                </a:lnTo>
                <a:lnTo>
                  <a:pt x="2952" y="3220"/>
                </a:lnTo>
                <a:lnTo>
                  <a:pt x="2952" y="3223"/>
                </a:lnTo>
                <a:lnTo>
                  <a:pt x="2954" y="3218"/>
                </a:lnTo>
                <a:close/>
                <a:moveTo>
                  <a:pt x="2053" y="3269"/>
                </a:moveTo>
                <a:lnTo>
                  <a:pt x="2053" y="3271"/>
                </a:lnTo>
                <a:lnTo>
                  <a:pt x="2053" y="3269"/>
                </a:lnTo>
                <a:close/>
                <a:moveTo>
                  <a:pt x="2199" y="3594"/>
                </a:moveTo>
                <a:lnTo>
                  <a:pt x="2201" y="3594"/>
                </a:lnTo>
                <a:lnTo>
                  <a:pt x="2201" y="3596"/>
                </a:lnTo>
                <a:lnTo>
                  <a:pt x="2199" y="3596"/>
                </a:lnTo>
                <a:lnTo>
                  <a:pt x="2199" y="3594"/>
                </a:lnTo>
                <a:close/>
                <a:moveTo>
                  <a:pt x="2213" y="3613"/>
                </a:moveTo>
                <a:lnTo>
                  <a:pt x="2215" y="3613"/>
                </a:lnTo>
                <a:lnTo>
                  <a:pt x="2215" y="3615"/>
                </a:lnTo>
                <a:lnTo>
                  <a:pt x="2213" y="3615"/>
                </a:lnTo>
                <a:lnTo>
                  <a:pt x="2213" y="3613"/>
                </a:lnTo>
                <a:close/>
              </a:path>
            </a:pathLst>
          </a:custGeom>
          <a:blipFill dpi="0" rotWithShape="1">
            <a:blip r:embed="rId8" cstate="email">
              <a:extLst>
                <a:ext uri="{28A0092B-C50C-407E-A947-70E740481C1C}">
                  <a14:useLocalDpi xmlns:a14="http://schemas.microsoft.com/office/drawing/2010/main"/>
                </a:ext>
              </a:extLst>
            </a:blip>
            <a:srcRect/>
            <a:stretch>
              <a:fillRect/>
            </a:stretch>
          </a:blipFill>
          <a:ln w="6350">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Oval 135">
            <a:extLst>
              <a:ext uri="{FF2B5EF4-FFF2-40B4-BE49-F238E27FC236}">
                <a16:creationId xmlns:a16="http://schemas.microsoft.com/office/drawing/2014/main" id="{E519AB52-014A-4C68-8FB1-504C1F7FB195}"/>
              </a:ext>
            </a:extLst>
          </p:cNvPr>
          <p:cNvSpPr>
            <a:spLocks noChangeAspect="1"/>
          </p:cNvSpPr>
          <p:nvPr/>
        </p:nvSpPr>
        <p:spPr>
          <a:xfrm>
            <a:off x="5520090" y="1276853"/>
            <a:ext cx="1024128" cy="1024128"/>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a:ea typeface="+mn-ea"/>
              <a:cs typeface="+mn-cs"/>
            </a:endParaRPr>
          </a:p>
        </p:txBody>
      </p:sp>
      <p:pic>
        <p:nvPicPr>
          <p:cNvPr id="140" name="Graphic 139">
            <a:extLst>
              <a:ext uri="{FF2B5EF4-FFF2-40B4-BE49-F238E27FC236}">
                <a16:creationId xmlns:a16="http://schemas.microsoft.com/office/drawing/2014/main" id="{86F8EFD7-BF73-45F7-AC6A-EB9DA5E09F6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26063" y="1482826"/>
            <a:ext cx="612181" cy="612181"/>
          </a:xfrm>
          <a:prstGeom prst="rect">
            <a:avLst/>
          </a:prstGeom>
        </p:spPr>
      </p:pic>
      <p:sp>
        <p:nvSpPr>
          <p:cNvPr id="144" name="TextBox 143">
            <a:extLst>
              <a:ext uri="{FF2B5EF4-FFF2-40B4-BE49-F238E27FC236}">
                <a16:creationId xmlns:a16="http://schemas.microsoft.com/office/drawing/2014/main" id="{38A4D4DC-CE3F-4D44-AF74-F3F2ABD8B7DF}"/>
              </a:ext>
            </a:extLst>
          </p:cNvPr>
          <p:cNvSpPr txBox="1">
            <a:spLocks/>
          </p:cNvSpPr>
          <p:nvPr/>
        </p:nvSpPr>
        <p:spPr>
          <a:xfrm>
            <a:off x="6845394" y="1970011"/>
            <a:ext cx="4789394"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Une Afrique plus sûre, plus saine, intégrée et prospère, dans laquelle les États membres peuvent prévenir efficacement la transmission des maladies, mettre en œuvre la surveillance et la détection et être toujours prêts à réagir efficacement aux menaces sanitaires et aux épidémies</a:t>
            </a:r>
            <a:endParaRPr kumimoji="0" lang="en-GB"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48" name="TextBox 147">
            <a:extLst>
              <a:ext uri="{FF2B5EF4-FFF2-40B4-BE49-F238E27FC236}">
                <a16:creationId xmlns:a16="http://schemas.microsoft.com/office/drawing/2014/main" id="{F05192FE-3AB5-4D83-AB2D-1BDFCDEA61EE}"/>
              </a:ext>
            </a:extLst>
          </p:cNvPr>
          <p:cNvSpPr txBox="1">
            <a:spLocks/>
          </p:cNvSpPr>
          <p:nvPr/>
        </p:nvSpPr>
        <p:spPr>
          <a:xfrm>
            <a:off x="6845394" y="4489984"/>
            <a:ext cx="4789394"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nforcer les capacités, les compétences et les partenariats des institutions de santé publique africaines pour détecter et répondre rapidement et efficacement aux menaces et aux épidémies de maladies sur la base d'interventions scientifiques, politiques et fondées sur des données.</a:t>
            </a:r>
            <a:r>
              <a:rPr kumimoji="0" lang="en-US" sz="1600" b="0" i="0" u="none" strike="noStrike" kern="1200" cap="none" spc="0" normalizeH="0" baseline="0" noProof="0" dirty="0" err="1">
                <a:ln>
                  <a:noFill/>
                </a:ln>
                <a:solidFill>
                  <a:srgbClr val="FFFFFF"/>
                </a:solidFill>
                <a:effectLst/>
                <a:uLnTx/>
                <a:uFillTx/>
                <a:latin typeface="Arial"/>
                <a:ea typeface="+mn-ea"/>
                <a:cs typeface="Arial" panose="020B0604020202020204" pitchFamily="34" charset="0"/>
              </a:rPr>
              <a:t>Programmes</a:t>
            </a:r>
            <a:endParaRPr kumimoji="0" lang="en-GB"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52" name="TextBox 151">
            <a:extLst>
              <a:ext uri="{FF2B5EF4-FFF2-40B4-BE49-F238E27FC236}">
                <a16:creationId xmlns:a16="http://schemas.microsoft.com/office/drawing/2014/main" id="{3E034412-947A-40CD-9B75-60C0D149BEA9}"/>
              </a:ext>
            </a:extLst>
          </p:cNvPr>
          <p:cNvSpPr txBox="1">
            <a:spLocks/>
          </p:cNvSpPr>
          <p:nvPr/>
        </p:nvSpPr>
        <p:spPr>
          <a:xfrm>
            <a:off x="6845394" y="1266883"/>
            <a:ext cx="5458712"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dirty="0">
                <a:ln>
                  <a:noFill/>
                </a:ln>
                <a:solidFill>
                  <a:srgbClr val="C3A366"/>
                </a:solidFill>
                <a:effectLst/>
                <a:uLnTx/>
                <a:uFillTx/>
                <a:latin typeface="Arial"/>
                <a:ea typeface="+mn-ea"/>
                <a:cs typeface="Arial" panose="020B0604020202020204" pitchFamily="34" charset="0"/>
              </a:rPr>
              <a:t>Vision</a:t>
            </a:r>
          </a:p>
        </p:txBody>
      </p:sp>
      <p:sp>
        <p:nvSpPr>
          <p:cNvPr id="156" name="TextBox 155">
            <a:extLst>
              <a:ext uri="{FF2B5EF4-FFF2-40B4-BE49-F238E27FC236}">
                <a16:creationId xmlns:a16="http://schemas.microsoft.com/office/drawing/2014/main" id="{9E30274C-6471-45E1-8805-7BAE272A2707}"/>
              </a:ext>
            </a:extLst>
          </p:cNvPr>
          <p:cNvSpPr txBox="1">
            <a:spLocks/>
          </p:cNvSpPr>
          <p:nvPr/>
        </p:nvSpPr>
        <p:spPr>
          <a:xfrm>
            <a:off x="6845394" y="3701616"/>
            <a:ext cx="5458712"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dirty="0">
                <a:ln>
                  <a:noFill/>
                </a:ln>
                <a:solidFill>
                  <a:srgbClr val="C3A366"/>
                </a:solidFill>
                <a:effectLst/>
                <a:uLnTx/>
                <a:uFillTx/>
                <a:latin typeface="Arial"/>
                <a:ea typeface="+mn-ea"/>
                <a:cs typeface="Arial" panose="020B0604020202020204" pitchFamily="34" charset="0"/>
              </a:rPr>
              <a:t>Mission</a:t>
            </a:r>
          </a:p>
        </p:txBody>
      </p:sp>
      <p:grpSp>
        <p:nvGrpSpPr>
          <p:cNvPr id="157" name="CustomIcon">
            <a:extLst>
              <a:ext uri="{FF2B5EF4-FFF2-40B4-BE49-F238E27FC236}">
                <a16:creationId xmlns:a16="http://schemas.microsoft.com/office/drawing/2014/main" id="{956DC555-FC4A-44B9-8A2A-4362C526FE29}"/>
              </a:ext>
            </a:extLst>
          </p:cNvPr>
          <p:cNvGrpSpPr>
            <a:grpSpLocks noChangeAspect="1"/>
          </p:cNvGrpSpPr>
          <p:nvPr>
            <p:custDataLst>
              <p:tags r:id="rId3"/>
            </p:custDataLst>
          </p:nvPr>
        </p:nvGrpSpPr>
        <p:grpSpPr>
          <a:xfrm>
            <a:off x="5520090" y="3701616"/>
            <a:ext cx="1019810" cy="1019810"/>
            <a:chOff x="-205105" y="-205105"/>
            <a:chExt cx="1019810" cy="1019810"/>
          </a:xfrm>
        </p:grpSpPr>
        <p:sp>
          <p:nvSpPr>
            <p:cNvPr id="158" name="Oval 157">
              <a:extLst>
                <a:ext uri="{FF2B5EF4-FFF2-40B4-BE49-F238E27FC236}">
                  <a16:creationId xmlns:a16="http://schemas.microsoft.com/office/drawing/2014/main" id="{BA2A9F60-2A48-4999-BD1D-3B5DEF4FA43A}"/>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159" name="Graphic 158">
              <a:extLst>
                <a:ext uri="{FF2B5EF4-FFF2-40B4-BE49-F238E27FC236}">
                  <a16:creationId xmlns:a16="http://schemas.microsoft.com/office/drawing/2014/main" id="{6115CF5D-B573-4F6C-A012-8C90342E78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160" name="Rectangle: Rounded Corners 159">
            <a:extLst>
              <a:ext uri="{FF2B5EF4-FFF2-40B4-BE49-F238E27FC236}">
                <a16:creationId xmlns:a16="http://schemas.microsoft.com/office/drawing/2014/main" id="{DA04D5F8-EE4B-4B03-AE55-F21768EDABF6}"/>
              </a:ext>
            </a:extLst>
          </p:cNvPr>
          <p:cNvSpPr/>
          <p:nvPr/>
        </p:nvSpPr>
        <p:spPr>
          <a:xfrm>
            <a:off x="6889498" y="1715384"/>
            <a:ext cx="324000" cy="72428"/>
          </a:xfrm>
          <a:prstGeom prst="roundRect">
            <a:avLst>
              <a:gd name="adj" fmla="val 50000"/>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161" name="Rectangle: Rounded Corners 160">
            <a:extLst>
              <a:ext uri="{FF2B5EF4-FFF2-40B4-BE49-F238E27FC236}">
                <a16:creationId xmlns:a16="http://schemas.microsoft.com/office/drawing/2014/main" id="{8FCB1F3F-57FA-487C-A442-F571BACFF42F}"/>
              </a:ext>
            </a:extLst>
          </p:cNvPr>
          <p:cNvSpPr/>
          <p:nvPr/>
        </p:nvSpPr>
        <p:spPr>
          <a:xfrm>
            <a:off x="6889498" y="4295959"/>
            <a:ext cx="324000" cy="72428"/>
          </a:xfrm>
          <a:prstGeom prst="roundRect">
            <a:avLst>
              <a:gd name="adj" fmla="val 50000"/>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01222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CA034959-52AE-49A1-9E92-DD9F186E04B5}"/>
              </a:ext>
            </a:extLst>
          </p:cNvPr>
          <p:cNvGraphicFramePr>
            <a:graphicFrameLocks noChangeAspect="1"/>
          </p:cNvGraphicFramePr>
          <p:nvPr>
            <p:custDataLst>
              <p:tags r:id="rId1"/>
            </p:custDataLst>
            <p:extLst>
              <p:ext uri="{D42A27DB-BD31-4B8C-83A1-F6EECF244321}">
                <p14:modId xmlns:p14="http://schemas.microsoft.com/office/powerpoint/2010/main" val="3267440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6" progId="TCLayout.ActiveDocument.1">
                  <p:embed/>
                </p:oleObj>
              </mc:Choice>
              <mc:Fallback>
                <p:oleObj name="think-cell Slide" r:id="rId12" imgW="473" imgH="476" progId="TCLayout.ActiveDocument.1">
                  <p:embed/>
                  <p:pic>
                    <p:nvPicPr>
                      <p:cNvPr id="10" name="Object 6" hidden="1">
                        <a:extLst>
                          <a:ext uri="{FF2B5EF4-FFF2-40B4-BE49-F238E27FC236}">
                            <a16:creationId xmlns:a16="http://schemas.microsoft.com/office/drawing/2014/main" id="{CA034959-52AE-49A1-9E92-DD9F186E04B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2. Slide Title">
            <a:extLst>
              <a:ext uri="{FF2B5EF4-FFF2-40B4-BE49-F238E27FC236}">
                <a16:creationId xmlns:a16="http://schemas.microsoft.com/office/drawing/2014/main" id="{7B6BC7D9-7D21-4DFA-8D9E-13B01C3355A4}"/>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lgn="l" rtl="0"/>
            <a:r>
              <a:rPr lang="en-NZ" dirty="0"/>
              <a:t>Le travail d'Africa CDC repose sur un ensemble clair de huit objectifs</a:t>
            </a:r>
          </a:p>
        </p:txBody>
      </p:sp>
      <p:sp>
        <p:nvSpPr>
          <p:cNvPr id="5" name="TextBox 4">
            <a:extLst>
              <a:ext uri="{FF2B5EF4-FFF2-40B4-BE49-F238E27FC236}">
                <a16:creationId xmlns:a16="http://schemas.microsoft.com/office/drawing/2014/main" id="{9DDCAB8F-A896-497B-825D-CEE6D3D3EDF4}"/>
              </a:ext>
            </a:extLst>
          </p:cNvPr>
          <p:cNvSpPr txBox="1">
            <a:spLocks/>
          </p:cNvSpPr>
          <p:nvPr/>
        </p:nvSpPr>
        <p:spPr>
          <a:xfrm>
            <a:off x="6470657" y="1601966"/>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defPPr>
              <a:defRPr lang="en-US"/>
            </a:defPPr>
            <a:lvl1pPr algn="ctr">
              <a:spcBef>
                <a:spcPts val="300"/>
              </a:spcBef>
              <a:spcAft>
                <a:spcPts val="300"/>
              </a:spcAft>
              <a:defRPr sz="1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a:ln>
                  <a:noFill/>
                </a:ln>
                <a:solidFill>
                  <a:srgbClr val="FFFFFF"/>
                </a:solidFill>
                <a:effectLst/>
                <a:uLnTx/>
                <a:uFillTx/>
                <a:latin typeface="Arial"/>
                <a:ea typeface="+mn-ea"/>
                <a:cs typeface="+mn-cs"/>
              </a:rPr>
              <a:t>2</a:t>
            </a:r>
            <a:endParaRPr kumimoji="0" lang="en-NZ"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69E3BC1C-6784-4C6F-9BAD-1866715CCCC4}"/>
              </a:ext>
            </a:extLst>
          </p:cNvPr>
          <p:cNvSpPr txBox="1">
            <a:spLocks/>
          </p:cNvSpPr>
          <p:nvPr/>
        </p:nvSpPr>
        <p:spPr>
          <a:xfrm>
            <a:off x="6470657" y="3937606"/>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defPPr>
              <a:defRPr lang="en-US"/>
            </a:defPPr>
            <a:lvl1pPr algn="ctr">
              <a:spcBef>
                <a:spcPts val="300"/>
              </a:spcBef>
              <a:spcAft>
                <a:spcPts val="300"/>
              </a:spcAft>
              <a:defRPr sz="1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a:ln>
                  <a:noFill/>
                </a:ln>
                <a:solidFill>
                  <a:srgbClr val="FFFFFF"/>
                </a:solidFill>
                <a:effectLst/>
                <a:uLnTx/>
                <a:uFillTx/>
                <a:latin typeface="Arial"/>
                <a:ea typeface="+mn-ea"/>
                <a:cs typeface="+mn-cs"/>
              </a:rPr>
              <a:t>6</a:t>
            </a:r>
            <a:endParaRPr kumimoji="0" lang="en-NZ"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5AAFBE76-477D-4B16-A514-7B10B984F38B}"/>
              </a:ext>
            </a:extLst>
          </p:cNvPr>
          <p:cNvSpPr txBox="1">
            <a:spLocks/>
          </p:cNvSpPr>
          <p:nvPr/>
        </p:nvSpPr>
        <p:spPr>
          <a:xfrm>
            <a:off x="6470657" y="4404963"/>
            <a:ext cx="1508876"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omouvoir le partenariat et la collaboration entre les États membres</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ur faire face aux maladies émergentes et endémiques et aux urgences de santé publique</a:t>
            </a:r>
            <a:endParaRPr kumimoji="0" lang="en-NZ"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3" name="TextBox 52">
            <a:extLst>
              <a:ext uri="{FF2B5EF4-FFF2-40B4-BE49-F238E27FC236}">
                <a16:creationId xmlns:a16="http://schemas.microsoft.com/office/drawing/2014/main" id="{8396ABF4-BEE8-4C58-BCFD-1EF228F6E385}"/>
              </a:ext>
            </a:extLst>
          </p:cNvPr>
          <p:cNvSpPr txBox="1">
            <a:spLocks/>
          </p:cNvSpPr>
          <p:nvPr/>
        </p:nvSpPr>
        <p:spPr>
          <a:xfrm>
            <a:off x="6470657" y="2069323"/>
            <a:ext cx="1508876" cy="101566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ider les États membres à combler les lacunes en matière de capacités</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s pour la conformité avec</a:t>
            </a:r>
            <a:b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 Règlement sanitaire international (RSI 2005)</a:t>
            </a:r>
            <a:endParaRPr kumimoji="0" lang="en-NZ"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 name="TextBox 6">
            <a:extLst>
              <a:ext uri="{FF2B5EF4-FFF2-40B4-BE49-F238E27FC236}">
                <a16:creationId xmlns:a16="http://schemas.microsoft.com/office/drawing/2014/main" id="{4F7F8361-9ACE-4359-BE73-656DDBC0939C}"/>
              </a:ext>
            </a:extLst>
          </p:cNvPr>
          <p:cNvSpPr txBox="1">
            <a:spLocks/>
          </p:cNvSpPr>
          <p:nvPr/>
        </p:nvSpPr>
        <p:spPr>
          <a:xfrm>
            <a:off x="8385107" y="1601966"/>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defPPr>
              <a:defRPr lang="en-US"/>
            </a:defPPr>
            <a:lvl1pPr algn="ctr">
              <a:spcBef>
                <a:spcPts val="300"/>
              </a:spcBef>
              <a:spcAft>
                <a:spcPts val="300"/>
              </a:spcAft>
              <a:defRPr sz="1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a:ln>
                  <a:noFill/>
                </a:ln>
                <a:solidFill>
                  <a:srgbClr val="FFFFFF"/>
                </a:solidFill>
                <a:effectLst/>
                <a:uLnTx/>
                <a:uFillTx/>
                <a:latin typeface="Arial"/>
                <a:ea typeface="+mn-ea"/>
                <a:cs typeface="+mn-cs"/>
              </a:rPr>
              <a:t>3</a:t>
            </a:r>
            <a:endParaRPr kumimoji="0" lang="en-NZ"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2BA76A01-093A-4A0F-9556-72BCE38AC8EE}"/>
              </a:ext>
            </a:extLst>
          </p:cNvPr>
          <p:cNvSpPr txBox="1">
            <a:spLocks/>
          </p:cNvSpPr>
          <p:nvPr/>
        </p:nvSpPr>
        <p:spPr>
          <a:xfrm>
            <a:off x="8385107" y="3937606"/>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defPPr>
              <a:defRPr lang="en-US"/>
            </a:defPPr>
            <a:lvl1pPr algn="ctr">
              <a:spcBef>
                <a:spcPts val="300"/>
              </a:spcBef>
              <a:spcAft>
                <a:spcPts val="300"/>
              </a:spcAft>
              <a:defRPr sz="1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a:ln>
                  <a:noFill/>
                </a:ln>
                <a:solidFill>
                  <a:srgbClr val="FFFFFF"/>
                </a:solidFill>
                <a:effectLst/>
                <a:uLnTx/>
                <a:uFillTx/>
                <a:latin typeface="Arial"/>
                <a:ea typeface="+mn-ea"/>
                <a:cs typeface="+mn-cs"/>
              </a:rPr>
              <a:t>7</a:t>
            </a:r>
            <a:endParaRPr kumimoji="0" lang="en-NZ"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AF9C9AB5-15EF-490F-B6F4-1AB2434695E1}"/>
              </a:ext>
            </a:extLst>
          </p:cNvPr>
          <p:cNvSpPr txBox="1">
            <a:spLocks/>
          </p:cNvSpPr>
          <p:nvPr/>
        </p:nvSpPr>
        <p:spPr>
          <a:xfrm>
            <a:off x="8385107" y="4404963"/>
            <a:ext cx="1299670" cy="101566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armoniser</a:t>
            </a:r>
            <a:b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litiques de contrôle et de prévention des maladies</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t les systèmes de surveillance dans les États membres</a:t>
            </a:r>
            <a:endParaRPr kumimoji="0" lang="en-NZ"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5" name="TextBox 54">
            <a:extLst>
              <a:ext uri="{FF2B5EF4-FFF2-40B4-BE49-F238E27FC236}">
                <a16:creationId xmlns:a16="http://schemas.microsoft.com/office/drawing/2014/main" id="{443CDFAB-A2B0-4824-82E9-A9AD5E4D84A0}"/>
              </a:ext>
            </a:extLst>
          </p:cNvPr>
          <p:cNvSpPr txBox="1">
            <a:spLocks/>
          </p:cNvSpPr>
          <p:nvPr/>
        </p:nvSpPr>
        <p:spPr>
          <a:xfrm>
            <a:off x="8385107" y="2069323"/>
            <a:ext cx="1299670"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tenir et/ou mener des activités aux niveaux régional et national</a:t>
            </a: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rtographie des dangers</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t les évaluations des risques</a:t>
            </a:r>
            <a:b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ur les États membres</a:t>
            </a:r>
            <a:endParaRPr kumimoji="0" lang="en-NZ"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TextBox 18">
            <a:extLst>
              <a:ext uri="{FF2B5EF4-FFF2-40B4-BE49-F238E27FC236}">
                <a16:creationId xmlns:a16="http://schemas.microsoft.com/office/drawing/2014/main" id="{3C27283A-04DC-4B0C-8510-E717F1213687}"/>
              </a:ext>
            </a:extLst>
          </p:cNvPr>
          <p:cNvSpPr txBox="1">
            <a:spLocks/>
          </p:cNvSpPr>
          <p:nvPr/>
        </p:nvSpPr>
        <p:spPr>
          <a:xfrm>
            <a:off x="10090350" y="1601966"/>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defPPr>
              <a:defRPr lang="en-US"/>
            </a:defPPr>
            <a:lvl1pPr algn="ctr">
              <a:spcBef>
                <a:spcPts val="300"/>
              </a:spcBef>
              <a:spcAft>
                <a:spcPts val="300"/>
              </a:spcAft>
              <a:defRPr sz="1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a:ln>
                  <a:noFill/>
                </a:ln>
                <a:solidFill>
                  <a:srgbClr val="FFFFFF"/>
                </a:solidFill>
                <a:effectLst/>
                <a:uLnTx/>
                <a:uFillTx/>
                <a:latin typeface="Arial"/>
                <a:ea typeface="+mn-ea"/>
                <a:cs typeface="+mn-cs"/>
              </a:rPr>
              <a:t>4</a:t>
            </a:r>
            <a:endParaRPr kumimoji="0" lang="en-NZ"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E68F7E1A-2EC5-4B69-BFCE-451298C7FA7F}"/>
              </a:ext>
            </a:extLst>
          </p:cNvPr>
          <p:cNvSpPr txBox="1">
            <a:spLocks/>
          </p:cNvSpPr>
          <p:nvPr/>
        </p:nvSpPr>
        <p:spPr>
          <a:xfrm>
            <a:off x="10090350" y="3937606"/>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defPPr>
              <a:defRPr lang="en-US"/>
            </a:defPPr>
            <a:lvl1pPr algn="ctr">
              <a:spcBef>
                <a:spcPts val="300"/>
              </a:spcBef>
              <a:spcAft>
                <a:spcPts val="300"/>
              </a:spcAft>
              <a:defRPr sz="1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a:ln>
                  <a:noFill/>
                </a:ln>
                <a:solidFill>
                  <a:srgbClr val="FFFFFF"/>
                </a:solidFill>
                <a:effectLst/>
                <a:uLnTx/>
                <a:uFillTx/>
                <a:latin typeface="Arial"/>
                <a:ea typeface="+mn-ea"/>
                <a:cs typeface="+mn-cs"/>
              </a:rPr>
              <a:t>8</a:t>
            </a:r>
            <a:endParaRPr kumimoji="0" lang="en-NZ"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5" name="TextBox 24">
            <a:extLst>
              <a:ext uri="{FF2B5EF4-FFF2-40B4-BE49-F238E27FC236}">
                <a16:creationId xmlns:a16="http://schemas.microsoft.com/office/drawing/2014/main" id="{7706B4BB-CA88-40FB-8430-FB017925D85D}"/>
              </a:ext>
            </a:extLst>
          </p:cNvPr>
          <p:cNvSpPr txBox="1">
            <a:spLocks/>
          </p:cNvSpPr>
          <p:nvPr/>
        </p:nvSpPr>
        <p:spPr>
          <a:xfrm>
            <a:off x="10090350" y="4404963"/>
            <a:ext cx="1554597" cy="135421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tenir les États membres dans le renforcement des capacités en matière de santé publique</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à travers le milieu-</a:t>
            </a:r>
            <a:b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t une formation à long terme en épidémiologie de terrain et en laboratoire</a:t>
            </a:r>
            <a:r>
              <a:rPr kumimoji="0" lang="en-US" sz="11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Programmes</a:t>
            </a:r>
            <a:endParaRPr kumimoji="0" lang="en-NZ"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7" name="TextBox 56">
            <a:extLst>
              <a:ext uri="{FF2B5EF4-FFF2-40B4-BE49-F238E27FC236}">
                <a16:creationId xmlns:a16="http://schemas.microsoft.com/office/drawing/2014/main" id="{F5F9F4C1-DE8E-45E0-B5B2-679A383D5749}"/>
              </a:ext>
            </a:extLst>
          </p:cNvPr>
          <p:cNvSpPr txBox="1">
            <a:spLocks/>
          </p:cNvSpPr>
          <p:nvPr/>
        </p:nvSpPr>
        <p:spPr>
          <a:xfrm>
            <a:off x="10090350" y="2069323"/>
            <a:ext cx="1554597" cy="135421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tenir les États membres dans leurs réponses aux urgences sanitaires</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en particulier celles qui ont été déclarées urgence de santé publique de portée internationale (USPI)</a:t>
            </a:r>
            <a:endParaRPr kumimoji="0" lang="en-NZ"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 name="TextBox 2">
            <a:extLst>
              <a:ext uri="{FF2B5EF4-FFF2-40B4-BE49-F238E27FC236}">
                <a16:creationId xmlns:a16="http://schemas.microsoft.com/office/drawing/2014/main" id="{A53821C8-396B-4B93-99DB-9EFE67B259FA}"/>
              </a:ext>
            </a:extLst>
          </p:cNvPr>
          <p:cNvSpPr txBox="1">
            <a:spLocks/>
          </p:cNvSpPr>
          <p:nvPr/>
        </p:nvSpPr>
        <p:spPr>
          <a:xfrm>
            <a:off x="4510486" y="1601966"/>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defPPr>
              <a:defRPr lang="en-US"/>
            </a:defPPr>
            <a:lvl1pPr algn="ctr">
              <a:spcBef>
                <a:spcPts val="300"/>
              </a:spcBef>
              <a:spcAft>
                <a:spcPts val="300"/>
              </a:spcAft>
              <a:defRPr sz="1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a:ln>
                  <a:noFill/>
                </a:ln>
                <a:solidFill>
                  <a:srgbClr val="FFFFFF"/>
                </a:solidFill>
                <a:effectLst/>
                <a:uLnTx/>
                <a:uFillTx/>
                <a:latin typeface="Arial"/>
                <a:ea typeface="+mn-ea"/>
                <a:cs typeface="+mn-cs"/>
              </a:rPr>
              <a:t>1</a:t>
            </a:r>
            <a:endParaRPr kumimoji="0" lang="en-NZ"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TextBox 26">
            <a:extLst>
              <a:ext uri="{FF2B5EF4-FFF2-40B4-BE49-F238E27FC236}">
                <a16:creationId xmlns:a16="http://schemas.microsoft.com/office/drawing/2014/main" id="{0C3A822D-4187-41B8-B2FD-BAEDFB3D5094}"/>
              </a:ext>
            </a:extLst>
          </p:cNvPr>
          <p:cNvSpPr txBox="1">
            <a:spLocks/>
          </p:cNvSpPr>
          <p:nvPr/>
        </p:nvSpPr>
        <p:spPr>
          <a:xfrm>
            <a:off x="4510486" y="3937606"/>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defPPr>
              <a:defRPr lang="en-US"/>
            </a:defPPr>
            <a:lvl1pPr algn="ctr">
              <a:spcBef>
                <a:spcPts val="300"/>
              </a:spcBef>
              <a:spcAft>
                <a:spcPts val="300"/>
              </a:spcAft>
              <a:defRPr sz="1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a:ln>
                  <a:noFill/>
                </a:ln>
                <a:solidFill>
                  <a:srgbClr val="FFFFFF"/>
                </a:solidFill>
                <a:effectLst/>
                <a:uLnTx/>
                <a:uFillTx/>
                <a:latin typeface="Arial"/>
                <a:ea typeface="+mn-ea"/>
                <a:cs typeface="+mn-cs"/>
              </a:rPr>
              <a:t>5</a:t>
            </a:r>
            <a:endParaRPr kumimoji="0" lang="en-NZ"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33" name="TextBox 32">
            <a:extLst>
              <a:ext uri="{FF2B5EF4-FFF2-40B4-BE49-F238E27FC236}">
                <a16:creationId xmlns:a16="http://schemas.microsoft.com/office/drawing/2014/main" id="{5E271258-D50C-4C04-BA5D-136DB20E436D}"/>
              </a:ext>
            </a:extLst>
          </p:cNvPr>
          <p:cNvSpPr txBox="1">
            <a:spLocks/>
          </p:cNvSpPr>
          <p:nvPr/>
        </p:nvSpPr>
        <p:spPr>
          <a:xfrm>
            <a:off x="4510486" y="4404963"/>
            <a:ext cx="1554597" cy="152349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tenir la promotion de la santé et la prévention des maladies par le renforcement des systèmes de santé</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b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 s'attaquant aux maladies infectieuses et non transmissibles, à la santé environnementale et aux maladies tropicales négligées</a:t>
            </a:r>
            <a:endParaRPr kumimoji="0" lang="en-NZ"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9" name="TextBox 58">
            <a:extLst>
              <a:ext uri="{FF2B5EF4-FFF2-40B4-BE49-F238E27FC236}">
                <a16:creationId xmlns:a16="http://schemas.microsoft.com/office/drawing/2014/main" id="{BE64F96F-7E78-47F0-BC6D-854C63E2A639}"/>
              </a:ext>
            </a:extLst>
          </p:cNvPr>
          <p:cNvSpPr txBox="1">
            <a:spLocks/>
          </p:cNvSpPr>
          <p:nvPr/>
        </p:nvSpPr>
        <p:spPr>
          <a:xfrm>
            <a:off x="4510486" y="2069323"/>
            <a:ext cx="1554597" cy="135421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ettre en place des plateformes de surveillance d'alerte précoce et de réponse</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ur faire face à toutes les menaces et urgences sanitaires et catastrophes naturelles en temps opportun</a:t>
            </a:r>
            <a:b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t de manière efficace</a:t>
            </a:r>
            <a:endParaRPr kumimoji="0" lang="en-NZ"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2" name="Group 1">
            <a:extLst>
              <a:ext uri="{FF2B5EF4-FFF2-40B4-BE49-F238E27FC236}">
                <a16:creationId xmlns:a16="http://schemas.microsoft.com/office/drawing/2014/main" id="{B8409FDA-63CF-4543-8894-B7A8EDE218B2}"/>
              </a:ext>
            </a:extLst>
          </p:cNvPr>
          <p:cNvGrpSpPr>
            <a:grpSpLocks noChangeAspect="1"/>
          </p:cNvGrpSpPr>
          <p:nvPr/>
        </p:nvGrpSpPr>
        <p:grpSpPr>
          <a:xfrm>
            <a:off x="554736" y="2092850"/>
            <a:ext cx="2960171" cy="2926080"/>
            <a:chOff x="1271373" y="2257868"/>
            <a:chExt cx="2668912" cy="2638174"/>
          </a:xfrm>
        </p:grpSpPr>
        <p:sp>
          <p:nvSpPr>
            <p:cNvPr id="67" name="Oval 66">
              <a:extLst>
                <a:ext uri="{FF2B5EF4-FFF2-40B4-BE49-F238E27FC236}">
                  <a16:creationId xmlns:a16="http://schemas.microsoft.com/office/drawing/2014/main" id="{6C3E9EA0-E4BB-4FBC-BCAE-416D81BA54D2}"/>
                </a:ext>
              </a:extLst>
            </p:cNvPr>
            <p:cNvSpPr>
              <a:spLocks/>
            </p:cNvSpPr>
            <p:nvPr/>
          </p:nvSpPr>
          <p:spPr>
            <a:xfrm>
              <a:off x="1365250" y="2341880"/>
              <a:ext cx="2470150" cy="2470150"/>
            </a:xfrm>
            <a:prstGeom prst="ellipse">
              <a:avLst/>
            </a:prstGeom>
            <a:noFill/>
            <a:ln w="7620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9" name="TrackerNumBlue 69">
              <a:extLst>
                <a:ext uri="{FF2B5EF4-FFF2-40B4-BE49-F238E27FC236}">
                  <a16:creationId xmlns:a16="http://schemas.microsoft.com/office/drawing/2014/main" id="{C65831A2-B78F-445F-8E0C-F17F84FC51A5}"/>
                </a:ext>
              </a:extLst>
            </p:cNvPr>
            <p:cNvSpPr>
              <a:spLocks/>
            </p:cNvSpPr>
            <p:nvPr>
              <p:custDataLst>
                <p:tags r:id="rId3"/>
              </p:custDataLst>
            </p:nvPr>
          </p:nvSpPr>
          <p:spPr>
            <a:xfrm>
              <a:off x="2888674" y="2257868"/>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a:ea typeface="+mn-ea"/>
                  <a:cs typeface="+mn-cs"/>
                </a:rPr>
                <a:t>1</a:t>
              </a:r>
            </a:p>
          </p:txBody>
        </p:sp>
        <p:sp>
          <p:nvSpPr>
            <p:cNvPr id="71" name="TrackerNumBlue 69">
              <a:extLst>
                <a:ext uri="{FF2B5EF4-FFF2-40B4-BE49-F238E27FC236}">
                  <a16:creationId xmlns:a16="http://schemas.microsoft.com/office/drawing/2014/main" id="{B4C5533D-E779-47F2-9B19-CEB82CF76A13}"/>
                </a:ext>
              </a:extLst>
            </p:cNvPr>
            <p:cNvSpPr/>
            <p:nvPr>
              <p:custDataLst>
                <p:tags r:id="rId4"/>
              </p:custDataLst>
            </p:nvPr>
          </p:nvSpPr>
          <p:spPr>
            <a:xfrm>
              <a:off x="1941948" y="2257868"/>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a:ea typeface="+mn-ea"/>
                  <a:cs typeface="+mn-cs"/>
                </a:rPr>
                <a:t>8</a:t>
              </a:r>
            </a:p>
          </p:txBody>
        </p:sp>
        <p:sp>
          <p:nvSpPr>
            <p:cNvPr id="72" name="TrackerNumBlue 69">
              <a:extLst>
                <a:ext uri="{FF2B5EF4-FFF2-40B4-BE49-F238E27FC236}">
                  <a16:creationId xmlns:a16="http://schemas.microsoft.com/office/drawing/2014/main" id="{FC16DB2E-313C-484D-8805-625A5AEC8E43}"/>
                </a:ext>
              </a:extLst>
            </p:cNvPr>
            <p:cNvSpPr/>
            <p:nvPr>
              <p:custDataLst>
                <p:tags r:id="rId5"/>
              </p:custDataLst>
            </p:nvPr>
          </p:nvSpPr>
          <p:spPr>
            <a:xfrm>
              <a:off x="2888674" y="4526650"/>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a:ea typeface="+mn-ea"/>
                  <a:cs typeface="+mn-cs"/>
                </a:rPr>
                <a:t>4</a:t>
              </a:r>
            </a:p>
          </p:txBody>
        </p:sp>
        <p:sp>
          <p:nvSpPr>
            <p:cNvPr id="73" name="TrackerNumBlue 69">
              <a:extLst>
                <a:ext uri="{FF2B5EF4-FFF2-40B4-BE49-F238E27FC236}">
                  <a16:creationId xmlns:a16="http://schemas.microsoft.com/office/drawing/2014/main" id="{921C9391-F339-4C79-929E-C8F422112E42}"/>
                </a:ext>
              </a:extLst>
            </p:cNvPr>
            <p:cNvSpPr/>
            <p:nvPr>
              <p:custDataLst>
                <p:tags r:id="rId6"/>
              </p:custDataLst>
            </p:nvPr>
          </p:nvSpPr>
          <p:spPr>
            <a:xfrm>
              <a:off x="1941948" y="4526650"/>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a:ea typeface="+mn-ea"/>
                  <a:cs typeface="+mn-cs"/>
                </a:rPr>
                <a:t>5</a:t>
              </a:r>
            </a:p>
          </p:txBody>
        </p:sp>
        <p:sp>
          <p:nvSpPr>
            <p:cNvPr id="74" name="TrackerNumBlue 69">
              <a:extLst>
                <a:ext uri="{FF2B5EF4-FFF2-40B4-BE49-F238E27FC236}">
                  <a16:creationId xmlns:a16="http://schemas.microsoft.com/office/drawing/2014/main" id="{B0DD09BE-0C04-48D7-8227-80884D018674}"/>
                </a:ext>
              </a:extLst>
            </p:cNvPr>
            <p:cNvSpPr/>
            <p:nvPr>
              <p:custDataLst>
                <p:tags r:id="rId7"/>
              </p:custDataLst>
            </p:nvPr>
          </p:nvSpPr>
          <p:spPr>
            <a:xfrm>
              <a:off x="3570893" y="2929897"/>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a:ea typeface="+mn-ea"/>
                  <a:cs typeface="+mn-cs"/>
                </a:rPr>
                <a:t>2</a:t>
              </a:r>
            </a:p>
          </p:txBody>
        </p:sp>
        <p:sp>
          <p:nvSpPr>
            <p:cNvPr id="75" name="TrackerNumBlue 69">
              <a:extLst>
                <a:ext uri="{FF2B5EF4-FFF2-40B4-BE49-F238E27FC236}">
                  <a16:creationId xmlns:a16="http://schemas.microsoft.com/office/drawing/2014/main" id="{73A783C5-9F24-4F1C-95F3-3EF9A5739B26}"/>
                </a:ext>
              </a:extLst>
            </p:cNvPr>
            <p:cNvSpPr/>
            <p:nvPr>
              <p:custDataLst>
                <p:tags r:id="rId8"/>
              </p:custDataLst>
            </p:nvPr>
          </p:nvSpPr>
          <p:spPr>
            <a:xfrm>
              <a:off x="1271373" y="2929897"/>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a:ea typeface="+mn-ea"/>
                  <a:cs typeface="+mn-cs"/>
                </a:rPr>
                <a:t>7</a:t>
              </a:r>
            </a:p>
          </p:txBody>
        </p:sp>
        <p:sp>
          <p:nvSpPr>
            <p:cNvPr id="76" name="TrackerNumBlue 69">
              <a:extLst>
                <a:ext uri="{FF2B5EF4-FFF2-40B4-BE49-F238E27FC236}">
                  <a16:creationId xmlns:a16="http://schemas.microsoft.com/office/drawing/2014/main" id="{391019DC-F98F-4B45-B887-61E2E53D591D}"/>
                </a:ext>
              </a:extLst>
            </p:cNvPr>
            <p:cNvSpPr/>
            <p:nvPr>
              <p:custDataLst>
                <p:tags r:id="rId9"/>
              </p:custDataLst>
            </p:nvPr>
          </p:nvSpPr>
          <p:spPr>
            <a:xfrm>
              <a:off x="3570893" y="3852192"/>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a:ea typeface="+mn-ea"/>
                  <a:cs typeface="+mn-cs"/>
                </a:rPr>
                <a:t>3</a:t>
              </a:r>
            </a:p>
          </p:txBody>
        </p:sp>
        <p:sp>
          <p:nvSpPr>
            <p:cNvPr id="77" name="TrackerNumBlue 69">
              <a:extLst>
                <a:ext uri="{FF2B5EF4-FFF2-40B4-BE49-F238E27FC236}">
                  <a16:creationId xmlns:a16="http://schemas.microsoft.com/office/drawing/2014/main" id="{F89D518C-8CDB-4F1F-A21A-01FA5D73F29B}"/>
                </a:ext>
              </a:extLst>
            </p:cNvPr>
            <p:cNvSpPr/>
            <p:nvPr>
              <p:custDataLst>
                <p:tags r:id="rId10"/>
              </p:custDataLst>
            </p:nvPr>
          </p:nvSpPr>
          <p:spPr>
            <a:xfrm>
              <a:off x="1271373" y="3852192"/>
              <a:ext cx="369392" cy="3693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a:ea typeface="+mn-ea"/>
                  <a:cs typeface="+mn-cs"/>
                </a:rPr>
                <a:t>6</a:t>
              </a:r>
            </a:p>
          </p:txBody>
        </p:sp>
      </p:grpSp>
      <p:pic>
        <p:nvPicPr>
          <p:cNvPr id="4" name="Picture 3">
            <a:extLst>
              <a:ext uri="{FF2B5EF4-FFF2-40B4-BE49-F238E27FC236}">
                <a16:creationId xmlns:a16="http://schemas.microsoft.com/office/drawing/2014/main" id="{BCCAA7FF-EE5E-430B-9ABB-62EDC5E19B46}"/>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76094" y="2667603"/>
            <a:ext cx="1737360" cy="1737360"/>
          </a:xfrm>
          <a:prstGeom prst="rect">
            <a:avLst/>
          </a:prstGeom>
        </p:spPr>
      </p:pic>
    </p:spTree>
    <p:extLst>
      <p:ext uri="{BB962C8B-B14F-4D97-AF65-F5344CB8AC3E}">
        <p14:creationId xmlns:p14="http://schemas.microsoft.com/office/powerpoint/2010/main" val="4094684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39125646-DDAD-4E34-9CDB-F5C8D37C0039}"/>
              </a:ext>
            </a:extLst>
          </p:cNvPr>
          <p:cNvGraphicFramePr>
            <a:graphicFrameLocks noChangeAspect="1"/>
          </p:cNvGraphicFramePr>
          <p:nvPr>
            <p:custDataLst>
              <p:tags r:id="rId1"/>
            </p:custDataLst>
            <p:extLst>
              <p:ext uri="{D42A27DB-BD31-4B8C-83A1-F6EECF244321}">
                <p14:modId xmlns:p14="http://schemas.microsoft.com/office/powerpoint/2010/main" val="1956406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50" imgH="350" progId="TCLayout.ActiveDocument.1">
                  <p:embed/>
                </p:oleObj>
              </mc:Choice>
              <mc:Fallback>
                <p:oleObj name="think-cell Slide" r:id="rId13" imgW="350" imgH="350" progId="TCLayout.ActiveDocument.1">
                  <p:embed/>
                  <p:pic>
                    <p:nvPicPr>
                      <p:cNvPr id="5" name="Object 6" hidden="1">
                        <a:extLst>
                          <a:ext uri="{FF2B5EF4-FFF2-40B4-BE49-F238E27FC236}">
                            <a16:creationId xmlns:a16="http://schemas.microsoft.com/office/drawing/2014/main" id="{39125646-DDAD-4E34-9CDB-F5C8D37C003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cxnSp>
        <p:nvCxnSpPr>
          <p:cNvPr id="29" name="Straight Connector 28">
            <a:extLst>
              <a:ext uri="{FF2B5EF4-FFF2-40B4-BE49-F238E27FC236}">
                <a16:creationId xmlns:a16="http://schemas.microsoft.com/office/drawing/2014/main" id="{5377C007-F46D-4519-A7E1-E0AC44574F75}"/>
              </a:ext>
            </a:extLst>
          </p:cNvPr>
          <p:cNvCxnSpPr>
            <a:cxnSpLocks/>
          </p:cNvCxnSpPr>
          <p:nvPr/>
        </p:nvCxnSpPr>
        <p:spPr>
          <a:xfrm>
            <a:off x="2817221" y="1496740"/>
            <a:ext cx="0" cy="472950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Rectangle 1" hidden="1">
            <a:extLst>
              <a:ext uri="{FF2B5EF4-FFF2-40B4-BE49-F238E27FC236}">
                <a16:creationId xmlns:a16="http://schemas.microsoft.com/office/drawing/2014/main" id="{6CA3E4B8-B316-43FD-98ED-CF4DFCCE24D4}"/>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en-US" sz="2500" b="1" dirty="0">
              <a:solidFill>
                <a:schemeClr val="bg1"/>
              </a:solidFill>
              <a:latin typeface="Georgia" panose="02040502050405020303" pitchFamily="18" charset="0"/>
              <a:ea typeface="+mj-ea"/>
              <a:cs typeface="+mj-cs"/>
              <a:sym typeface="Georgia" panose="02040502050405020303" pitchFamily="18" charset="0"/>
            </a:endParaRPr>
          </a:p>
        </p:txBody>
      </p:sp>
      <p:sp>
        <p:nvSpPr>
          <p:cNvPr id="12" name="3. Subtitle">
            <a:extLst>
              <a:ext uri="{FF2B5EF4-FFF2-40B4-BE49-F238E27FC236}">
                <a16:creationId xmlns:a16="http://schemas.microsoft.com/office/drawing/2014/main" id="{ECC36335-390F-474D-B604-D96997AB214B}"/>
              </a:ext>
            </a:extLst>
          </p:cNvPr>
          <p:cNvSpPr>
            <a:spLocks noGrp="1"/>
          </p:cNvSpPr>
          <p:nvPr>
            <p:ph type="subTitle" idx="1"/>
            <p:custDataLst>
              <p:tags r:id="rId3"/>
            </p:custDataLst>
          </p:nvPr>
        </p:nvSpPr>
        <p:spPr>
          <a:xfrm>
            <a:off x="554736" y="910783"/>
            <a:ext cx="11082528" cy="246221"/>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algn="l" rtl="0"/>
            <a:r>
              <a:rPr lang="en-US" dirty="0"/>
              <a:t>La pandémie de SARS-CoV-2 a révélé que l’Afrique a besoin d’un nouvel ordre de santé publique pour faire face aux menaces du 21e siècle</a:t>
            </a:r>
          </a:p>
        </p:txBody>
      </p:sp>
      <p:sp>
        <p:nvSpPr>
          <p:cNvPr id="2" name="2. Slide Title">
            <a:extLst>
              <a:ext uri="{FF2B5EF4-FFF2-40B4-BE49-F238E27FC236}">
                <a16:creationId xmlns:a16="http://schemas.microsoft.com/office/drawing/2014/main" id="{C313CB07-3C95-0843-852D-177E62F6EF3D}"/>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lgn="l" rtl="0"/>
            <a:r>
              <a:rPr lang="en-US" dirty="0"/>
              <a:t>Notre travail au CDC Afrique est guidé par la nécessité d'un nouvel ordre de santé publique pour l'Afrique</a:t>
            </a:r>
          </a:p>
        </p:txBody>
      </p:sp>
      <p:sp>
        <p:nvSpPr>
          <p:cNvPr id="133" name="Arc 132">
            <a:extLst>
              <a:ext uri="{FF2B5EF4-FFF2-40B4-BE49-F238E27FC236}">
                <a16:creationId xmlns:a16="http://schemas.microsoft.com/office/drawing/2014/main" id="{858B21C3-10EE-8A44-AF4F-4E38A363112C}"/>
              </a:ext>
            </a:extLst>
          </p:cNvPr>
          <p:cNvSpPr>
            <a:spLocks noChangeArrowheads="1"/>
          </p:cNvSpPr>
          <p:nvPr/>
        </p:nvSpPr>
        <p:spPr bwMode="auto">
          <a:xfrm rot="10800000" flipH="1" flipV="1">
            <a:off x="860481" y="1581203"/>
            <a:ext cx="4463846" cy="4463844"/>
          </a:xfrm>
          <a:prstGeom prst="arc">
            <a:avLst>
              <a:gd name="adj1" fmla="val 16200000"/>
              <a:gd name="adj2" fmla="val 5397303"/>
            </a:avLst>
          </a:prstGeom>
          <a:solidFill>
            <a:schemeClr val="bg1"/>
          </a:solidFill>
          <a:ln w="9525" cap="flat">
            <a:solidFill>
              <a:schemeClr val="accent1">
                <a:lumMod val="50000"/>
              </a:schemeClr>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heinhardt Pan Light" panose="020B0404020101020102" pitchFamily="34" charset="0"/>
            </a:endParaRPr>
          </a:p>
        </p:txBody>
      </p:sp>
      <p:sp>
        <p:nvSpPr>
          <p:cNvPr id="134" name="Chord 133">
            <a:extLst>
              <a:ext uri="{FF2B5EF4-FFF2-40B4-BE49-F238E27FC236}">
                <a16:creationId xmlns:a16="http://schemas.microsoft.com/office/drawing/2014/main" id="{614651D4-EA7E-AC40-AC70-FB93D06B94F7}"/>
              </a:ext>
            </a:extLst>
          </p:cNvPr>
          <p:cNvSpPr>
            <a:spLocks noChangeArrowheads="1"/>
          </p:cNvSpPr>
          <p:nvPr/>
        </p:nvSpPr>
        <p:spPr bwMode="auto">
          <a:xfrm flipH="1">
            <a:off x="1466116" y="2196926"/>
            <a:ext cx="3233170" cy="3232396"/>
          </a:xfrm>
          <a:prstGeom prst="chord">
            <a:avLst>
              <a:gd name="adj1" fmla="val 5414429"/>
              <a:gd name="adj2" fmla="val 16200000"/>
            </a:avLst>
          </a:prstGeom>
          <a:solidFill>
            <a:schemeClr val="accent1"/>
          </a:solidFill>
          <a:ln w="9525" cap="flat">
            <a:no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heinhardt Pan Light" panose="020B0404020101020102" pitchFamily="34" charset="0"/>
            </a:endParaRPr>
          </a:p>
        </p:txBody>
      </p:sp>
      <p:sp>
        <p:nvSpPr>
          <p:cNvPr id="132" name="TextBox 131">
            <a:extLst>
              <a:ext uri="{FF2B5EF4-FFF2-40B4-BE49-F238E27FC236}">
                <a16:creationId xmlns:a16="http://schemas.microsoft.com/office/drawing/2014/main" id="{A2123047-B836-FB43-A36F-C1B0BAD4666D}"/>
              </a:ext>
            </a:extLst>
          </p:cNvPr>
          <p:cNvSpPr txBox="1"/>
          <p:nvPr/>
        </p:nvSpPr>
        <p:spPr>
          <a:xfrm>
            <a:off x="3063165" y="3259127"/>
            <a:ext cx="1574816" cy="1107996"/>
          </a:xfrm>
          <a:prstGeom prst="rect">
            <a:avLst/>
          </a:prstGeom>
          <a:noFill/>
          <a:ln>
            <a:noFill/>
            <a:miter lim="800000"/>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Les 5 domaines clés du nouvel ordre de santé publique</a:t>
            </a:r>
          </a:p>
        </p:txBody>
      </p:sp>
      <p:grpSp>
        <p:nvGrpSpPr>
          <p:cNvPr id="63" name="CustomIcon">
            <a:extLst>
              <a:ext uri="{FF2B5EF4-FFF2-40B4-BE49-F238E27FC236}">
                <a16:creationId xmlns:a16="http://schemas.microsoft.com/office/drawing/2014/main" id="{45D913D5-43E4-4249-AFAC-6E1F360D2B56}"/>
              </a:ext>
            </a:extLst>
          </p:cNvPr>
          <p:cNvGrpSpPr>
            <a:grpSpLocks/>
          </p:cNvGrpSpPr>
          <p:nvPr>
            <p:custDataLst>
              <p:tags r:id="rId5"/>
            </p:custDataLst>
          </p:nvPr>
        </p:nvGrpSpPr>
        <p:grpSpPr>
          <a:xfrm>
            <a:off x="4896541" y="3480970"/>
            <a:ext cx="726748" cy="726748"/>
            <a:chOff x="-205105" y="-205105"/>
            <a:chExt cx="1019810" cy="1019810"/>
          </a:xfrm>
        </p:grpSpPr>
        <p:sp>
          <p:nvSpPr>
            <p:cNvPr id="64" name="Oval 63">
              <a:extLst>
                <a:ext uri="{FF2B5EF4-FFF2-40B4-BE49-F238E27FC236}">
                  <a16:creationId xmlns:a16="http://schemas.microsoft.com/office/drawing/2014/main" id="{B2F99268-9DCA-488B-8B1B-1106AD59290F}"/>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pic>
          <p:nvPicPr>
            <p:cNvPr id="65" name="Graphic 64">
              <a:extLst>
                <a:ext uri="{FF2B5EF4-FFF2-40B4-BE49-F238E27FC236}">
                  <a16:creationId xmlns:a16="http://schemas.microsoft.com/office/drawing/2014/main" id="{6454AD21-09B7-43D3-AE73-515F2C9D650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pSp>
        <p:nvGrpSpPr>
          <p:cNvPr id="57" name="CustomIcon">
            <a:extLst>
              <a:ext uri="{FF2B5EF4-FFF2-40B4-BE49-F238E27FC236}">
                <a16:creationId xmlns:a16="http://schemas.microsoft.com/office/drawing/2014/main" id="{4E3BE778-8347-4BE4-962A-BF94FFF71F62}"/>
              </a:ext>
            </a:extLst>
          </p:cNvPr>
          <p:cNvGrpSpPr>
            <a:grpSpLocks/>
          </p:cNvGrpSpPr>
          <p:nvPr>
            <p:custDataLst>
              <p:tags r:id="rId6"/>
            </p:custDataLst>
          </p:nvPr>
        </p:nvGrpSpPr>
        <p:grpSpPr>
          <a:xfrm>
            <a:off x="3647140" y="1414542"/>
            <a:ext cx="726748" cy="726748"/>
            <a:chOff x="-205105" y="-205105"/>
            <a:chExt cx="1019810" cy="1019810"/>
          </a:xfrm>
        </p:grpSpPr>
        <p:sp>
          <p:nvSpPr>
            <p:cNvPr id="58" name="Oval 57">
              <a:extLst>
                <a:ext uri="{FF2B5EF4-FFF2-40B4-BE49-F238E27FC236}">
                  <a16:creationId xmlns:a16="http://schemas.microsoft.com/office/drawing/2014/main" id="{DE3F6338-1169-4BB0-8D76-90DF0FB25530}"/>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pic>
          <p:nvPicPr>
            <p:cNvPr id="59" name="Graphic 58">
              <a:extLst>
                <a:ext uri="{FF2B5EF4-FFF2-40B4-BE49-F238E27FC236}">
                  <a16:creationId xmlns:a16="http://schemas.microsoft.com/office/drawing/2014/main" id="{EEF4C42D-00F4-404D-A900-C9EA0A2394F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sp>
        <p:nvSpPr>
          <p:cNvPr id="98" name="TextBox 97">
            <a:extLst>
              <a:ext uri="{FF2B5EF4-FFF2-40B4-BE49-F238E27FC236}">
                <a16:creationId xmlns:a16="http://schemas.microsoft.com/office/drawing/2014/main" id="{9E8C4E36-D9CC-4915-9F65-5A3DCAADC25A}"/>
              </a:ext>
            </a:extLst>
          </p:cNvPr>
          <p:cNvSpPr txBox="1">
            <a:spLocks/>
          </p:cNvSpPr>
          <p:nvPr/>
        </p:nvSpPr>
        <p:spPr>
          <a:xfrm>
            <a:off x="5769452" y="3621020"/>
            <a:ext cx="3014951" cy="430887"/>
          </a:xfrm>
          <a:prstGeom prst="rect">
            <a:avLst/>
          </a:prstGeom>
        </p:spPr>
        <p:txBody>
          <a:bodyPr vert="horz" wrap="square" lIns="0" tIns="0" rIns="0" bIns="0" rtlCol="0">
            <a:spAutoFit/>
          </a:bodyPr>
          <a:lstStyle>
            <a:lvl1pPr lvl="0" indent="0">
              <a:lnSpc>
                <a:spcPct val="100000"/>
              </a:lnSpc>
              <a:spcBef>
                <a:spcPts val="0"/>
              </a:spcBef>
              <a:spcAft>
                <a:spcPts val="600"/>
              </a:spcAft>
              <a:buFont typeface="Segoe UI" panose="020B0502040204020203" pitchFamily="34" charset="0"/>
              <a:buChar char="​"/>
              <a:defRPr>
                <a:solidFill>
                  <a:sysClr val="windowText" lastClr="000000"/>
                </a:solidFill>
                <a:latin typeface="Theinhardt Light" panose="020B0404020101020102" pitchFamily="34" charset="0"/>
                <a:cs typeface="Theinhardt Light" panose="020B0404020101020102" pitchFamily="34" charset="0"/>
              </a:defRPr>
            </a:lvl1pPr>
            <a:lvl2pPr marL="228600" lvl="1" indent="-225425">
              <a:lnSpc>
                <a:spcPct val="100000"/>
              </a:lnSpc>
              <a:spcBef>
                <a:spcPts val="0"/>
              </a:spcBef>
              <a:spcAft>
                <a:spcPts val="400"/>
              </a:spcAft>
              <a:buFont typeface="Wingdings" panose="05000000000000000000" pitchFamily="2" charset="2"/>
              <a:buChar char=""/>
              <a:defRPr>
                <a:solidFill>
                  <a:sysClr val="windowText" lastClr="000000"/>
                </a:solidFill>
                <a:latin typeface="Theinhardt Light" panose="020B0404020101020102" pitchFamily="34" charset="0"/>
                <a:cs typeface="Theinhardt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3. Investissement dans les effectifs de santé publique et dans les programmes de leadership</a:t>
            </a:r>
          </a:p>
        </p:txBody>
      </p:sp>
      <p:sp>
        <p:nvSpPr>
          <p:cNvPr id="76" name="TextBox 75">
            <a:extLst>
              <a:ext uri="{FF2B5EF4-FFF2-40B4-BE49-F238E27FC236}">
                <a16:creationId xmlns:a16="http://schemas.microsoft.com/office/drawing/2014/main" id="{CF577017-4FBB-43F1-A49A-4B29810372F6}"/>
              </a:ext>
            </a:extLst>
          </p:cNvPr>
          <p:cNvSpPr txBox="1">
            <a:spLocks/>
          </p:cNvSpPr>
          <p:nvPr/>
        </p:nvSpPr>
        <p:spPr>
          <a:xfrm>
            <a:off x="6965905" y="1562473"/>
            <a:ext cx="4563158" cy="430887"/>
          </a:xfrm>
          <a:prstGeom prst="rect">
            <a:avLst/>
          </a:prstGeom>
        </p:spPr>
        <p:txBody>
          <a:bodyPr vert="horz" wrap="square" lIns="0" tIns="0" rIns="0" bIns="0" rtlCol="0">
            <a:noAutofit/>
          </a:bodyPr>
          <a:lstStyle>
            <a:lvl1pPr lvl="0" indent="0">
              <a:lnSpc>
                <a:spcPct val="100000"/>
              </a:lnSpc>
              <a:spcBef>
                <a:spcPts val="0"/>
              </a:spcBef>
              <a:spcAft>
                <a:spcPts val="600"/>
              </a:spcAft>
              <a:buFont typeface="Segoe UI" panose="020B0502040204020203" pitchFamily="34" charset="0"/>
              <a:buChar char="​"/>
              <a:defRPr>
                <a:solidFill>
                  <a:sysClr val="windowText" lastClr="000000"/>
                </a:solidFill>
                <a:latin typeface="Theinhardt Light" panose="020B0404020101020102" pitchFamily="34" charset="0"/>
                <a:cs typeface="Theinhardt Light" panose="020B0404020101020102" pitchFamily="34" charset="0"/>
              </a:defRPr>
            </a:lvl1pPr>
            <a:lvl2pPr marL="228600" lvl="1" indent="-225425">
              <a:lnSpc>
                <a:spcPct val="100000"/>
              </a:lnSpc>
              <a:spcBef>
                <a:spcPts val="0"/>
              </a:spcBef>
              <a:spcAft>
                <a:spcPts val="400"/>
              </a:spcAft>
              <a:buFont typeface="Wingdings" panose="05000000000000000000" pitchFamily="2" charset="2"/>
              <a:buChar char=""/>
              <a:defRPr>
                <a:solidFill>
                  <a:sysClr val="windowText" lastClr="000000"/>
                </a:solidFill>
                <a:latin typeface="Theinhardt Light" panose="020B0404020101020102" pitchFamily="34" charset="0"/>
                <a:cs typeface="Theinhardt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altLang="ko-KR" sz="1400" i="0" u="none" strike="noStrike" kern="1200" cap="none" spc="0" normalizeH="0" baseline="0" noProof="0" dirty="0">
                <a:ln>
                  <a:noFill/>
                </a:ln>
                <a:solidFill>
                  <a:schemeClr val="tx1"/>
                </a:solidFill>
                <a:effectLst/>
                <a:uLnTx/>
                <a:uFillTx/>
                <a:latin typeface="+mj-lt"/>
                <a:ea typeface="Arial Unicode MS"/>
                <a:cs typeface="Arial Unicode MS"/>
              </a:rPr>
              <a:t>Orienter les priorités, coordonner les politiques et les programmes, et favoriser l’établissement de normes et la surveillance des maladies</a:t>
            </a:r>
            <a:endParaRPr kumimoji="0" lang="en-US" sz="1400" b="0" i="0" u="none" strike="noStrike" kern="1200" cap="none" spc="0" normalizeH="0" baseline="0" noProof="0" dirty="0">
              <a:ln>
                <a:noFill/>
              </a:ln>
              <a:solidFill>
                <a:schemeClr val="tx1"/>
              </a:solidFill>
              <a:effectLst/>
              <a:uLnTx/>
              <a:uFillTx/>
              <a:latin typeface="+mj-lt"/>
              <a:ea typeface="+mn-ea"/>
              <a:cs typeface="Arial" panose="020B0604020202020204" pitchFamily="34" charset="0"/>
              <a:sym typeface="Theinhardt Pan Light" panose="020B0404020101020102" pitchFamily="34" charset="0"/>
            </a:endParaRPr>
          </a:p>
        </p:txBody>
      </p:sp>
      <p:sp>
        <p:nvSpPr>
          <p:cNvPr id="89" name="TextBox 88">
            <a:extLst>
              <a:ext uri="{FF2B5EF4-FFF2-40B4-BE49-F238E27FC236}">
                <a16:creationId xmlns:a16="http://schemas.microsoft.com/office/drawing/2014/main" id="{DDECD7A8-FABB-4274-8854-04831F68B9F1}"/>
              </a:ext>
            </a:extLst>
          </p:cNvPr>
          <p:cNvSpPr txBox="1">
            <a:spLocks/>
          </p:cNvSpPr>
          <p:nvPr/>
        </p:nvSpPr>
        <p:spPr>
          <a:xfrm>
            <a:off x="4576188" y="1562473"/>
            <a:ext cx="1603896" cy="430887"/>
          </a:xfrm>
          <a:prstGeom prst="rect">
            <a:avLst/>
          </a:prstGeom>
        </p:spPr>
        <p:txBody>
          <a:bodyPr vert="horz" wrap="square" lIns="0" tIns="0" rIns="0" bIns="0" rtlCol="0">
            <a:noAutofit/>
          </a:bodyPr>
          <a:lstStyle>
            <a:lvl1pPr lvl="0" indent="0">
              <a:lnSpc>
                <a:spcPct val="100000"/>
              </a:lnSpc>
              <a:spcBef>
                <a:spcPts val="0"/>
              </a:spcBef>
              <a:spcAft>
                <a:spcPts val="600"/>
              </a:spcAft>
              <a:buFont typeface="Segoe UI" panose="020B0502040204020203" pitchFamily="34" charset="0"/>
              <a:buChar char="​"/>
              <a:defRPr>
                <a:solidFill>
                  <a:sysClr val="windowText" lastClr="000000"/>
                </a:solidFill>
                <a:latin typeface="Theinhardt Light" panose="020B0404020101020102" pitchFamily="34" charset="0"/>
                <a:cs typeface="Theinhardt Light" panose="020B0404020101020102" pitchFamily="34" charset="0"/>
              </a:defRPr>
            </a:lvl1pPr>
            <a:lvl2pPr marL="228600" lvl="1" indent="-225425">
              <a:lnSpc>
                <a:spcPct val="100000"/>
              </a:lnSpc>
              <a:spcBef>
                <a:spcPts val="0"/>
              </a:spcBef>
              <a:spcAft>
                <a:spcPts val="400"/>
              </a:spcAft>
              <a:buFont typeface="Wingdings" panose="05000000000000000000" pitchFamily="2" charset="2"/>
              <a:buChar char=""/>
              <a:defRPr>
                <a:solidFill>
                  <a:sysClr val="windowText" lastClr="000000"/>
                </a:solidFill>
                <a:latin typeface="Theinhardt Light" panose="020B0404020101020102" pitchFamily="34" charset="0"/>
                <a:cs typeface="Theinhardt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9pPr>
          </a:lstStyle>
          <a:p>
            <a:pPr algn="l" rtl="0">
              <a:defRPr/>
            </a:pPr>
            <a:r>
              <a:rPr kumimoji="0" lang="en-US" sz="1400" b="1"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1. Des institutions régionales fortes</a:t>
            </a:r>
            <a:endParaRPr kumimoji="0" lang="en-US" sz="1400" b="1" i="0" u="none" strike="noStrike" kern="1200" cap="none" spc="0" normalizeH="0" baseline="0" noProof="0" dirty="0">
              <a:ln>
                <a:noFill/>
              </a:ln>
              <a:solidFill>
                <a:schemeClr val="tx1"/>
              </a:solidFill>
              <a:effectLst/>
              <a:uLnTx/>
              <a:uFillTx/>
              <a:latin typeface="+mj-lt"/>
              <a:ea typeface="+mn-ea"/>
              <a:cs typeface="Arial" panose="020B0604020202020204" pitchFamily="34" charset="0"/>
              <a:sym typeface="Theinhardt Pan Medium" panose="020B0604020101020102" pitchFamily="34" charset="0"/>
            </a:endParaRPr>
          </a:p>
        </p:txBody>
      </p:sp>
      <p:cxnSp>
        <p:nvCxnSpPr>
          <p:cNvPr id="9" name="Straight Connector 8">
            <a:extLst>
              <a:ext uri="{FF2B5EF4-FFF2-40B4-BE49-F238E27FC236}">
                <a16:creationId xmlns:a16="http://schemas.microsoft.com/office/drawing/2014/main" id="{A68AD256-2AF6-4D62-AE95-2489CDBD90E0}"/>
              </a:ext>
            </a:extLst>
          </p:cNvPr>
          <p:cNvCxnSpPr>
            <a:cxnSpLocks/>
          </p:cNvCxnSpPr>
          <p:nvPr/>
        </p:nvCxnSpPr>
        <p:spPr>
          <a:xfrm>
            <a:off x="6838904" y="1562473"/>
            <a:ext cx="0" cy="430887"/>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89E1D16E-0263-41D4-BA1D-C46B84A928FF}"/>
              </a:ext>
            </a:extLst>
          </p:cNvPr>
          <p:cNvSpPr>
            <a:spLocks noChangeAspect="1"/>
          </p:cNvSpPr>
          <p:nvPr/>
        </p:nvSpPr>
        <p:spPr>
          <a:xfrm>
            <a:off x="4622065" y="2447756"/>
            <a:ext cx="726748" cy="72674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tx1"/>
              </a:solidFill>
            </a:endParaRPr>
          </a:p>
        </p:txBody>
      </p:sp>
      <p:pic>
        <p:nvPicPr>
          <p:cNvPr id="62" name="Graphic 61">
            <a:extLst>
              <a:ext uri="{FF2B5EF4-FFF2-40B4-BE49-F238E27FC236}">
                <a16:creationId xmlns:a16="http://schemas.microsoft.com/office/drawing/2014/main" id="{077DB937-55BB-4C99-843B-62F3A928AFE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768229" y="2593920"/>
            <a:ext cx="434420" cy="434420"/>
          </a:xfrm>
          <a:prstGeom prst="rect">
            <a:avLst/>
          </a:prstGeom>
        </p:spPr>
      </p:pic>
      <p:sp>
        <p:nvSpPr>
          <p:cNvPr id="80" name="TextBox 79">
            <a:extLst>
              <a:ext uri="{FF2B5EF4-FFF2-40B4-BE49-F238E27FC236}">
                <a16:creationId xmlns:a16="http://schemas.microsoft.com/office/drawing/2014/main" id="{FC1C662E-CDB2-4F72-BE2F-B7B9885D2915}"/>
              </a:ext>
            </a:extLst>
          </p:cNvPr>
          <p:cNvSpPr txBox="1">
            <a:spLocks/>
          </p:cNvSpPr>
          <p:nvPr/>
        </p:nvSpPr>
        <p:spPr>
          <a:xfrm>
            <a:off x="7639004" y="2447756"/>
            <a:ext cx="4343399" cy="430887"/>
          </a:xfrm>
          <a:prstGeom prst="rect">
            <a:avLst/>
          </a:prstGeom>
        </p:spPr>
        <p:txBody>
          <a:bodyPr vert="horz" wrap="square" lIns="0" tIns="0" rIns="0" bIns="0" rtlCol="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400" i="0" u="none" strike="noStrike" cap="none" spc="0" normalizeH="0" baseline="0">
                <a:ln>
                  <a:noFill/>
                </a:ln>
                <a:solidFill>
                  <a:sysClr val="windowText" lastClr="000000"/>
                </a:solidFill>
                <a:effectLst/>
                <a:uLnTx/>
                <a:uFillTx/>
                <a:ea typeface="Arial Unicode MS"/>
                <a:cs typeface="Arial Unicode MS"/>
              </a:defRPr>
            </a:lvl1pPr>
            <a:lvl2pPr marL="228600" lvl="1" indent="-225425">
              <a:lnSpc>
                <a:spcPct val="100000"/>
              </a:lnSpc>
              <a:spcBef>
                <a:spcPts val="0"/>
              </a:spcBef>
              <a:spcAft>
                <a:spcPts val="400"/>
              </a:spcAft>
              <a:buFont typeface="Wingdings" panose="05000000000000000000" pitchFamily="2" charset="2"/>
              <a:buChar char=""/>
              <a:defRPr>
                <a:solidFill>
                  <a:sysClr val="windowText" lastClr="000000"/>
                </a:solidFill>
                <a:latin typeface="Theinhardt Light" panose="020B0404020101020102" pitchFamily="34" charset="0"/>
                <a:cs typeface="Theinhardt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9pPr>
          </a:lstStyle>
          <a:p>
            <a:pPr algn="l" rtl="0"/>
            <a:r>
              <a:rPr lang="en-US" altLang="ko-KR" dirty="0">
                <a:solidFill>
                  <a:schemeClr val="tx1"/>
                </a:solidFill>
                <a:latin typeface="+mj-lt"/>
              </a:rPr>
              <a:t>Pour réduire les coûts d'approvisionnement et augmenter la vitesse de réponse</a:t>
            </a:r>
            <a:endParaRPr lang="en-US" dirty="0">
              <a:solidFill>
                <a:schemeClr val="tx1"/>
              </a:solidFill>
              <a:latin typeface="+mj-lt"/>
              <a:sym typeface="Theinhardt Pan Light" panose="020B0404020101020102" pitchFamily="34" charset="0"/>
            </a:endParaRPr>
          </a:p>
        </p:txBody>
      </p:sp>
      <p:sp>
        <p:nvSpPr>
          <p:cNvPr id="94" name="TextBox 93">
            <a:extLst>
              <a:ext uri="{FF2B5EF4-FFF2-40B4-BE49-F238E27FC236}">
                <a16:creationId xmlns:a16="http://schemas.microsoft.com/office/drawing/2014/main" id="{C5FAA499-ABE4-4737-8F0F-BFBE05FF5021}"/>
              </a:ext>
            </a:extLst>
          </p:cNvPr>
          <p:cNvSpPr txBox="1">
            <a:spLocks/>
          </p:cNvSpPr>
          <p:nvPr/>
        </p:nvSpPr>
        <p:spPr>
          <a:xfrm>
            <a:off x="5522924" y="2447756"/>
            <a:ext cx="1912880" cy="646331"/>
          </a:xfrm>
          <a:prstGeom prst="rect">
            <a:avLst/>
          </a:prstGeom>
        </p:spPr>
        <p:txBody>
          <a:bodyPr vert="horz" wrap="square" lIns="0" tIns="0" rIns="0" bIns="0" rtlCol="0">
            <a:noAutofit/>
          </a:bodyPr>
          <a:lstStyle>
            <a:lvl1pPr lvl="0" indent="0">
              <a:lnSpc>
                <a:spcPct val="100000"/>
              </a:lnSpc>
              <a:spcBef>
                <a:spcPts val="0"/>
              </a:spcBef>
              <a:spcAft>
                <a:spcPts val="600"/>
              </a:spcAft>
              <a:buFont typeface="Segoe UI" panose="020B0502040204020203" pitchFamily="34" charset="0"/>
              <a:buChar char="​"/>
              <a:defRPr>
                <a:solidFill>
                  <a:sysClr val="windowText" lastClr="000000"/>
                </a:solidFill>
                <a:latin typeface="Theinhardt Light" panose="020B0404020101020102" pitchFamily="34" charset="0"/>
                <a:cs typeface="Theinhardt Light" panose="020B0404020101020102" pitchFamily="34" charset="0"/>
              </a:defRPr>
            </a:lvl1pPr>
            <a:lvl2pPr marL="228600" lvl="1" indent="-225425">
              <a:lnSpc>
                <a:spcPct val="100000"/>
              </a:lnSpc>
              <a:spcBef>
                <a:spcPts val="0"/>
              </a:spcBef>
              <a:spcAft>
                <a:spcPts val="400"/>
              </a:spcAft>
              <a:buFont typeface="Wingdings" panose="05000000000000000000" pitchFamily="2" charset="2"/>
              <a:buChar char=""/>
              <a:defRPr>
                <a:solidFill>
                  <a:sysClr val="windowText" lastClr="000000"/>
                </a:solidFill>
                <a:latin typeface="Theinhardt Light" panose="020B0404020101020102" pitchFamily="34" charset="0"/>
                <a:cs typeface="Theinhardt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2. Production locale de vaccins</a:t>
            </a:r>
            <a:r>
              <a:rPr kumimoji="0" lang="en-US" altLang="ko-KR" sz="1400" b="1" i="0" u="none" strike="noStrike" kern="1200" cap="none" spc="0" normalizeH="0" baseline="0" noProof="0" dirty="0">
                <a:ln>
                  <a:noFill/>
                </a:ln>
                <a:solidFill>
                  <a:schemeClr val="tx1"/>
                </a:solidFill>
                <a:effectLst/>
                <a:uLnTx/>
                <a:uFillTx/>
                <a:latin typeface="+mj-lt"/>
                <a:ea typeface="Arial Unicode MS"/>
                <a:cs typeface="Arial Unicode MS"/>
              </a:rPr>
              <a:t>, thérapeutique et diagnostique</a:t>
            </a:r>
            <a:endParaRPr kumimoji="0" lang="en-US" sz="1400" b="1" i="0" u="none" strike="noStrike" kern="1200" cap="none" spc="0" normalizeH="0" baseline="0" noProof="0" dirty="0">
              <a:ln>
                <a:noFill/>
              </a:ln>
              <a:solidFill>
                <a:schemeClr val="tx1"/>
              </a:solidFill>
              <a:effectLst/>
              <a:uLnTx/>
              <a:uFillTx/>
              <a:latin typeface="+mj-lt"/>
              <a:ea typeface="+mn-ea"/>
              <a:cs typeface="Arial" panose="020B0604020202020204" pitchFamily="34" charset="0"/>
            </a:endParaRPr>
          </a:p>
        </p:txBody>
      </p:sp>
      <p:cxnSp>
        <p:nvCxnSpPr>
          <p:cNvPr id="106" name="Straight Connector 105">
            <a:extLst>
              <a:ext uri="{FF2B5EF4-FFF2-40B4-BE49-F238E27FC236}">
                <a16:creationId xmlns:a16="http://schemas.microsoft.com/office/drawing/2014/main" id="{741E4428-6C50-4EF0-AB55-A7436F2F6CA9}"/>
              </a:ext>
            </a:extLst>
          </p:cNvPr>
          <p:cNvCxnSpPr>
            <a:cxnSpLocks/>
          </p:cNvCxnSpPr>
          <p:nvPr/>
        </p:nvCxnSpPr>
        <p:spPr>
          <a:xfrm>
            <a:off x="7537404" y="2447756"/>
            <a:ext cx="0" cy="646331"/>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6" name="CustomIcon">
            <a:extLst>
              <a:ext uri="{FF2B5EF4-FFF2-40B4-BE49-F238E27FC236}">
                <a16:creationId xmlns:a16="http://schemas.microsoft.com/office/drawing/2014/main" id="{F2CF489D-C0CF-4943-983F-35D36FFA008C}"/>
              </a:ext>
            </a:extLst>
          </p:cNvPr>
          <p:cNvGrpSpPr>
            <a:grpSpLocks/>
          </p:cNvGrpSpPr>
          <p:nvPr>
            <p:custDataLst>
              <p:tags r:id="rId7"/>
            </p:custDataLst>
          </p:nvPr>
        </p:nvGrpSpPr>
        <p:grpSpPr>
          <a:xfrm>
            <a:off x="4597580" y="4514184"/>
            <a:ext cx="726748" cy="726748"/>
            <a:chOff x="-205105" y="-205105"/>
            <a:chExt cx="1019810" cy="1019810"/>
          </a:xfrm>
        </p:grpSpPr>
        <p:sp>
          <p:nvSpPr>
            <p:cNvPr id="67" name="Oval 66">
              <a:extLst>
                <a:ext uri="{FF2B5EF4-FFF2-40B4-BE49-F238E27FC236}">
                  <a16:creationId xmlns:a16="http://schemas.microsoft.com/office/drawing/2014/main" id="{996D26ED-2796-49B6-9F7B-4DD6C650E01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pic>
          <p:nvPicPr>
            <p:cNvPr id="68" name="Graphic 67">
              <a:extLst>
                <a:ext uri="{FF2B5EF4-FFF2-40B4-BE49-F238E27FC236}">
                  <a16:creationId xmlns:a16="http://schemas.microsoft.com/office/drawing/2014/main" id="{6AB3634D-8911-487C-B7BB-0271117F21E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0" y="0"/>
              <a:ext cx="609600" cy="609600"/>
            </a:xfrm>
            <a:prstGeom prst="rect">
              <a:avLst/>
            </a:prstGeom>
          </p:spPr>
        </p:pic>
      </p:grpSp>
      <p:sp>
        <p:nvSpPr>
          <p:cNvPr id="99" name="TextBox 98">
            <a:extLst>
              <a:ext uri="{FF2B5EF4-FFF2-40B4-BE49-F238E27FC236}">
                <a16:creationId xmlns:a16="http://schemas.microsoft.com/office/drawing/2014/main" id="{5BE79884-6734-4446-B3FB-CA188876740E}"/>
              </a:ext>
            </a:extLst>
          </p:cNvPr>
          <p:cNvSpPr txBox="1">
            <a:spLocks/>
          </p:cNvSpPr>
          <p:nvPr/>
        </p:nvSpPr>
        <p:spPr>
          <a:xfrm>
            <a:off x="7639005" y="4514184"/>
            <a:ext cx="3890058" cy="646331"/>
          </a:xfrm>
          <a:prstGeom prst="rect">
            <a:avLst/>
          </a:prstGeom>
        </p:spPr>
        <p:txBody>
          <a:bodyPr vert="horz" wrap="square" lIns="0" tIns="0" rIns="0" bIns="0" rtlCol="0">
            <a:no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400" i="0" u="none" strike="noStrike" cap="none" spc="0" normalizeH="0" baseline="0">
                <a:ln>
                  <a:noFill/>
                </a:ln>
                <a:solidFill>
                  <a:sysClr val="windowText" lastClr="000000"/>
                </a:solidFill>
                <a:effectLst/>
                <a:uLnTx/>
                <a:uFillTx/>
                <a:ea typeface="Arial Unicode MS"/>
                <a:cs typeface="Arial Unicode MS"/>
              </a:defRPr>
            </a:lvl1pPr>
            <a:lvl2pPr marL="228600" lvl="1" indent="-225425">
              <a:lnSpc>
                <a:spcPct val="100000"/>
              </a:lnSpc>
              <a:spcBef>
                <a:spcPts val="0"/>
              </a:spcBef>
              <a:spcAft>
                <a:spcPts val="400"/>
              </a:spcAft>
              <a:buFont typeface="Wingdings" panose="05000000000000000000" pitchFamily="2" charset="2"/>
              <a:buChar char=""/>
              <a:defRPr>
                <a:solidFill>
                  <a:sysClr val="windowText" lastClr="000000"/>
                </a:solidFill>
                <a:latin typeface="Theinhardt Light" panose="020B0404020101020102" pitchFamily="34" charset="0"/>
                <a:cs typeface="Theinhardt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9pPr>
          </a:lstStyle>
          <a:p>
            <a:pPr algn="l" rtl="0"/>
            <a:r>
              <a:rPr lang="en-US" altLang="ko-KR" dirty="0">
                <a:latin typeface="+mj-lt"/>
              </a:rPr>
              <a:t>Renforcer les partenariats entre les donateurs et les gouvernements, les secteurs public et privé et les institutions de santé publique</a:t>
            </a:r>
          </a:p>
        </p:txBody>
      </p:sp>
      <p:sp>
        <p:nvSpPr>
          <p:cNvPr id="103" name="TextBox 102">
            <a:extLst>
              <a:ext uri="{FF2B5EF4-FFF2-40B4-BE49-F238E27FC236}">
                <a16:creationId xmlns:a16="http://schemas.microsoft.com/office/drawing/2014/main" id="{293D521E-FEB9-467A-A024-94446CB08E82}"/>
              </a:ext>
            </a:extLst>
          </p:cNvPr>
          <p:cNvSpPr txBox="1">
            <a:spLocks/>
          </p:cNvSpPr>
          <p:nvPr/>
        </p:nvSpPr>
        <p:spPr>
          <a:xfrm>
            <a:off x="5522924" y="4662115"/>
            <a:ext cx="1912880" cy="430887"/>
          </a:xfrm>
          <a:prstGeom prst="rect">
            <a:avLst/>
          </a:prstGeom>
        </p:spPr>
        <p:txBody>
          <a:bodyPr vert="horz" wrap="square" lIns="0" tIns="0" rIns="0" bIns="0" rtlCol="0">
            <a:spAutoFit/>
          </a:bodyPr>
          <a:lstStyle>
            <a:lvl1pPr lvl="0" indent="0">
              <a:lnSpc>
                <a:spcPct val="100000"/>
              </a:lnSpc>
              <a:spcBef>
                <a:spcPts val="0"/>
              </a:spcBef>
              <a:spcAft>
                <a:spcPts val="600"/>
              </a:spcAft>
              <a:buFont typeface="Segoe UI" panose="020B0502040204020203" pitchFamily="34" charset="0"/>
              <a:buChar char="​"/>
              <a:defRPr>
                <a:solidFill>
                  <a:sysClr val="windowText" lastClr="000000"/>
                </a:solidFill>
                <a:latin typeface="Theinhardt Light" panose="020B0404020101020102" pitchFamily="34" charset="0"/>
                <a:cs typeface="Theinhardt Light" panose="020B0404020101020102" pitchFamily="34" charset="0"/>
              </a:defRPr>
            </a:lvl1pPr>
            <a:lvl2pPr marL="228600" lvl="1" indent="-225425">
              <a:lnSpc>
                <a:spcPct val="100000"/>
              </a:lnSpc>
              <a:spcBef>
                <a:spcPts val="0"/>
              </a:spcBef>
              <a:spcAft>
                <a:spcPts val="400"/>
              </a:spcAft>
              <a:buFont typeface="Wingdings" panose="05000000000000000000" pitchFamily="2" charset="2"/>
              <a:buChar char=""/>
              <a:defRPr>
                <a:solidFill>
                  <a:sysClr val="windowText" lastClr="000000"/>
                </a:solidFill>
                <a:latin typeface="Theinhardt Light" panose="020B0404020101020102" pitchFamily="34" charset="0"/>
                <a:cs typeface="Theinhardt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4. Des partenariats forts et de haut niveau</a:t>
            </a:r>
          </a:p>
        </p:txBody>
      </p:sp>
      <p:cxnSp>
        <p:nvCxnSpPr>
          <p:cNvPr id="107" name="Straight Connector 106">
            <a:extLst>
              <a:ext uri="{FF2B5EF4-FFF2-40B4-BE49-F238E27FC236}">
                <a16:creationId xmlns:a16="http://schemas.microsoft.com/office/drawing/2014/main" id="{A59A97B6-1EC0-40F2-A56B-C8CF1A8A8F03}"/>
              </a:ext>
            </a:extLst>
          </p:cNvPr>
          <p:cNvCxnSpPr>
            <a:cxnSpLocks/>
          </p:cNvCxnSpPr>
          <p:nvPr/>
        </p:nvCxnSpPr>
        <p:spPr>
          <a:xfrm>
            <a:off x="7537404" y="4514184"/>
            <a:ext cx="0" cy="646331"/>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9" name="CustomIcon">
            <a:extLst>
              <a:ext uri="{FF2B5EF4-FFF2-40B4-BE49-F238E27FC236}">
                <a16:creationId xmlns:a16="http://schemas.microsoft.com/office/drawing/2014/main" id="{4F91B631-F724-4357-8496-D848D7D43669}"/>
              </a:ext>
            </a:extLst>
          </p:cNvPr>
          <p:cNvGrpSpPr>
            <a:grpSpLocks/>
          </p:cNvGrpSpPr>
          <p:nvPr>
            <p:custDataLst>
              <p:tags r:id="rId8"/>
            </p:custDataLst>
          </p:nvPr>
        </p:nvGrpSpPr>
        <p:grpSpPr>
          <a:xfrm>
            <a:off x="3647140" y="5547396"/>
            <a:ext cx="726748" cy="726748"/>
            <a:chOff x="-205105" y="-205105"/>
            <a:chExt cx="1019810" cy="1019810"/>
          </a:xfrm>
        </p:grpSpPr>
        <p:sp>
          <p:nvSpPr>
            <p:cNvPr id="70" name="Oval 69">
              <a:extLst>
                <a:ext uri="{FF2B5EF4-FFF2-40B4-BE49-F238E27FC236}">
                  <a16:creationId xmlns:a16="http://schemas.microsoft.com/office/drawing/2014/main" id="{D0BAF979-C1EE-44FA-8D62-5FB1372DE9BE}"/>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pic>
          <p:nvPicPr>
            <p:cNvPr id="72" name="Graphic 71">
              <a:extLst>
                <a:ext uri="{FF2B5EF4-FFF2-40B4-BE49-F238E27FC236}">
                  <a16:creationId xmlns:a16="http://schemas.microsoft.com/office/drawing/2014/main" id="{3B2D85EC-C69C-4519-A29A-3D014273A0E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0" y="0"/>
              <a:ext cx="609600" cy="609600"/>
            </a:xfrm>
            <a:prstGeom prst="rect">
              <a:avLst/>
            </a:prstGeom>
          </p:spPr>
        </p:pic>
      </p:grpSp>
      <p:sp>
        <p:nvSpPr>
          <p:cNvPr id="104" name="TextBox 103">
            <a:extLst>
              <a:ext uri="{FF2B5EF4-FFF2-40B4-BE49-F238E27FC236}">
                <a16:creationId xmlns:a16="http://schemas.microsoft.com/office/drawing/2014/main" id="{2BCF11CB-5FCE-4E2F-A96B-AC394375173A}"/>
              </a:ext>
            </a:extLst>
          </p:cNvPr>
          <p:cNvSpPr txBox="1">
            <a:spLocks/>
          </p:cNvSpPr>
          <p:nvPr/>
        </p:nvSpPr>
        <p:spPr>
          <a:xfrm>
            <a:off x="6965904" y="5587605"/>
            <a:ext cx="4563159" cy="646331"/>
          </a:xfrm>
          <a:prstGeom prst="rect">
            <a:avLst/>
          </a:prstGeom>
        </p:spPr>
        <p:txBody>
          <a:bodyPr vert="horz" wrap="square" lIns="0" tIns="0" rIns="0" bIns="0" rtlCol="0">
            <a:noAutofit/>
          </a:bodyPr>
          <a:lstStyle>
            <a:lvl1pPr lvl="0" indent="0">
              <a:lnSpc>
                <a:spcPct val="100000"/>
              </a:lnSpc>
              <a:spcBef>
                <a:spcPts val="0"/>
              </a:spcBef>
              <a:spcAft>
                <a:spcPts val="600"/>
              </a:spcAft>
              <a:buFont typeface="Segoe UI" panose="020B0502040204020203" pitchFamily="34" charset="0"/>
              <a:buChar char="​"/>
              <a:defRPr>
                <a:solidFill>
                  <a:sysClr val="windowText" lastClr="000000"/>
                </a:solidFill>
                <a:latin typeface="Theinhardt Light" panose="020B0404020101020102" pitchFamily="34" charset="0"/>
                <a:cs typeface="Theinhardt Light" panose="020B0404020101020102" pitchFamily="34" charset="0"/>
              </a:defRPr>
            </a:lvl1pPr>
            <a:lvl2pPr marL="228600" lvl="1" indent="-225425">
              <a:lnSpc>
                <a:spcPct val="100000"/>
              </a:lnSpc>
              <a:spcBef>
                <a:spcPts val="0"/>
              </a:spcBef>
              <a:spcAft>
                <a:spcPts val="400"/>
              </a:spcAft>
              <a:buFont typeface="Wingdings" panose="05000000000000000000" pitchFamily="2" charset="2"/>
              <a:buChar char=""/>
              <a:defRPr>
                <a:solidFill>
                  <a:sysClr val="windowText" lastClr="000000"/>
                </a:solidFill>
                <a:latin typeface="Theinhardt Light" panose="020B0404020101020102" pitchFamily="34" charset="0"/>
                <a:cs typeface="Theinhardt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lang="en-US" altLang="ko-KR" sz="1400" dirty="0">
                <a:latin typeface="+mj-lt"/>
                <a:ea typeface="Arial Unicode MS"/>
                <a:cs typeface="Arial Unicode MS"/>
              </a:rPr>
              <a:t>T</a:t>
            </a:r>
            <a:r>
              <a:rPr kumimoji="0" lang="en-US" altLang="ko-KR" sz="1400" i="0" u="none" strike="noStrike" kern="1200" cap="none" spc="0" normalizeH="0" baseline="0" noProof="0" dirty="0">
                <a:ln>
                  <a:noFill/>
                </a:ln>
                <a:effectLst/>
                <a:uLnTx/>
                <a:uFillTx/>
                <a:latin typeface="+mj-lt"/>
                <a:ea typeface="Arial Unicode MS"/>
                <a:cs typeface="Arial Unicode MS"/>
              </a:rPr>
              <a:t>veiller à ce que les spécificités et les besoins de chaque région soient pris en compte par les institutions de décentralisation et par les représentants régionaux dans les agences clés</a:t>
            </a:r>
          </a:p>
        </p:txBody>
      </p:sp>
      <p:sp>
        <p:nvSpPr>
          <p:cNvPr id="105" name="TextBox 104">
            <a:extLst>
              <a:ext uri="{FF2B5EF4-FFF2-40B4-BE49-F238E27FC236}">
                <a16:creationId xmlns:a16="http://schemas.microsoft.com/office/drawing/2014/main" id="{8DF98097-B8A1-449F-9C6E-3A09054C0586}"/>
              </a:ext>
            </a:extLst>
          </p:cNvPr>
          <p:cNvSpPr txBox="1">
            <a:spLocks/>
          </p:cNvSpPr>
          <p:nvPr/>
        </p:nvSpPr>
        <p:spPr>
          <a:xfrm>
            <a:off x="4576187" y="5587605"/>
            <a:ext cx="2135717" cy="646331"/>
          </a:xfrm>
          <a:prstGeom prst="rect">
            <a:avLst/>
          </a:prstGeom>
        </p:spPr>
        <p:txBody>
          <a:bodyPr vert="horz" wrap="square" lIns="0" tIns="0" rIns="0" bIns="0" rtlCol="0">
            <a:noAutofit/>
          </a:bodyPr>
          <a:lstStyle>
            <a:lvl1pPr lvl="0" indent="0">
              <a:lnSpc>
                <a:spcPct val="100000"/>
              </a:lnSpc>
              <a:spcBef>
                <a:spcPts val="0"/>
              </a:spcBef>
              <a:spcAft>
                <a:spcPts val="600"/>
              </a:spcAft>
              <a:buFont typeface="Segoe UI" panose="020B0502040204020203" pitchFamily="34" charset="0"/>
              <a:buChar char="​"/>
              <a:defRPr>
                <a:solidFill>
                  <a:sysClr val="windowText" lastClr="000000"/>
                </a:solidFill>
                <a:latin typeface="Theinhardt Light" panose="020B0404020101020102" pitchFamily="34" charset="0"/>
                <a:cs typeface="Theinhardt Light" panose="020B0404020101020102" pitchFamily="34" charset="0"/>
              </a:defRPr>
            </a:lvl1pPr>
            <a:lvl2pPr marL="228600" lvl="1" indent="-225425">
              <a:lnSpc>
                <a:spcPct val="100000"/>
              </a:lnSpc>
              <a:spcBef>
                <a:spcPts val="0"/>
              </a:spcBef>
              <a:spcAft>
                <a:spcPts val="400"/>
              </a:spcAft>
              <a:buFont typeface="Wingdings" panose="05000000000000000000" pitchFamily="2" charset="2"/>
              <a:buChar char=""/>
              <a:defRPr>
                <a:solidFill>
                  <a:sysClr val="windowText" lastClr="000000"/>
                </a:solidFill>
                <a:latin typeface="Theinhardt Light" panose="020B0404020101020102" pitchFamily="34" charset="0"/>
                <a:cs typeface="Theinhardt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9pPr>
          </a:lstStyle>
          <a:p>
            <a:pPr algn="l" rtl="0">
              <a:defRPr/>
            </a:pPr>
            <a:r>
              <a:rPr kumimoji="0" lang="en-US" sz="1400" b="1"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5. Rôle accru des organisations régionales dans la gouvernance de la pandémie</a:t>
            </a:r>
          </a:p>
        </p:txBody>
      </p:sp>
      <p:cxnSp>
        <p:nvCxnSpPr>
          <p:cNvPr id="108" name="Straight Connector 107">
            <a:extLst>
              <a:ext uri="{FF2B5EF4-FFF2-40B4-BE49-F238E27FC236}">
                <a16:creationId xmlns:a16="http://schemas.microsoft.com/office/drawing/2014/main" id="{A7D80BC6-8868-4DEA-8996-BEDDD615110B}"/>
              </a:ext>
            </a:extLst>
          </p:cNvPr>
          <p:cNvCxnSpPr>
            <a:cxnSpLocks/>
          </p:cNvCxnSpPr>
          <p:nvPr/>
        </p:nvCxnSpPr>
        <p:spPr>
          <a:xfrm>
            <a:off x="6838904" y="5587605"/>
            <a:ext cx="0" cy="646331"/>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0" name="ChevronWhite 14">
            <a:extLst>
              <a:ext uri="{FF2B5EF4-FFF2-40B4-BE49-F238E27FC236}">
                <a16:creationId xmlns:a16="http://schemas.microsoft.com/office/drawing/2014/main" id="{9A98F39C-BEBA-4B41-BC70-345ED47C3C0F}"/>
              </a:ext>
            </a:extLst>
          </p:cNvPr>
          <p:cNvGrpSpPr>
            <a:grpSpLocks noChangeAspect="1"/>
          </p:cNvGrpSpPr>
          <p:nvPr>
            <p:custDataLst>
              <p:tags r:id="rId9"/>
            </p:custDataLst>
          </p:nvPr>
        </p:nvGrpSpPr>
        <p:grpSpPr>
          <a:xfrm>
            <a:off x="2619107" y="3646229"/>
            <a:ext cx="396228" cy="396228"/>
            <a:chOff x="1016000" y="1016000"/>
            <a:chExt cx="396228" cy="396228"/>
          </a:xfrm>
        </p:grpSpPr>
        <p:sp>
          <p:nvSpPr>
            <p:cNvPr id="111" name="Oval 110">
              <a:extLst>
                <a:ext uri="{FF2B5EF4-FFF2-40B4-BE49-F238E27FC236}">
                  <a16:creationId xmlns:a16="http://schemas.microsoft.com/office/drawing/2014/main" id="{4D11A766-988A-4B10-AD1D-2F7E7E1B11C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pic>
          <p:nvPicPr>
            <p:cNvPr id="112" name="Graphic 111">
              <a:extLst>
                <a:ext uri="{FF2B5EF4-FFF2-40B4-BE49-F238E27FC236}">
                  <a16:creationId xmlns:a16="http://schemas.microsoft.com/office/drawing/2014/main" id="{EF7CF414-E0C8-494F-B34B-E174E02544A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sp>
        <p:nvSpPr>
          <p:cNvPr id="15" name="TextBox 14">
            <a:extLst>
              <a:ext uri="{FF2B5EF4-FFF2-40B4-BE49-F238E27FC236}">
                <a16:creationId xmlns:a16="http://schemas.microsoft.com/office/drawing/2014/main" id="{8ABD576F-7241-4C24-8556-397F8A655E98}"/>
              </a:ext>
            </a:extLst>
          </p:cNvPr>
          <p:cNvSpPr txBox="1">
            <a:spLocks/>
          </p:cNvSpPr>
          <p:nvPr>
            <p:custDataLst>
              <p:tags r:id="rId10"/>
            </p:custDataLst>
          </p:nvPr>
        </p:nvSpPr>
        <p:spPr>
          <a:xfrm>
            <a:off x="554736" y="1496740"/>
            <a:ext cx="1967608" cy="472950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l" rtl="0">
              <a:spcBef>
                <a:spcPts val="500"/>
              </a:spcBef>
              <a:buNone/>
            </a:pPr>
            <a:r>
              <a:rPr lang="en-US" sz="1400" dirty="0"/>
              <a:t>Au cours de la pandémie de SARS-CoV-2, l'Afrique a appris :</a:t>
            </a:r>
          </a:p>
          <a:p>
            <a:pPr lvl="1" algn="l" rtl="0">
              <a:spcBef>
                <a:spcPts val="500"/>
              </a:spcBef>
            </a:pPr>
            <a:r>
              <a:rPr lang="en-US" sz="1400" b="1" dirty="0"/>
              <a:t>À quel point la coopération internationale peut être fragile</a:t>
            </a:r>
            <a:r>
              <a:rPr lang="en-US" sz="1400" dirty="0"/>
              <a:t>lorsque le monde est collectivement menacé par une menace de maladie commune</a:t>
            </a:r>
          </a:p>
          <a:p>
            <a:pPr lvl="1" algn="l" rtl="0">
              <a:spcBef>
                <a:spcPts val="500"/>
              </a:spcBef>
            </a:pPr>
            <a:r>
              <a:rPr lang="en-US" sz="1400" dirty="0"/>
              <a:t>Il est urgent de</a:t>
            </a:r>
            <a:r>
              <a:rPr lang="en-US" sz="1400" b="1" dirty="0"/>
              <a:t>investir dans les systèmes de santé africains comme instrument essentiel pour assurer son développement économique</a:t>
            </a:r>
            <a:r>
              <a:rPr lang="en-US" sz="1400" dirty="0"/>
              <a:t>car il met en œuvre les projets phares de l'Agenda 2063</a:t>
            </a:r>
          </a:p>
        </p:txBody>
      </p:sp>
      <p:sp>
        <p:nvSpPr>
          <p:cNvPr id="21" name="TextBox 20">
            <a:extLst>
              <a:ext uri="{FF2B5EF4-FFF2-40B4-BE49-F238E27FC236}">
                <a16:creationId xmlns:a16="http://schemas.microsoft.com/office/drawing/2014/main" id="{FC5E8648-0269-407C-8C8C-54993D63206C}"/>
              </a:ext>
            </a:extLst>
          </p:cNvPr>
          <p:cNvSpPr txBox="1"/>
          <p:nvPr/>
        </p:nvSpPr>
        <p:spPr>
          <a:xfrm>
            <a:off x="554736" y="1326524"/>
            <a:ext cx="2209467" cy="246221"/>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endParaRPr lang="en-US" dirty="0"/>
          </a:p>
        </p:txBody>
      </p:sp>
      <p:sp>
        <p:nvSpPr>
          <p:cNvPr id="43" name="TextBox 42">
            <a:extLst>
              <a:ext uri="{FF2B5EF4-FFF2-40B4-BE49-F238E27FC236}">
                <a16:creationId xmlns:a16="http://schemas.microsoft.com/office/drawing/2014/main" id="{C8874B3B-A0F1-456B-916B-5A5CA35998B0}"/>
              </a:ext>
            </a:extLst>
          </p:cNvPr>
          <p:cNvSpPr txBox="1">
            <a:spLocks/>
          </p:cNvSpPr>
          <p:nvPr/>
        </p:nvSpPr>
        <p:spPr>
          <a:xfrm>
            <a:off x="9227555" y="3480970"/>
            <a:ext cx="2409710" cy="430887"/>
          </a:xfrm>
          <a:prstGeom prst="rect">
            <a:avLst/>
          </a:prstGeom>
        </p:spPr>
        <p:txBody>
          <a:bodyPr vert="horz" wrap="square" lIns="0" tIns="0" rIns="0" bIns="0" rtlCol="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400" i="0" u="none" strike="noStrike" cap="none" spc="0" normalizeH="0" baseline="0">
                <a:ln>
                  <a:noFill/>
                </a:ln>
                <a:solidFill>
                  <a:sysClr val="windowText" lastClr="000000"/>
                </a:solidFill>
                <a:effectLst/>
                <a:uLnTx/>
                <a:uFillTx/>
                <a:ea typeface="Arial Unicode MS"/>
                <a:cs typeface="Arial Unicode MS"/>
              </a:defRPr>
            </a:lvl1pPr>
            <a:lvl2pPr marL="228600" lvl="1" indent="-225425">
              <a:lnSpc>
                <a:spcPct val="100000"/>
              </a:lnSpc>
              <a:spcBef>
                <a:spcPts val="0"/>
              </a:spcBef>
              <a:spcAft>
                <a:spcPts val="400"/>
              </a:spcAft>
              <a:buFont typeface="Wingdings" panose="05000000000000000000" pitchFamily="2" charset="2"/>
              <a:buChar char=""/>
              <a:defRPr>
                <a:solidFill>
                  <a:sysClr val="windowText" lastClr="000000"/>
                </a:solidFill>
                <a:latin typeface="Theinhardt Light" panose="020B0404020101020102" pitchFamily="34" charset="0"/>
                <a:cs typeface="Theinhardt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a:solidFill>
                  <a:sysClr val="windowText" lastClr="000000"/>
                </a:solidFill>
                <a:latin typeface="Theinhardt Light" panose="020B0404020101020102" pitchFamily="34" charset="0"/>
                <a:cs typeface="Theinhardt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a:solidFill>
                  <a:sysClr val="windowText" lastClr="000000"/>
                </a:solidFill>
                <a:latin typeface="Theinhardt Light" panose="020B0404020101020102" pitchFamily="34" charset="0"/>
                <a:cs typeface="Theinhardt Light" panose="020B0404020101020102" pitchFamily="34" charset="0"/>
              </a:defRPr>
            </a:lvl9pPr>
          </a:lstStyle>
          <a:p>
            <a:pPr algn="l" rtl="0"/>
            <a:r>
              <a:rPr lang="en-US" altLang="ko-KR" dirty="0">
                <a:solidFill>
                  <a:schemeClr val="tx1"/>
                </a:solidFill>
                <a:latin typeface="+mj-lt"/>
              </a:rPr>
              <a:t>Développer le capital humain et une main d’œuvre qualifiée</a:t>
            </a:r>
            <a:endParaRPr lang="en-US" dirty="0">
              <a:solidFill>
                <a:schemeClr val="tx1"/>
              </a:solidFill>
              <a:latin typeface="+mj-lt"/>
              <a:sym typeface="Theinhardt Pan Light" panose="020B0404020101020102" pitchFamily="34" charset="0"/>
            </a:endParaRPr>
          </a:p>
        </p:txBody>
      </p:sp>
      <p:cxnSp>
        <p:nvCxnSpPr>
          <p:cNvPr id="44" name="Straight Connector 43">
            <a:extLst>
              <a:ext uri="{FF2B5EF4-FFF2-40B4-BE49-F238E27FC236}">
                <a16:creationId xmlns:a16="http://schemas.microsoft.com/office/drawing/2014/main" id="{41D56C90-92D5-4CEF-BB24-C23FDF1B22D4}"/>
              </a:ext>
            </a:extLst>
          </p:cNvPr>
          <p:cNvCxnSpPr>
            <a:cxnSpLocks/>
          </p:cNvCxnSpPr>
          <p:nvPr/>
        </p:nvCxnSpPr>
        <p:spPr>
          <a:xfrm>
            <a:off x="9125954" y="3480970"/>
            <a:ext cx="0" cy="646331"/>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72614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E6DE1B28-CC5B-44A3-AE6C-0A66030F6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6" hidden="1">
                        <a:extLst>
                          <a:ext uri="{FF2B5EF4-FFF2-40B4-BE49-F238E27FC236}">
                            <a16:creationId xmlns:a16="http://schemas.microsoft.com/office/drawing/2014/main" id="{E6DE1B28-CC5B-44A3-AE6C-0A66030F6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88E5F16-FEB2-493B-AAF7-A2C6F501519C}"/>
              </a:ext>
            </a:extLst>
          </p:cNvPr>
          <p:cNvSpPr/>
          <p:nvPr/>
        </p:nvSpPr>
        <p:spPr>
          <a:xfrm>
            <a:off x="390525" y="1076325"/>
            <a:ext cx="11372850" cy="15850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err="1">
              <a:solidFill>
                <a:schemeClr val="bg1"/>
              </a:solidFill>
            </a:endParaRPr>
          </a:p>
        </p:txBody>
      </p:sp>
      <p:pic>
        <p:nvPicPr>
          <p:cNvPr id="7" name="Picture 6">
            <a:extLst>
              <a:ext uri="{FF2B5EF4-FFF2-40B4-BE49-F238E27FC236}">
                <a16:creationId xmlns:a16="http://schemas.microsoft.com/office/drawing/2014/main" id="{F7CABE95-30A0-4FF6-953D-42AAF864D5EE}"/>
              </a:ext>
            </a:extLst>
          </p:cNvPr>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5795542" y="2060656"/>
            <a:ext cx="6396458" cy="4797344"/>
          </a:xfrm>
          <a:prstGeom prst="rect">
            <a:avLst/>
          </a:prstGeom>
        </p:spPr>
      </p:pic>
      <p:sp>
        <p:nvSpPr>
          <p:cNvPr id="3" name="Rectangle: Rounded Corners 2">
            <a:extLst>
              <a:ext uri="{FF2B5EF4-FFF2-40B4-BE49-F238E27FC236}">
                <a16:creationId xmlns:a16="http://schemas.microsoft.com/office/drawing/2014/main" id="{7741772D-CDDA-4D7F-B13A-F2DAE91B6DAB}"/>
              </a:ext>
            </a:extLst>
          </p:cNvPr>
          <p:cNvSpPr/>
          <p:nvPr/>
        </p:nvSpPr>
        <p:spPr>
          <a:xfrm>
            <a:off x="2499361" y="995994"/>
            <a:ext cx="9135428" cy="2706477"/>
          </a:xfrm>
          <a:prstGeom prst="roundRect">
            <a:avLst>
              <a:gd name="adj" fmla="val 50000"/>
            </a:avLst>
          </a:prstGeom>
          <a:solidFill>
            <a:schemeClr val="accent6">
              <a:lumMod val="20000"/>
              <a:lumOff val="80000"/>
              <a:alpha val="77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8" name="Picture 7">
            <a:extLst>
              <a:ext uri="{FF2B5EF4-FFF2-40B4-BE49-F238E27FC236}">
                <a16:creationId xmlns:a16="http://schemas.microsoft.com/office/drawing/2014/main" id="{EF2DBD65-4BC1-4A5E-9F78-805A6361FC2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54736" y="995994"/>
            <a:ext cx="3366262" cy="4673660"/>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1A498F51-2AC1-4FDD-BA46-566602DF6C79}"/>
              </a:ext>
            </a:extLst>
          </p:cNvPr>
          <p:cNvSpPr txBox="1"/>
          <p:nvPr/>
        </p:nvSpPr>
        <p:spPr>
          <a:xfrm>
            <a:off x="4006851" y="1206054"/>
            <a:ext cx="7382509" cy="2277547"/>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200" b="0" i="0" u="none" strike="noStrike" kern="1200" cap="none" spc="0" normalizeH="0" baseline="0" noProof="0" dirty="0">
                <a:ln>
                  <a:noFill/>
                </a:ln>
                <a:solidFill>
                  <a:srgbClr val="000000"/>
                </a:solidFill>
                <a:effectLst/>
                <a:uLnTx/>
                <a:uFillTx/>
                <a:latin typeface="Arial"/>
                <a:ea typeface="+mn-ea"/>
                <a:cs typeface="+mn-cs"/>
              </a:rPr>
              <a:t>Le 20 août 2020, le Bureau des chefs d’État et de gouvernement de l’Union africaine (UA) a approuvé la stratégie de développement et d’accès aux vaccins contre la COVID-19 avec la</a:t>
            </a:r>
            <a:r>
              <a:rPr kumimoji="0" lang="en-ZA" sz="2200" b="1" i="0" u="none" strike="noStrike" kern="1200" cap="none" spc="0" normalizeH="0" baseline="0" noProof="0" dirty="0">
                <a:ln>
                  <a:noFill/>
                </a:ln>
                <a:solidFill>
                  <a:srgbClr val="911C39"/>
                </a:solidFill>
                <a:effectLst/>
                <a:uLnTx/>
                <a:uFillTx/>
                <a:latin typeface="Arial"/>
                <a:ea typeface="+mn-ea"/>
                <a:cs typeface="+mn-cs"/>
              </a:rPr>
              <a:t>objectif ambitieux de vaccination </a:t>
            </a:r>
            <a:r>
              <a:rPr kumimoji="0" lang="en-ZA" sz="3200" b="1" i="0" u="none" strike="noStrike" kern="1200" cap="none" spc="0" normalizeH="0" baseline="0" noProof="0" dirty="0">
                <a:ln>
                  <a:noFill/>
                </a:ln>
                <a:solidFill>
                  <a:srgbClr val="911C39"/>
                </a:solidFill>
                <a:effectLst/>
                <a:uLnTx/>
                <a:uFillTx/>
                <a:latin typeface="Arial"/>
                <a:ea typeface="+mn-ea"/>
                <a:cs typeface="+mn-cs"/>
              </a:rPr>
              <a:t>au moins 70%</a:t>
            </a:r>
            <a:r>
              <a:rPr kumimoji="0" lang="en-ZA" sz="2500" b="1" i="0" u="none" strike="noStrike" kern="1200" cap="none" spc="0" normalizeH="0" baseline="30000" noProof="0" dirty="0">
                <a:ln>
                  <a:noFill/>
                </a:ln>
                <a:solidFill>
                  <a:srgbClr val="911C39"/>
                </a:solidFill>
                <a:effectLst/>
                <a:uLnTx/>
                <a:uFillTx/>
                <a:latin typeface="Arial"/>
                <a:ea typeface="+mn-ea"/>
                <a:cs typeface="+mn-cs"/>
              </a:rPr>
              <a:t>1</a:t>
            </a:r>
            <a:r>
              <a:rPr kumimoji="0" lang="en-ZA" sz="2500" b="1" i="0" u="none" strike="noStrike" kern="1200" cap="none" spc="0" normalizeH="0" baseline="0" noProof="0" dirty="0">
                <a:ln>
                  <a:noFill/>
                </a:ln>
                <a:solidFill>
                  <a:srgbClr val="911C39"/>
                </a:solidFill>
                <a:effectLst/>
                <a:uLnTx/>
                <a:uFillTx/>
                <a:latin typeface="Arial"/>
                <a:ea typeface="+mn-ea"/>
                <a:cs typeface="+mn-cs"/>
              </a:rPr>
              <a:t> </a:t>
            </a:r>
            <a:r>
              <a:rPr kumimoji="0" lang="en-ZA" sz="2200" b="1" i="0" u="none" strike="noStrike" kern="1200" cap="none" spc="0" normalizeH="0" baseline="0" noProof="0" dirty="0">
                <a:ln>
                  <a:noFill/>
                </a:ln>
                <a:solidFill>
                  <a:srgbClr val="911C39"/>
                </a:solidFill>
                <a:effectLst/>
                <a:uLnTx/>
                <a:uFillTx/>
                <a:latin typeface="Arial"/>
                <a:ea typeface="+mn-ea"/>
                <a:cs typeface="+mn-cs"/>
              </a:rPr>
              <a:t>de la population africaine avec des vaccins sûrs et efficaces</a:t>
            </a:r>
            <a:r>
              <a:rPr kumimoji="0" lang="en-ZA" sz="2200" b="0" i="0" u="none" strike="noStrike" kern="1200" cap="none" spc="0" normalizeH="0" baseline="0" noProof="0" dirty="0">
                <a:ln>
                  <a:noFill/>
                </a:ln>
                <a:solidFill>
                  <a:srgbClr val="911C39"/>
                </a:solidFill>
                <a:effectLst/>
                <a:uLnTx/>
                <a:uFillTx/>
                <a:latin typeface="Arial"/>
                <a:ea typeface="+mn-ea"/>
                <a:cs typeface="+mn-cs"/>
              </a:rPr>
              <a:t> </a:t>
            </a:r>
            <a:r>
              <a:rPr kumimoji="0" lang="en-ZA" sz="2200" b="0" i="0" u="none" strike="noStrike" kern="1200" cap="none" spc="0" normalizeH="0" baseline="0" noProof="0" dirty="0">
                <a:ln>
                  <a:noFill/>
                </a:ln>
                <a:solidFill>
                  <a:srgbClr val="000000"/>
                </a:solidFill>
                <a:effectLst/>
                <a:uLnTx/>
                <a:uFillTx/>
                <a:latin typeface="Arial"/>
                <a:ea typeface="+mn-ea"/>
                <a:cs typeface="+mn-cs"/>
              </a:rPr>
              <a:t>d'ici fin 2022</a:t>
            </a:r>
          </a:p>
        </p:txBody>
      </p:sp>
      <p:sp>
        <p:nvSpPr>
          <p:cNvPr id="11" name="4. Footnote">
            <a:extLst>
              <a:ext uri="{FF2B5EF4-FFF2-40B4-BE49-F238E27FC236}">
                <a16:creationId xmlns:a16="http://schemas.microsoft.com/office/drawing/2014/main" id="{DBF043CA-F3BD-4904-BE6A-A14463AD29EC}"/>
              </a:ext>
            </a:extLst>
          </p:cNvPr>
          <p:cNvSpPr txBox="1">
            <a:spLocks/>
          </p:cNvSpPr>
          <p:nvPr>
            <p:custDataLst>
              <p:tags r:id="rId2"/>
            </p:custDataLst>
          </p:nvPr>
        </p:nvSpPr>
        <p:spPr>
          <a:xfrm>
            <a:off x="553972" y="6154715"/>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 Augmentation de 60 % par rapport à septembre 2021</a:t>
            </a:r>
          </a:p>
        </p:txBody>
      </p:sp>
      <p:grpSp>
        <p:nvGrpSpPr>
          <p:cNvPr id="12" name="Group 4">
            <a:extLst>
              <a:ext uri="{FF2B5EF4-FFF2-40B4-BE49-F238E27FC236}">
                <a16:creationId xmlns:a16="http://schemas.microsoft.com/office/drawing/2014/main" id="{6AE8F131-A142-46CE-9398-DECF35E3565C}"/>
              </a:ext>
            </a:extLst>
          </p:cNvPr>
          <p:cNvGrpSpPr>
            <a:grpSpLocks noChangeAspect="1"/>
          </p:cNvGrpSpPr>
          <p:nvPr/>
        </p:nvGrpSpPr>
        <p:grpSpPr bwMode="ltGray">
          <a:xfrm>
            <a:off x="11252568" y="6417372"/>
            <a:ext cx="394856" cy="373880"/>
            <a:chOff x="-240" y="2757"/>
            <a:chExt cx="960" cy="909"/>
          </a:xfrm>
        </p:grpSpPr>
        <p:sp>
          <p:nvSpPr>
            <p:cNvPr id="13" name="Freeform 5">
              <a:extLst>
                <a:ext uri="{FF2B5EF4-FFF2-40B4-BE49-F238E27FC236}">
                  <a16:creationId xmlns:a16="http://schemas.microsoft.com/office/drawing/2014/main" id="{1F81606A-9D5C-422A-81E6-B6AEA508B4D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tangle 6">
              <a:extLst>
                <a:ext uri="{FF2B5EF4-FFF2-40B4-BE49-F238E27FC236}">
                  <a16:creationId xmlns:a16="http://schemas.microsoft.com/office/drawing/2014/main" id="{A6856A63-6F20-495D-90D4-102E13E5371B}"/>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Freeform 7">
              <a:extLst>
                <a:ext uri="{FF2B5EF4-FFF2-40B4-BE49-F238E27FC236}">
                  <a16:creationId xmlns:a16="http://schemas.microsoft.com/office/drawing/2014/main" id="{8D8C3B0F-7834-4224-951B-266339CA2BA2}"/>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Freeform 8">
              <a:extLst>
                <a:ext uri="{FF2B5EF4-FFF2-40B4-BE49-F238E27FC236}">
                  <a16:creationId xmlns:a16="http://schemas.microsoft.com/office/drawing/2014/main" id="{D4E28533-4E0E-4749-9204-257BCEA3E74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9">
              <a:extLst>
                <a:ext uri="{FF2B5EF4-FFF2-40B4-BE49-F238E27FC236}">
                  <a16:creationId xmlns:a16="http://schemas.microsoft.com/office/drawing/2014/main" id="{FE611A36-A2F3-48D7-A305-3B8FEF0D7E7B}"/>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35439754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3C8CF57-2C41-4D6F-A706-63D8E8917E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6" name="Object 6" hidden="1">
                        <a:extLst>
                          <a:ext uri="{FF2B5EF4-FFF2-40B4-BE49-F238E27FC236}">
                            <a16:creationId xmlns:a16="http://schemas.microsoft.com/office/drawing/2014/main" id="{C3C8CF57-2C41-4D6F-A706-63D8E8917EE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1830C03D-02C9-4961-ACF2-FA3907F6FF56}"/>
              </a:ext>
            </a:extLst>
          </p:cNvPr>
          <p:cNvSpPr>
            <a:spLocks noGrp="1"/>
          </p:cNvSpPr>
          <p:nvPr>
            <p:ph type="title"/>
            <p:custDataLst>
              <p:tags r:id="rId2"/>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lgn="l" rtl="0"/>
            <a:r>
              <a:rPr lang="en-GB" dirty="0"/>
              <a:t>Saving Lives and Livelihoods (SLL) est une initiative sans précédent visant à permettre la vaccination contre la COVID-19 et à renforcer les systèmes de santé en Afrique</a:t>
            </a:r>
          </a:p>
        </p:txBody>
      </p:sp>
      <p:sp>
        <p:nvSpPr>
          <p:cNvPr id="32" name="TextBox 31">
            <a:extLst>
              <a:ext uri="{FF2B5EF4-FFF2-40B4-BE49-F238E27FC236}">
                <a16:creationId xmlns:a16="http://schemas.microsoft.com/office/drawing/2014/main" id="{8CD25495-5A8C-4721-AEF4-D5F5191D6DEE}"/>
              </a:ext>
            </a:extLst>
          </p:cNvPr>
          <p:cNvSpPr txBox="1">
            <a:spLocks/>
          </p:cNvSpPr>
          <p:nvPr/>
        </p:nvSpPr>
        <p:spPr>
          <a:xfrm>
            <a:off x="698570" y="4737991"/>
            <a:ext cx="2603014" cy="492443"/>
          </a:xfrm>
          <a:prstGeom prst="rect">
            <a:avLst/>
          </a:prstGeom>
          <a:no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5350" rtl="0" eaLnBrk="1" fontAlgn="auto" latinLnBrk="0" hangingPunct="1">
              <a:lnSpc>
                <a:spcPct val="100000"/>
              </a:lnSpc>
              <a:spcBef>
                <a:spcPct val="100000"/>
              </a:spcBef>
              <a:spcAft>
                <a:spcPts val="0"/>
              </a:spcAft>
              <a:buClr>
                <a:srgbClr val="000000"/>
              </a:buClr>
              <a:buSzTx/>
              <a:buFontTx/>
              <a:buNone/>
              <a:tabLst/>
              <a:defRPr/>
            </a:pPr>
            <a:r>
              <a:rPr kumimoji="0" lang="en-ZA"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hetez des doses de vaccin contre la COVID-19</a:t>
            </a:r>
          </a:p>
        </p:txBody>
      </p:sp>
      <p:sp>
        <p:nvSpPr>
          <p:cNvPr id="33" name="TextBox 32">
            <a:extLst>
              <a:ext uri="{FF2B5EF4-FFF2-40B4-BE49-F238E27FC236}">
                <a16:creationId xmlns:a16="http://schemas.microsoft.com/office/drawing/2014/main" id="{977ACBF2-4ED0-4916-B966-5F5208A78000}"/>
              </a:ext>
            </a:extLst>
          </p:cNvPr>
          <p:cNvSpPr txBox="1">
            <a:spLocks/>
          </p:cNvSpPr>
          <p:nvPr/>
        </p:nvSpPr>
        <p:spPr>
          <a:xfrm>
            <a:off x="3434523" y="4737991"/>
            <a:ext cx="2603014" cy="492443"/>
          </a:xfrm>
          <a:prstGeom prst="rect">
            <a:avLst/>
          </a:prstGeom>
          <a:no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5350" rtl="0" eaLnBrk="1" fontAlgn="auto" latinLnBrk="0" hangingPunct="1">
              <a:lnSpc>
                <a:spcPct val="100000"/>
              </a:lnSpc>
              <a:spcBef>
                <a:spcPct val="100000"/>
              </a:spcBef>
              <a:spcAft>
                <a:spcPts val="0"/>
              </a:spcAft>
              <a:buClr>
                <a:srgbClr val="000000"/>
              </a:buClr>
              <a:buSzTx/>
              <a:buFontTx/>
              <a:buNone/>
              <a:tabLst/>
              <a:defRPr/>
            </a:pPr>
            <a:r>
              <a:rPr kumimoji="0" lang="en-ZA"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tenir le déploiement des doses de vaccin contre la COVID-19</a:t>
            </a:r>
          </a:p>
        </p:txBody>
      </p:sp>
      <p:sp>
        <p:nvSpPr>
          <p:cNvPr id="34" name="TextBox 33">
            <a:extLst>
              <a:ext uri="{FF2B5EF4-FFF2-40B4-BE49-F238E27FC236}">
                <a16:creationId xmlns:a16="http://schemas.microsoft.com/office/drawing/2014/main" id="{22CD260E-4D86-4893-9E27-60B5508A27DE}"/>
              </a:ext>
            </a:extLst>
          </p:cNvPr>
          <p:cNvSpPr txBox="1">
            <a:spLocks/>
          </p:cNvSpPr>
          <p:nvPr/>
        </p:nvSpPr>
        <p:spPr>
          <a:xfrm>
            <a:off x="6159800" y="4737991"/>
            <a:ext cx="2603014" cy="738664"/>
          </a:xfrm>
          <a:prstGeom prst="rect">
            <a:avLst/>
          </a:prstGeom>
          <a:no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5350" rtl="0" eaLnBrk="1" fontAlgn="auto" latinLnBrk="0" hangingPunct="1">
              <a:lnSpc>
                <a:spcPct val="100000"/>
              </a:lnSpc>
              <a:spcBef>
                <a:spcPct val="100000"/>
              </a:spcBef>
              <a:spcAft>
                <a:spcPts val="0"/>
              </a:spcAft>
              <a:buClr>
                <a:srgbClr val="000000"/>
              </a:buClr>
              <a:buSzTx/>
              <a:buFontTx/>
              <a:buNone/>
              <a:tabLst/>
              <a:defRPr/>
            </a:pPr>
            <a:r>
              <a:rPr kumimoji="0" lang="en-ZA"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nforcer la capacité de production nationale de vaccins humains</a:t>
            </a:r>
          </a:p>
        </p:txBody>
      </p:sp>
      <p:sp>
        <p:nvSpPr>
          <p:cNvPr id="35" name="TextBox 34">
            <a:extLst>
              <a:ext uri="{FF2B5EF4-FFF2-40B4-BE49-F238E27FC236}">
                <a16:creationId xmlns:a16="http://schemas.microsoft.com/office/drawing/2014/main" id="{E5F1C548-FA21-4639-AA4B-5DAEED62C6BA}"/>
              </a:ext>
            </a:extLst>
          </p:cNvPr>
          <p:cNvSpPr txBox="1">
            <a:spLocks/>
          </p:cNvSpPr>
          <p:nvPr/>
        </p:nvSpPr>
        <p:spPr>
          <a:xfrm>
            <a:off x="8890414" y="4737991"/>
            <a:ext cx="2603014" cy="492443"/>
          </a:xfrm>
          <a:prstGeom prst="rect">
            <a:avLst/>
          </a:prstGeom>
          <a:no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5350" rtl="0" eaLnBrk="1" fontAlgn="auto" latinLnBrk="0" hangingPunct="1">
              <a:lnSpc>
                <a:spcPct val="100000"/>
              </a:lnSpc>
              <a:spcBef>
                <a:spcPct val="100000"/>
              </a:spcBef>
              <a:spcAft>
                <a:spcPts val="0"/>
              </a:spcAft>
              <a:buClr>
                <a:srgbClr val="000000"/>
              </a:buClr>
              <a:buSzTx/>
              <a:buFontTx/>
              <a:buNone/>
              <a:tabLst/>
              <a:defRPr/>
            </a:pPr>
            <a:r>
              <a:rPr kumimoji="0" lang="en-ZA"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nforcer les capacités de</a:t>
            </a:r>
            <a:br>
              <a:rPr kumimoji="0" lang="en-ZA"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ZA"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entre de contrôle et de prévention des maladies d'Afrique</a:t>
            </a:r>
          </a:p>
        </p:txBody>
      </p:sp>
      <p:pic>
        <p:nvPicPr>
          <p:cNvPr id="69" name="Picture 68">
            <a:extLst>
              <a:ext uri="{FF2B5EF4-FFF2-40B4-BE49-F238E27FC236}">
                <a16:creationId xmlns:a16="http://schemas.microsoft.com/office/drawing/2014/main" id="{6BD5F644-6F16-459A-9F21-6A197C2A61BF}"/>
              </a:ext>
            </a:extLst>
          </p:cNvPr>
          <p:cNvPicPr>
            <a:picLocks/>
          </p:cNvPicPr>
          <p:nvPr/>
        </p:nvPicPr>
        <p:blipFill rotWithShape="1">
          <a:blip r:embed="rId14" cstate="email">
            <a:duotone>
              <a:prstClr val="black"/>
              <a:schemeClr val="accent1">
                <a:tint val="45000"/>
                <a:satMod val="400000"/>
              </a:schemeClr>
            </a:duotone>
            <a:extLst>
              <a:ext uri="{BEBA8EAE-BF5A-486C-A8C5-ECC9F3942E4B}">
                <a14:imgProps xmlns:a14="http://schemas.microsoft.com/office/drawing/2010/main">
                  <a14:imgLayer r:embed="rId15">
                    <a14:imgEffect>
                      <a14:brightnessContrast bright="-40000" contrast="-40000"/>
                    </a14:imgEffect>
                  </a14:imgLayer>
                </a14:imgProps>
              </a:ext>
              <a:ext uri="{28A0092B-C50C-407E-A947-70E740481C1C}">
                <a14:useLocalDpi xmlns:a14="http://schemas.microsoft.com/office/drawing/2010/main"/>
              </a:ext>
            </a:extLst>
          </a:blip>
          <a:srcRect/>
          <a:stretch/>
        </p:blipFill>
        <p:spPr>
          <a:xfrm>
            <a:off x="6176218" y="2873966"/>
            <a:ext cx="2730691" cy="1623050"/>
          </a:xfrm>
          <a:prstGeom prst="rect">
            <a:avLst/>
          </a:prstGeom>
        </p:spPr>
      </p:pic>
      <p:pic>
        <p:nvPicPr>
          <p:cNvPr id="70" name="Picture 69">
            <a:extLst>
              <a:ext uri="{FF2B5EF4-FFF2-40B4-BE49-F238E27FC236}">
                <a16:creationId xmlns:a16="http://schemas.microsoft.com/office/drawing/2014/main" id="{4D8441E4-9D49-403D-8871-74C0A43C4955}"/>
              </a:ext>
            </a:extLst>
          </p:cNvPr>
          <p:cNvPicPr>
            <a:picLocks/>
          </p:cNvPicPr>
          <p:nvPr/>
        </p:nvPicPr>
        <p:blipFill rotWithShape="1">
          <a:blip r:embed="rId16" cstate="email">
            <a:duotone>
              <a:prstClr val="black"/>
              <a:schemeClr val="accent1">
                <a:tint val="45000"/>
                <a:satMod val="400000"/>
              </a:schemeClr>
            </a:duotone>
            <a:extLst>
              <a:ext uri="{BEBA8EAE-BF5A-486C-A8C5-ECC9F3942E4B}">
                <a14:imgProps xmlns:a14="http://schemas.microsoft.com/office/drawing/2010/main">
                  <a14:imgLayer r:embed="rId17">
                    <a14:imgEffect>
                      <a14:saturation sat="0"/>
                    </a14:imgEffect>
                    <a14:imgEffect>
                      <a14:brightnessContrast bright="-40000" contrast="-20000"/>
                    </a14:imgEffect>
                  </a14:imgLayer>
                </a14:imgProps>
              </a:ext>
              <a:ext uri="{28A0092B-C50C-407E-A947-70E740481C1C}">
                <a14:useLocalDpi xmlns:a14="http://schemas.microsoft.com/office/drawing/2010/main"/>
              </a:ext>
            </a:extLst>
          </a:blip>
          <a:srcRect/>
          <a:stretch/>
        </p:blipFill>
        <p:spPr>
          <a:xfrm>
            <a:off x="3372049" y="2873966"/>
            <a:ext cx="2806598" cy="1623050"/>
          </a:xfrm>
          <a:prstGeom prst="rect">
            <a:avLst/>
          </a:prstGeom>
        </p:spPr>
      </p:pic>
      <p:pic>
        <p:nvPicPr>
          <p:cNvPr id="71" name="Picture 70">
            <a:extLst>
              <a:ext uri="{FF2B5EF4-FFF2-40B4-BE49-F238E27FC236}">
                <a16:creationId xmlns:a16="http://schemas.microsoft.com/office/drawing/2014/main" id="{64532804-7857-40CF-A41F-88A6040F1E84}"/>
              </a:ext>
            </a:extLst>
          </p:cNvPr>
          <p:cNvPicPr>
            <a:picLocks/>
          </p:cNvPicPr>
          <p:nvPr/>
        </p:nvPicPr>
        <p:blipFill rotWithShape="1">
          <a:blip r:embed="rId18" cstate="email">
            <a:duotone>
              <a:prstClr val="black"/>
              <a:schemeClr val="accent1">
                <a:tint val="45000"/>
                <a:satMod val="400000"/>
              </a:schemeClr>
            </a:duotone>
            <a:extLst>
              <a:ext uri="{BEBA8EAE-BF5A-486C-A8C5-ECC9F3942E4B}">
                <a14:imgProps xmlns:a14="http://schemas.microsoft.com/office/drawing/2010/main">
                  <a14:imgLayer r:embed="rId19">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a:xfrm>
            <a:off x="554737" y="2873966"/>
            <a:ext cx="2823129" cy="1623050"/>
          </a:xfrm>
          <a:prstGeom prst="rect">
            <a:avLst/>
          </a:prstGeom>
          <a:solidFill>
            <a:schemeClr val="bg1">
              <a:lumMod val="95000"/>
            </a:schemeClr>
          </a:solidFill>
        </p:spPr>
      </p:pic>
      <p:pic>
        <p:nvPicPr>
          <p:cNvPr id="72" name="Picture 71">
            <a:extLst>
              <a:ext uri="{FF2B5EF4-FFF2-40B4-BE49-F238E27FC236}">
                <a16:creationId xmlns:a16="http://schemas.microsoft.com/office/drawing/2014/main" id="{65C3E807-ED4B-4C1A-AB2C-F61F839A06F8}"/>
              </a:ext>
            </a:extLst>
          </p:cNvPr>
          <p:cNvPicPr>
            <a:picLocks/>
          </p:cNvPicPr>
          <p:nvPr/>
        </p:nvPicPr>
        <p:blipFill rotWithShape="1">
          <a:blip r:embed="rId20" cstate="email">
            <a:duotone>
              <a:prstClr val="black"/>
              <a:schemeClr val="accent1">
                <a:tint val="45000"/>
                <a:satMod val="400000"/>
              </a:schemeClr>
            </a:duotone>
            <a:extLst>
              <a:ext uri="{BEBA8EAE-BF5A-486C-A8C5-ECC9F3942E4B}">
                <a14:imgProps xmlns:a14="http://schemas.microsoft.com/office/drawing/2010/main">
                  <a14:imgLayer r:embed="rId21">
                    <a14:imgEffect>
                      <a14:brightnessContrast bright="-40000" contrast="-40000"/>
                    </a14:imgEffect>
                  </a14:imgLayer>
                </a14:imgProps>
              </a:ext>
              <a:ext uri="{28A0092B-C50C-407E-A947-70E740481C1C}">
                <a14:useLocalDpi xmlns:a14="http://schemas.microsoft.com/office/drawing/2010/main"/>
              </a:ext>
            </a:extLst>
          </a:blip>
          <a:srcRect/>
          <a:stretch/>
        </p:blipFill>
        <p:spPr>
          <a:xfrm>
            <a:off x="8904044" y="2873966"/>
            <a:ext cx="2733221" cy="1623050"/>
          </a:xfrm>
          <a:prstGeom prst="rect">
            <a:avLst/>
          </a:prstGeom>
        </p:spPr>
      </p:pic>
      <p:sp>
        <p:nvSpPr>
          <p:cNvPr id="67" name="Freeform 6">
            <a:extLst>
              <a:ext uri="{FF2B5EF4-FFF2-40B4-BE49-F238E27FC236}">
                <a16:creationId xmlns:a16="http://schemas.microsoft.com/office/drawing/2014/main" id="{E63711CB-E10E-4A3F-83B1-F3CB26E97168}"/>
              </a:ext>
            </a:extLst>
          </p:cNvPr>
          <p:cNvSpPr>
            <a:spLocks/>
          </p:cNvSpPr>
          <p:nvPr>
            <p:custDataLst>
              <p:tags r:id="rId3"/>
            </p:custDataLst>
          </p:nvPr>
        </p:nvSpPr>
        <p:spPr bwMode="gray">
          <a:xfrm>
            <a:off x="554737" y="2873966"/>
            <a:ext cx="2823129" cy="1623050"/>
          </a:xfrm>
          <a:prstGeom prst="rect">
            <a:avLst/>
          </a:prstGeom>
          <a:solidFill>
            <a:schemeClr val="bg1">
              <a:lumMod val="95000"/>
              <a:alpha val="6980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7432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dirty="0">
              <a:ln>
                <a:noFill/>
              </a:ln>
              <a:solidFill>
                <a:srgbClr val="FFFFFF"/>
              </a:solidFill>
              <a:effectLst/>
              <a:uLnTx/>
              <a:uFillTx/>
              <a:latin typeface="Georgia"/>
              <a:ea typeface="+mn-ea"/>
              <a:cs typeface="+mn-cs"/>
            </a:endParaRPr>
          </a:p>
        </p:txBody>
      </p:sp>
      <p:sp>
        <p:nvSpPr>
          <p:cNvPr id="36" name="TextBox 35">
            <a:extLst>
              <a:ext uri="{FF2B5EF4-FFF2-40B4-BE49-F238E27FC236}">
                <a16:creationId xmlns:a16="http://schemas.microsoft.com/office/drawing/2014/main" id="{74401DC6-037A-4B9D-9ED7-2EC1B7C804D3}"/>
              </a:ext>
            </a:extLst>
          </p:cNvPr>
          <p:cNvSpPr txBox="1">
            <a:spLocks/>
          </p:cNvSpPr>
          <p:nvPr/>
        </p:nvSpPr>
        <p:spPr>
          <a:xfrm>
            <a:off x="709070" y="3970533"/>
            <a:ext cx="2603014" cy="36000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2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ilier I</a:t>
            </a:r>
          </a:p>
        </p:txBody>
      </p:sp>
      <p:sp>
        <p:nvSpPr>
          <p:cNvPr id="37" name="TextBox 36">
            <a:extLst>
              <a:ext uri="{FF2B5EF4-FFF2-40B4-BE49-F238E27FC236}">
                <a16:creationId xmlns:a16="http://schemas.microsoft.com/office/drawing/2014/main" id="{42592726-76DC-48A2-ABD2-7D6033249FCF}"/>
              </a:ext>
            </a:extLst>
          </p:cNvPr>
          <p:cNvSpPr txBox="1">
            <a:spLocks/>
          </p:cNvSpPr>
          <p:nvPr/>
        </p:nvSpPr>
        <p:spPr>
          <a:xfrm>
            <a:off x="3510300" y="3970533"/>
            <a:ext cx="2603014" cy="36000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2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ilier II</a:t>
            </a:r>
          </a:p>
        </p:txBody>
      </p:sp>
      <p:sp>
        <p:nvSpPr>
          <p:cNvPr id="38" name="TextBox 37">
            <a:extLst>
              <a:ext uri="{FF2B5EF4-FFF2-40B4-BE49-F238E27FC236}">
                <a16:creationId xmlns:a16="http://schemas.microsoft.com/office/drawing/2014/main" id="{1C708762-4DB2-42A9-A30A-B9CE8697C8DD}"/>
              </a:ext>
            </a:extLst>
          </p:cNvPr>
          <p:cNvSpPr txBox="1"/>
          <p:nvPr/>
        </p:nvSpPr>
        <p:spPr>
          <a:xfrm>
            <a:off x="6316420" y="3970533"/>
            <a:ext cx="2603014" cy="3600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2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ilier III</a:t>
            </a:r>
          </a:p>
        </p:txBody>
      </p:sp>
      <p:sp>
        <p:nvSpPr>
          <p:cNvPr id="39" name="TextBox 38">
            <a:extLst>
              <a:ext uri="{FF2B5EF4-FFF2-40B4-BE49-F238E27FC236}">
                <a16:creationId xmlns:a16="http://schemas.microsoft.com/office/drawing/2014/main" id="{FAEA60FB-217F-4870-B140-560FDA306FC8}"/>
              </a:ext>
            </a:extLst>
          </p:cNvPr>
          <p:cNvSpPr txBox="1"/>
          <p:nvPr/>
        </p:nvSpPr>
        <p:spPr>
          <a:xfrm>
            <a:off x="9056544" y="3970533"/>
            <a:ext cx="2603014" cy="3600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2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ilier IV</a:t>
            </a:r>
          </a:p>
        </p:txBody>
      </p:sp>
      <p:pic>
        <p:nvPicPr>
          <p:cNvPr id="5" name="CustomIcon">
            <a:extLst>
              <a:ext uri="{FF2B5EF4-FFF2-40B4-BE49-F238E27FC236}">
                <a16:creationId xmlns:a16="http://schemas.microsoft.com/office/drawing/2014/main" id="{D3FE9260-FD53-4091-8753-F08ECA7B0914}"/>
              </a:ext>
            </a:extLst>
          </p:cNvPr>
          <p:cNvPicPr>
            <a:picLocks noChangeAspect="1"/>
          </p:cNvPicPr>
          <p:nvPr>
            <p:custDataLst>
              <p:tags r:id="rId4"/>
            </p:custDataLst>
          </p:nvPr>
        </p:nvPicPr>
        <p:blipFill>
          <a:blip r:embed="rId22">
            <a:extLst>
              <a:ext uri="{96DAC541-7B7A-43D3-8B79-37D633B846F1}">
                <asvg:svgBlip xmlns:asvg="http://schemas.microsoft.com/office/drawing/2016/SVG/main" r:embed="rId23"/>
              </a:ext>
            </a:extLst>
          </a:blip>
          <a:stretch>
            <a:fillRect/>
          </a:stretch>
        </p:blipFill>
        <p:spPr>
          <a:xfrm>
            <a:off x="2429679" y="3556458"/>
            <a:ext cx="756000" cy="756000"/>
          </a:xfrm>
          <a:prstGeom prst="rect">
            <a:avLst/>
          </a:prstGeom>
        </p:spPr>
      </p:pic>
      <p:pic>
        <p:nvPicPr>
          <p:cNvPr id="8" name="CustomIcon">
            <a:extLst>
              <a:ext uri="{FF2B5EF4-FFF2-40B4-BE49-F238E27FC236}">
                <a16:creationId xmlns:a16="http://schemas.microsoft.com/office/drawing/2014/main" id="{37A7F188-1451-499F-96FC-30D199ED19EC}"/>
              </a:ext>
            </a:extLst>
          </p:cNvPr>
          <p:cNvPicPr>
            <a:picLocks noChangeAspect="1"/>
          </p:cNvPicPr>
          <p:nvPr>
            <p:custDataLst>
              <p:tags r:id="rId5"/>
            </p:custDataLst>
          </p:nvPr>
        </p:nvPicPr>
        <p:blipFill>
          <a:blip r:embed="rId24">
            <a:extLst>
              <a:ext uri="{96DAC541-7B7A-43D3-8B79-37D633B846F1}">
                <asvg:svgBlip xmlns:asvg="http://schemas.microsoft.com/office/drawing/2016/SVG/main" r:embed="rId25"/>
              </a:ext>
            </a:extLst>
          </a:blip>
          <a:stretch>
            <a:fillRect/>
          </a:stretch>
        </p:blipFill>
        <p:spPr>
          <a:xfrm>
            <a:off x="5161865" y="3547489"/>
            <a:ext cx="756000" cy="756000"/>
          </a:xfrm>
          <a:prstGeom prst="rect">
            <a:avLst/>
          </a:prstGeom>
        </p:spPr>
      </p:pic>
      <p:pic>
        <p:nvPicPr>
          <p:cNvPr id="10" name="CustomIcon">
            <a:extLst>
              <a:ext uri="{FF2B5EF4-FFF2-40B4-BE49-F238E27FC236}">
                <a16:creationId xmlns:a16="http://schemas.microsoft.com/office/drawing/2014/main" id="{4801C3E3-3499-41FC-95A3-F9F5B3DE4713}"/>
              </a:ext>
            </a:extLst>
          </p:cNvPr>
          <p:cNvPicPr>
            <a:picLocks noChangeAspect="1"/>
          </p:cNvPicPr>
          <p:nvPr>
            <p:custDataLst>
              <p:tags r:id="rId6"/>
            </p:custDataLst>
          </p:nvPr>
        </p:nvPicPr>
        <p:blipFill>
          <a:blip r:embed="rId26">
            <a:extLst>
              <a:ext uri="{96DAC541-7B7A-43D3-8B79-37D633B846F1}">
                <asvg:svgBlip xmlns:asvg="http://schemas.microsoft.com/office/drawing/2016/SVG/main" r:embed="rId27"/>
              </a:ext>
            </a:extLst>
          </a:blip>
          <a:stretch>
            <a:fillRect/>
          </a:stretch>
        </p:blipFill>
        <p:spPr>
          <a:xfrm>
            <a:off x="7894052" y="3547489"/>
            <a:ext cx="756000" cy="756000"/>
          </a:xfrm>
          <a:prstGeom prst="rect">
            <a:avLst/>
          </a:prstGeom>
        </p:spPr>
      </p:pic>
      <p:pic>
        <p:nvPicPr>
          <p:cNvPr id="14" name="CustomIcon">
            <a:extLst>
              <a:ext uri="{FF2B5EF4-FFF2-40B4-BE49-F238E27FC236}">
                <a16:creationId xmlns:a16="http://schemas.microsoft.com/office/drawing/2014/main" id="{EA9C64B5-1A28-424B-B33F-60AA5E05F8A8}"/>
              </a:ext>
            </a:extLst>
          </p:cNvPr>
          <p:cNvPicPr>
            <a:picLocks noChangeAspect="1"/>
          </p:cNvPicPr>
          <p:nvPr>
            <p:custDataLst>
              <p:tags r:id="rId7"/>
            </p:custDataLst>
          </p:nvPr>
        </p:nvPicPr>
        <p:blipFill>
          <a:blip r:embed="rId28">
            <a:extLst>
              <a:ext uri="{96DAC541-7B7A-43D3-8B79-37D633B846F1}">
                <asvg:svgBlip xmlns:asvg="http://schemas.microsoft.com/office/drawing/2016/SVG/main" r:embed="rId29"/>
              </a:ext>
            </a:extLst>
          </a:blip>
          <a:stretch>
            <a:fillRect/>
          </a:stretch>
        </p:blipFill>
        <p:spPr>
          <a:xfrm>
            <a:off x="10626238" y="3547489"/>
            <a:ext cx="756000" cy="756000"/>
          </a:xfrm>
          <a:prstGeom prst="rect">
            <a:avLst/>
          </a:prstGeom>
        </p:spPr>
      </p:pic>
      <p:sp>
        <p:nvSpPr>
          <p:cNvPr id="26" name="Freeform 6">
            <a:extLst>
              <a:ext uri="{FF2B5EF4-FFF2-40B4-BE49-F238E27FC236}">
                <a16:creationId xmlns:a16="http://schemas.microsoft.com/office/drawing/2014/main" id="{A1B6A389-5972-4663-8A04-B053A4A6F5E6}"/>
              </a:ext>
            </a:extLst>
          </p:cNvPr>
          <p:cNvSpPr>
            <a:spLocks/>
          </p:cNvSpPr>
          <p:nvPr>
            <p:custDataLst>
              <p:tags r:id="rId8"/>
            </p:custDataLst>
          </p:nvPr>
        </p:nvSpPr>
        <p:spPr bwMode="gray">
          <a:xfrm>
            <a:off x="6176218" y="2873966"/>
            <a:ext cx="2730691" cy="1623050"/>
          </a:xfrm>
          <a:prstGeom prst="rect">
            <a:avLst/>
          </a:prstGeom>
          <a:solidFill>
            <a:schemeClr val="bg1">
              <a:lumMod val="95000"/>
              <a:alpha val="6980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7432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dirty="0">
              <a:ln>
                <a:noFill/>
              </a:ln>
              <a:solidFill>
                <a:srgbClr val="FFFFFF"/>
              </a:solidFill>
              <a:effectLst/>
              <a:uLnTx/>
              <a:uFillTx/>
              <a:latin typeface="Georgia"/>
              <a:ea typeface="+mn-ea"/>
              <a:cs typeface="+mn-cs"/>
            </a:endParaRPr>
          </a:p>
        </p:txBody>
      </p:sp>
      <p:sp>
        <p:nvSpPr>
          <p:cNvPr id="25" name="TextBox 24">
            <a:extLst>
              <a:ext uri="{FF2B5EF4-FFF2-40B4-BE49-F238E27FC236}">
                <a16:creationId xmlns:a16="http://schemas.microsoft.com/office/drawing/2014/main" id="{EC33B1CD-F81A-45E8-A6E6-6F8DA5CA4450}"/>
              </a:ext>
            </a:extLst>
          </p:cNvPr>
          <p:cNvSpPr txBox="1">
            <a:spLocks/>
          </p:cNvSpPr>
          <p:nvPr>
            <p:custDataLst>
              <p:tags r:id="rId9"/>
            </p:custDataLst>
          </p:nvPr>
        </p:nvSpPr>
        <p:spPr>
          <a:xfrm>
            <a:off x="670258" y="1509947"/>
            <a:ext cx="11076930" cy="8463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ZA" sz="15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LL est un partenariat audacieux entre Africa CDC et Mastercard Foundation qui permettra</a:t>
            </a:r>
            <a:r>
              <a:rPr kumimoji="0" lang="en-ZA" sz="2000" b="1" i="0" u="none" strike="noStrike" kern="1200" cap="none" spc="0" normalizeH="0" baseline="0" noProof="0" dirty="0">
                <a:ln>
                  <a:noFill/>
                </a:ln>
                <a:solidFill>
                  <a:srgbClr val="119A48"/>
                </a:solidFill>
                <a:effectLst/>
                <a:uLnTx/>
                <a:uFillTx/>
                <a:latin typeface="Arial"/>
                <a:ea typeface="+mn-ea"/>
                <a:cs typeface="Arial" panose="020B0604020202020204" pitchFamily="34" charset="0"/>
              </a:rPr>
              <a:t>investir 1,5 milliard de dollars pour accélérer la vaccination contre la COVID-19 en Afrique et soutenir la sécurité sanitaire à long terme du continent</a:t>
            </a:r>
            <a:r>
              <a:rPr kumimoji="0" lang="en-ZA" sz="15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en se concentrant sur quatre piliers :</a:t>
            </a:r>
          </a:p>
        </p:txBody>
      </p:sp>
      <p:cxnSp>
        <p:nvCxnSpPr>
          <p:cNvPr id="13" name="Connector: Elbow 12">
            <a:extLst>
              <a:ext uri="{FF2B5EF4-FFF2-40B4-BE49-F238E27FC236}">
                <a16:creationId xmlns:a16="http://schemas.microsoft.com/office/drawing/2014/main" id="{A8CA8C80-AA44-4B3C-A7E3-47532C3B0200}"/>
              </a:ext>
            </a:extLst>
          </p:cNvPr>
          <p:cNvCxnSpPr>
            <a:cxnSpLocks/>
            <a:stCxn id="47" idx="2"/>
            <a:endCxn id="46" idx="0"/>
          </p:cNvCxnSpPr>
          <p:nvPr/>
        </p:nvCxnSpPr>
        <p:spPr>
          <a:xfrm rot="16200000" flipH="1">
            <a:off x="5913178" y="4467618"/>
            <a:ext cx="465731" cy="2575241"/>
          </a:xfrm>
          <a:prstGeom prst="bentConnector3">
            <a:avLst>
              <a:gd name="adj1" fmla="val 50000"/>
            </a:avLst>
          </a:prstGeom>
          <a:ln w="12700" cap="flat">
            <a:solidFill>
              <a:schemeClr val="accent1"/>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D4196F7-1888-4800-89FD-FFB1CAEC2EE8}"/>
              </a:ext>
            </a:extLst>
          </p:cNvPr>
          <p:cNvCxnSpPr>
            <a:cxnSpLocks/>
            <a:stCxn id="48" idx="2"/>
            <a:endCxn id="46" idx="0"/>
          </p:cNvCxnSpPr>
          <p:nvPr/>
        </p:nvCxnSpPr>
        <p:spPr>
          <a:xfrm rot="5400000">
            <a:off x="8638596" y="4317442"/>
            <a:ext cx="465731" cy="2875594"/>
          </a:xfrm>
          <a:prstGeom prst="bentConnector3">
            <a:avLst>
              <a:gd name="adj1" fmla="val 50000"/>
            </a:avLst>
          </a:prstGeom>
          <a:ln w="12700" cap="flat">
            <a:solidFill>
              <a:schemeClr val="accent1"/>
            </a:solidFill>
            <a:prstDash val="sysDash"/>
            <a:round/>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3. Subtitle">
            <a:extLst>
              <a:ext uri="{FF2B5EF4-FFF2-40B4-BE49-F238E27FC236}">
                <a16:creationId xmlns:a16="http://schemas.microsoft.com/office/drawing/2014/main" id="{0A07711D-41F2-40AA-BDE1-C26DCFDDC8DF}"/>
              </a:ext>
            </a:extLst>
          </p:cNvPr>
          <p:cNvSpPr txBox="1">
            <a:spLocks/>
          </p:cNvSpPr>
          <p:nvPr>
            <p:custDataLst>
              <p:tags r:id="rId10"/>
            </p:custDataLst>
          </p:nvPr>
        </p:nvSpPr>
        <p:spPr>
          <a:xfrm>
            <a:off x="5019039" y="5988105"/>
            <a:ext cx="482924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Votre rôle se concentrera sur les piliers II et IV</a:t>
            </a:r>
          </a:p>
        </p:txBody>
      </p:sp>
      <p:sp>
        <p:nvSpPr>
          <p:cNvPr id="47" name="Rectangle: Rounded Corners 46">
            <a:extLst>
              <a:ext uri="{FF2B5EF4-FFF2-40B4-BE49-F238E27FC236}">
                <a16:creationId xmlns:a16="http://schemas.microsoft.com/office/drawing/2014/main" id="{0F91C84A-9449-419E-8D47-C8D9F95C511E}"/>
              </a:ext>
            </a:extLst>
          </p:cNvPr>
          <p:cNvSpPr/>
          <p:nvPr/>
        </p:nvSpPr>
        <p:spPr>
          <a:xfrm>
            <a:off x="3508123" y="5476655"/>
            <a:ext cx="2700600" cy="45719"/>
          </a:xfrm>
          <a:prstGeom prst="roundRect">
            <a:avLst>
              <a:gd name="adj" fmla="val 50000"/>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48" name="Rectangle: Rounded Corners 47">
            <a:extLst>
              <a:ext uri="{FF2B5EF4-FFF2-40B4-BE49-F238E27FC236}">
                <a16:creationId xmlns:a16="http://schemas.microsoft.com/office/drawing/2014/main" id="{58881B75-E5FA-4F6F-AA25-A6AFB27D9DE4}"/>
              </a:ext>
            </a:extLst>
          </p:cNvPr>
          <p:cNvSpPr/>
          <p:nvPr/>
        </p:nvSpPr>
        <p:spPr>
          <a:xfrm>
            <a:off x="8958958" y="5476655"/>
            <a:ext cx="2700600" cy="45719"/>
          </a:xfrm>
          <a:prstGeom prst="roundRect">
            <a:avLst>
              <a:gd name="adj" fmla="val 50000"/>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40084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09612D7-589A-4B35-BB58-AA3BF9C477CB}"/>
              </a:ext>
            </a:extLst>
          </p:cNvPr>
          <p:cNvGraphicFramePr>
            <a:graphicFrameLocks noChangeAspect="1"/>
          </p:cNvGraphicFramePr>
          <p:nvPr>
            <p:custDataLst>
              <p:tags r:id="rId1"/>
            </p:custDataLst>
            <p:extLst>
              <p:ext uri="{D42A27DB-BD31-4B8C-83A1-F6EECF244321}">
                <p14:modId xmlns:p14="http://schemas.microsoft.com/office/powerpoint/2010/main" val="3895586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92" imgH="595" progId="TCLayout.ActiveDocument.1">
                  <p:embed/>
                </p:oleObj>
              </mc:Choice>
              <mc:Fallback>
                <p:oleObj name="think-cell Slide" r:id="rId28" imgW="592" imgH="595" progId="TCLayout.ActiveDocument.1">
                  <p:embed/>
                  <p:pic>
                    <p:nvPicPr>
                      <p:cNvPr id="6" name="Object 6" hidden="1">
                        <a:extLst>
                          <a:ext uri="{FF2B5EF4-FFF2-40B4-BE49-F238E27FC236}">
                            <a16:creationId xmlns:a16="http://schemas.microsoft.com/office/drawing/2014/main" id="{309612D7-589A-4B35-BB58-AA3BF9C477C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22EDC962-56CD-44E9-9BCC-8D9A545494A5}"/>
              </a:ext>
            </a:extLst>
          </p:cNvPr>
          <p:cNvSpPr>
            <a:spLocks noGrp="1"/>
          </p:cNvSpPr>
          <p:nvPr>
            <p:ph type="title"/>
            <p:custDataLst>
              <p:tags r:id="rId2"/>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lgn="l" rtl="0"/>
            <a:r>
              <a:rPr lang="en-IN" dirty="0"/>
              <a:t>SLL, en partenariat avec les partenaires de mise en œuvre,</a:t>
            </a:r>
            <a:r>
              <a:rPr lang="en-ZA" dirty="0"/>
              <a:t>fournit aux États membres de l’UA un soutien supplémentaire dans</a:t>
            </a:r>
            <a:r>
              <a:rPr lang="en-IN" dirty="0"/>
              <a:t>10 domaines d'assistance</a:t>
            </a:r>
            <a:endParaRPr lang="en-US" dirty="0"/>
          </a:p>
        </p:txBody>
      </p:sp>
      <p:sp>
        <p:nvSpPr>
          <p:cNvPr id="8" name="TrackerNumWhite 68">
            <a:extLst>
              <a:ext uri="{FF2B5EF4-FFF2-40B4-BE49-F238E27FC236}">
                <a16:creationId xmlns:a16="http://schemas.microsoft.com/office/drawing/2014/main" id="{EF59ED57-9757-4289-A527-877AF9E10C19}"/>
              </a:ext>
            </a:extLst>
          </p:cNvPr>
          <p:cNvSpPr>
            <a:spLocks/>
          </p:cNvSpPr>
          <p:nvPr>
            <p:custDataLst>
              <p:tags r:id="rId3"/>
            </p:custDataLst>
          </p:nvPr>
        </p:nvSpPr>
        <p:spPr>
          <a:xfrm>
            <a:off x="2823519" y="1403588"/>
            <a:ext cx="234726" cy="23472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kumimoji="0" lang="en-GB" sz="2800" b="1" i="0" u="none" strike="noStrike" kern="1200" cap="none" spc="0" normalizeH="0" baseline="0" noProof="0" dirty="0">
                <a:ln>
                  <a:noFill/>
                </a:ln>
                <a:solidFill>
                  <a:srgbClr val="119A48"/>
                </a:solidFill>
                <a:effectLst/>
                <a:uLnTx/>
                <a:uFillTx/>
                <a:latin typeface="Arial"/>
                <a:ea typeface="+mn-ea"/>
                <a:cs typeface="+mn-cs"/>
              </a:rPr>
              <a:t>2</a:t>
            </a:r>
          </a:p>
        </p:txBody>
      </p:sp>
      <p:sp>
        <p:nvSpPr>
          <p:cNvPr id="9" name="TextBox 8">
            <a:extLst>
              <a:ext uri="{FF2B5EF4-FFF2-40B4-BE49-F238E27FC236}">
                <a16:creationId xmlns:a16="http://schemas.microsoft.com/office/drawing/2014/main" id="{D7289DCD-9B5D-4E08-8C4A-CB9FE26796AB}"/>
              </a:ext>
            </a:extLst>
          </p:cNvPr>
          <p:cNvSpPr txBox="1">
            <a:spLocks/>
          </p:cNvSpPr>
          <p:nvPr/>
        </p:nvSpPr>
        <p:spPr>
          <a:xfrm>
            <a:off x="2920984" y="1771209"/>
            <a:ext cx="2007395"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ogistique sur place</a:t>
            </a:r>
            <a:endPar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 name="TextBox 9">
            <a:extLst>
              <a:ext uri="{FF2B5EF4-FFF2-40B4-BE49-F238E27FC236}">
                <a16:creationId xmlns:a16="http://schemas.microsoft.com/office/drawing/2014/main" id="{D1EBC1EE-2CB4-4BD0-87D3-DF9A7D67EE07}"/>
              </a:ext>
            </a:extLst>
          </p:cNvPr>
          <p:cNvSpPr txBox="1">
            <a:spLocks/>
          </p:cNvSpPr>
          <p:nvPr/>
        </p:nvSpPr>
        <p:spPr>
          <a:xfrm>
            <a:off x="2751373" y="2048450"/>
            <a:ext cx="2007395"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Gérer et surveiller la logistique nationale des vaccins et des produits auxiliaires</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Stocker, reconditionner et distribuer des vaccins et des consommables auxiliaires</a:t>
            </a:r>
          </a:p>
          <a:p>
            <a:pPr marL="0" marR="0" lvl="0" indent="0" algn="l" defTabSz="914400" rtl="0" eaLnBrk="1" fontAlgn="auto" latinLnBrk="0" hangingPunct="1">
              <a:lnSpc>
                <a:spcPct val="100000"/>
              </a:lnSpc>
              <a:spcBef>
                <a:spcPts val="0"/>
              </a:spcBef>
              <a:spcAft>
                <a:spcPts val="300"/>
              </a:spcAft>
              <a:buClr>
                <a:srgbClr val="000000"/>
              </a:buClr>
              <a:buSzPct val="100000"/>
              <a:buFont typeface="Segoe UI" panose="020B0502040204020203" pitchFamily="34" charset="0"/>
              <a:buChar char="​"/>
              <a:tabLst/>
              <a:defRPr/>
            </a:pPr>
            <a:r>
              <a:rPr kumimoji="0" lang="en-GB" sz="1000" b="0" i="0" u="none" strike="noStrike" kern="1200" cap="none" spc="-20" normalizeH="0" baseline="0" noProof="0" dirty="0">
                <a:ln>
                  <a:noFill/>
                </a:ln>
                <a:solidFill>
                  <a:srgbClr val="000000"/>
                </a:solidFill>
                <a:effectLst/>
                <a:uLnTx/>
                <a:uFillTx/>
                <a:latin typeface="Arial"/>
                <a:ea typeface="+mn-ea"/>
                <a:cs typeface="Arial" panose="020B0604020202020204" pitchFamily="34" charset="0"/>
              </a:rPr>
              <a:t>Assurer les systèmes et les outils nécessaires à la gestion de la chaîne d’approvisionnement en vaccins.</a:t>
            </a:r>
            <a:br>
              <a:rPr kumimoji="0" lang="en-GB" sz="1000" b="0" i="0" u="none" strike="noStrike" kern="1200" cap="none" spc="-20" normalizeH="0" baseline="0" noProof="0" dirty="0">
                <a:ln>
                  <a:noFill/>
                </a:ln>
                <a:solidFill>
                  <a:srgbClr val="000000"/>
                </a:solidFill>
                <a:effectLst/>
                <a:uLnTx/>
                <a:uFillTx/>
                <a:latin typeface="Arial"/>
                <a:ea typeface="+mn-ea"/>
                <a:cs typeface="Arial" panose="020B0604020202020204" pitchFamily="34" charset="0"/>
              </a:rPr>
            </a:br>
            <a:r>
              <a:rPr kumimoji="0" lang="en-GB" sz="1000" b="0" i="0" u="none" strike="noStrike" kern="1200" cap="none" spc="-20" normalizeH="0" baseline="0" noProof="0" dirty="0">
                <a:ln>
                  <a:noFill/>
                </a:ln>
                <a:solidFill>
                  <a:srgbClr val="000000"/>
                </a:solidFill>
                <a:effectLst/>
                <a:uLnTx/>
                <a:uFillTx/>
                <a:latin typeface="Arial"/>
                <a:ea typeface="+mn-ea"/>
                <a:cs typeface="Arial" panose="020B0604020202020204" pitchFamily="34" charset="0"/>
              </a:rPr>
              <a:t>sont en place</a:t>
            </a:r>
          </a:p>
        </p:txBody>
      </p:sp>
      <p:sp>
        <p:nvSpPr>
          <p:cNvPr id="11" name="TrackerNumWhite 68">
            <a:extLst>
              <a:ext uri="{FF2B5EF4-FFF2-40B4-BE49-F238E27FC236}">
                <a16:creationId xmlns:a16="http://schemas.microsoft.com/office/drawing/2014/main" id="{E3A0A3D9-4442-4CA4-99E1-517F1D237872}"/>
              </a:ext>
            </a:extLst>
          </p:cNvPr>
          <p:cNvSpPr>
            <a:spLocks/>
          </p:cNvSpPr>
          <p:nvPr>
            <p:custDataLst>
              <p:tags r:id="rId4"/>
            </p:custDataLst>
          </p:nvPr>
        </p:nvSpPr>
        <p:spPr>
          <a:xfrm>
            <a:off x="2823519" y="3880763"/>
            <a:ext cx="234726" cy="23472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kumimoji="0" lang="en-GB" sz="2800" b="1" i="0" u="none" strike="noStrike" kern="1200" cap="none" spc="0" normalizeH="0" baseline="0" noProof="0" dirty="0">
                <a:ln>
                  <a:noFill/>
                </a:ln>
                <a:solidFill>
                  <a:srgbClr val="911C39"/>
                </a:solidFill>
                <a:effectLst/>
                <a:uLnTx/>
                <a:uFillTx/>
                <a:latin typeface="Arial"/>
                <a:ea typeface="+mn-ea"/>
                <a:cs typeface="+mn-cs"/>
              </a:rPr>
              <a:t>7</a:t>
            </a:r>
          </a:p>
        </p:txBody>
      </p:sp>
      <p:sp>
        <p:nvSpPr>
          <p:cNvPr id="12" name="TextBox 11">
            <a:extLst>
              <a:ext uri="{FF2B5EF4-FFF2-40B4-BE49-F238E27FC236}">
                <a16:creationId xmlns:a16="http://schemas.microsoft.com/office/drawing/2014/main" id="{1929BB20-8DA7-48E2-BA49-90976D2E8FAF}"/>
              </a:ext>
            </a:extLst>
          </p:cNvPr>
          <p:cNvSpPr txBox="1">
            <a:spLocks/>
          </p:cNvSpPr>
          <p:nvPr/>
        </p:nvSpPr>
        <p:spPr>
          <a:xfrm>
            <a:off x="2823519" y="4411688"/>
            <a:ext cx="2007395" cy="369332"/>
          </a:xfrm>
          <a:prstGeom prst="rect">
            <a:avLst/>
          </a:prstGeom>
        </p:spPr>
        <p:txBody>
          <a:bodyPr vert="horz" wrap="square"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9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sistance technique</a:t>
            </a:r>
            <a:b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ux pays</a:t>
            </a:r>
            <a:endPar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3" name="TextBox 12">
            <a:extLst>
              <a:ext uri="{FF2B5EF4-FFF2-40B4-BE49-F238E27FC236}">
                <a16:creationId xmlns:a16="http://schemas.microsoft.com/office/drawing/2014/main" id="{7587B480-575D-4F5E-AF15-78A117778E42}"/>
              </a:ext>
            </a:extLst>
          </p:cNvPr>
          <p:cNvSpPr txBox="1">
            <a:spLocks/>
          </p:cNvSpPr>
          <p:nvPr/>
        </p:nvSpPr>
        <p:spPr>
          <a:xfrm>
            <a:off x="2823519" y="4800694"/>
            <a:ext cx="2007395" cy="10387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ssurer des stratégies et des micro-plans solides</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ssurer une mise en œuvre réussie</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ssurer des mécanismes de gouvernance solides</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Gérer les performances</a:t>
            </a:r>
          </a:p>
        </p:txBody>
      </p:sp>
      <p:sp>
        <p:nvSpPr>
          <p:cNvPr id="14" name="TrackerNumWhite 68">
            <a:extLst>
              <a:ext uri="{FF2B5EF4-FFF2-40B4-BE49-F238E27FC236}">
                <a16:creationId xmlns:a16="http://schemas.microsoft.com/office/drawing/2014/main" id="{FA273ABE-5091-41C0-9371-500D1CB479DF}"/>
              </a:ext>
            </a:extLst>
          </p:cNvPr>
          <p:cNvSpPr>
            <a:spLocks/>
          </p:cNvSpPr>
          <p:nvPr>
            <p:custDataLst>
              <p:tags r:id="rId5"/>
            </p:custDataLst>
          </p:nvPr>
        </p:nvSpPr>
        <p:spPr>
          <a:xfrm>
            <a:off x="7361085" y="1403588"/>
            <a:ext cx="234726" cy="23472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GB" sz="2800" b="1" i="0" u="none" strike="noStrike" kern="1200" cap="none" spc="0" normalizeH="0" baseline="0" noProof="0" dirty="0">
                <a:ln>
                  <a:noFill/>
                </a:ln>
                <a:solidFill>
                  <a:srgbClr val="119A48"/>
                </a:solidFill>
                <a:effectLst/>
                <a:uLnTx/>
                <a:uFillTx/>
                <a:latin typeface="Arial"/>
                <a:ea typeface="+mn-ea"/>
                <a:cs typeface="+mn-cs"/>
              </a:rPr>
              <a:t>4</a:t>
            </a:r>
          </a:p>
        </p:txBody>
      </p:sp>
      <p:sp>
        <p:nvSpPr>
          <p:cNvPr id="15" name="TextBox 14">
            <a:extLst>
              <a:ext uri="{FF2B5EF4-FFF2-40B4-BE49-F238E27FC236}">
                <a16:creationId xmlns:a16="http://schemas.microsoft.com/office/drawing/2014/main" id="{28BD20C3-37C2-4CA6-BB5E-7AB95CCB4461}"/>
              </a:ext>
            </a:extLst>
          </p:cNvPr>
          <p:cNvSpPr txBox="1">
            <a:spLocks/>
          </p:cNvSpPr>
          <p:nvPr/>
        </p:nvSpPr>
        <p:spPr>
          <a:xfrm>
            <a:off x="7361085" y="1764094"/>
            <a:ext cx="2007395" cy="369332"/>
          </a:xfrm>
          <a:prstGeom prst="rect">
            <a:avLst/>
          </a:prstGeom>
        </p:spPr>
        <p:txBody>
          <a:bodyPr vert="horz" wrap="square"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9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GB" sz="1200" b="1" i="0" u="none" strike="noStrike" kern="1200" cap="none" spc="0" normalizeH="0" baseline="0" noProof="0" dirty="0">
                <a:ln>
                  <a:noFill/>
                </a:ln>
                <a:solidFill>
                  <a:srgbClr val="AFC3FF">
                    <a:lumMod val="10000"/>
                  </a:srgbClr>
                </a:solidFill>
                <a:effectLst/>
                <a:uLnTx/>
                <a:uFillTx/>
                <a:latin typeface="Arial"/>
                <a:ea typeface="+mn-ea"/>
                <a:cs typeface="Arial" panose="020B0604020202020204" pitchFamily="34" charset="0"/>
              </a:rPr>
              <a:t>Centres de vaccination contre la COVID-19 (CVC)</a:t>
            </a:r>
            <a:endPar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 name="TextBox 15">
            <a:extLst>
              <a:ext uri="{FF2B5EF4-FFF2-40B4-BE49-F238E27FC236}">
                <a16:creationId xmlns:a16="http://schemas.microsoft.com/office/drawing/2014/main" id="{69FAA2E4-EC42-4C23-AAD6-3CD1AD4CC551}"/>
              </a:ext>
            </a:extLst>
          </p:cNvPr>
          <p:cNvSpPr txBox="1">
            <a:spLocks/>
          </p:cNvSpPr>
          <p:nvPr/>
        </p:nvSpPr>
        <p:spPr>
          <a:xfrm>
            <a:off x="7361085" y="2321444"/>
            <a:ext cx="2007395" cy="6924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Créer de nouveaux CVC et étendre les CVC existants</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Embaucher, former et gérer le personnel du CVC</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cheter des fournitures CVC</a:t>
            </a:r>
          </a:p>
        </p:txBody>
      </p:sp>
      <p:sp>
        <p:nvSpPr>
          <p:cNvPr id="17" name="TrackerNumWhite 68">
            <a:extLst>
              <a:ext uri="{FF2B5EF4-FFF2-40B4-BE49-F238E27FC236}">
                <a16:creationId xmlns:a16="http://schemas.microsoft.com/office/drawing/2014/main" id="{CA0483AB-23AA-41E8-A282-3D503C708E94}"/>
              </a:ext>
            </a:extLst>
          </p:cNvPr>
          <p:cNvSpPr>
            <a:spLocks/>
          </p:cNvSpPr>
          <p:nvPr>
            <p:custDataLst>
              <p:tags r:id="rId6"/>
            </p:custDataLst>
          </p:nvPr>
        </p:nvSpPr>
        <p:spPr>
          <a:xfrm>
            <a:off x="7361085" y="3880763"/>
            <a:ext cx="234726" cy="23472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kumimoji="0" lang="en-GB" sz="2800" b="1" i="0" u="none" strike="noStrike" kern="1200" cap="none" spc="0" normalizeH="0" baseline="0" noProof="0" dirty="0">
                <a:ln>
                  <a:noFill/>
                </a:ln>
                <a:solidFill>
                  <a:srgbClr val="911C39"/>
                </a:solidFill>
                <a:effectLst/>
                <a:uLnTx/>
                <a:uFillTx/>
                <a:latin typeface="Arial"/>
                <a:ea typeface="+mn-ea"/>
                <a:cs typeface="+mn-cs"/>
              </a:rPr>
              <a:t>9</a:t>
            </a:r>
          </a:p>
        </p:txBody>
      </p:sp>
      <p:sp>
        <p:nvSpPr>
          <p:cNvPr id="18" name="TextBox 17">
            <a:extLst>
              <a:ext uri="{FF2B5EF4-FFF2-40B4-BE49-F238E27FC236}">
                <a16:creationId xmlns:a16="http://schemas.microsoft.com/office/drawing/2014/main" id="{849DB123-6DE0-4863-A9EC-109793E57F5D}"/>
              </a:ext>
            </a:extLst>
          </p:cNvPr>
          <p:cNvSpPr txBox="1">
            <a:spLocks/>
          </p:cNvSpPr>
          <p:nvPr/>
        </p:nvSpPr>
        <p:spPr>
          <a:xfrm>
            <a:off x="7361085" y="4411688"/>
            <a:ext cx="2007395" cy="184666"/>
          </a:xfrm>
          <a:prstGeom prst="rect">
            <a:avLst/>
          </a:prstGeom>
        </p:spPr>
        <p:txBody>
          <a:bodyPr vert="horz" wrap="square"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9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mbauche du personnel du programme</a:t>
            </a:r>
          </a:p>
        </p:txBody>
      </p:sp>
      <p:sp>
        <p:nvSpPr>
          <p:cNvPr id="19" name="TextBox 18">
            <a:extLst>
              <a:ext uri="{FF2B5EF4-FFF2-40B4-BE49-F238E27FC236}">
                <a16:creationId xmlns:a16="http://schemas.microsoft.com/office/drawing/2014/main" id="{9D3649B1-A444-4AEF-BAAD-AF367041E5A5}"/>
              </a:ext>
            </a:extLst>
          </p:cNvPr>
          <p:cNvSpPr txBox="1">
            <a:spLocks/>
          </p:cNvSpPr>
          <p:nvPr/>
        </p:nvSpPr>
        <p:spPr>
          <a:xfrm>
            <a:off x="7361085" y="4800694"/>
            <a:ext cx="2007395" cy="119263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Examiner les documents de recrutement élaborés</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Faites de la publicité et filtrez vos positions sur la plateforme du réseau partenaire</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Soutenir les processus d'entrevue et de sélection</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20" normalizeH="0" baseline="0" noProof="0" dirty="0">
                <a:ln>
                  <a:noFill/>
                </a:ln>
                <a:solidFill>
                  <a:srgbClr val="000000"/>
                </a:solidFill>
                <a:effectLst/>
                <a:uLnTx/>
                <a:uFillTx/>
                <a:latin typeface="Arial"/>
                <a:ea typeface="+mn-ea"/>
                <a:cs typeface="+mn-cs"/>
              </a:rPr>
              <a:t>Gérer les contrats des nouveaux employés</a:t>
            </a:r>
          </a:p>
        </p:txBody>
      </p:sp>
      <p:sp>
        <p:nvSpPr>
          <p:cNvPr id="20" name="TrackerNumWhite 68">
            <a:extLst>
              <a:ext uri="{FF2B5EF4-FFF2-40B4-BE49-F238E27FC236}">
                <a16:creationId xmlns:a16="http://schemas.microsoft.com/office/drawing/2014/main" id="{4188D64D-6011-4DAE-8EC2-72C1905C0FDF}"/>
              </a:ext>
            </a:extLst>
          </p:cNvPr>
          <p:cNvSpPr>
            <a:spLocks/>
          </p:cNvSpPr>
          <p:nvPr>
            <p:custDataLst>
              <p:tags r:id="rId7"/>
            </p:custDataLst>
          </p:nvPr>
        </p:nvSpPr>
        <p:spPr>
          <a:xfrm>
            <a:off x="9629869" y="1403588"/>
            <a:ext cx="234726" cy="23472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GB" sz="2800" b="1" i="0" u="none" strike="noStrike" kern="1200" cap="none" spc="0" normalizeH="0" baseline="0" noProof="0" dirty="0">
                <a:ln>
                  <a:noFill/>
                </a:ln>
                <a:solidFill>
                  <a:srgbClr val="119A48"/>
                </a:solidFill>
                <a:effectLst/>
                <a:uLnTx/>
                <a:uFillTx/>
                <a:latin typeface="Arial"/>
                <a:ea typeface="+mn-ea"/>
                <a:cs typeface="+mn-cs"/>
              </a:rPr>
              <a:t>5</a:t>
            </a:r>
          </a:p>
        </p:txBody>
      </p:sp>
      <p:sp>
        <p:nvSpPr>
          <p:cNvPr id="21" name="TextBox 20">
            <a:extLst>
              <a:ext uri="{FF2B5EF4-FFF2-40B4-BE49-F238E27FC236}">
                <a16:creationId xmlns:a16="http://schemas.microsoft.com/office/drawing/2014/main" id="{28122046-7AE9-4B42-A2D0-2CDEED00F362}"/>
              </a:ext>
            </a:extLst>
          </p:cNvPr>
          <p:cNvSpPr txBox="1">
            <a:spLocks/>
          </p:cNvSpPr>
          <p:nvPr/>
        </p:nvSpPr>
        <p:spPr>
          <a:xfrm>
            <a:off x="9629869" y="1935290"/>
            <a:ext cx="2007395" cy="184666"/>
          </a:xfrm>
          <a:prstGeom prst="rect">
            <a:avLst/>
          </a:prstGeom>
        </p:spPr>
        <p:txBody>
          <a:bodyPr vert="horz" wrap="square"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9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GB" sz="1200" b="1" i="0" u="none" strike="noStrike" kern="1200" cap="none" spc="0" normalizeH="0" baseline="0" noProof="0" dirty="0">
                <a:ln>
                  <a:noFill/>
                </a:ln>
                <a:solidFill>
                  <a:srgbClr val="AFC3FF">
                    <a:lumMod val="10000"/>
                  </a:srgbClr>
                </a:solidFill>
                <a:effectLst/>
                <a:uLnTx/>
                <a:uFillTx/>
                <a:latin typeface="Arial"/>
                <a:ea typeface="+mn-ea"/>
                <a:cs typeface="Arial" panose="020B0604020202020204" pitchFamily="34" charset="0"/>
              </a:rPr>
              <a:t>Surveillance de sécurité</a:t>
            </a:r>
            <a:endPar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2" name="TextBox 21">
            <a:extLst>
              <a:ext uri="{FF2B5EF4-FFF2-40B4-BE49-F238E27FC236}">
                <a16:creationId xmlns:a16="http://schemas.microsoft.com/office/drawing/2014/main" id="{483ACF33-61B8-4F49-BA45-99FBA6323F3D}"/>
              </a:ext>
            </a:extLst>
          </p:cNvPr>
          <p:cNvSpPr txBox="1">
            <a:spLocks/>
          </p:cNvSpPr>
          <p:nvPr/>
        </p:nvSpPr>
        <p:spPr>
          <a:xfrm>
            <a:off x="9629869" y="2321444"/>
            <a:ext cx="2007395"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Mettre en place un système de déclaration des effets indésirables</a:t>
            </a:r>
            <a:r>
              <a:rPr kumimoji="0" lang="en-GB" sz="1000" b="0" i="0" u="none" strike="noStrike" kern="1200" cap="none" spc="0" normalizeH="0" baseline="30000" noProof="0" dirty="0">
                <a:ln>
                  <a:noFill/>
                </a:ln>
                <a:solidFill>
                  <a:srgbClr val="000000"/>
                </a:solidFill>
                <a:effectLst/>
                <a:uLnTx/>
                <a:uFillTx/>
                <a:latin typeface="Arial"/>
                <a:ea typeface="+mn-ea"/>
                <a:cs typeface="+mn-cs"/>
              </a:rPr>
              <a:t>1</a:t>
            </a:r>
            <a:r>
              <a:rPr kumimoji="0" lang="en-GB" sz="1000" b="0" i="0" u="none" strike="noStrike" kern="1200" cap="none" spc="0" normalizeH="0" baseline="0" noProof="0" dirty="0">
                <a:ln>
                  <a:noFill/>
                </a:ln>
                <a:solidFill>
                  <a:srgbClr val="000000"/>
                </a:solidFill>
                <a:effectLst/>
                <a:uLnTx/>
                <a:uFillTx/>
                <a:latin typeface="Arial"/>
                <a:ea typeface="+mn-ea"/>
                <a:cs typeface="+mn-cs"/>
              </a:rPr>
              <a:t>dans le pays</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Développer des capacités d’enquête et d’analyse aux niveaux national, régional</a:t>
            </a:r>
            <a:br>
              <a:rPr kumimoji="0" lang="en-GB" sz="1000" b="0" i="0" u="none" strike="noStrike" kern="1200" cap="none" spc="0" normalizeH="0" baseline="0" noProof="0" dirty="0">
                <a:ln>
                  <a:noFill/>
                </a:ln>
                <a:solidFill>
                  <a:srgbClr val="000000"/>
                </a:solidFill>
                <a:effectLst/>
                <a:uLnTx/>
                <a:uFillTx/>
                <a:latin typeface="Arial"/>
                <a:ea typeface="+mn-ea"/>
                <a:cs typeface="+mn-cs"/>
              </a:rPr>
            </a:br>
            <a:r>
              <a:rPr kumimoji="0" lang="en-GB" sz="1000" b="0" i="0" u="none" strike="noStrike" kern="1200" cap="none" spc="0" normalizeH="0" baseline="0" noProof="0" dirty="0">
                <a:ln>
                  <a:noFill/>
                </a:ln>
                <a:solidFill>
                  <a:srgbClr val="000000"/>
                </a:solidFill>
                <a:effectLst/>
                <a:uLnTx/>
                <a:uFillTx/>
                <a:latin typeface="Arial"/>
                <a:ea typeface="+mn-ea"/>
                <a:cs typeface="+mn-cs"/>
              </a:rPr>
              <a:t>et au niveau continental</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Mettre en place un réseau de surveillance de la sécurité</a:t>
            </a:r>
          </a:p>
        </p:txBody>
      </p:sp>
      <p:sp>
        <p:nvSpPr>
          <p:cNvPr id="23" name="TrackerNumWhite 68">
            <a:extLst>
              <a:ext uri="{FF2B5EF4-FFF2-40B4-BE49-F238E27FC236}">
                <a16:creationId xmlns:a16="http://schemas.microsoft.com/office/drawing/2014/main" id="{96FA0595-ECAE-4084-91E0-CD1225B89F34}"/>
              </a:ext>
            </a:extLst>
          </p:cNvPr>
          <p:cNvSpPr>
            <a:spLocks/>
          </p:cNvSpPr>
          <p:nvPr>
            <p:custDataLst>
              <p:tags r:id="rId8"/>
            </p:custDataLst>
          </p:nvPr>
        </p:nvSpPr>
        <p:spPr>
          <a:xfrm>
            <a:off x="9629869" y="3880763"/>
            <a:ext cx="234726" cy="23472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GB" sz="2800" b="1" i="0" u="none" strike="noStrike" kern="1200" cap="none" spc="0" normalizeH="0" baseline="0" noProof="0" dirty="0">
                <a:ln>
                  <a:noFill/>
                </a:ln>
                <a:solidFill>
                  <a:srgbClr val="119A48"/>
                </a:solidFill>
                <a:effectLst/>
                <a:uLnTx/>
                <a:uFillTx/>
                <a:latin typeface="Arial"/>
                <a:ea typeface="+mn-ea"/>
                <a:cs typeface="+mn-cs"/>
              </a:rPr>
              <a:t>10</a:t>
            </a:r>
          </a:p>
        </p:txBody>
      </p:sp>
      <p:sp>
        <p:nvSpPr>
          <p:cNvPr id="24" name="TextBox 23">
            <a:extLst>
              <a:ext uri="{FF2B5EF4-FFF2-40B4-BE49-F238E27FC236}">
                <a16:creationId xmlns:a16="http://schemas.microsoft.com/office/drawing/2014/main" id="{0CB78BEC-A08B-4AB0-811F-C2F09F431490}"/>
              </a:ext>
            </a:extLst>
          </p:cNvPr>
          <p:cNvSpPr txBox="1">
            <a:spLocks/>
          </p:cNvSpPr>
          <p:nvPr/>
        </p:nvSpPr>
        <p:spPr>
          <a:xfrm>
            <a:off x="9629869" y="4411688"/>
            <a:ext cx="2007395" cy="184666"/>
          </a:xfrm>
          <a:prstGeom prst="rect">
            <a:avLst/>
          </a:prstGeom>
        </p:spPr>
        <p:txBody>
          <a:bodyPr vert="horz" wrap="square"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9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cience de la mise en œuvre</a:t>
            </a:r>
          </a:p>
        </p:txBody>
      </p:sp>
      <p:sp>
        <p:nvSpPr>
          <p:cNvPr id="25" name="TextBox 24">
            <a:extLst>
              <a:ext uri="{FF2B5EF4-FFF2-40B4-BE49-F238E27FC236}">
                <a16:creationId xmlns:a16="http://schemas.microsoft.com/office/drawing/2014/main" id="{BDFD6862-AA44-4CCD-BFBF-A28B4A22475A}"/>
              </a:ext>
            </a:extLst>
          </p:cNvPr>
          <p:cNvSpPr txBox="1">
            <a:spLocks/>
          </p:cNvSpPr>
          <p:nvPr/>
        </p:nvSpPr>
        <p:spPr>
          <a:xfrm>
            <a:off x="9629869" y="4800694"/>
            <a:ext cx="2007395"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Mener des recherches sur l’efficacité réelle des vaccins et leur impact sur la santé publique</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Identifier et codifier les obstacles et les facteurs de succès pour une vaccination rapide</a:t>
            </a:r>
          </a:p>
        </p:txBody>
      </p:sp>
      <p:sp>
        <p:nvSpPr>
          <p:cNvPr id="27" name="TextBox 26">
            <a:extLst>
              <a:ext uri="{FF2B5EF4-FFF2-40B4-BE49-F238E27FC236}">
                <a16:creationId xmlns:a16="http://schemas.microsoft.com/office/drawing/2014/main" id="{D33F6E5E-E21F-4BC2-BF55-5035A155F8B3}"/>
              </a:ext>
            </a:extLst>
          </p:cNvPr>
          <p:cNvSpPr txBox="1">
            <a:spLocks/>
          </p:cNvSpPr>
          <p:nvPr/>
        </p:nvSpPr>
        <p:spPr>
          <a:xfrm>
            <a:off x="5035664" y="1756113"/>
            <a:ext cx="2007395" cy="369332"/>
          </a:xfrm>
          <a:prstGeom prst="rect">
            <a:avLst/>
          </a:prstGeom>
        </p:spPr>
        <p:txBody>
          <a:bodyPr vert="horz" wrap="square"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9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mmunication des risques et engagement communautaire</a:t>
            </a:r>
          </a:p>
        </p:txBody>
      </p:sp>
      <p:sp>
        <p:nvSpPr>
          <p:cNvPr id="28" name="TextBox 27">
            <a:extLst>
              <a:ext uri="{FF2B5EF4-FFF2-40B4-BE49-F238E27FC236}">
                <a16:creationId xmlns:a16="http://schemas.microsoft.com/office/drawing/2014/main" id="{5E7B0E0A-BDF2-4393-BF24-9F68290F1E82}"/>
              </a:ext>
            </a:extLst>
          </p:cNvPr>
          <p:cNvSpPr txBox="1">
            <a:spLocks/>
          </p:cNvSpPr>
          <p:nvPr/>
        </p:nvSpPr>
        <p:spPr>
          <a:xfrm>
            <a:off x="5092302" y="2321444"/>
            <a:ext cx="2007395"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Comprendre les facteurs et l’ampleur de l’hésitation à se faire vacciner et élaborer une stratégie pour la combattre</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Mettre en œuvre les stratégies du RCCE dans les pays sélectionnés</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Mettre en place des systèmes et des outils pour une communication efficace</a:t>
            </a:r>
          </a:p>
        </p:txBody>
      </p:sp>
      <p:sp>
        <p:nvSpPr>
          <p:cNvPr id="29" name="TrackerNumWhite 68">
            <a:extLst>
              <a:ext uri="{FF2B5EF4-FFF2-40B4-BE49-F238E27FC236}">
                <a16:creationId xmlns:a16="http://schemas.microsoft.com/office/drawing/2014/main" id="{E8DE32D0-3166-4875-8D30-1A7C9216E15D}"/>
              </a:ext>
            </a:extLst>
          </p:cNvPr>
          <p:cNvSpPr>
            <a:spLocks/>
          </p:cNvSpPr>
          <p:nvPr>
            <p:custDataLst>
              <p:tags r:id="rId9"/>
            </p:custDataLst>
          </p:nvPr>
        </p:nvSpPr>
        <p:spPr>
          <a:xfrm>
            <a:off x="5092302" y="3880763"/>
            <a:ext cx="234726" cy="23472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kumimoji="0" lang="en-GB" sz="2800" b="1" i="0" u="none" strike="noStrike" kern="1200" cap="none" spc="0" normalizeH="0" baseline="0" noProof="0" dirty="0">
                <a:ln>
                  <a:noFill/>
                </a:ln>
                <a:solidFill>
                  <a:srgbClr val="911C39"/>
                </a:solidFill>
                <a:effectLst/>
                <a:uLnTx/>
                <a:uFillTx/>
                <a:latin typeface="Arial"/>
                <a:ea typeface="+mn-ea"/>
                <a:cs typeface="+mn-cs"/>
              </a:rPr>
              <a:t>8</a:t>
            </a:r>
          </a:p>
        </p:txBody>
      </p:sp>
      <p:sp>
        <p:nvSpPr>
          <p:cNvPr id="30" name="TextBox 29">
            <a:extLst>
              <a:ext uri="{FF2B5EF4-FFF2-40B4-BE49-F238E27FC236}">
                <a16:creationId xmlns:a16="http://schemas.microsoft.com/office/drawing/2014/main" id="{E59CA9F1-D3F3-4F9C-B8D9-B982B1088CF2}"/>
              </a:ext>
            </a:extLst>
          </p:cNvPr>
          <p:cNvSpPr txBox="1">
            <a:spLocks/>
          </p:cNvSpPr>
          <p:nvPr/>
        </p:nvSpPr>
        <p:spPr>
          <a:xfrm>
            <a:off x="5092302" y="4411688"/>
            <a:ext cx="2007395" cy="369332"/>
          </a:xfrm>
          <a:prstGeom prst="rect">
            <a:avLst/>
          </a:prstGeom>
        </p:spPr>
        <p:txBody>
          <a:bodyPr vert="horz" wrap="square"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9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ystèmes de données et d'information</a:t>
            </a:r>
            <a:endPar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6" name="TrackerNumWhite 68">
            <a:extLst>
              <a:ext uri="{FF2B5EF4-FFF2-40B4-BE49-F238E27FC236}">
                <a16:creationId xmlns:a16="http://schemas.microsoft.com/office/drawing/2014/main" id="{5929254B-292D-4A7E-B24A-A9207AB1FD93}"/>
              </a:ext>
            </a:extLst>
          </p:cNvPr>
          <p:cNvSpPr>
            <a:spLocks/>
          </p:cNvSpPr>
          <p:nvPr>
            <p:custDataLst>
              <p:tags r:id="rId10"/>
            </p:custDataLst>
          </p:nvPr>
        </p:nvSpPr>
        <p:spPr>
          <a:xfrm>
            <a:off x="5092302" y="1403588"/>
            <a:ext cx="234726" cy="23472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GB" sz="2800" b="1" i="0" u="none" strike="noStrike" kern="1200" cap="none" spc="0" normalizeH="0" baseline="0" noProof="0" dirty="0">
                <a:ln>
                  <a:noFill/>
                </a:ln>
                <a:solidFill>
                  <a:srgbClr val="119A48"/>
                </a:solidFill>
                <a:effectLst/>
                <a:uLnTx/>
                <a:uFillTx/>
                <a:latin typeface="Arial"/>
                <a:ea typeface="+mn-ea"/>
                <a:cs typeface="+mn-cs"/>
              </a:rPr>
              <a:t>3</a:t>
            </a:r>
          </a:p>
        </p:txBody>
      </p:sp>
      <p:sp>
        <p:nvSpPr>
          <p:cNvPr id="31" name="TextBox 30">
            <a:extLst>
              <a:ext uri="{FF2B5EF4-FFF2-40B4-BE49-F238E27FC236}">
                <a16:creationId xmlns:a16="http://schemas.microsoft.com/office/drawing/2014/main" id="{C8D3E933-4F2D-4584-AB4B-74D8FEF7E309}"/>
              </a:ext>
            </a:extLst>
          </p:cNvPr>
          <p:cNvSpPr txBox="1">
            <a:spLocks/>
          </p:cNvSpPr>
          <p:nvPr/>
        </p:nvSpPr>
        <p:spPr>
          <a:xfrm>
            <a:off x="5092302" y="4800694"/>
            <a:ext cx="2007395"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Créer une fonction informatique en Afrique CDC</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Fournir des outils de collecte et de reporting de données en temps réel pour le programme</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ssurer l'agrégation et l'interopérabilité des données clés et des opérations informatiques</a:t>
            </a:r>
          </a:p>
        </p:txBody>
      </p:sp>
      <p:sp>
        <p:nvSpPr>
          <p:cNvPr id="32" name="TextBox 31">
            <a:extLst>
              <a:ext uri="{FF2B5EF4-FFF2-40B4-BE49-F238E27FC236}">
                <a16:creationId xmlns:a16="http://schemas.microsoft.com/office/drawing/2014/main" id="{34E63075-719F-435C-B7E5-031E0473D898}"/>
              </a:ext>
            </a:extLst>
          </p:cNvPr>
          <p:cNvSpPr txBox="1">
            <a:spLocks/>
          </p:cNvSpPr>
          <p:nvPr/>
        </p:nvSpPr>
        <p:spPr>
          <a:xfrm>
            <a:off x="547938" y="1716088"/>
            <a:ext cx="2138088" cy="55399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pprovisionnement et logistique vers l'entrepôt médical central</a:t>
            </a:r>
            <a:endParaRPr kumimoji="0" lang="en-GB" sz="1200" b="0" i="0" u="none" strike="sngStrike" kern="120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33" name="TrackerNumWhite 68">
            <a:extLst>
              <a:ext uri="{FF2B5EF4-FFF2-40B4-BE49-F238E27FC236}">
                <a16:creationId xmlns:a16="http://schemas.microsoft.com/office/drawing/2014/main" id="{7450B826-277C-4E0A-9C60-1D752C21862F}"/>
              </a:ext>
            </a:extLst>
          </p:cNvPr>
          <p:cNvSpPr>
            <a:spLocks/>
          </p:cNvSpPr>
          <p:nvPr>
            <p:custDataLst>
              <p:tags r:id="rId11"/>
            </p:custDataLst>
          </p:nvPr>
        </p:nvSpPr>
        <p:spPr>
          <a:xfrm>
            <a:off x="554736" y="1403588"/>
            <a:ext cx="234726" cy="23472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kumimoji="0" lang="en-GB" sz="2800" b="1" i="0" u="none" strike="noStrike" kern="1200" cap="none" spc="0" normalizeH="0" baseline="0" noProof="0" dirty="0">
                <a:ln>
                  <a:noFill/>
                </a:ln>
                <a:solidFill>
                  <a:srgbClr val="119A48"/>
                </a:solidFill>
                <a:effectLst/>
                <a:uLnTx/>
                <a:uFillTx/>
                <a:latin typeface="Arial"/>
                <a:ea typeface="+mn-ea"/>
                <a:cs typeface="+mn-cs"/>
              </a:rPr>
              <a:t>1</a:t>
            </a:r>
          </a:p>
        </p:txBody>
      </p:sp>
      <p:sp>
        <p:nvSpPr>
          <p:cNvPr id="34" name="TextBox 33">
            <a:extLst>
              <a:ext uri="{FF2B5EF4-FFF2-40B4-BE49-F238E27FC236}">
                <a16:creationId xmlns:a16="http://schemas.microsoft.com/office/drawing/2014/main" id="{FCAB03E4-BF42-4912-B9A7-1679CE4F77EC}"/>
              </a:ext>
            </a:extLst>
          </p:cNvPr>
          <p:cNvSpPr txBox="1">
            <a:spLocks/>
          </p:cNvSpPr>
          <p:nvPr/>
        </p:nvSpPr>
        <p:spPr>
          <a:xfrm>
            <a:off x="554736" y="2235785"/>
            <a:ext cx="2007395" cy="13465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
                <a:srgbClr val="000000"/>
              </a:buClr>
              <a:buSzPct val="100000"/>
              <a:buFont typeface="Segoe UI" panose="020B0502040204020203" pitchFamily="34" charset="0"/>
              <a:buChar char="​"/>
              <a:tabLst/>
              <a:defRPr/>
            </a:pPr>
            <a:r>
              <a:rPr kumimoji="0" lang="en-GB"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urnir des unités de base de vaccins (flacons)</a:t>
            </a:r>
          </a:p>
          <a:p>
            <a:pPr marL="0" marR="0" lvl="0" indent="0" algn="l" defTabSz="914400" rtl="0" eaLnBrk="1" fontAlgn="auto" latinLnBrk="0" hangingPunct="1">
              <a:lnSpc>
                <a:spcPct val="100000"/>
              </a:lnSpc>
              <a:spcBef>
                <a:spcPts val="0"/>
              </a:spcBef>
              <a:spcAft>
                <a:spcPts val="300"/>
              </a:spcAft>
              <a:buClr>
                <a:srgbClr val="000000"/>
              </a:buClr>
              <a:buSzPct val="100000"/>
              <a:buFont typeface="Segoe UI" panose="020B0502040204020203" pitchFamily="34" charset="0"/>
              <a:buChar char="​"/>
              <a:tabLst/>
              <a:defRPr/>
            </a:pPr>
            <a:r>
              <a:rPr kumimoji="0" lang="en-GB"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urnir des produits auxiliaires pour les vaccins</a:t>
            </a:r>
          </a:p>
          <a:p>
            <a:pPr marL="0" marR="0" lvl="0" indent="0" algn="l" defTabSz="914400" rtl="0" eaLnBrk="1" fontAlgn="auto" latinLnBrk="0" hangingPunct="1">
              <a:lnSpc>
                <a:spcPct val="100000"/>
              </a:lnSpc>
              <a:spcBef>
                <a:spcPts val="0"/>
              </a:spcBef>
              <a:spcAft>
                <a:spcPts val="300"/>
              </a:spcAft>
              <a:buClr>
                <a:srgbClr val="000000"/>
              </a:buClr>
              <a:buSzPct val="100000"/>
              <a:buFont typeface="Segoe UI" panose="020B0502040204020203" pitchFamily="34" charset="0"/>
              <a:buChar char="​"/>
              <a:tabLst/>
              <a:defRPr/>
            </a:pPr>
            <a:r>
              <a:rPr kumimoji="0" lang="en-GB"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ordonner la gestion globale des fournisseurs</a:t>
            </a:r>
          </a:p>
          <a:p>
            <a:pPr marL="0" marR="0" lvl="0" indent="0" algn="l" defTabSz="914400" rtl="0" eaLnBrk="1" fontAlgn="auto" latinLnBrk="0" hangingPunct="1">
              <a:lnSpc>
                <a:spcPct val="100000"/>
              </a:lnSpc>
              <a:spcBef>
                <a:spcPts val="0"/>
              </a:spcBef>
              <a:spcAft>
                <a:spcPts val="300"/>
              </a:spcAft>
              <a:buClr>
                <a:srgbClr val="000000"/>
              </a:buClr>
              <a:buSzPct val="100000"/>
              <a:buFont typeface="Segoe UI" panose="020B0502040204020203" pitchFamily="34" charset="0"/>
              <a:buChar char="​"/>
              <a:tabLst/>
              <a:defRPr/>
            </a:pPr>
            <a:r>
              <a:rPr kumimoji="0" lang="en-GB" sz="1000" b="0" i="0" u="none" strike="noStrike" kern="1200" cap="none" spc="-20" normalizeH="0" baseline="0" noProof="0" dirty="0">
                <a:ln>
                  <a:noFill/>
                </a:ln>
                <a:solidFill>
                  <a:srgbClr val="000000"/>
                </a:solidFill>
                <a:effectLst/>
                <a:uLnTx/>
                <a:uFillTx/>
                <a:latin typeface="Arial"/>
                <a:ea typeface="+mn-ea"/>
                <a:cs typeface="Arial" panose="020B0604020202020204" pitchFamily="34" charset="0"/>
              </a:rPr>
              <a:t>S'assurer que les systèmes et outils nécessaires à la gestion de la chaîne d'approvisionnement en vaccins sont en place</a:t>
            </a:r>
          </a:p>
        </p:txBody>
      </p:sp>
      <p:sp>
        <p:nvSpPr>
          <p:cNvPr id="35" name="TrackerNumWhite 68">
            <a:extLst>
              <a:ext uri="{FF2B5EF4-FFF2-40B4-BE49-F238E27FC236}">
                <a16:creationId xmlns:a16="http://schemas.microsoft.com/office/drawing/2014/main" id="{FD9F9348-A5AD-4C86-BE77-F98E6EF20BC5}"/>
              </a:ext>
            </a:extLst>
          </p:cNvPr>
          <p:cNvSpPr>
            <a:spLocks/>
          </p:cNvSpPr>
          <p:nvPr>
            <p:custDataLst>
              <p:tags r:id="rId12"/>
            </p:custDataLst>
          </p:nvPr>
        </p:nvSpPr>
        <p:spPr>
          <a:xfrm rot="70608">
            <a:off x="557122" y="3883149"/>
            <a:ext cx="234726" cy="23472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kumimoji="0" lang="en-GB" sz="2800" b="1" i="0" u="none" strike="noStrike" kern="1200" cap="none" spc="0" normalizeH="0" baseline="0" noProof="0" dirty="0">
                <a:ln>
                  <a:noFill/>
                </a:ln>
                <a:solidFill>
                  <a:srgbClr val="119A48"/>
                </a:solidFill>
                <a:effectLst/>
                <a:uLnTx/>
                <a:uFillTx/>
                <a:latin typeface="Arial"/>
                <a:ea typeface="+mn-ea"/>
                <a:cs typeface="+mn-cs"/>
              </a:rPr>
              <a:t>6</a:t>
            </a:r>
          </a:p>
        </p:txBody>
      </p:sp>
      <p:sp>
        <p:nvSpPr>
          <p:cNvPr id="36" name="TextBox 35">
            <a:extLst>
              <a:ext uri="{FF2B5EF4-FFF2-40B4-BE49-F238E27FC236}">
                <a16:creationId xmlns:a16="http://schemas.microsoft.com/office/drawing/2014/main" id="{6240E4DF-B903-4A15-B03E-80A66EC31853}"/>
              </a:ext>
            </a:extLst>
          </p:cNvPr>
          <p:cNvSpPr txBox="1">
            <a:spLocks/>
          </p:cNvSpPr>
          <p:nvPr/>
        </p:nvSpPr>
        <p:spPr>
          <a:xfrm>
            <a:off x="591764" y="4250081"/>
            <a:ext cx="2007395" cy="184666"/>
          </a:xfrm>
          <a:prstGeom prst="rect">
            <a:avLst/>
          </a:prstGeom>
        </p:spPr>
        <p:txBody>
          <a:bodyPr vert="horz" wrap="square"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9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équençage génomique</a:t>
            </a:r>
            <a:endParaRPr kumimoji="0" lang="en-GB" sz="1200" b="0" i="0" u="none" strike="noStrike" kern="1200" cap="none" spc="0" normalizeH="0" baseline="0" noProof="0" dirty="0">
              <a:ln>
                <a:noFill/>
              </a:ln>
              <a:solidFill>
                <a:srgbClr val="000000"/>
              </a:solidFill>
              <a:effectLst/>
              <a:uLnTx/>
              <a:uFillTx/>
              <a:latin typeface="Arial"/>
              <a:ea typeface="-윤고딕130" pitchFamily="18" charset="-127"/>
              <a:cs typeface="Arial" panose="020B0604020202020204" pitchFamily="34" charset="0"/>
            </a:endParaRPr>
          </a:p>
        </p:txBody>
      </p:sp>
      <p:sp>
        <p:nvSpPr>
          <p:cNvPr id="37" name="TextBox 36">
            <a:extLst>
              <a:ext uri="{FF2B5EF4-FFF2-40B4-BE49-F238E27FC236}">
                <a16:creationId xmlns:a16="http://schemas.microsoft.com/office/drawing/2014/main" id="{73BC05CC-5340-4129-848F-2BB79335FF58}"/>
              </a:ext>
            </a:extLst>
          </p:cNvPr>
          <p:cNvSpPr txBox="1">
            <a:spLocks/>
          </p:cNvSpPr>
          <p:nvPr/>
        </p:nvSpPr>
        <p:spPr>
          <a:xfrm>
            <a:off x="554736" y="4552833"/>
            <a:ext cx="2007395" cy="10387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Renforcer le réseau existant de laboratoires et de référence d'échantillons</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Gérer les données et les systèmes informatiques</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Mener des formations</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ssurer une gouvernance programmatique globale</a:t>
            </a:r>
          </a:p>
        </p:txBody>
      </p:sp>
      <p:cxnSp>
        <p:nvCxnSpPr>
          <p:cNvPr id="39" name="LineBasicDefault 75">
            <a:extLst>
              <a:ext uri="{FF2B5EF4-FFF2-40B4-BE49-F238E27FC236}">
                <a16:creationId xmlns:a16="http://schemas.microsoft.com/office/drawing/2014/main" id="{07C5944D-9409-4EB2-A90E-EC9E383162AE}"/>
              </a:ext>
            </a:extLst>
          </p:cNvPr>
          <p:cNvCxnSpPr>
            <a:cxnSpLocks/>
          </p:cNvCxnSpPr>
          <p:nvPr>
            <p:custDataLst>
              <p:tags r:id="rId13"/>
            </p:custDataLst>
          </p:nvPr>
        </p:nvCxnSpPr>
        <p:spPr>
          <a:xfrm>
            <a:off x="554736" y="6072942"/>
            <a:ext cx="11082528"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 name="5. Source">
            <a:extLst>
              <a:ext uri="{FF2B5EF4-FFF2-40B4-BE49-F238E27FC236}">
                <a16:creationId xmlns:a16="http://schemas.microsoft.com/office/drawing/2014/main" id="{9D767EF1-85B2-4E48-B47D-02A98B072D94}"/>
              </a:ext>
            </a:extLst>
          </p:cNvPr>
          <p:cNvSpPr txBox="1"/>
          <p:nvPr>
            <p:custDataLst>
              <p:tags r:id="rId14"/>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 Effets indésirables suivant la vaccination</a:t>
            </a:r>
          </a:p>
        </p:txBody>
      </p:sp>
      <p:cxnSp>
        <p:nvCxnSpPr>
          <p:cNvPr id="41" name="Straight Connector 40">
            <a:extLst>
              <a:ext uri="{FF2B5EF4-FFF2-40B4-BE49-F238E27FC236}">
                <a16:creationId xmlns:a16="http://schemas.microsoft.com/office/drawing/2014/main" id="{32CAA750-7BF9-4197-AEF1-C304C9BD291F}"/>
              </a:ext>
            </a:extLst>
          </p:cNvPr>
          <p:cNvCxnSpPr/>
          <p:nvPr/>
        </p:nvCxnSpPr>
        <p:spPr>
          <a:xfrm>
            <a:off x="554736" y="3726195"/>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52C448-8831-469D-96E6-4892F7340FEE}"/>
              </a:ext>
            </a:extLst>
          </p:cNvPr>
          <p:cNvCxnSpPr>
            <a:cxnSpLocks/>
          </p:cNvCxnSpPr>
          <p:nvPr/>
        </p:nvCxnSpPr>
        <p:spPr>
          <a:xfrm>
            <a:off x="2692825" y="1373677"/>
            <a:ext cx="0" cy="4591604"/>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9787380-9AF4-4EC2-B562-165FE5871044}"/>
              </a:ext>
            </a:extLst>
          </p:cNvPr>
          <p:cNvCxnSpPr>
            <a:cxnSpLocks/>
          </p:cNvCxnSpPr>
          <p:nvPr/>
        </p:nvCxnSpPr>
        <p:spPr>
          <a:xfrm>
            <a:off x="4961608" y="1373677"/>
            <a:ext cx="0" cy="4591604"/>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3D8CA78-59BC-440C-8F46-C4FDFB3B03B4}"/>
              </a:ext>
            </a:extLst>
          </p:cNvPr>
          <p:cNvCxnSpPr>
            <a:cxnSpLocks/>
          </p:cNvCxnSpPr>
          <p:nvPr/>
        </p:nvCxnSpPr>
        <p:spPr>
          <a:xfrm>
            <a:off x="7230391" y="1373677"/>
            <a:ext cx="0" cy="4591604"/>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1CF5284-0D7D-4436-A1DD-F3B548A556E0}"/>
              </a:ext>
            </a:extLst>
          </p:cNvPr>
          <p:cNvCxnSpPr>
            <a:cxnSpLocks/>
          </p:cNvCxnSpPr>
          <p:nvPr/>
        </p:nvCxnSpPr>
        <p:spPr>
          <a:xfrm>
            <a:off x="9499174" y="1373677"/>
            <a:ext cx="0" cy="4591604"/>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A9DF078D-0CF7-41DE-9395-57E26378B496}"/>
              </a:ext>
            </a:extLst>
          </p:cNvPr>
          <p:cNvGrpSpPr/>
          <p:nvPr/>
        </p:nvGrpSpPr>
        <p:grpSpPr>
          <a:xfrm>
            <a:off x="9806458" y="980570"/>
            <a:ext cx="2395115" cy="169277"/>
            <a:chOff x="9279520" y="777919"/>
            <a:chExt cx="2395115" cy="169277"/>
          </a:xfrm>
        </p:grpSpPr>
        <p:sp>
          <p:nvSpPr>
            <p:cNvPr id="50" name="TrackerAlphaBlue 58">
              <a:extLst>
                <a:ext uri="{FF2B5EF4-FFF2-40B4-BE49-F238E27FC236}">
                  <a16:creationId xmlns:a16="http://schemas.microsoft.com/office/drawing/2014/main" id="{330786B5-33AE-4439-842C-7BC206EE7836}"/>
                </a:ext>
              </a:extLst>
            </p:cNvPr>
            <p:cNvSpPr/>
            <p:nvPr>
              <p:custDataLst>
                <p:tags r:id="rId26"/>
              </p:custDataLst>
            </p:nvPr>
          </p:nvSpPr>
          <p:spPr>
            <a:xfrm>
              <a:off x="9279520" y="797946"/>
              <a:ext cx="137160" cy="13716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x</a:t>
              </a:r>
            </a:p>
          </p:txBody>
        </p:sp>
        <p:sp>
          <p:nvSpPr>
            <p:cNvPr id="51" name="TextBox 50">
              <a:extLst>
                <a:ext uri="{FF2B5EF4-FFF2-40B4-BE49-F238E27FC236}">
                  <a16:creationId xmlns:a16="http://schemas.microsoft.com/office/drawing/2014/main" id="{CDCE1B79-73D4-4902-9FF6-106E6827D55A}"/>
                </a:ext>
              </a:extLst>
            </p:cNvPr>
            <p:cNvSpPr txBox="1"/>
            <p:nvPr/>
          </p:nvSpPr>
          <p:spPr>
            <a:xfrm>
              <a:off x="9499175" y="777919"/>
              <a:ext cx="217546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tivités menées par le CDC Afrique</a:t>
              </a:r>
            </a:p>
          </p:txBody>
        </p:sp>
      </p:grpSp>
      <p:grpSp>
        <p:nvGrpSpPr>
          <p:cNvPr id="78" name="Group 77">
            <a:extLst>
              <a:ext uri="{FF2B5EF4-FFF2-40B4-BE49-F238E27FC236}">
                <a16:creationId xmlns:a16="http://schemas.microsoft.com/office/drawing/2014/main" id="{B9F20557-F0B2-4823-BBD4-72EB6035DE45}"/>
              </a:ext>
            </a:extLst>
          </p:cNvPr>
          <p:cNvGrpSpPr/>
          <p:nvPr/>
        </p:nvGrpSpPr>
        <p:grpSpPr>
          <a:xfrm>
            <a:off x="7182857" y="980570"/>
            <a:ext cx="2395115" cy="338554"/>
            <a:chOff x="9279520" y="991747"/>
            <a:chExt cx="2395115" cy="338554"/>
          </a:xfrm>
        </p:grpSpPr>
        <p:sp>
          <p:nvSpPr>
            <p:cNvPr id="49" name="TrackerAlphaBlue 58">
              <a:extLst>
                <a:ext uri="{FF2B5EF4-FFF2-40B4-BE49-F238E27FC236}">
                  <a16:creationId xmlns:a16="http://schemas.microsoft.com/office/drawing/2014/main" id="{50BF008E-FE56-4CF0-9A75-237D02C34D92}"/>
                </a:ext>
              </a:extLst>
            </p:cNvPr>
            <p:cNvSpPr/>
            <p:nvPr>
              <p:custDataLst>
                <p:tags r:id="rId25"/>
              </p:custDataLst>
            </p:nvPr>
          </p:nvSpPr>
          <p:spPr>
            <a:xfrm>
              <a:off x="9279520" y="1006701"/>
              <a:ext cx="137160" cy="13716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x</a:t>
              </a:r>
            </a:p>
          </p:txBody>
        </p:sp>
        <p:sp>
          <p:nvSpPr>
            <p:cNvPr id="52" name="TextBox 51">
              <a:extLst>
                <a:ext uri="{FF2B5EF4-FFF2-40B4-BE49-F238E27FC236}">
                  <a16:creationId xmlns:a16="http://schemas.microsoft.com/office/drawing/2014/main" id="{6C7965D8-CBF4-4BDA-BA80-E2234FA602D0}"/>
                </a:ext>
              </a:extLst>
            </p:cNvPr>
            <p:cNvSpPr txBox="1"/>
            <p:nvPr/>
          </p:nvSpPr>
          <p:spPr>
            <a:xfrm>
              <a:off x="9499175" y="991747"/>
              <a:ext cx="2175460"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ise en œuvre des activités menées par les partenaires</a:t>
              </a:r>
            </a:p>
          </p:txBody>
        </p:sp>
      </p:grpSp>
      <p:grpSp>
        <p:nvGrpSpPr>
          <p:cNvPr id="82" name="CustomIcon">
            <a:extLst>
              <a:ext uri="{FF2B5EF4-FFF2-40B4-BE49-F238E27FC236}">
                <a16:creationId xmlns:a16="http://schemas.microsoft.com/office/drawing/2014/main" id="{9934E049-92DE-4787-9CC3-2268D2359779}"/>
              </a:ext>
            </a:extLst>
          </p:cNvPr>
          <p:cNvGrpSpPr>
            <a:grpSpLocks noChangeAspect="1"/>
          </p:cNvGrpSpPr>
          <p:nvPr>
            <p:custDataLst>
              <p:tags r:id="rId15"/>
            </p:custDataLst>
          </p:nvPr>
        </p:nvGrpSpPr>
        <p:grpSpPr>
          <a:xfrm>
            <a:off x="856335" y="1349345"/>
            <a:ext cx="411480" cy="411480"/>
            <a:chOff x="-205105" y="-205105"/>
            <a:chExt cx="1019810" cy="1019810"/>
          </a:xfrm>
        </p:grpSpPr>
        <p:sp>
          <p:nvSpPr>
            <p:cNvPr id="79" name="Oval 78">
              <a:extLst>
                <a:ext uri="{FF2B5EF4-FFF2-40B4-BE49-F238E27FC236}">
                  <a16:creationId xmlns:a16="http://schemas.microsoft.com/office/drawing/2014/main" id="{027B8E4D-ED76-4506-946C-9D9E27806835}"/>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81" name="Graphic 80">
              <a:extLst>
                <a:ext uri="{FF2B5EF4-FFF2-40B4-BE49-F238E27FC236}">
                  <a16:creationId xmlns:a16="http://schemas.microsoft.com/office/drawing/2014/main" id="{B5D2B07C-B338-4032-959B-EADF7B75AE15}"/>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0" y="0"/>
              <a:ext cx="609600" cy="609600"/>
            </a:xfrm>
            <a:prstGeom prst="rect">
              <a:avLst/>
            </a:prstGeom>
          </p:spPr>
        </p:pic>
      </p:grpSp>
      <p:grpSp>
        <p:nvGrpSpPr>
          <p:cNvPr id="86" name="CustomIcon">
            <a:extLst>
              <a:ext uri="{FF2B5EF4-FFF2-40B4-BE49-F238E27FC236}">
                <a16:creationId xmlns:a16="http://schemas.microsoft.com/office/drawing/2014/main" id="{AC80CC45-D963-46B6-8CA7-DFB923A73349}"/>
              </a:ext>
            </a:extLst>
          </p:cNvPr>
          <p:cNvGrpSpPr>
            <a:grpSpLocks noChangeAspect="1"/>
          </p:cNvGrpSpPr>
          <p:nvPr>
            <p:custDataLst>
              <p:tags r:id="rId16"/>
            </p:custDataLst>
          </p:nvPr>
        </p:nvGrpSpPr>
        <p:grpSpPr>
          <a:xfrm>
            <a:off x="3197387" y="1349345"/>
            <a:ext cx="411480" cy="411480"/>
            <a:chOff x="-205105" y="-205105"/>
            <a:chExt cx="1019810" cy="1019810"/>
          </a:xfrm>
        </p:grpSpPr>
        <p:sp>
          <p:nvSpPr>
            <p:cNvPr id="83" name="Oval 82">
              <a:extLst>
                <a:ext uri="{FF2B5EF4-FFF2-40B4-BE49-F238E27FC236}">
                  <a16:creationId xmlns:a16="http://schemas.microsoft.com/office/drawing/2014/main" id="{13565207-AB6D-4CD4-A145-CF39E7906968}"/>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85" name="Graphic 84">
              <a:extLst>
                <a:ext uri="{FF2B5EF4-FFF2-40B4-BE49-F238E27FC236}">
                  <a16:creationId xmlns:a16="http://schemas.microsoft.com/office/drawing/2014/main" id="{4C95BDF0-5E73-4C19-89EE-621339E3BB82}"/>
                </a:ext>
              </a:extLst>
            </p:cNvPr>
            <p:cNvPicPr>
              <a:picLocks noChangeAspect="1"/>
            </p:cNvPicPr>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0" y="0"/>
              <a:ext cx="609600" cy="609600"/>
            </a:xfrm>
            <a:prstGeom prst="rect">
              <a:avLst/>
            </a:prstGeom>
          </p:spPr>
        </p:pic>
      </p:grpSp>
      <p:grpSp>
        <p:nvGrpSpPr>
          <p:cNvPr id="90" name="CustomIcon">
            <a:extLst>
              <a:ext uri="{FF2B5EF4-FFF2-40B4-BE49-F238E27FC236}">
                <a16:creationId xmlns:a16="http://schemas.microsoft.com/office/drawing/2014/main" id="{615A0EA3-2A58-4ED3-8F24-41E876F7B381}"/>
              </a:ext>
            </a:extLst>
          </p:cNvPr>
          <p:cNvGrpSpPr>
            <a:grpSpLocks noChangeAspect="1"/>
          </p:cNvGrpSpPr>
          <p:nvPr>
            <p:custDataLst>
              <p:tags r:id="rId17"/>
            </p:custDataLst>
          </p:nvPr>
        </p:nvGrpSpPr>
        <p:grpSpPr>
          <a:xfrm>
            <a:off x="5472970" y="1349345"/>
            <a:ext cx="411480" cy="411480"/>
            <a:chOff x="-205105" y="-205105"/>
            <a:chExt cx="1019810" cy="1019810"/>
          </a:xfrm>
        </p:grpSpPr>
        <p:sp>
          <p:nvSpPr>
            <p:cNvPr id="87" name="Oval 86">
              <a:extLst>
                <a:ext uri="{FF2B5EF4-FFF2-40B4-BE49-F238E27FC236}">
                  <a16:creationId xmlns:a16="http://schemas.microsoft.com/office/drawing/2014/main" id="{31A7D89D-83E0-4FAA-BE4A-F1936291689E}"/>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89" name="Graphic 88">
              <a:extLst>
                <a:ext uri="{FF2B5EF4-FFF2-40B4-BE49-F238E27FC236}">
                  <a16:creationId xmlns:a16="http://schemas.microsoft.com/office/drawing/2014/main" id="{7BF9F11B-CCBF-44F4-BCCA-E619726522B0}"/>
                </a:ext>
              </a:extLst>
            </p:cNvPr>
            <p:cNvPicPr>
              <a:picLocks noChangeAspect="1"/>
            </p:cNvPicPr>
            <p:nvPr/>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grpSp>
        <p:nvGrpSpPr>
          <p:cNvPr id="94" name="CustomIcon">
            <a:extLst>
              <a:ext uri="{FF2B5EF4-FFF2-40B4-BE49-F238E27FC236}">
                <a16:creationId xmlns:a16="http://schemas.microsoft.com/office/drawing/2014/main" id="{3577AAA2-671F-4D1A-BF71-EF46F684AADF}"/>
              </a:ext>
            </a:extLst>
          </p:cNvPr>
          <p:cNvGrpSpPr>
            <a:grpSpLocks noChangeAspect="1"/>
          </p:cNvGrpSpPr>
          <p:nvPr>
            <p:custDataLst>
              <p:tags r:id="rId18"/>
            </p:custDataLst>
          </p:nvPr>
        </p:nvGrpSpPr>
        <p:grpSpPr>
          <a:xfrm>
            <a:off x="7807100" y="1349345"/>
            <a:ext cx="411480" cy="411480"/>
            <a:chOff x="-205105" y="-205105"/>
            <a:chExt cx="1019810" cy="1019810"/>
          </a:xfrm>
        </p:grpSpPr>
        <p:sp>
          <p:nvSpPr>
            <p:cNvPr id="91" name="Oval 90">
              <a:extLst>
                <a:ext uri="{FF2B5EF4-FFF2-40B4-BE49-F238E27FC236}">
                  <a16:creationId xmlns:a16="http://schemas.microsoft.com/office/drawing/2014/main" id="{8EC58D3F-F691-47E4-A3AB-FC75EC38287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93" name="Graphic 92">
              <a:extLst>
                <a:ext uri="{FF2B5EF4-FFF2-40B4-BE49-F238E27FC236}">
                  <a16:creationId xmlns:a16="http://schemas.microsoft.com/office/drawing/2014/main" id="{4792390D-FFE6-4E18-884E-3AA437D85276}"/>
                </a:ext>
              </a:extLst>
            </p:cNvPr>
            <p:cNvPicPr>
              <a:picLocks noChangeAspect="1"/>
            </p:cNvPicPr>
            <p:nvPr/>
          </p:nvPicPr>
          <p:blipFill>
            <a:blip r:embed="rId36" cstate="email">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0" y="0"/>
              <a:ext cx="609600" cy="609600"/>
            </a:xfrm>
            <a:prstGeom prst="rect">
              <a:avLst/>
            </a:prstGeom>
          </p:spPr>
        </p:pic>
      </p:grpSp>
      <p:grpSp>
        <p:nvGrpSpPr>
          <p:cNvPr id="98" name="CustomIcon">
            <a:extLst>
              <a:ext uri="{FF2B5EF4-FFF2-40B4-BE49-F238E27FC236}">
                <a16:creationId xmlns:a16="http://schemas.microsoft.com/office/drawing/2014/main" id="{1D2E529F-2539-45D4-976C-393CCEA1AE75}"/>
              </a:ext>
            </a:extLst>
          </p:cNvPr>
          <p:cNvGrpSpPr>
            <a:grpSpLocks noChangeAspect="1"/>
          </p:cNvGrpSpPr>
          <p:nvPr>
            <p:custDataLst>
              <p:tags r:id="rId19"/>
            </p:custDataLst>
          </p:nvPr>
        </p:nvGrpSpPr>
        <p:grpSpPr>
          <a:xfrm>
            <a:off x="10075882" y="3818771"/>
            <a:ext cx="411480" cy="411480"/>
            <a:chOff x="-205105" y="-205105"/>
            <a:chExt cx="1019810" cy="1019810"/>
          </a:xfrm>
        </p:grpSpPr>
        <p:sp>
          <p:nvSpPr>
            <p:cNvPr id="95" name="Oval 94">
              <a:extLst>
                <a:ext uri="{FF2B5EF4-FFF2-40B4-BE49-F238E27FC236}">
                  <a16:creationId xmlns:a16="http://schemas.microsoft.com/office/drawing/2014/main" id="{EE6474DB-5F8A-4763-83DD-1B9ADEB4B39B}"/>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97" name="Graphic 96">
              <a:extLst>
                <a:ext uri="{FF2B5EF4-FFF2-40B4-BE49-F238E27FC236}">
                  <a16:creationId xmlns:a16="http://schemas.microsoft.com/office/drawing/2014/main" id="{5DFBAEDF-9C53-4C6B-AE4F-2D3AB930F2CF}"/>
                </a:ext>
              </a:extLst>
            </p:cNvPr>
            <p:cNvPicPr>
              <a:picLocks noChangeAspect="1"/>
            </p:cNvPicPr>
            <p:nvPr/>
          </p:nvPicPr>
          <p:blipFill>
            <a:blip r:embed="rId38" cstate="email">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0" y="0"/>
              <a:ext cx="609600" cy="609600"/>
            </a:xfrm>
            <a:prstGeom prst="rect">
              <a:avLst/>
            </a:prstGeom>
          </p:spPr>
        </p:pic>
      </p:grpSp>
      <p:grpSp>
        <p:nvGrpSpPr>
          <p:cNvPr id="102" name="CustomIcon">
            <a:extLst>
              <a:ext uri="{FF2B5EF4-FFF2-40B4-BE49-F238E27FC236}">
                <a16:creationId xmlns:a16="http://schemas.microsoft.com/office/drawing/2014/main" id="{4A9B425A-531D-4B64-B29D-304004760044}"/>
              </a:ext>
            </a:extLst>
          </p:cNvPr>
          <p:cNvGrpSpPr>
            <a:grpSpLocks noChangeAspect="1"/>
          </p:cNvGrpSpPr>
          <p:nvPr>
            <p:custDataLst>
              <p:tags r:id="rId20"/>
            </p:custDataLst>
          </p:nvPr>
        </p:nvGrpSpPr>
        <p:grpSpPr>
          <a:xfrm>
            <a:off x="856335" y="3818771"/>
            <a:ext cx="411480" cy="411480"/>
            <a:chOff x="-205105" y="-205105"/>
            <a:chExt cx="1019810" cy="1019810"/>
          </a:xfrm>
        </p:grpSpPr>
        <p:sp>
          <p:nvSpPr>
            <p:cNvPr id="99" name="Oval 98">
              <a:extLst>
                <a:ext uri="{FF2B5EF4-FFF2-40B4-BE49-F238E27FC236}">
                  <a16:creationId xmlns:a16="http://schemas.microsoft.com/office/drawing/2014/main" id="{9A7E8BC4-F397-497D-8498-E590B407B6B4}"/>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101" name="Graphic 100">
              <a:extLst>
                <a:ext uri="{FF2B5EF4-FFF2-40B4-BE49-F238E27FC236}">
                  <a16:creationId xmlns:a16="http://schemas.microsoft.com/office/drawing/2014/main" id="{045384A0-B226-43AD-B62C-14BC9505C1B1}"/>
                </a:ext>
              </a:extLst>
            </p:cNvPr>
            <p:cNvPicPr>
              <a:picLocks noChangeAspect="1"/>
            </p:cNvPicPr>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a:xfrm>
              <a:off x="0" y="0"/>
              <a:ext cx="609600" cy="609600"/>
            </a:xfrm>
            <a:prstGeom prst="rect">
              <a:avLst/>
            </a:prstGeom>
          </p:spPr>
        </p:pic>
      </p:grpSp>
      <p:grpSp>
        <p:nvGrpSpPr>
          <p:cNvPr id="106" name="CustomIcon">
            <a:extLst>
              <a:ext uri="{FF2B5EF4-FFF2-40B4-BE49-F238E27FC236}">
                <a16:creationId xmlns:a16="http://schemas.microsoft.com/office/drawing/2014/main" id="{203744E2-DC37-4DDF-B8A5-1BEDD4057822}"/>
              </a:ext>
            </a:extLst>
          </p:cNvPr>
          <p:cNvGrpSpPr>
            <a:grpSpLocks noChangeAspect="1"/>
          </p:cNvGrpSpPr>
          <p:nvPr>
            <p:custDataLst>
              <p:tags r:id="rId21"/>
            </p:custDataLst>
          </p:nvPr>
        </p:nvGrpSpPr>
        <p:grpSpPr>
          <a:xfrm>
            <a:off x="3197387" y="3818771"/>
            <a:ext cx="411480" cy="411480"/>
            <a:chOff x="-205105" y="-205105"/>
            <a:chExt cx="1019810" cy="1019810"/>
          </a:xfrm>
          <a:solidFill>
            <a:schemeClr val="accent3"/>
          </a:solidFill>
        </p:grpSpPr>
        <p:sp>
          <p:nvSpPr>
            <p:cNvPr id="103" name="Oval 102">
              <a:extLst>
                <a:ext uri="{FF2B5EF4-FFF2-40B4-BE49-F238E27FC236}">
                  <a16:creationId xmlns:a16="http://schemas.microsoft.com/office/drawing/2014/main" id="{40C93455-8231-43C8-AE24-5615A54DA868}"/>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105" name="Graphic 104">
              <a:extLst>
                <a:ext uri="{FF2B5EF4-FFF2-40B4-BE49-F238E27FC236}">
                  <a16:creationId xmlns:a16="http://schemas.microsoft.com/office/drawing/2014/main" id="{AC186C0E-A3AE-46FD-B35A-A0C57692B401}"/>
                </a:ext>
              </a:extLst>
            </p:cNvPr>
            <p:cNvPicPr>
              <a:picLocks noChangeAspect="1"/>
            </p:cNvPicPr>
            <p:nvPr/>
          </p:nvPicPr>
          <p:blipFill>
            <a:blip r:embed="rId42" cstate="email">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0" y="0"/>
              <a:ext cx="609600" cy="609600"/>
            </a:xfrm>
            <a:prstGeom prst="rect">
              <a:avLst/>
            </a:prstGeom>
          </p:spPr>
        </p:pic>
      </p:grpSp>
      <p:grpSp>
        <p:nvGrpSpPr>
          <p:cNvPr id="110" name="CustomIcon">
            <a:extLst>
              <a:ext uri="{FF2B5EF4-FFF2-40B4-BE49-F238E27FC236}">
                <a16:creationId xmlns:a16="http://schemas.microsoft.com/office/drawing/2014/main" id="{DF4FF170-63A5-44A9-A0FA-7FBD5ACE16B1}"/>
              </a:ext>
            </a:extLst>
          </p:cNvPr>
          <p:cNvGrpSpPr>
            <a:grpSpLocks noChangeAspect="1"/>
          </p:cNvGrpSpPr>
          <p:nvPr>
            <p:custDataLst>
              <p:tags r:id="rId22"/>
            </p:custDataLst>
          </p:nvPr>
        </p:nvGrpSpPr>
        <p:grpSpPr>
          <a:xfrm>
            <a:off x="5500616" y="3818771"/>
            <a:ext cx="411480" cy="411480"/>
            <a:chOff x="-205105" y="-205105"/>
            <a:chExt cx="1019810" cy="1019810"/>
          </a:xfrm>
          <a:solidFill>
            <a:schemeClr val="accent3"/>
          </a:solidFill>
        </p:grpSpPr>
        <p:sp>
          <p:nvSpPr>
            <p:cNvPr id="107" name="Oval 106">
              <a:extLst>
                <a:ext uri="{FF2B5EF4-FFF2-40B4-BE49-F238E27FC236}">
                  <a16:creationId xmlns:a16="http://schemas.microsoft.com/office/drawing/2014/main" id="{F8AF0032-E31C-4F8D-9F09-14E49161598A}"/>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109" name="Graphic 108">
              <a:extLst>
                <a:ext uri="{FF2B5EF4-FFF2-40B4-BE49-F238E27FC236}">
                  <a16:creationId xmlns:a16="http://schemas.microsoft.com/office/drawing/2014/main" id="{F124D493-BED8-4F27-86CD-9872F1D6435E}"/>
                </a:ext>
              </a:extLst>
            </p:cNvPr>
            <p:cNvPicPr>
              <a:picLocks noChangeAspect="1"/>
            </p:cNvPicPr>
            <p:nvPr/>
          </p:nvPicPr>
          <p:blipFill>
            <a:blip r:embed="rId44" cstate="email">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0" y="0"/>
              <a:ext cx="609600" cy="609600"/>
            </a:xfrm>
            <a:prstGeom prst="rect">
              <a:avLst/>
            </a:prstGeom>
          </p:spPr>
        </p:pic>
      </p:grpSp>
      <p:grpSp>
        <p:nvGrpSpPr>
          <p:cNvPr id="114" name="CustomIcon">
            <a:extLst>
              <a:ext uri="{FF2B5EF4-FFF2-40B4-BE49-F238E27FC236}">
                <a16:creationId xmlns:a16="http://schemas.microsoft.com/office/drawing/2014/main" id="{0CE9DCDB-E5A3-4B34-89D0-0E85652B7EAE}"/>
              </a:ext>
            </a:extLst>
          </p:cNvPr>
          <p:cNvGrpSpPr>
            <a:grpSpLocks noChangeAspect="1"/>
          </p:cNvGrpSpPr>
          <p:nvPr>
            <p:custDataLst>
              <p:tags r:id="rId23"/>
            </p:custDataLst>
          </p:nvPr>
        </p:nvGrpSpPr>
        <p:grpSpPr>
          <a:xfrm>
            <a:off x="7807100" y="3818771"/>
            <a:ext cx="411480" cy="411480"/>
            <a:chOff x="-205105" y="-205105"/>
            <a:chExt cx="1019810" cy="1019810"/>
          </a:xfrm>
          <a:solidFill>
            <a:schemeClr val="accent3"/>
          </a:solidFill>
        </p:grpSpPr>
        <p:sp>
          <p:nvSpPr>
            <p:cNvPr id="111" name="Oval 110">
              <a:extLst>
                <a:ext uri="{FF2B5EF4-FFF2-40B4-BE49-F238E27FC236}">
                  <a16:creationId xmlns:a16="http://schemas.microsoft.com/office/drawing/2014/main" id="{2E8F0012-AD5C-4931-9C85-FD7AB308BF82}"/>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113" name="Graphic 112">
              <a:extLst>
                <a:ext uri="{FF2B5EF4-FFF2-40B4-BE49-F238E27FC236}">
                  <a16:creationId xmlns:a16="http://schemas.microsoft.com/office/drawing/2014/main" id="{3A954131-2E00-499D-B336-8091A0282F4B}"/>
                </a:ext>
              </a:extLst>
            </p:cNvPr>
            <p:cNvPicPr>
              <a:picLocks noChangeAspect="1"/>
            </p:cNvPicPr>
            <p:nvPr/>
          </p:nvPicPr>
          <p:blipFill>
            <a:blip r:embed="rId46" cstate="email">
              <a:extLst>
                <a:ext uri="{28A0092B-C50C-407E-A947-70E740481C1C}">
                  <a14:useLocalDpi xmlns:a14="http://schemas.microsoft.com/office/drawing/2010/main"/>
                </a:ext>
                <a:ext uri="{96DAC541-7B7A-43D3-8B79-37D633B846F1}">
                  <asvg:svgBlip xmlns:asvg="http://schemas.microsoft.com/office/drawing/2016/SVG/main" r:embed="rId47"/>
                </a:ext>
              </a:extLst>
            </a:blip>
            <a:stretch>
              <a:fillRect/>
            </a:stretch>
          </p:blipFill>
          <p:spPr>
            <a:xfrm>
              <a:off x="0" y="0"/>
              <a:ext cx="609600" cy="609600"/>
            </a:xfrm>
            <a:prstGeom prst="rect">
              <a:avLst/>
            </a:prstGeom>
          </p:spPr>
        </p:pic>
      </p:grpSp>
      <p:grpSp>
        <p:nvGrpSpPr>
          <p:cNvPr id="118" name="CustomIcon">
            <a:extLst>
              <a:ext uri="{FF2B5EF4-FFF2-40B4-BE49-F238E27FC236}">
                <a16:creationId xmlns:a16="http://schemas.microsoft.com/office/drawing/2014/main" id="{2F4D1488-FD0D-4FD3-87F3-C736B814521C}"/>
              </a:ext>
            </a:extLst>
          </p:cNvPr>
          <p:cNvGrpSpPr>
            <a:grpSpLocks noChangeAspect="1"/>
          </p:cNvGrpSpPr>
          <p:nvPr>
            <p:custDataLst>
              <p:tags r:id="rId24"/>
            </p:custDataLst>
          </p:nvPr>
        </p:nvGrpSpPr>
        <p:grpSpPr>
          <a:xfrm>
            <a:off x="10075882" y="1349345"/>
            <a:ext cx="411480" cy="411480"/>
            <a:chOff x="-205105" y="-205105"/>
            <a:chExt cx="1019810" cy="1019810"/>
          </a:xfrm>
        </p:grpSpPr>
        <p:sp>
          <p:nvSpPr>
            <p:cNvPr id="115" name="Oval 114">
              <a:extLst>
                <a:ext uri="{FF2B5EF4-FFF2-40B4-BE49-F238E27FC236}">
                  <a16:creationId xmlns:a16="http://schemas.microsoft.com/office/drawing/2014/main" id="{A9392146-127A-44BA-B93F-3B766D595C1B}"/>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117" name="Graphic 116">
              <a:extLst>
                <a:ext uri="{FF2B5EF4-FFF2-40B4-BE49-F238E27FC236}">
                  <a16:creationId xmlns:a16="http://schemas.microsoft.com/office/drawing/2014/main" id="{65ACD6CC-57F7-4678-AA00-33F8457B6B37}"/>
                </a:ext>
              </a:extLst>
            </p:cNvPr>
            <p:cNvPicPr>
              <a:picLocks noChangeAspect="1"/>
            </p:cNvPicPr>
            <p:nvPr/>
          </p:nvPicPr>
          <p:blipFill>
            <a:blip r:embed="rId48" cstate="email">
              <a:extLst>
                <a:ext uri="{28A0092B-C50C-407E-A947-70E740481C1C}">
                  <a14:useLocalDpi xmlns:a14="http://schemas.microsoft.com/office/drawing/2010/main"/>
                </a:ext>
                <a:ext uri="{96DAC541-7B7A-43D3-8B79-37D633B846F1}">
                  <asvg:svgBlip xmlns:asvg="http://schemas.microsoft.com/office/drawing/2016/SVG/main" r:embed="rId49"/>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15224069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5B5620AE-A97D-434A-9C5E-AC5E3ECDB149}"/>
              </a:ext>
            </a:extLst>
          </p:cNvPr>
          <p:cNvGraphicFramePr>
            <a:graphicFrameLocks noChangeAspect="1"/>
          </p:cNvGraphicFramePr>
          <p:nvPr>
            <p:custDataLst>
              <p:tags r:id="rId1"/>
            </p:custDataLst>
            <p:extLst>
              <p:ext uri="{D42A27DB-BD31-4B8C-83A1-F6EECF244321}">
                <p14:modId xmlns:p14="http://schemas.microsoft.com/office/powerpoint/2010/main" val="783977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2" imgW="395" imgH="396" progId="TCLayout.ActiveDocument.1">
                  <p:embed/>
                </p:oleObj>
              </mc:Choice>
              <mc:Fallback>
                <p:oleObj name="think-cell Slide" r:id="rId92" imgW="395" imgH="396" progId="TCLayout.ActiveDocument.1">
                  <p:embed/>
                  <p:pic>
                    <p:nvPicPr>
                      <p:cNvPr id="6" name="Object 5" hidden="1">
                        <a:extLst>
                          <a:ext uri="{FF2B5EF4-FFF2-40B4-BE49-F238E27FC236}">
                            <a16:creationId xmlns:a16="http://schemas.microsoft.com/office/drawing/2014/main" id="{5B5620AE-A97D-434A-9C5E-AC5E3ECDB149}"/>
                          </a:ext>
                        </a:extLst>
                      </p:cNvPr>
                      <p:cNvPicPr/>
                      <p:nvPr/>
                    </p:nvPicPr>
                    <p:blipFill>
                      <a:blip r:embed="rId93"/>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1916CB09-C425-4180-B12C-F95073F88137}"/>
              </a:ext>
            </a:extLst>
          </p:cNvPr>
          <p:cNvSpPr>
            <a:spLocks noGrp="1"/>
          </p:cNvSpPr>
          <p:nvPr>
            <p:ph type="title"/>
            <p:custDataLst>
              <p:tags r:id="rId2"/>
            </p:custDataLst>
          </p:nvPr>
        </p:nvSpPr>
        <p:spPr>
          <a:xfrm>
            <a:off x="637385" y="455347"/>
            <a:ext cx="5065776" cy="1107995"/>
          </a:xfrm>
        </p:spPr>
        <p:txBody>
          <a:bodyPr vert="horz"/>
          <a:lstStyle/>
          <a:p>
            <a:pPr algn="l" rtl="0"/>
            <a:r>
              <a:rPr lang="en-GB" dirty="0"/>
              <a:t>. …et mettre en œuvre le plus grand programme de vaccination de l’histoire de l’Afrique</a:t>
            </a:r>
          </a:p>
        </p:txBody>
      </p:sp>
      <p:sp>
        <p:nvSpPr>
          <p:cNvPr id="195" name="Freeform 135">
            <a:extLst>
              <a:ext uri="{FF2B5EF4-FFF2-40B4-BE49-F238E27FC236}">
                <a16:creationId xmlns:a16="http://schemas.microsoft.com/office/drawing/2014/main" id="{B5916DBD-4EDC-432D-9ADB-29AC17C54D5D}"/>
              </a:ext>
            </a:extLst>
          </p:cNvPr>
          <p:cNvSpPr>
            <a:spLocks noEditPoints="1"/>
          </p:cNvSpPr>
          <p:nvPr/>
        </p:nvSpPr>
        <p:spPr bwMode="gray">
          <a:xfrm>
            <a:off x="6052160" y="624721"/>
            <a:ext cx="5786052" cy="5683842"/>
          </a:xfrm>
          <a:custGeom>
            <a:avLst/>
            <a:gdLst>
              <a:gd name="T0" fmla="*/ 2905 w 3887"/>
              <a:gd name="T1" fmla="*/ 3365 h 3667"/>
              <a:gd name="T2" fmla="*/ 3056 w 3887"/>
              <a:gd name="T3" fmla="*/ 2956 h 3667"/>
              <a:gd name="T4" fmla="*/ 3231 w 3887"/>
              <a:gd name="T5" fmla="*/ 2771 h 3667"/>
              <a:gd name="T6" fmla="*/ 3337 w 3887"/>
              <a:gd name="T7" fmla="*/ 2587 h 3667"/>
              <a:gd name="T8" fmla="*/ 3299 w 3887"/>
              <a:gd name="T9" fmla="*/ 2400 h 3667"/>
              <a:gd name="T10" fmla="*/ 3264 w 3887"/>
              <a:gd name="T11" fmla="*/ 2159 h 3667"/>
              <a:gd name="T12" fmla="*/ 3413 w 3887"/>
              <a:gd name="T13" fmla="*/ 1951 h 3667"/>
              <a:gd name="T14" fmla="*/ 3865 w 3887"/>
              <a:gd name="T15" fmla="*/ 1298 h 3667"/>
              <a:gd name="T16" fmla="*/ 3483 w 3887"/>
              <a:gd name="T17" fmla="*/ 1283 h 3667"/>
              <a:gd name="T18" fmla="*/ 3315 w 3887"/>
              <a:gd name="T19" fmla="*/ 1124 h 3667"/>
              <a:gd name="T20" fmla="*/ 3168 w 3887"/>
              <a:gd name="T21" fmla="*/ 874 h 3667"/>
              <a:gd name="T22" fmla="*/ 3029 w 3887"/>
              <a:gd name="T23" fmla="*/ 594 h 3667"/>
              <a:gd name="T24" fmla="*/ 3017 w 3887"/>
              <a:gd name="T25" fmla="*/ 495 h 3667"/>
              <a:gd name="T26" fmla="*/ 2808 w 3887"/>
              <a:gd name="T27" fmla="*/ 316 h 3667"/>
              <a:gd name="T28" fmla="*/ 2293 w 3887"/>
              <a:gd name="T29" fmla="*/ 292 h 3667"/>
              <a:gd name="T30" fmla="*/ 1824 w 3887"/>
              <a:gd name="T31" fmla="*/ 146 h 3667"/>
              <a:gd name="T32" fmla="*/ 1642 w 3887"/>
              <a:gd name="T33" fmla="*/ 31 h 3667"/>
              <a:gd name="T34" fmla="*/ 1230 w 3887"/>
              <a:gd name="T35" fmla="*/ 95 h 3667"/>
              <a:gd name="T36" fmla="*/ 816 w 3887"/>
              <a:gd name="T37" fmla="*/ 258 h 3667"/>
              <a:gd name="T38" fmla="*/ 440 w 3887"/>
              <a:gd name="T39" fmla="*/ 772 h 3667"/>
              <a:gd name="T40" fmla="*/ 431 w 3887"/>
              <a:gd name="T41" fmla="*/ 1186 h 3667"/>
              <a:gd name="T42" fmla="*/ 457 w 3887"/>
              <a:gd name="T43" fmla="*/ 1293 h 3667"/>
              <a:gd name="T44" fmla="*/ 520 w 3887"/>
              <a:gd name="T45" fmla="*/ 1313 h 3667"/>
              <a:gd name="T46" fmla="*/ 530 w 3887"/>
              <a:gd name="T47" fmla="*/ 1339 h 3667"/>
              <a:gd name="T48" fmla="*/ 601 w 3887"/>
              <a:gd name="T49" fmla="*/ 1417 h 3667"/>
              <a:gd name="T50" fmla="*/ 651 w 3887"/>
              <a:gd name="T51" fmla="*/ 1509 h 3667"/>
              <a:gd name="T52" fmla="*/ 1195 w 3887"/>
              <a:gd name="T53" fmla="*/ 1655 h 3667"/>
              <a:gd name="T54" fmla="*/ 1601 w 3887"/>
              <a:gd name="T55" fmla="*/ 1677 h 3667"/>
              <a:gd name="T56" fmla="*/ 1718 w 3887"/>
              <a:gd name="T57" fmla="*/ 1658 h 3667"/>
              <a:gd name="T58" fmla="*/ 1785 w 3887"/>
              <a:gd name="T59" fmla="*/ 1759 h 3667"/>
              <a:gd name="T60" fmla="*/ 1735 w 3887"/>
              <a:gd name="T61" fmla="*/ 1941 h 3667"/>
              <a:gd name="T62" fmla="*/ 1958 w 3887"/>
              <a:gd name="T63" fmla="*/ 2346 h 3667"/>
              <a:gd name="T64" fmla="*/ 1881 w 3887"/>
              <a:gd name="T65" fmla="*/ 2701 h 3667"/>
              <a:gd name="T66" fmla="*/ 2062 w 3887"/>
              <a:gd name="T67" fmla="*/ 3290 h 3667"/>
              <a:gd name="T68" fmla="*/ 2244 w 3887"/>
              <a:gd name="T69" fmla="*/ 3644 h 3667"/>
              <a:gd name="T70" fmla="*/ 2990 w 3887"/>
              <a:gd name="T71" fmla="*/ 495 h 3667"/>
              <a:gd name="T72" fmla="*/ 3223 w 3887"/>
              <a:gd name="T73" fmla="*/ 975 h 3667"/>
              <a:gd name="T74" fmla="*/ 124 w 3887"/>
              <a:gd name="T75" fmla="*/ 1078 h 3667"/>
              <a:gd name="T76" fmla="*/ 3306 w 3887"/>
              <a:gd name="T77" fmla="*/ 1106 h 3667"/>
              <a:gd name="T78" fmla="*/ 93 w 3887"/>
              <a:gd name="T79" fmla="*/ 1146 h 3667"/>
              <a:gd name="T80" fmla="*/ 442 w 3887"/>
              <a:gd name="T81" fmla="*/ 1208 h 3667"/>
              <a:gd name="T82" fmla="*/ 437 w 3887"/>
              <a:gd name="T83" fmla="*/ 1267 h 3667"/>
              <a:gd name="T84" fmla="*/ 469 w 3887"/>
              <a:gd name="T85" fmla="*/ 1323 h 3667"/>
              <a:gd name="T86" fmla="*/ 477 w 3887"/>
              <a:gd name="T87" fmla="*/ 1339 h 3667"/>
              <a:gd name="T88" fmla="*/ 620 w 3887"/>
              <a:gd name="T89" fmla="*/ 1451 h 3667"/>
              <a:gd name="T90" fmla="*/ 1696 w 3887"/>
              <a:gd name="T91" fmla="*/ 1647 h 3667"/>
              <a:gd name="T92" fmla="*/ 1642 w 3887"/>
              <a:gd name="T93" fmla="*/ 1667 h 3667"/>
              <a:gd name="T94" fmla="*/ 1655 w 3887"/>
              <a:gd name="T95" fmla="*/ 1672 h 3667"/>
              <a:gd name="T96" fmla="*/ 1756 w 3887"/>
              <a:gd name="T97" fmla="*/ 1701 h 3667"/>
              <a:gd name="T98" fmla="*/ 3384 w 3887"/>
              <a:gd name="T99" fmla="*/ 1990 h 3667"/>
              <a:gd name="T100" fmla="*/ 3272 w 3887"/>
              <a:gd name="T101" fmla="*/ 2199 h 3667"/>
              <a:gd name="T102" fmla="*/ 3301 w 3887"/>
              <a:gd name="T103" fmla="*/ 2303 h 3667"/>
              <a:gd name="T104" fmla="*/ 3661 w 3887"/>
              <a:gd name="T105" fmla="*/ 3172 h 3667"/>
              <a:gd name="T106" fmla="*/ 3811 w 3887"/>
              <a:gd name="T107" fmla="*/ 2686 h 3667"/>
              <a:gd name="T108" fmla="*/ 3779 w 3887"/>
              <a:gd name="T109" fmla="*/ 2507 h 3667"/>
              <a:gd name="T110" fmla="*/ 3714 w 3887"/>
              <a:gd name="T111" fmla="*/ 2587 h 3667"/>
              <a:gd name="T112" fmla="*/ 3668 w 3887"/>
              <a:gd name="T113" fmla="*/ 2686 h 3667"/>
              <a:gd name="T114" fmla="*/ 3532 w 3887"/>
              <a:gd name="T115" fmla="*/ 2730 h 3667"/>
              <a:gd name="T116" fmla="*/ 3481 w 3887"/>
              <a:gd name="T117" fmla="*/ 3002 h 3667"/>
              <a:gd name="T118" fmla="*/ 3342 w 3887"/>
              <a:gd name="T119" fmla="*/ 2526 h 3667"/>
              <a:gd name="T120" fmla="*/ 3726 w 3887"/>
              <a:gd name="T121" fmla="*/ 2580 h 3667"/>
              <a:gd name="T122" fmla="*/ 3636 w 3887"/>
              <a:gd name="T123" fmla="*/ 2708 h 3667"/>
              <a:gd name="T124" fmla="*/ 3510 w 3887"/>
              <a:gd name="T125" fmla="*/ 2788 h 3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87" h="3667">
                <a:moveTo>
                  <a:pt x="1735" y="0"/>
                </a:moveTo>
                <a:lnTo>
                  <a:pt x="1737" y="0"/>
                </a:lnTo>
                <a:lnTo>
                  <a:pt x="1735" y="0"/>
                </a:lnTo>
                <a:close/>
                <a:moveTo>
                  <a:pt x="2300" y="3666"/>
                </a:moveTo>
                <a:lnTo>
                  <a:pt x="2300" y="3664"/>
                </a:lnTo>
                <a:lnTo>
                  <a:pt x="2301" y="3662"/>
                </a:lnTo>
                <a:lnTo>
                  <a:pt x="2305" y="3659"/>
                </a:lnTo>
                <a:lnTo>
                  <a:pt x="2308" y="3659"/>
                </a:lnTo>
                <a:lnTo>
                  <a:pt x="2310" y="3657"/>
                </a:lnTo>
                <a:lnTo>
                  <a:pt x="2317" y="3654"/>
                </a:lnTo>
                <a:lnTo>
                  <a:pt x="2318" y="3650"/>
                </a:lnTo>
                <a:lnTo>
                  <a:pt x="2323" y="3649"/>
                </a:lnTo>
                <a:lnTo>
                  <a:pt x="2330" y="3647"/>
                </a:lnTo>
                <a:lnTo>
                  <a:pt x="2339" y="3649"/>
                </a:lnTo>
                <a:lnTo>
                  <a:pt x="2340" y="3647"/>
                </a:lnTo>
                <a:lnTo>
                  <a:pt x="2340" y="3645"/>
                </a:lnTo>
                <a:lnTo>
                  <a:pt x="2344" y="3644"/>
                </a:lnTo>
                <a:lnTo>
                  <a:pt x="2352" y="3644"/>
                </a:lnTo>
                <a:lnTo>
                  <a:pt x="2363" y="3647"/>
                </a:lnTo>
                <a:lnTo>
                  <a:pt x="2369" y="3644"/>
                </a:lnTo>
                <a:lnTo>
                  <a:pt x="2374" y="3642"/>
                </a:lnTo>
                <a:lnTo>
                  <a:pt x="2383" y="3645"/>
                </a:lnTo>
                <a:lnTo>
                  <a:pt x="2390" y="3644"/>
                </a:lnTo>
                <a:lnTo>
                  <a:pt x="2393" y="3642"/>
                </a:lnTo>
                <a:lnTo>
                  <a:pt x="2393" y="3640"/>
                </a:lnTo>
                <a:lnTo>
                  <a:pt x="2395" y="3640"/>
                </a:lnTo>
                <a:lnTo>
                  <a:pt x="2393" y="3639"/>
                </a:lnTo>
                <a:lnTo>
                  <a:pt x="2395" y="3637"/>
                </a:lnTo>
                <a:lnTo>
                  <a:pt x="2407" y="3633"/>
                </a:lnTo>
                <a:lnTo>
                  <a:pt x="2403" y="3632"/>
                </a:lnTo>
                <a:lnTo>
                  <a:pt x="2405" y="3630"/>
                </a:lnTo>
                <a:lnTo>
                  <a:pt x="2407" y="3628"/>
                </a:lnTo>
                <a:lnTo>
                  <a:pt x="2412" y="3627"/>
                </a:lnTo>
                <a:lnTo>
                  <a:pt x="2417" y="3628"/>
                </a:lnTo>
                <a:lnTo>
                  <a:pt x="2422" y="3627"/>
                </a:lnTo>
                <a:lnTo>
                  <a:pt x="2427" y="3625"/>
                </a:lnTo>
                <a:lnTo>
                  <a:pt x="2437" y="3627"/>
                </a:lnTo>
                <a:lnTo>
                  <a:pt x="2448" y="3630"/>
                </a:lnTo>
                <a:lnTo>
                  <a:pt x="2448" y="3628"/>
                </a:lnTo>
                <a:lnTo>
                  <a:pt x="2449" y="3628"/>
                </a:lnTo>
                <a:lnTo>
                  <a:pt x="2470" y="3630"/>
                </a:lnTo>
                <a:lnTo>
                  <a:pt x="2468" y="3630"/>
                </a:lnTo>
                <a:lnTo>
                  <a:pt x="2468" y="3628"/>
                </a:lnTo>
                <a:lnTo>
                  <a:pt x="2468" y="3627"/>
                </a:lnTo>
                <a:lnTo>
                  <a:pt x="2470" y="3625"/>
                </a:lnTo>
                <a:lnTo>
                  <a:pt x="2475" y="3625"/>
                </a:lnTo>
                <a:lnTo>
                  <a:pt x="2476" y="3623"/>
                </a:lnTo>
                <a:lnTo>
                  <a:pt x="2482" y="3623"/>
                </a:lnTo>
                <a:lnTo>
                  <a:pt x="2493" y="3627"/>
                </a:lnTo>
                <a:lnTo>
                  <a:pt x="2509" y="3627"/>
                </a:lnTo>
                <a:lnTo>
                  <a:pt x="2516" y="3630"/>
                </a:lnTo>
                <a:lnTo>
                  <a:pt x="2519" y="3630"/>
                </a:lnTo>
                <a:lnTo>
                  <a:pt x="2524" y="3633"/>
                </a:lnTo>
                <a:lnTo>
                  <a:pt x="2529" y="3633"/>
                </a:lnTo>
                <a:lnTo>
                  <a:pt x="2531" y="3633"/>
                </a:lnTo>
                <a:lnTo>
                  <a:pt x="2533" y="3633"/>
                </a:lnTo>
                <a:lnTo>
                  <a:pt x="2541" y="3635"/>
                </a:lnTo>
                <a:lnTo>
                  <a:pt x="2543" y="3635"/>
                </a:lnTo>
                <a:lnTo>
                  <a:pt x="2541" y="3633"/>
                </a:lnTo>
                <a:lnTo>
                  <a:pt x="2541" y="3632"/>
                </a:lnTo>
                <a:lnTo>
                  <a:pt x="2546" y="3628"/>
                </a:lnTo>
                <a:lnTo>
                  <a:pt x="2546" y="3625"/>
                </a:lnTo>
                <a:lnTo>
                  <a:pt x="2551" y="3623"/>
                </a:lnTo>
                <a:lnTo>
                  <a:pt x="2560" y="3623"/>
                </a:lnTo>
                <a:lnTo>
                  <a:pt x="2570" y="3627"/>
                </a:lnTo>
                <a:lnTo>
                  <a:pt x="2573" y="3627"/>
                </a:lnTo>
                <a:lnTo>
                  <a:pt x="2578" y="3627"/>
                </a:lnTo>
                <a:lnTo>
                  <a:pt x="2582" y="3627"/>
                </a:lnTo>
                <a:lnTo>
                  <a:pt x="2584" y="3627"/>
                </a:lnTo>
                <a:lnTo>
                  <a:pt x="2585" y="3627"/>
                </a:lnTo>
                <a:lnTo>
                  <a:pt x="2584" y="3623"/>
                </a:lnTo>
                <a:lnTo>
                  <a:pt x="2580" y="3621"/>
                </a:lnTo>
                <a:lnTo>
                  <a:pt x="2580" y="3620"/>
                </a:lnTo>
                <a:lnTo>
                  <a:pt x="2584" y="3615"/>
                </a:lnTo>
                <a:lnTo>
                  <a:pt x="2590" y="3611"/>
                </a:lnTo>
                <a:lnTo>
                  <a:pt x="2595" y="3610"/>
                </a:lnTo>
                <a:lnTo>
                  <a:pt x="2602" y="3610"/>
                </a:lnTo>
                <a:lnTo>
                  <a:pt x="2607" y="3610"/>
                </a:lnTo>
                <a:lnTo>
                  <a:pt x="2618" y="3613"/>
                </a:lnTo>
                <a:lnTo>
                  <a:pt x="2619" y="3613"/>
                </a:lnTo>
                <a:lnTo>
                  <a:pt x="2624" y="3613"/>
                </a:lnTo>
                <a:lnTo>
                  <a:pt x="2629" y="3611"/>
                </a:lnTo>
                <a:lnTo>
                  <a:pt x="2638" y="3606"/>
                </a:lnTo>
                <a:lnTo>
                  <a:pt x="2645" y="3606"/>
                </a:lnTo>
                <a:lnTo>
                  <a:pt x="2648" y="3603"/>
                </a:lnTo>
                <a:lnTo>
                  <a:pt x="2652" y="3603"/>
                </a:lnTo>
                <a:lnTo>
                  <a:pt x="2653" y="3601"/>
                </a:lnTo>
                <a:lnTo>
                  <a:pt x="2657" y="3601"/>
                </a:lnTo>
                <a:lnTo>
                  <a:pt x="2658" y="3598"/>
                </a:lnTo>
                <a:lnTo>
                  <a:pt x="2662" y="3598"/>
                </a:lnTo>
                <a:lnTo>
                  <a:pt x="2677" y="3587"/>
                </a:lnTo>
                <a:lnTo>
                  <a:pt x="2682" y="3584"/>
                </a:lnTo>
                <a:lnTo>
                  <a:pt x="2687" y="3581"/>
                </a:lnTo>
                <a:lnTo>
                  <a:pt x="2697" y="3576"/>
                </a:lnTo>
                <a:lnTo>
                  <a:pt x="2699" y="3572"/>
                </a:lnTo>
                <a:lnTo>
                  <a:pt x="2706" y="3569"/>
                </a:lnTo>
                <a:lnTo>
                  <a:pt x="2709" y="3564"/>
                </a:lnTo>
                <a:lnTo>
                  <a:pt x="2721" y="3559"/>
                </a:lnTo>
                <a:lnTo>
                  <a:pt x="2723" y="3555"/>
                </a:lnTo>
                <a:lnTo>
                  <a:pt x="2728" y="3553"/>
                </a:lnTo>
                <a:lnTo>
                  <a:pt x="2733" y="3548"/>
                </a:lnTo>
                <a:lnTo>
                  <a:pt x="2735" y="3548"/>
                </a:lnTo>
                <a:lnTo>
                  <a:pt x="2735" y="3547"/>
                </a:lnTo>
                <a:lnTo>
                  <a:pt x="2740" y="3543"/>
                </a:lnTo>
                <a:lnTo>
                  <a:pt x="2742" y="3540"/>
                </a:lnTo>
                <a:lnTo>
                  <a:pt x="2747" y="3538"/>
                </a:lnTo>
                <a:lnTo>
                  <a:pt x="2747" y="3535"/>
                </a:lnTo>
                <a:lnTo>
                  <a:pt x="2750" y="3535"/>
                </a:lnTo>
                <a:lnTo>
                  <a:pt x="2754" y="3530"/>
                </a:lnTo>
                <a:lnTo>
                  <a:pt x="2757" y="3528"/>
                </a:lnTo>
                <a:lnTo>
                  <a:pt x="2759" y="3523"/>
                </a:lnTo>
                <a:lnTo>
                  <a:pt x="2762" y="3521"/>
                </a:lnTo>
                <a:lnTo>
                  <a:pt x="2764" y="3521"/>
                </a:lnTo>
                <a:lnTo>
                  <a:pt x="2765" y="3516"/>
                </a:lnTo>
                <a:lnTo>
                  <a:pt x="2769" y="3514"/>
                </a:lnTo>
                <a:lnTo>
                  <a:pt x="2771" y="3513"/>
                </a:lnTo>
                <a:lnTo>
                  <a:pt x="2771" y="3511"/>
                </a:lnTo>
                <a:lnTo>
                  <a:pt x="2772" y="3509"/>
                </a:lnTo>
                <a:lnTo>
                  <a:pt x="2774" y="3508"/>
                </a:lnTo>
                <a:lnTo>
                  <a:pt x="2781" y="3506"/>
                </a:lnTo>
                <a:lnTo>
                  <a:pt x="2786" y="3501"/>
                </a:lnTo>
                <a:lnTo>
                  <a:pt x="2789" y="3496"/>
                </a:lnTo>
                <a:lnTo>
                  <a:pt x="2791" y="3496"/>
                </a:lnTo>
                <a:lnTo>
                  <a:pt x="2794" y="3496"/>
                </a:lnTo>
                <a:lnTo>
                  <a:pt x="2796" y="3494"/>
                </a:lnTo>
                <a:lnTo>
                  <a:pt x="2806" y="3484"/>
                </a:lnTo>
                <a:lnTo>
                  <a:pt x="2808" y="3482"/>
                </a:lnTo>
                <a:lnTo>
                  <a:pt x="2815" y="3475"/>
                </a:lnTo>
                <a:lnTo>
                  <a:pt x="2823" y="3465"/>
                </a:lnTo>
                <a:lnTo>
                  <a:pt x="2830" y="3453"/>
                </a:lnTo>
                <a:lnTo>
                  <a:pt x="2840" y="3439"/>
                </a:lnTo>
                <a:lnTo>
                  <a:pt x="2847" y="3424"/>
                </a:lnTo>
                <a:lnTo>
                  <a:pt x="2857" y="3416"/>
                </a:lnTo>
                <a:lnTo>
                  <a:pt x="2856" y="3414"/>
                </a:lnTo>
                <a:lnTo>
                  <a:pt x="2857" y="3411"/>
                </a:lnTo>
                <a:lnTo>
                  <a:pt x="2862" y="3400"/>
                </a:lnTo>
                <a:lnTo>
                  <a:pt x="2871" y="3390"/>
                </a:lnTo>
                <a:lnTo>
                  <a:pt x="2883" y="3380"/>
                </a:lnTo>
                <a:lnTo>
                  <a:pt x="2891" y="3370"/>
                </a:lnTo>
                <a:lnTo>
                  <a:pt x="2905" y="3365"/>
                </a:lnTo>
                <a:lnTo>
                  <a:pt x="2920" y="3353"/>
                </a:lnTo>
                <a:lnTo>
                  <a:pt x="2924" y="3348"/>
                </a:lnTo>
                <a:lnTo>
                  <a:pt x="2925" y="3346"/>
                </a:lnTo>
                <a:lnTo>
                  <a:pt x="2927" y="3339"/>
                </a:lnTo>
                <a:lnTo>
                  <a:pt x="2932" y="3327"/>
                </a:lnTo>
                <a:lnTo>
                  <a:pt x="2935" y="3312"/>
                </a:lnTo>
                <a:lnTo>
                  <a:pt x="2939" y="3297"/>
                </a:lnTo>
                <a:lnTo>
                  <a:pt x="2939" y="3295"/>
                </a:lnTo>
                <a:lnTo>
                  <a:pt x="2947" y="3276"/>
                </a:lnTo>
                <a:lnTo>
                  <a:pt x="2949" y="3263"/>
                </a:lnTo>
                <a:lnTo>
                  <a:pt x="2951" y="3256"/>
                </a:lnTo>
                <a:lnTo>
                  <a:pt x="2949" y="3252"/>
                </a:lnTo>
                <a:lnTo>
                  <a:pt x="2951" y="3242"/>
                </a:lnTo>
                <a:lnTo>
                  <a:pt x="2951" y="3239"/>
                </a:lnTo>
                <a:lnTo>
                  <a:pt x="2952" y="3223"/>
                </a:lnTo>
                <a:lnTo>
                  <a:pt x="2951" y="3225"/>
                </a:lnTo>
                <a:lnTo>
                  <a:pt x="2949" y="3229"/>
                </a:lnTo>
                <a:lnTo>
                  <a:pt x="2947" y="3232"/>
                </a:lnTo>
                <a:lnTo>
                  <a:pt x="2949" y="3234"/>
                </a:lnTo>
                <a:lnTo>
                  <a:pt x="2946" y="3234"/>
                </a:lnTo>
                <a:lnTo>
                  <a:pt x="2941" y="3229"/>
                </a:lnTo>
                <a:lnTo>
                  <a:pt x="2939" y="3229"/>
                </a:lnTo>
                <a:lnTo>
                  <a:pt x="2937" y="3225"/>
                </a:lnTo>
                <a:lnTo>
                  <a:pt x="2935" y="3220"/>
                </a:lnTo>
                <a:lnTo>
                  <a:pt x="2934" y="3220"/>
                </a:lnTo>
                <a:lnTo>
                  <a:pt x="2932" y="3218"/>
                </a:lnTo>
                <a:lnTo>
                  <a:pt x="2929" y="3218"/>
                </a:lnTo>
                <a:lnTo>
                  <a:pt x="2930" y="3220"/>
                </a:lnTo>
                <a:lnTo>
                  <a:pt x="2929" y="3220"/>
                </a:lnTo>
                <a:lnTo>
                  <a:pt x="2929" y="3218"/>
                </a:lnTo>
                <a:lnTo>
                  <a:pt x="2930" y="3215"/>
                </a:lnTo>
                <a:lnTo>
                  <a:pt x="2934" y="3218"/>
                </a:lnTo>
                <a:lnTo>
                  <a:pt x="2939" y="3213"/>
                </a:lnTo>
                <a:lnTo>
                  <a:pt x="2941" y="3210"/>
                </a:lnTo>
                <a:lnTo>
                  <a:pt x="2942" y="3213"/>
                </a:lnTo>
                <a:lnTo>
                  <a:pt x="2942" y="3210"/>
                </a:lnTo>
                <a:lnTo>
                  <a:pt x="2942" y="3206"/>
                </a:lnTo>
                <a:lnTo>
                  <a:pt x="2947" y="3198"/>
                </a:lnTo>
                <a:lnTo>
                  <a:pt x="2958" y="3189"/>
                </a:lnTo>
                <a:lnTo>
                  <a:pt x="2966" y="3186"/>
                </a:lnTo>
                <a:lnTo>
                  <a:pt x="2981" y="3179"/>
                </a:lnTo>
                <a:lnTo>
                  <a:pt x="2998" y="3172"/>
                </a:lnTo>
                <a:lnTo>
                  <a:pt x="3005" y="3171"/>
                </a:lnTo>
                <a:lnTo>
                  <a:pt x="3017" y="3166"/>
                </a:lnTo>
                <a:lnTo>
                  <a:pt x="3022" y="3164"/>
                </a:lnTo>
                <a:lnTo>
                  <a:pt x="3027" y="3162"/>
                </a:lnTo>
                <a:lnTo>
                  <a:pt x="3046" y="3155"/>
                </a:lnTo>
                <a:lnTo>
                  <a:pt x="3060" y="3150"/>
                </a:lnTo>
                <a:lnTo>
                  <a:pt x="3063" y="3147"/>
                </a:lnTo>
                <a:lnTo>
                  <a:pt x="3066" y="3145"/>
                </a:lnTo>
                <a:lnTo>
                  <a:pt x="3066" y="3142"/>
                </a:lnTo>
                <a:lnTo>
                  <a:pt x="3077" y="3130"/>
                </a:lnTo>
                <a:lnTo>
                  <a:pt x="3082" y="3123"/>
                </a:lnTo>
                <a:lnTo>
                  <a:pt x="3082" y="3118"/>
                </a:lnTo>
                <a:lnTo>
                  <a:pt x="3085" y="3111"/>
                </a:lnTo>
                <a:lnTo>
                  <a:pt x="3083" y="3109"/>
                </a:lnTo>
                <a:lnTo>
                  <a:pt x="3083" y="3108"/>
                </a:lnTo>
                <a:lnTo>
                  <a:pt x="3082" y="3106"/>
                </a:lnTo>
                <a:lnTo>
                  <a:pt x="3082" y="3109"/>
                </a:lnTo>
                <a:lnTo>
                  <a:pt x="3080" y="3111"/>
                </a:lnTo>
                <a:lnTo>
                  <a:pt x="3078" y="3109"/>
                </a:lnTo>
                <a:lnTo>
                  <a:pt x="3078" y="3111"/>
                </a:lnTo>
                <a:lnTo>
                  <a:pt x="3077" y="3109"/>
                </a:lnTo>
                <a:lnTo>
                  <a:pt x="3077" y="3111"/>
                </a:lnTo>
                <a:lnTo>
                  <a:pt x="3075" y="3111"/>
                </a:lnTo>
                <a:lnTo>
                  <a:pt x="3077" y="3113"/>
                </a:lnTo>
                <a:lnTo>
                  <a:pt x="3075" y="3115"/>
                </a:lnTo>
                <a:lnTo>
                  <a:pt x="3073" y="3118"/>
                </a:lnTo>
                <a:lnTo>
                  <a:pt x="3073" y="3115"/>
                </a:lnTo>
                <a:lnTo>
                  <a:pt x="3073" y="3113"/>
                </a:lnTo>
                <a:lnTo>
                  <a:pt x="3073" y="3111"/>
                </a:lnTo>
                <a:lnTo>
                  <a:pt x="3075" y="3103"/>
                </a:lnTo>
                <a:lnTo>
                  <a:pt x="3073" y="3103"/>
                </a:lnTo>
                <a:lnTo>
                  <a:pt x="3073" y="3101"/>
                </a:lnTo>
                <a:lnTo>
                  <a:pt x="3077" y="3101"/>
                </a:lnTo>
                <a:lnTo>
                  <a:pt x="3077" y="3104"/>
                </a:lnTo>
                <a:lnTo>
                  <a:pt x="3078" y="3099"/>
                </a:lnTo>
                <a:lnTo>
                  <a:pt x="3078" y="3092"/>
                </a:lnTo>
                <a:lnTo>
                  <a:pt x="3082" y="3082"/>
                </a:lnTo>
                <a:lnTo>
                  <a:pt x="3080" y="3075"/>
                </a:lnTo>
                <a:lnTo>
                  <a:pt x="3082" y="3072"/>
                </a:lnTo>
                <a:lnTo>
                  <a:pt x="3087" y="3065"/>
                </a:lnTo>
                <a:lnTo>
                  <a:pt x="3087" y="3064"/>
                </a:lnTo>
                <a:lnTo>
                  <a:pt x="3083" y="3062"/>
                </a:lnTo>
                <a:lnTo>
                  <a:pt x="3085" y="3064"/>
                </a:lnTo>
                <a:lnTo>
                  <a:pt x="3083" y="3064"/>
                </a:lnTo>
                <a:lnTo>
                  <a:pt x="3082" y="3057"/>
                </a:lnTo>
                <a:lnTo>
                  <a:pt x="3082" y="3047"/>
                </a:lnTo>
                <a:lnTo>
                  <a:pt x="3083" y="3038"/>
                </a:lnTo>
                <a:lnTo>
                  <a:pt x="3083" y="3033"/>
                </a:lnTo>
                <a:lnTo>
                  <a:pt x="3083" y="3030"/>
                </a:lnTo>
                <a:lnTo>
                  <a:pt x="3083" y="3024"/>
                </a:lnTo>
                <a:lnTo>
                  <a:pt x="3083" y="3026"/>
                </a:lnTo>
                <a:lnTo>
                  <a:pt x="3083" y="3033"/>
                </a:lnTo>
                <a:lnTo>
                  <a:pt x="3082" y="3026"/>
                </a:lnTo>
                <a:lnTo>
                  <a:pt x="3080" y="3021"/>
                </a:lnTo>
                <a:lnTo>
                  <a:pt x="3078" y="3023"/>
                </a:lnTo>
                <a:lnTo>
                  <a:pt x="3078" y="3024"/>
                </a:lnTo>
                <a:lnTo>
                  <a:pt x="3077" y="3024"/>
                </a:lnTo>
                <a:lnTo>
                  <a:pt x="3077" y="3026"/>
                </a:lnTo>
                <a:lnTo>
                  <a:pt x="3077" y="3028"/>
                </a:lnTo>
                <a:lnTo>
                  <a:pt x="3077" y="3026"/>
                </a:lnTo>
                <a:lnTo>
                  <a:pt x="3075" y="3028"/>
                </a:lnTo>
                <a:lnTo>
                  <a:pt x="3075" y="3026"/>
                </a:lnTo>
                <a:lnTo>
                  <a:pt x="3073" y="3026"/>
                </a:lnTo>
                <a:lnTo>
                  <a:pt x="3073" y="3016"/>
                </a:lnTo>
                <a:lnTo>
                  <a:pt x="3071" y="3014"/>
                </a:lnTo>
                <a:lnTo>
                  <a:pt x="3073" y="3013"/>
                </a:lnTo>
                <a:lnTo>
                  <a:pt x="3070" y="3007"/>
                </a:lnTo>
                <a:lnTo>
                  <a:pt x="3070" y="2997"/>
                </a:lnTo>
                <a:lnTo>
                  <a:pt x="3063" y="2987"/>
                </a:lnTo>
                <a:lnTo>
                  <a:pt x="3061" y="2982"/>
                </a:lnTo>
                <a:lnTo>
                  <a:pt x="3061" y="2978"/>
                </a:lnTo>
                <a:lnTo>
                  <a:pt x="3060" y="2982"/>
                </a:lnTo>
                <a:lnTo>
                  <a:pt x="3060" y="2980"/>
                </a:lnTo>
                <a:lnTo>
                  <a:pt x="3060" y="2978"/>
                </a:lnTo>
                <a:lnTo>
                  <a:pt x="3058" y="2977"/>
                </a:lnTo>
                <a:lnTo>
                  <a:pt x="3060" y="2978"/>
                </a:lnTo>
                <a:lnTo>
                  <a:pt x="3061" y="2978"/>
                </a:lnTo>
                <a:lnTo>
                  <a:pt x="3061" y="2977"/>
                </a:lnTo>
                <a:lnTo>
                  <a:pt x="3061" y="2975"/>
                </a:lnTo>
                <a:lnTo>
                  <a:pt x="3061" y="2977"/>
                </a:lnTo>
                <a:lnTo>
                  <a:pt x="3060" y="2975"/>
                </a:lnTo>
                <a:lnTo>
                  <a:pt x="3060" y="2973"/>
                </a:lnTo>
                <a:lnTo>
                  <a:pt x="3060" y="2972"/>
                </a:lnTo>
                <a:lnTo>
                  <a:pt x="3056" y="2972"/>
                </a:lnTo>
                <a:lnTo>
                  <a:pt x="3058" y="2970"/>
                </a:lnTo>
                <a:lnTo>
                  <a:pt x="3060" y="2970"/>
                </a:lnTo>
                <a:lnTo>
                  <a:pt x="3061" y="2970"/>
                </a:lnTo>
                <a:lnTo>
                  <a:pt x="3061" y="2968"/>
                </a:lnTo>
                <a:lnTo>
                  <a:pt x="3060" y="2967"/>
                </a:lnTo>
                <a:lnTo>
                  <a:pt x="3061" y="2967"/>
                </a:lnTo>
                <a:lnTo>
                  <a:pt x="3063" y="2963"/>
                </a:lnTo>
                <a:lnTo>
                  <a:pt x="3061" y="2961"/>
                </a:lnTo>
                <a:lnTo>
                  <a:pt x="3058" y="2961"/>
                </a:lnTo>
                <a:lnTo>
                  <a:pt x="3060" y="2960"/>
                </a:lnTo>
                <a:lnTo>
                  <a:pt x="3058" y="2956"/>
                </a:lnTo>
                <a:lnTo>
                  <a:pt x="3058" y="2958"/>
                </a:lnTo>
                <a:lnTo>
                  <a:pt x="3056" y="2958"/>
                </a:lnTo>
                <a:lnTo>
                  <a:pt x="3056" y="2956"/>
                </a:lnTo>
                <a:lnTo>
                  <a:pt x="3054" y="2956"/>
                </a:lnTo>
                <a:lnTo>
                  <a:pt x="3056" y="2955"/>
                </a:lnTo>
                <a:lnTo>
                  <a:pt x="3058" y="2955"/>
                </a:lnTo>
                <a:lnTo>
                  <a:pt x="3056" y="2953"/>
                </a:lnTo>
                <a:lnTo>
                  <a:pt x="3056" y="2955"/>
                </a:lnTo>
                <a:lnTo>
                  <a:pt x="3056" y="2953"/>
                </a:lnTo>
                <a:lnTo>
                  <a:pt x="3056" y="2951"/>
                </a:lnTo>
                <a:lnTo>
                  <a:pt x="3054" y="2953"/>
                </a:lnTo>
                <a:lnTo>
                  <a:pt x="3056" y="2951"/>
                </a:lnTo>
                <a:lnTo>
                  <a:pt x="3054" y="2951"/>
                </a:lnTo>
                <a:lnTo>
                  <a:pt x="3053" y="2950"/>
                </a:lnTo>
                <a:lnTo>
                  <a:pt x="3051" y="2950"/>
                </a:lnTo>
                <a:lnTo>
                  <a:pt x="3051" y="2951"/>
                </a:lnTo>
                <a:lnTo>
                  <a:pt x="3051" y="2953"/>
                </a:lnTo>
                <a:lnTo>
                  <a:pt x="3049" y="2953"/>
                </a:lnTo>
                <a:lnTo>
                  <a:pt x="3051" y="2953"/>
                </a:lnTo>
                <a:lnTo>
                  <a:pt x="3049" y="2950"/>
                </a:lnTo>
                <a:lnTo>
                  <a:pt x="3051" y="2948"/>
                </a:lnTo>
                <a:lnTo>
                  <a:pt x="3049" y="2950"/>
                </a:lnTo>
                <a:lnTo>
                  <a:pt x="3049" y="2951"/>
                </a:lnTo>
                <a:lnTo>
                  <a:pt x="3049" y="2950"/>
                </a:lnTo>
                <a:lnTo>
                  <a:pt x="3046" y="2950"/>
                </a:lnTo>
                <a:lnTo>
                  <a:pt x="3046" y="2951"/>
                </a:lnTo>
                <a:lnTo>
                  <a:pt x="3046" y="2950"/>
                </a:lnTo>
                <a:lnTo>
                  <a:pt x="3048" y="2950"/>
                </a:lnTo>
                <a:lnTo>
                  <a:pt x="3046" y="2950"/>
                </a:lnTo>
                <a:lnTo>
                  <a:pt x="3048" y="2950"/>
                </a:lnTo>
                <a:lnTo>
                  <a:pt x="3048" y="2948"/>
                </a:lnTo>
                <a:lnTo>
                  <a:pt x="3049" y="2948"/>
                </a:lnTo>
                <a:lnTo>
                  <a:pt x="3048" y="2948"/>
                </a:lnTo>
                <a:lnTo>
                  <a:pt x="3049" y="2946"/>
                </a:lnTo>
                <a:lnTo>
                  <a:pt x="3046" y="2944"/>
                </a:lnTo>
                <a:lnTo>
                  <a:pt x="3044" y="2944"/>
                </a:lnTo>
                <a:lnTo>
                  <a:pt x="3046" y="2944"/>
                </a:lnTo>
                <a:lnTo>
                  <a:pt x="3044" y="2943"/>
                </a:lnTo>
                <a:lnTo>
                  <a:pt x="3043" y="2943"/>
                </a:lnTo>
                <a:lnTo>
                  <a:pt x="3044" y="2943"/>
                </a:lnTo>
                <a:lnTo>
                  <a:pt x="3043" y="2941"/>
                </a:lnTo>
                <a:lnTo>
                  <a:pt x="3041" y="2941"/>
                </a:lnTo>
                <a:lnTo>
                  <a:pt x="3043" y="2939"/>
                </a:lnTo>
                <a:lnTo>
                  <a:pt x="3041" y="2938"/>
                </a:lnTo>
                <a:lnTo>
                  <a:pt x="3039" y="2936"/>
                </a:lnTo>
                <a:lnTo>
                  <a:pt x="3041" y="2934"/>
                </a:lnTo>
                <a:lnTo>
                  <a:pt x="3041" y="2933"/>
                </a:lnTo>
                <a:lnTo>
                  <a:pt x="3039" y="2933"/>
                </a:lnTo>
                <a:lnTo>
                  <a:pt x="3039" y="2931"/>
                </a:lnTo>
                <a:lnTo>
                  <a:pt x="3039" y="2933"/>
                </a:lnTo>
                <a:lnTo>
                  <a:pt x="3041" y="2931"/>
                </a:lnTo>
                <a:lnTo>
                  <a:pt x="3043" y="2927"/>
                </a:lnTo>
                <a:lnTo>
                  <a:pt x="3043" y="2926"/>
                </a:lnTo>
                <a:lnTo>
                  <a:pt x="3041" y="2924"/>
                </a:lnTo>
                <a:lnTo>
                  <a:pt x="3041" y="2922"/>
                </a:lnTo>
                <a:lnTo>
                  <a:pt x="3043" y="2922"/>
                </a:lnTo>
                <a:lnTo>
                  <a:pt x="3044" y="2924"/>
                </a:lnTo>
                <a:lnTo>
                  <a:pt x="3044" y="2922"/>
                </a:lnTo>
                <a:lnTo>
                  <a:pt x="3043" y="2916"/>
                </a:lnTo>
                <a:lnTo>
                  <a:pt x="3044" y="2912"/>
                </a:lnTo>
                <a:lnTo>
                  <a:pt x="3043" y="2909"/>
                </a:lnTo>
                <a:lnTo>
                  <a:pt x="3044" y="2907"/>
                </a:lnTo>
                <a:lnTo>
                  <a:pt x="3044" y="2904"/>
                </a:lnTo>
                <a:lnTo>
                  <a:pt x="3044" y="2902"/>
                </a:lnTo>
                <a:lnTo>
                  <a:pt x="3046" y="2904"/>
                </a:lnTo>
                <a:lnTo>
                  <a:pt x="3048" y="2907"/>
                </a:lnTo>
                <a:lnTo>
                  <a:pt x="3051" y="2907"/>
                </a:lnTo>
                <a:lnTo>
                  <a:pt x="3061" y="2900"/>
                </a:lnTo>
                <a:lnTo>
                  <a:pt x="3063" y="2897"/>
                </a:lnTo>
                <a:lnTo>
                  <a:pt x="3063" y="2899"/>
                </a:lnTo>
                <a:lnTo>
                  <a:pt x="3077" y="2887"/>
                </a:lnTo>
                <a:lnTo>
                  <a:pt x="3082" y="2880"/>
                </a:lnTo>
                <a:lnTo>
                  <a:pt x="3090" y="2871"/>
                </a:lnTo>
                <a:lnTo>
                  <a:pt x="3090" y="2870"/>
                </a:lnTo>
                <a:lnTo>
                  <a:pt x="3092" y="2870"/>
                </a:lnTo>
                <a:lnTo>
                  <a:pt x="3094" y="2870"/>
                </a:lnTo>
                <a:lnTo>
                  <a:pt x="3092" y="2870"/>
                </a:lnTo>
                <a:lnTo>
                  <a:pt x="3092" y="2868"/>
                </a:lnTo>
                <a:lnTo>
                  <a:pt x="3102" y="2863"/>
                </a:lnTo>
                <a:lnTo>
                  <a:pt x="3100" y="2863"/>
                </a:lnTo>
                <a:lnTo>
                  <a:pt x="3100" y="2861"/>
                </a:lnTo>
                <a:lnTo>
                  <a:pt x="3102" y="2863"/>
                </a:lnTo>
                <a:lnTo>
                  <a:pt x="3104" y="2863"/>
                </a:lnTo>
                <a:lnTo>
                  <a:pt x="3104" y="2859"/>
                </a:lnTo>
                <a:lnTo>
                  <a:pt x="3107" y="2859"/>
                </a:lnTo>
                <a:lnTo>
                  <a:pt x="3109" y="2858"/>
                </a:lnTo>
                <a:lnTo>
                  <a:pt x="3107" y="2856"/>
                </a:lnTo>
                <a:lnTo>
                  <a:pt x="3109" y="2856"/>
                </a:lnTo>
                <a:lnTo>
                  <a:pt x="3109" y="2858"/>
                </a:lnTo>
                <a:lnTo>
                  <a:pt x="3107" y="2859"/>
                </a:lnTo>
                <a:lnTo>
                  <a:pt x="3105" y="2861"/>
                </a:lnTo>
                <a:lnTo>
                  <a:pt x="3107" y="2861"/>
                </a:lnTo>
                <a:lnTo>
                  <a:pt x="3109" y="2861"/>
                </a:lnTo>
                <a:lnTo>
                  <a:pt x="3109" y="2859"/>
                </a:lnTo>
                <a:lnTo>
                  <a:pt x="3111" y="2859"/>
                </a:lnTo>
                <a:lnTo>
                  <a:pt x="3112" y="2859"/>
                </a:lnTo>
                <a:lnTo>
                  <a:pt x="3111" y="2861"/>
                </a:lnTo>
                <a:lnTo>
                  <a:pt x="3112" y="2859"/>
                </a:lnTo>
                <a:lnTo>
                  <a:pt x="3114" y="2858"/>
                </a:lnTo>
                <a:lnTo>
                  <a:pt x="3114" y="2859"/>
                </a:lnTo>
                <a:lnTo>
                  <a:pt x="3116" y="2859"/>
                </a:lnTo>
                <a:lnTo>
                  <a:pt x="3121" y="2858"/>
                </a:lnTo>
                <a:lnTo>
                  <a:pt x="3122" y="2858"/>
                </a:lnTo>
                <a:lnTo>
                  <a:pt x="3126" y="2854"/>
                </a:lnTo>
                <a:lnTo>
                  <a:pt x="3126" y="2853"/>
                </a:lnTo>
                <a:lnTo>
                  <a:pt x="3128" y="2851"/>
                </a:lnTo>
                <a:lnTo>
                  <a:pt x="3124" y="2853"/>
                </a:lnTo>
                <a:lnTo>
                  <a:pt x="3126" y="2849"/>
                </a:lnTo>
                <a:lnTo>
                  <a:pt x="3128" y="2848"/>
                </a:lnTo>
                <a:lnTo>
                  <a:pt x="3129" y="2846"/>
                </a:lnTo>
                <a:lnTo>
                  <a:pt x="3128" y="2846"/>
                </a:lnTo>
                <a:lnTo>
                  <a:pt x="3129" y="2846"/>
                </a:lnTo>
                <a:lnTo>
                  <a:pt x="3131" y="2844"/>
                </a:lnTo>
                <a:lnTo>
                  <a:pt x="3129" y="2842"/>
                </a:lnTo>
                <a:lnTo>
                  <a:pt x="3133" y="2842"/>
                </a:lnTo>
                <a:lnTo>
                  <a:pt x="3133" y="2841"/>
                </a:lnTo>
                <a:lnTo>
                  <a:pt x="3138" y="2836"/>
                </a:lnTo>
                <a:lnTo>
                  <a:pt x="3138" y="2834"/>
                </a:lnTo>
                <a:lnTo>
                  <a:pt x="3139" y="2834"/>
                </a:lnTo>
                <a:lnTo>
                  <a:pt x="3139" y="2832"/>
                </a:lnTo>
                <a:lnTo>
                  <a:pt x="3141" y="2834"/>
                </a:lnTo>
                <a:lnTo>
                  <a:pt x="3141" y="2832"/>
                </a:lnTo>
                <a:lnTo>
                  <a:pt x="3150" y="2825"/>
                </a:lnTo>
                <a:lnTo>
                  <a:pt x="3150" y="2824"/>
                </a:lnTo>
                <a:lnTo>
                  <a:pt x="3148" y="2824"/>
                </a:lnTo>
                <a:lnTo>
                  <a:pt x="3148" y="2825"/>
                </a:lnTo>
                <a:lnTo>
                  <a:pt x="3146" y="2825"/>
                </a:lnTo>
                <a:lnTo>
                  <a:pt x="3146" y="2824"/>
                </a:lnTo>
                <a:lnTo>
                  <a:pt x="3150" y="2822"/>
                </a:lnTo>
                <a:lnTo>
                  <a:pt x="3151" y="2822"/>
                </a:lnTo>
                <a:lnTo>
                  <a:pt x="3156" y="2817"/>
                </a:lnTo>
                <a:lnTo>
                  <a:pt x="3156" y="2815"/>
                </a:lnTo>
                <a:lnTo>
                  <a:pt x="3163" y="2805"/>
                </a:lnTo>
                <a:lnTo>
                  <a:pt x="3168" y="2802"/>
                </a:lnTo>
                <a:lnTo>
                  <a:pt x="3173" y="2796"/>
                </a:lnTo>
                <a:lnTo>
                  <a:pt x="3189" y="2790"/>
                </a:lnTo>
                <a:lnTo>
                  <a:pt x="3192" y="2788"/>
                </a:lnTo>
                <a:lnTo>
                  <a:pt x="3192" y="2786"/>
                </a:lnTo>
                <a:lnTo>
                  <a:pt x="3194" y="2788"/>
                </a:lnTo>
                <a:lnTo>
                  <a:pt x="3206" y="2781"/>
                </a:lnTo>
                <a:lnTo>
                  <a:pt x="3218" y="2778"/>
                </a:lnTo>
                <a:lnTo>
                  <a:pt x="3219" y="2776"/>
                </a:lnTo>
                <a:lnTo>
                  <a:pt x="3231" y="2771"/>
                </a:lnTo>
                <a:lnTo>
                  <a:pt x="3243" y="2768"/>
                </a:lnTo>
                <a:lnTo>
                  <a:pt x="3250" y="2766"/>
                </a:lnTo>
                <a:lnTo>
                  <a:pt x="3258" y="2764"/>
                </a:lnTo>
                <a:lnTo>
                  <a:pt x="3262" y="2764"/>
                </a:lnTo>
                <a:lnTo>
                  <a:pt x="3265" y="2761"/>
                </a:lnTo>
                <a:lnTo>
                  <a:pt x="3264" y="2759"/>
                </a:lnTo>
                <a:lnTo>
                  <a:pt x="3265" y="2757"/>
                </a:lnTo>
                <a:lnTo>
                  <a:pt x="3265" y="2759"/>
                </a:lnTo>
                <a:lnTo>
                  <a:pt x="3267" y="2756"/>
                </a:lnTo>
                <a:lnTo>
                  <a:pt x="3272" y="2752"/>
                </a:lnTo>
                <a:lnTo>
                  <a:pt x="3284" y="2747"/>
                </a:lnTo>
                <a:lnTo>
                  <a:pt x="3287" y="2744"/>
                </a:lnTo>
                <a:lnTo>
                  <a:pt x="3303" y="2735"/>
                </a:lnTo>
                <a:lnTo>
                  <a:pt x="3301" y="2734"/>
                </a:lnTo>
                <a:lnTo>
                  <a:pt x="3304" y="2734"/>
                </a:lnTo>
                <a:lnTo>
                  <a:pt x="3304" y="2732"/>
                </a:lnTo>
                <a:lnTo>
                  <a:pt x="3304" y="2734"/>
                </a:lnTo>
                <a:lnTo>
                  <a:pt x="3304" y="2732"/>
                </a:lnTo>
                <a:lnTo>
                  <a:pt x="3303" y="2732"/>
                </a:lnTo>
                <a:lnTo>
                  <a:pt x="3304" y="2732"/>
                </a:lnTo>
                <a:lnTo>
                  <a:pt x="3308" y="2728"/>
                </a:lnTo>
                <a:lnTo>
                  <a:pt x="3306" y="2728"/>
                </a:lnTo>
                <a:lnTo>
                  <a:pt x="3304" y="2727"/>
                </a:lnTo>
                <a:lnTo>
                  <a:pt x="3301" y="2727"/>
                </a:lnTo>
                <a:lnTo>
                  <a:pt x="3299" y="2727"/>
                </a:lnTo>
                <a:lnTo>
                  <a:pt x="3306" y="2725"/>
                </a:lnTo>
                <a:lnTo>
                  <a:pt x="3308" y="2725"/>
                </a:lnTo>
                <a:lnTo>
                  <a:pt x="3311" y="2722"/>
                </a:lnTo>
                <a:lnTo>
                  <a:pt x="3311" y="2718"/>
                </a:lnTo>
                <a:lnTo>
                  <a:pt x="3315" y="2717"/>
                </a:lnTo>
                <a:lnTo>
                  <a:pt x="3315" y="2715"/>
                </a:lnTo>
                <a:lnTo>
                  <a:pt x="3316" y="2713"/>
                </a:lnTo>
                <a:lnTo>
                  <a:pt x="3316" y="2711"/>
                </a:lnTo>
                <a:lnTo>
                  <a:pt x="3315" y="2710"/>
                </a:lnTo>
                <a:lnTo>
                  <a:pt x="3318" y="2710"/>
                </a:lnTo>
                <a:lnTo>
                  <a:pt x="3326" y="2700"/>
                </a:lnTo>
                <a:lnTo>
                  <a:pt x="3332" y="2693"/>
                </a:lnTo>
                <a:lnTo>
                  <a:pt x="3335" y="2689"/>
                </a:lnTo>
                <a:lnTo>
                  <a:pt x="3338" y="2686"/>
                </a:lnTo>
                <a:lnTo>
                  <a:pt x="3338" y="2684"/>
                </a:lnTo>
                <a:lnTo>
                  <a:pt x="3337" y="2684"/>
                </a:lnTo>
                <a:lnTo>
                  <a:pt x="3338" y="2684"/>
                </a:lnTo>
                <a:lnTo>
                  <a:pt x="3338" y="2682"/>
                </a:lnTo>
                <a:lnTo>
                  <a:pt x="3342" y="2679"/>
                </a:lnTo>
                <a:lnTo>
                  <a:pt x="3340" y="2681"/>
                </a:lnTo>
                <a:lnTo>
                  <a:pt x="3343" y="2676"/>
                </a:lnTo>
                <a:lnTo>
                  <a:pt x="3343" y="2671"/>
                </a:lnTo>
                <a:lnTo>
                  <a:pt x="3342" y="2669"/>
                </a:lnTo>
                <a:lnTo>
                  <a:pt x="3342" y="2671"/>
                </a:lnTo>
                <a:lnTo>
                  <a:pt x="3340" y="2669"/>
                </a:lnTo>
                <a:lnTo>
                  <a:pt x="3338" y="2671"/>
                </a:lnTo>
                <a:lnTo>
                  <a:pt x="3340" y="2671"/>
                </a:lnTo>
                <a:lnTo>
                  <a:pt x="3338" y="2672"/>
                </a:lnTo>
                <a:lnTo>
                  <a:pt x="3335" y="2671"/>
                </a:lnTo>
                <a:lnTo>
                  <a:pt x="3335" y="2672"/>
                </a:lnTo>
                <a:lnTo>
                  <a:pt x="3335" y="2671"/>
                </a:lnTo>
                <a:lnTo>
                  <a:pt x="3337" y="2669"/>
                </a:lnTo>
                <a:lnTo>
                  <a:pt x="3338" y="2667"/>
                </a:lnTo>
                <a:lnTo>
                  <a:pt x="3338" y="2669"/>
                </a:lnTo>
                <a:lnTo>
                  <a:pt x="3342" y="2665"/>
                </a:lnTo>
                <a:lnTo>
                  <a:pt x="3345" y="2665"/>
                </a:lnTo>
                <a:lnTo>
                  <a:pt x="3345" y="2664"/>
                </a:lnTo>
                <a:lnTo>
                  <a:pt x="3343" y="2662"/>
                </a:lnTo>
                <a:lnTo>
                  <a:pt x="3343" y="2660"/>
                </a:lnTo>
                <a:lnTo>
                  <a:pt x="3343" y="2662"/>
                </a:lnTo>
                <a:lnTo>
                  <a:pt x="3342" y="2662"/>
                </a:lnTo>
                <a:lnTo>
                  <a:pt x="3342" y="2660"/>
                </a:lnTo>
                <a:lnTo>
                  <a:pt x="3342" y="2659"/>
                </a:lnTo>
                <a:lnTo>
                  <a:pt x="3343" y="2660"/>
                </a:lnTo>
                <a:lnTo>
                  <a:pt x="3347" y="2660"/>
                </a:lnTo>
                <a:lnTo>
                  <a:pt x="3347" y="2662"/>
                </a:lnTo>
                <a:lnTo>
                  <a:pt x="3349" y="2662"/>
                </a:lnTo>
                <a:lnTo>
                  <a:pt x="3347" y="2659"/>
                </a:lnTo>
                <a:lnTo>
                  <a:pt x="3345" y="2659"/>
                </a:lnTo>
                <a:lnTo>
                  <a:pt x="3342" y="2657"/>
                </a:lnTo>
                <a:lnTo>
                  <a:pt x="3342" y="2655"/>
                </a:lnTo>
                <a:lnTo>
                  <a:pt x="3342" y="2654"/>
                </a:lnTo>
                <a:lnTo>
                  <a:pt x="3343" y="2657"/>
                </a:lnTo>
                <a:lnTo>
                  <a:pt x="3347" y="2655"/>
                </a:lnTo>
                <a:lnTo>
                  <a:pt x="3350" y="2654"/>
                </a:lnTo>
                <a:lnTo>
                  <a:pt x="3352" y="2654"/>
                </a:lnTo>
                <a:lnTo>
                  <a:pt x="3352" y="2652"/>
                </a:lnTo>
                <a:lnTo>
                  <a:pt x="3350" y="2652"/>
                </a:lnTo>
                <a:lnTo>
                  <a:pt x="3352" y="2650"/>
                </a:lnTo>
                <a:lnTo>
                  <a:pt x="3352" y="2645"/>
                </a:lnTo>
                <a:lnTo>
                  <a:pt x="3350" y="2643"/>
                </a:lnTo>
                <a:lnTo>
                  <a:pt x="3352" y="2638"/>
                </a:lnTo>
                <a:lnTo>
                  <a:pt x="3350" y="2638"/>
                </a:lnTo>
                <a:lnTo>
                  <a:pt x="3349" y="2640"/>
                </a:lnTo>
                <a:lnTo>
                  <a:pt x="3349" y="2638"/>
                </a:lnTo>
                <a:lnTo>
                  <a:pt x="3352" y="2637"/>
                </a:lnTo>
                <a:lnTo>
                  <a:pt x="3350" y="2631"/>
                </a:lnTo>
                <a:lnTo>
                  <a:pt x="3345" y="2633"/>
                </a:lnTo>
                <a:lnTo>
                  <a:pt x="3343" y="2635"/>
                </a:lnTo>
                <a:lnTo>
                  <a:pt x="3343" y="2640"/>
                </a:lnTo>
                <a:lnTo>
                  <a:pt x="3340" y="2642"/>
                </a:lnTo>
                <a:lnTo>
                  <a:pt x="3342" y="2638"/>
                </a:lnTo>
                <a:lnTo>
                  <a:pt x="3340" y="2637"/>
                </a:lnTo>
                <a:lnTo>
                  <a:pt x="3343" y="2635"/>
                </a:lnTo>
                <a:lnTo>
                  <a:pt x="3342" y="2637"/>
                </a:lnTo>
                <a:lnTo>
                  <a:pt x="3342" y="2635"/>
                </a:lnTo>
                <a:lnTo>
                  <a:pt x="3343" y="2635"/>
                </a:lnTo>
                <a:lnTo>
                  <a:pt x="3342" y="2633"/>
                </a:lnTo>
                <a:lnTo>
                  <a:pt x="3342" y="2630"/>
                </a:lnTo>
                <a:lnTo>
                  <a:pt x="3340" y="2628"/>
                </a:lnTo>
                <a:lnTo>
                  <a:pt x="3342" y="2628"/>
                </a:lnTo>
                <a:lnTo>
                  <a:pt x="3343" y="2630"/>
                </a:lnTo>
                <a:lnTo>
                  <a:pt x="3347" y="2628"/>
                </a:lnTo>
                <a:lnTo>
                  <a:pt x="3347" y="2625"/>
                </a:lnTo>
                <a:lnTo>
                  <a:pt x="3345" y="2625"/>
                </a:lnTo>
                <a:lnTo>
                  <a:pt x="3345" y="2621"/>
                </a:lnTo>
                <a:lnTo>
                  <a:pt x="3342" y="2621"/>
                </a:lnTo>
                <a:lnTo>
                  <a:pt x="3340" y="2623"/>
                </a:lnTo>
                <a:lnTo>
                  <a:pt x="3340" y="2625"/>
                </a:lnTo>
                <a:lnTo>
                  <a:pt x="3338" y="2623"/>
                </a:lnTo>
                <a:lnTo>
                  <a:pt x="3340" y="2623"/>
                </a:lnTo>
                <a:lnTo>
                  <a:pt x="3338" y="2621"/>
                </a:lnTo>
                <a:lnTo>
                  <a:pt x="3338" y="2623"/>
                </a:lnTo>
                <a:lnTo>
                  <a:pt x="3337" y="2623"/>
                </a:lnTo>
                <a:lnTo>
                  <a:pt x="3338" y="2621"/>
                </a:lnTo>
                <a:lnTo>
                  <a:pt x="3337" y="2620"/>
                </a:lnTo>
                <a:lnTo>
                  <a:pt x="3340" y="2618"/>
                </a:lnTo>
                <a:lnTo>
                  <a:pt x="3340" y="2616"/>
                </a:lnTo>
                <a:lnTo>
                  <a:pt x="3338" y="2616"/>
                </a:lnTo>
                <a:lnTo>
                  <a:pt x="3342" y="2614"/>
                </a:lnTo>
                <a:lnTo>
                  <a:pt x="3342" y="2613"/>
                </a:lnTo>
                <a:lnTo>
                  <a:pt x="3342" y="2611"/>
                </a:lnTo>
                <a:lnTo>
                  <a:pt x="3340" y="2611"/>
                </a:lnTo>
                <a:lnTo>
                  <a:pt x="3338" y="2611"/>
                </a:lnTo>
                <a:lnTo>
                  <a:pt x="3338" y="2609"/>
                </a:lnTo>
                <a:lnTo>
                  <a:pt x="3342" y="2609"/>
                </a:lnTo>
                <a:lnTo>
                  <a:pt x="3340" y="2608"/>
                </a:lnTo>
                <a:lnTo>
                  <a:pt x="3340" y="2606"/>
                </a:lnTo>
                <a:lnTo>
                  <a:pt x="3338" y="2596"/>
                </a:lnTo>
                <a:lnTo>
                  <a:pt x="3337" y="2594"/>
                </a:lnTo>
                <a:lnTo>
                  <a:pt x="3337" y="2592"/>
                </a:lnTo>
                <a:lnTo>
                  <a:pt x="3340" y="2591"/>
                </a:lnTo>
                <a:lnTo>
                  <a:pt x="3340" y="2589"/>
                </a:lnTo>
                <a:lnTo>
                  <a:pt x="3338" y="2589"/>
                </a:lnTo>
                <a:lnTo>
                  <a:pt x="3337" y="2587"/>
                </a:lnTo>
                <a:lnTo>
                  <a:pt x="3337" y="2582"/>
                </a:lnTo>
                <a:lnTo>
                  <a:pt x="3338" y="2580"/>
                </a:lnTo>
                <a:lnTo>
                  <a:pt x="3338" y="2579"/>
                </a:lnTo>
                <a:lnTo>
                  <a:pt x="3337" y="2575"/>
                </a:lnTo>
                <a:lnTo>
                  <a:pt x="3338" y="2574"/>
                </a:lnTo>
                <a:lnTo>
                  <a:pt x="3338" y="2569"/>
                </a:lnTo>
                <a:lnTo>
                  <a:pt x="3337" y="2565"/>
                </a:lnTo>
                <a:lnTo>
                  <a:pt x="3338" y="2558"/>
                </a:lnTo>
                <a:lnTo>
                  <a:pt x="3337" y="2558"/>
                </a:lnTo>
                <a:lnTo>
                  <a:pt x="3335" y="2558"/>
                </a:lnTo>
                <a:lnTo>
                  <a:pt x="3333" y="2558"/>
                </a:lnTo>
                <a:lnTo>
                  <a:pt x="3335" y="2560"/>
                </a:lnTo>
                <a:lnTo>
                  <a:pt x="3335" y="2563"/>
                </a:lnTo>
                <a:lnTo>
                  <a:pt x="3333" y="2562"/>
                </a:lnTo>
                <a:lnTo>
                  <a:pt x="3332" y="2562"/>
                </a:lnTo>
                <a:lnTo>
                  <a:pt x="3330" y="2558"/>
                </a:lnTo>
                <a:lnTo>
                  <a:pt x="3330" y="2557"/>
                </a:lnTo>
                <a:lnTo>
                  <a:pt x="3333" y="2555"/>
                </a:lnTo>
                <a:lnTo>
                  <a:pt x="3335" y="2555"/>
                </a:lnTo>
                <a:lnTo>
                  <a:pt x="3335" y="2557"/>
                </a:lnTo>
                <a:lnTo>
                  <a:pt x="3337" y="2552"/>
                </a:lnTo>
                <a:lnTo>
                  <a:pt x="3338" y="2552"/>
                </a:lnTo>
                <a:lnTo>
                  <a:pt x="3338" y="2550"/>
                </a:lnTo>
                <a:lnTo>
                  <a:pt x="3338" y="2552"/>
                </a:lnTo>
                <a:lnTo>
                  <a:pt x="3340" y="2550"/>
                </a:lnTo>
                <a:lnTo>
                  <a:pt x="3342" y="2548"/>
                </a:lnTo>
                <a:lnTo>
                  <a:pt x="3340" y="2548"/>
                </a:lnTo>
                <a:lnTo>
                  <a:pt x="3340" y="2546"/>
                </a:lnTo>
                <a:lnTo>
                  <a:pt x="3340" y="2545"/>
                </a:lnTo>
                <a:lnTo>
                  <a:pt x="3338" y="2546"/>
                </a:lnTo>
                <a:lnTo>
                  <a:pt x="3338" y="2543"/>
                </a:lnTo>
                <a:lnTo>
                  <a:pt x="3340" y="2543"/>
                </a:lnTo>
                <a:lnTo>
                  <a:pt x="3340" y="2541"/>
                </a:lnTo>
                <a:lnTo>
                  <a:pt x="3340" y="2543"/>
                </a:lnTo>
                <a:lnTo>
                  <a:pt x="3338" y="2541"/>
                </a:lnTo>
                <a:lnTo>
                  <a:pt x="3337" y="2538"/>
                </a:lnTo>
                <a:lnTo>
                  <a:pt x="3338" y="2536"/>
                </a:lnTo>
                <a:lnTo>
                  <a:pt x="3335" y="2536"/>
                </a:lnTo>
                <a:lnTo>
                  <a:pt x="3333" y="2538"/>
                </a:lnTo>
                <a:lnTo>
                  <a:pt x="3335" y="2536"/>
                </a:lnTo>
                <a:lnTo>
                  <a:pt x="3333" y="2535"/>
                </a:lnTo>
                <a:lnTo>
                  <a:pt x="3335" y="2531"/>
                </a:lnTo>
                <a:lnTo>
                  <a:pt x="3338" y="2529"/>
                </a:lnTo>
                <a:lnTo>
                  <a:pt x="3337" y="2529"/>
                </a:lnTo>
                <a:lnTo>
                  <a:pt x="3335" y="2529"/>
                </a:lnTo>
                <a:lnTo>
                  <a:pt x="3333" y="2529"/>
                </a:lnTo>
                <a:lnTo>
                  <a:pt x="3335" y="2526"/>
                </a:lnTo>
                <a:lnTo>
                  <a:pt x="3335" y="2523"/>
                </a:lnTo>
                <a:lnTo>
                  <a:pt x="3335" y="2521"/>
                </a:lnTo>
                <a:lnTo>
                  <a:pt x="3335" y="2519"/>
                </a:lnTo>
                <a:lnTo>
                  <a:pt x="3335" y="2517"/>
                </a:lnTo>
                <a:lnTo>
                  <a:pt x="3335" y="2514"/>
                </a:lnTo>
                <a:lnTo>
                  <a:pt x="3335" y="2512"/>
                </a:lnTo>
                <a:lnTo>
                  <a:pt x="3335" y="2511"/>
                </a:lnTo>
                <a:lnTo>
                  <a:pt x="3337" y="2509"/>
                </a:lnTo>
                <a:lnTo>
                  <a:pt x="3335" y="2507"/>
                </a:lnTo>
                <a:lnTo>
                  <a:pt x="3333" y="2504"/>
                </a:lnTo>
                <a:lnTo>
                  <a:pt x="3335" y="2502"/>
                </a:lnTo>
                <a:lnTo>
                  <a:pt x="3333" y="2500"/>
                </a:lnTo>
                <a:lnTo>
                  <a:pt x="3333" y="2497"/>
                </a:lnTo>
                <a:lnTo>
                  <a:pt x="3332" y="2495"/>
                </a:lnTo>
                <a:lnTo>
                  <a:pt x="3332" y="2494"/>
                </a:lnTo>
                <a:lnTo>
                  <a:pt x="3332" y="2492"/>
                </a:lnTo>
                <a:lnTo>
                  <a:pt x="3333" y="2490"/>
                </a:lnTo>
                <a:lnTo>
                  <a:pt x="3332" y="2489"/>
                </a:lnTo>
                <a:lnTo>
                  <a:pt x="3330" y="2487"/>
                </a:lnTo>
                <a:lnTo>
                  <a:pt x="3332" y="2485"/>
                </a:lnTo>
                <a:lnTo>
                  <a:pt x="3333" y="2483"/>
                </a:lnTo>
                <a:lnTo>
                  <a:pt x="3333" y="2482"/>
                </a:lnTo>
                <a:lnTo>
                  <a:pt x="3333" y="2480"/>
                </a:lnTo>
                <a:lnTo>
                  <a:pt x="3332" y="2480"/>
                </a:lnTo>
                <a:lnTo>
                  <a:pt x="3332" y="2478"/>
                </a:lnTo>
                <a:lnTo>
                  <a:pt x="3332" y="2480"/>
                </a:lnTo>
                <a:lnTo>
                  <a:pt x="3330" y="2478"/>
                </a:lnTo>
                <a:lnTo>
                  <a:pt x="3330" y="2477"/>
                </a:lnTo>
                <a:lnTo>
                  <a:pt x="3328" y="2477"/>
                </a:lnTo>
                <a:lnTo>
                  <a:pt x="3328" y="2475"/>
                </a:lnTo>
                <a:lnTo>
                  <a:pt x="3330" y="2473"/>
                </a:lnTo>
                <a:lnTo>
                  <a:pt x="3332" y="2470"/>
                </a:lnTo>
                <a:lnTo>
                  <a:pt x="3335" y="2468"/>
                </a:lnTo>
                <a:lnTo>
                  <a:pt x="3335" y="2466"/>
                </a:lnTo>
                <a:lnTo>
                  <a:pt x="3337" y="2463"/>
                </a:lnTo>
                <a:lnTo>
                  <a:pt x="3338" y="2461"/>
                </a:lnTo>
                <a:lnTo>
                  <a:pt x="3335" y="2460"/>
                </a:lnTo>
                <a:lnTo>
                  <a:pt x="3335" y="2458"/>
                </a:lnTo>
                <a:lnTo>
                  <a:pt x="3335" y="2456"/>
                </a:lnTo>
                <a:lnTo>
                  <a:pt x="3335" y="2455"/>
                </a:lnTo>
                <a:lnTo>
                  <a:pt x="3340" y="2453"/>
                </a:lnTo>
                <a:lnTo>
                  <a:pt x="3340" y="2451"/>
                </a:lnTo>
                <a:lnTo>
                  <a:pt x="3338" y="2449"/>
                </a:lnTo>
                <a:lnTo>
                  <a:pt x="3333" y="2446"/>
                </a:lnTo>
                <a:lnTo>
                  <a:pt x="3338" y="2443"/>
                </a:lnTo>
                <a:lnTo>
                  <a:pt x="3342" y="2444"/>
                </a:lnTo>
                <a:lnTo>
                  <a:pt x="3342" y="2443"/>
                </a:lnTo>
                <a:lnTo>
                  <a:pt x="3338" y="2441"/>
                </a:lnTo>
                <a:lnTo>
                  <a:pt x="3338" y="2439"/>
                </a:lnTo>
                <a:lnTo>
                  <a:pt x="3335" y="2436"/>
                </a:lnTo>
                <a:lnTo>
                  <a:pt x="3337" y="2436"/>
                </a:lnTo>
                <a:lnTo>
                  <a:pt x="3337" y="2432"/>
                </a:lnTo>
                <a:lnTo>
                  <a:pt x="3332" y="2432"/>
                </a:lnTo>
                <a:lnTo>
                  <a:pt x="3330" y="2427"/>
                </a:lnTo>
                <a:lnTo>
                  <a:pt x="3332" y="2426"/>
                </a:lnTo>
                <a:lnTo>
                  <a:pt x="3330" y="2424"/>
                </a:lnTo>
                <a:lnTo>
                  <a:pt x="3328" y="2426"/>
                </a:lnTo>
                <a:lnTo>
                  <a:pt x="3330" y="2426"/>
                </a:lnTo>
                <a:lnTo>
                  <a:pt x="3330" y="2427"/>
                </a:lnTo>
                <a:lnTo>
                  <a:pt x="3326" y="2426"/>
                </a:lnTo>
                <a:lnTo>
                  <a:pt x="3325" y="2422"/>
                </a:lnTo>
                <a:lnTo>
                  <a:pt x="3321" y="2421"/>
                </a:lnTo>
                <a:lnTo>
                  <a:pt x="3321" y="2419"/>
                </a:lnTo>
                <a:lnTo>
                  <a:pt x="3320" y="2422"/>
                </a:lnTo>
                <a:lnTo>
                  <a:pt x="3321" y="2421"/>
                </a:lnTo>
                <a:lnTo>
                  <a:pt x="3323" y="2422"/>
                </a:lnTo>
                <a:lnTo>
                  <a:pt x="3321" y="2422"/>
                </a:lnTo>
                <a:lnTo>
                  <a:pt x="3320" y="2422"/>
                </a:lnTo>
                <a:lnTo>
                  <a:pt x="3320" y="2421"/>
                </a:lnTo>
                <a:lnTo>
                  <a:pt x="3316" y="2422"/>
                </a:lnTo>
                <a:lnTo>
                  <a:pt x="3315" y="2422"/>
                </a:lnTo>
                <a:lnTo>
                  <a:pt x="3316" y="2421"/>
                </a:lnTo>
                <a:lnTo>
                  <a:pt x="3316" y="2417"/>
                </a:lnTo>
                <a:lnTo>
                  <a:pt x="3309" y="2415"/>
                </a:lnTo>
                <a:lnTo>
                  <a:pt x="3308" y="2415"/>
                </a:lnTo>
                <a:lnTo>
                  <a:pt x="3309" y="2417"/>
                </a:lnTo>
                <a:lnTo>
                  <a:pt x="3309" y="2419"/>
                </a:lnTo>
                <a:lnTo>
                  <a:pt x="3308" y="2419"/>
                </a:lnTo>
                <a:lnTo>
                  <a:pt x="3308" y="2417"/>
                </a:lnTo>
                <a:lnTo>
                  <a:pt x="3308" y="2415"/>
                </a:lnTo>
                <a:lnTo>
                  <a:pt x="3304" y="2410"/>
                </a:lnTo>
                <a:lnTo>
                  <a:pt x="3303" y="2409"/>
                </a:lnTo>
                <a:lnTo>
                  <a:pt x="3301" y="2409"/>
                </a:lnTo>
                <a:lnTo>
                  <a:pt x="3301" y="2407"/>
                </a:lnTo>
                <a:lnTo>
                  <a:pt x="3296" y="2407"/>
                </a:lnTo>
                <a:lnTo>
                  <a:pt x="3294" y="2410"/>
                </a:lnTo>
                <a:lnTo>
                  <a:pt x="3292" y="2410"/>
                </a:lnTo>
                <a:lnTo>
                  <a:pt x="3294" y="2409"/>
                </a:lnTo>
                <a:lnTo>
                  <a:pt x="3294" y="2407"/>
                </a:lnTo>
                <a:lnTo>
                  <a:pt x="3299" y="2405"/>
                </a:lnTo>
                <a:lnTo>
                  <a:pt x="3298" y="2404"/>
                </a:lnTo>
                <a:lnTo>
                  <a:pt x="3299" y="2402"/>
                </a:lnTo>
                <a:lnTo>
                  <a:pt x="3299" y="2400"/>
                </a:lnTo>
                <a:lnTo>
                  <a:pt x="3298" y="2397"/>
                </a:lnTo>
                <a:lnTo>
                  <a:pt x="3298" y="2395"/>
                </a:lnTo>
                <a:lnTo>
                  <a:pt x="3296" y="2395"/>
                </a:lnTo>
                <a:lnTo>
                  <a:pt x="3298" y="2393"/>
                </a:lnTo>
                <a:lnTo>
                  <a:pt x="3296" y="2393"/>
                </a:lnTo>
                <a:lnTo>
                  <a:pt x="3296" y="2392"/>
                </a:lnTo>
                <a:lnTo>
                  <a:pt x="3296" y="2390"/>
                </a:lnTo>
                <a:lnTo>
                  <a:pt x="3296" y="2388"/>
                </a:lnTo>
                <a:lnTo>
                  <a:pt x="3294" y="2385"/>
                </a:lnTo>
                <a:lnTo>
                  <a:pt x="3292" y="2383"/>
                </a:lnTo>
                <a:lnTo>
                  <a:pt x="3292" y="2381"/>
                </a:lnTo>
                <a:lnTo>
                  <a:pt x="3291" y="2380"/>
                </a:lnTo>
                <a:lnTo>
                  <a:pt x="3289" y="2380"/>
                </a:lnTo>
                <a:lnTo>
                  <a:pt x="3287" y="2380"/>
                </a:lnTo>
                <a:lnTo>
                  <a:pt x="3287" y="2378"/>
                </a:lnTo>
                <a:lnTo>
                  <a:pt x="3289" y="2378"/>
                </a:lnTo>
                <a:lnTo>
                  <a:pt x="3292" y="2376"/>
                </a:lnTo>
                <a:lnTo>
                  <a:pt x="3292" y="2371"/>
                </a:lnTo>
                <a:lnTo>
                  <a:pt x="3291" y="2371"/>
                </a:lnTo>
                <a:lnTo>
                  <a:pt x="3291" y="2370"/>
                </a:lnTo>
                <a:lnTo>
                  <a:pt x="3291" y="2366"/>
                </a:lnTo>
                <a:lnTo>
                  <a:pt x="3289" y="2364"/>
                </a:lnTo>
                <a:lnTo>
                  <a:pt x="3291" y="2361"/>
                </a:lnTo>
                <a:lnTo>
                  <a:pt x="3287" y="2359"/>
                </a:lnTo>
                <a:lnTo>
                  <a:pt x="3287" y="2363"/>
                </a:lnTo>
                <a:lnTo>
                  <a:pt x="3289" y="2363"/>
                </a:lnTo>
                <a:lnTo>
                  <a:pt x="3289" y="2364"/>
                </a:lnTo>
                <a:lnTo>
                  <a:pt x="3287" y="2363"/>
                </a:lnTo>
                <a:lnTo>
                  <a:pt x="3284" y="2364"/>
                </a:lnTo>
                <a:lnTo>
                  <a:pt x="3286" y="2366"/>
                </a:lnTo>
                <a:lnTo>
                  <a:pt x="3284" y="2366"/>
                </a:lnTo>
                <a:lnTo>
                  <a:pt x="3284" y="2363"/>
                </a:lnTo>
                <a:lnTo>
                  <a:pt x="3282" y="2363"/>
                </a:lnTo>
                <a:lnTo>
                  <a:pt x="3284" y="2361"/>
                </a:lnTo>
                <a:lnTo>
                  <a:pt x="3284" y="2358"/>
                </a:lnTo>
                <a:lnTo>
                  <a:pt x="3284" y="2356"/>
                </a:lnTo>
                <a:lnTo>
                  <a:pt x="3284" y="2354"/>
                </a:lnTo>
                <a:lnTo>
                  <a:pt x="3282" y="2354"/>
                </a:lnTo>
                <a:lnTo>
                  <a:pt x="3282" y="2352"/>
                </a:lnTo>
                <a:lnTo>
                  <a:pt x="3281" y="2352"/>
                </a:lnTo>
                <a:lnTo>
                  <a:pt x="3279" y="2352"/>
                </a:lnTo>
                <a:lnTo>
                  <a:pt x="3279" y="2351"/>
                </a:lnTo>
                <a:lnTo>
                  <a:pt x="3282" y="2351"/>
                </a:lnTo>
                <a:lnTo>
                  <a:pt x="3284" y="2352"/>
                </a:lnTo>
                <a:lnTo>
                  <a:pt x="3284" y="2354"/>
                </a:lnTo>
                <a:lnTo>
                  <a:pt x="3286" y="2354"/>
                </a:lnTo>
                <a:lnTo>
                  <a:pt x="3287" y="2354"/>
                </a:lnTo>
                <a:lnTo>
                  <a:pt x="3286" y="2352"/>
                </a:lnTo>
                <a:lnTo>
                  <a:pt x="3284" y="2347"/>
                </a:lnTo>
                <a:lnTo>
                  <a:pt x="3284" y="2349"/>
                </a:lnTo>
                <a:lnTo>
                  <a:pt x="3282" y="2347"/>
                </a:lnTo>
                <a:lnTo>
                  <a:pt x="3281" y="2344"/>
                </a:lnTo>
                <a:lnTo>
                  <a:pt x="3279" y="2344"/>
                </a:lnTo>
                <a:lnTo>
                  <a:pt x="3277" y="2344"/>
                </a:lnTo>
                <a:lnTo>
                  <a:pt x="3277" y="2341"/>
                </a:lnTo>
                <a:lnTo>
                  <a:pt x="3277" y="2339"/>
                </a:lnTo>
                <a:lnTo>
                  <a:pt x="3275" y="2337"/>
                </a:lnTo>
                <a:lnTo>
                  <a:pt x="3277" y="2335"/>
                </a:lnTo>
                <a:lnTo>
                  <a:pt x="3275" y="2335"/>
                </a:lnTo>
                <a:lnTo>
                  <a:pt x="3275" y="2334"/>
                </a:lnTo>
                <a:lnTo>
                  <a:pt x="3274" y="2332"/>
                </a:lnTo>
                <a:lnTo>
                  <a:pt x="3274" y="2330"/>
                </a:lnTo>
                <a:lnTo>
                  <a:pt x="3274" y="2329"/>
                </a:lnTo>
                <a:lnTo>
                  <a:pt x="3274" y="2327"/>
                </a:lnTo>
                <a:lnTo>
                  <a:pt x="3274" y="2325"/>
                </a:lnTo>
                <a:lnTo>
                  <a:pt x="3272" y="2322"/>
                </a:lnTo>
                <a:lnTo>
                  <a:pt x="3274" y="2322"/>
                </a:lnTo>
                <a:lnTo>
                  <a:pt x="3274" y="2320"/>
                </a:lnTo>
                <a:lnTo>
                  <a:pt x="3275" y="2322"/>
                </a:lnTo>
                <a:lnTo>
                  <a:pt x="3277" y="2320"/>
                </a:lnTo>
                <a:lnTo>
                  <a:pt x="3275" y="2320"/>
                </a:lnTo>
                <a:lnTo>
                  <a:pt x="3275" y="2318"/>
                </a:lnTo>
                <a:lnTo>
                  <a:pt x="3275" y="2317"/>
                </a:lnTo>
                <a:lnTo>
                  <a:pt x="3277" y="2318"/>
                </a:lnTo>
                <a:lnTo>
                  <a:pt x="3282" y="2307"/>
                </a:lnTo>
                <a:lnTo>
                  <a:pt x="3281" y="2301"/>
                </a:lnTo>
                <a:lnTo>
                  <a:pt x="3281" y="2300"/>
                </a:lnTo>
                <a:lnTo>
                  <a:pt x="3282" y="2298"/>
                </a:lnTo>
                <a:lnTo>
                  <a:pt x="3277" y="2295"/>
                </a:lnTo>
                <a:lnTo>
                  <a:pt x="3275" y="2293"/>
                </a:lnTo>
                <a:lnTo>
                  <a:pt x="3275" y="2295"/>
                </a:lnTo>
                <a:lnTo>
                  <a:pt x="3274" y="2295"/>
                </a:lnTo>
                <a:lnTo>
                  <a:pt x="3274" y="2293"/>
                </a:lnTo>
                <a:lnTo>
                  <a:pt x="3274" y="2290"/>
                </a:lnTo>
                <a:lnTo>
                  <a:pt x="3274" y="2288"/>
                </a:lnTo>
                <a:lnTo>
                  <a:pt x="3272" y="2286"/>
                </a:lnTo>
                <a:lnTo>
                  <a:pt x="3274" y="2279"/>
                </a:lnTo>
                <a:lnTo>
                  <a:pt x="3277" y="2276"/>
                </a:lnTo>
                <a:lnTo>
                  <a:pt x="3277" y="2271"/>
                </a:lnTo>
                <a:lnTo>
                  <a:pt x="3281" y="2269"/>
                </a:lnTo>
                <a:lnTo>
                  <a:pt x="3281" y="2266"/>
                </a:lnTo>
                <a:lnTo>
                  <a:pt x="3282" y="2264"/>
                </a:lnTo>
                <a:lnTo>
                  <a:pt x="3284" y="2266"/>
                </a:lnTo>
                <a:lnTo>
                  <a:pt x="3286" y="2262"/>
                </a:lnTo>
                <a:lnTo>
                  <a:pt x="3287" y="2262"/>
                </a:lnTo>
                <a:lnTo>
                  <a:pt x="3286" y="2261"/>
                </a:lnTo>
                <a:lnTo>
                  <a:pt x="3286" y="2256"/>
                </a:lnTo>
                <a:lnTo>
                  <a:pt x="3282" y="2249"/>
                </a:lnTo>
                <a:lnTo>
                  <a:pt x="3281" y="2249"/>
                </a:lnTo>
                <a:lnTo>
                  <a:pt x="3279" y="2249"/>
                </a:lnTo>
                <a:lnTo>
                  <a:pt x="3277" y="2249"/>
                </a:lnTo>
                <a:lnTo>
                  <a:pt x="3275" y="2247"/>
                </a:lnTo>
                <a:lnTo>
                  <a:pt x="3274" y="2247"/>
                </a:lnTo>
                <a:lnTo>
                  <a:pt x="3274" y="2249"/>
                </a:lnTo>
                <a:lnTo>
                  <a:pt x="3274" y="2250"/>
                </a:lnTo>
                <a:lnTo>
                  <a:pt x="3274" y="2249"/>
                </a:lnTo>
                <a:lnTo>
                  <a:pt x="3274" y="2247"/>
                </a:lnTo>
                <a:lnTo>
                  <a:pt x="3274" y="2245"/>
                </a:lnTo>
                <a:lnTo>
                  <a:pt x="3274" y="2244"/>
                </a:lnTo>
                <a:lnTo>
                  <a:pt x="3272" y="2242"/>
                </a:lnTo>
                <a:lnTo>
                  <a:pt x="3272" y="2244"/>
                </a:lnTo>
                <a:lnTo>
                  <a:pt x="3270" y="2244"/>
                </a:lnTo>
                <a:lnTo>
                  <a:pt x="3270" y="2239"/>
                </a:lnTo>
                <a:lnTo>
                  <a:pt x="3267" y="2235"/>
                </a:lnTo>
                <a:lnTo>
                  <a:pt x="3265" y="2233"/>
                </a:lnTo>
                <a:lnTo>
                  <a:pt x="3264" y="2232"/>
                </a:lnTo>
                <a:lnTo>
                  <a:pt x="3260" y="2230"/>
                </a:lnTo>
                <a:lnTo>
                  <a:pt x="3258" y="2228"/>
                </a:lnTo>
                <a:lnTo>
                  <a:pt x="3260" y="2230"/>
                </a:lnTo>
                <a:lnTo>
                  <a:pt x="3255" y="2228"/>
                </a:lnTo>
                <a:lnTo>
                  <a:pt x="3250" y="2222"/>
                </a:lnTo>
                <a:lnTo>
                  <a:pt x="3252" y="2216"/>
                </a:lnTo>
                <a:lnTo>
                  <a:pt x="3252" y="2213"/>
                </a:lnTo>
                <a:lnTo>
                  <a:pt x="3250" y="2213"/>
                </a:lnTo>
                <a:lnTo>
                  <a:pt x="3248" y="2208"/>
                </a:lnTo>
                <a:lnTo>
                  <a:pt x="3248" y="2206"/>
                </a:lnTo>
                <a:lnTo>
                  <a:pt x="3250" y="2203"/>
                </a:lnTo>
                <a:lnTo>
                  <a:pt x="3250" y="2198"/>
                </a:lnTo>
                <a:lnTo>
                  <a:pt x="3253" y="2191"/>
                </a:lnTo>
                <a:lnTo>
                  <a:pt x="3253" y="2187"/>
                </a:lnTo>
                <a:lnTo>
                  <a:pt x="3257" y="2182"/>
                </a:lnTo>
                <a:lnTo>
                  <a:pt x="3258" y="2177"/>
                </a:lnTo>
                <a:lnTo>
                  <a:pt x="3260" y="2176"/>
                </a:lnTo>
                <a:lnTo>
                  <a:pt x="3264" y="2167"/>
                </a:lnTo>
                <a:lnTo>
                  <a:pt x="3262" y="2165"/>
                </a:lnTo>
                <a:lnTo>
                  <a:pt x="3264" y="2164"/>
                </a:lnTo>
                <a:lnTo>
                  <a:pt x="3264" y="2162"/>
                </a:lnTo>
                <a:lnTo>
                  <a:pt x="3265" y="2160"/>
                </a:lnTo>
                <a:lnTo>
                  <a:pt x="3265" y="2157"/>
                </a:lnTo>
                <a:lnTo>
                  <a:pt x="3264" y="2159"/>
                </a:lnTo>
                <a:lnTo>
                  <a:pt x="3264" y="2157"/>
                </a:lnTo>
                <a:lnTo>
                  <a:pt x="3265" y="2157"/>
                </a:lnTo>
                <a:lnTo>
                  <a:pt x="3267" y="2155"/>
                </a:lnTo>
                <a:lnTo>
                  <a:pt x="3265" y="2155"/>
                </a:lnTo>
                <a:lnTo>
                  <a:pt x="3265" y="2153"/>
                </a:lnTo>
                <a:lnTo>
                  <a:pt x="3265" y="2152"/>
                </a:lnTo>
                <a:lnTo>
                  <a:pt x="3265" y="2150"/>
                </a:lnTo>
                <a:lnTo>
                  <a:pt x="3267" y="2148"/>
                </a:lnTo>
                <a:lnTo>
                  <a:pt x="3267" y="2150"/>
                </a:lnTo>
                <a:lnTo>
                  <a:pt x="3267" y="2152"/>
                </a:lnTo>
                <a:lnTo>
                  <a:pt x="3269" y="2148"/>
                </a:lnTo>
                <a:lnTo>
                  <a:pt x="3270" y="2145"/>
                </a:lnTo>
                <a:lnTo>
                  <a:pt x="3269" y="2145"/>
                </a:lnTo>
                <a:lnTo>
                  <a:pt x="3267" y="2143"/>
                </a:lnTo>
                <a:lnTo>
                  <a:pt x="3269" y="2143"/>
                </a:lnTo>
                <a:lnTo>
                  <a:pt x="3269" y="2140"/>
                </a:lnTo>
                <a:lnTo>
                  <a:pt x="3270" y="2138"/>
                </a:lnTo>
                <a:lnTo>
                  <a:pt x="3272" y="2136"/>
                </a:lnTo>
                <a:lnTo>
                  <a:pt x="3274" y="2135"/>
                </a:lnTo>
                <a:lnTo>
                  <a:pt x="3274" y="2136"/>
                </a:lnTo>
                <a:lnTo>
                  <a:pt x="3279" y="2136"/>
                </a:lnTo>
                <a:lnTo>
                  <a:pt x="3281" y="2136"/>
                </a:lnTo>
                <a:lnTo>
                  <a:pt x="3279" y="2135"/>
                </a:lnTo>
                <a:lnTo>
                  <a:pt x="3281" y="2133"/>
                </a:lnTo>
                <a:lnTo>
                  <a:pt x="3281" y="2135"/>
                </a:lnTo>
                <a:lnTo>
                  <a:pt x="3282" y="2133"/>
                </a:lnTo>
                <a:lnTo>
                  <a:pt x="3282" y="2130"/>
                </a:lnTo>
                <a:lnTo>
                  <a:pt x="3284" y="2126"/>
                </a:lnTo>
                <a:lnTo>
                  <a:pt x="3286" y="2126"/>
                </a:lnTo>
                <a:lnTo>
                  <a:pt x="3289" y="2114"/>
                </a:lnTo>
                <a:lnTo>
                  <a:pt x="3292" y="2109"/>
                </a:lnTo>
                <a:lnTo>
                  <a:pt x="3291" y="2108"/>
                </a:lnTo>
                <a:lnTo>
                  <a:pt x="3287" y="2108"/>
                </a:lnTo>
                <a:lnTo>
                  <a:pt x="3287" y="2106"/>
                </a:lnTo>
                <a:lnTo>
                  <a:pt x="3291" y="2106"/>
                </a:lnTo>
                <a:lnTo>
                  <a:pt x="3292" y="2104"/>
                </a:lnTo>
                <a:lnTo>
                  <a:pt x="3294" y="2108"/>
                </a:lnTo>
                <a:lnTo>
                  <a:pt x="3296" y="2106"/>
                </a:lnTo>
                <a:lnTo>
                  <a:pt x="3296" y="2104"/>
                </a:lnTo>
                <a:lnTo>
                  <a:pt x="3298" y="2101"/>
                </a:lnTo>
                <a:lnTo>
                  <a:pt x="3301" y="2096"/>
                </a:lnTo>
                <a:lnTo>
                  <a:pt x="3303" y="2089"/>
                </a:lnTo>
                <a:lnTo>
                  <a:pt x="3303" y="2085"/>
                </a:lnTo>
                <a:lnTo>
                  <a:pt x="3308" y="2074"/>
                </a:lnTo>
                <a:lnTo>
                  <a:pt x="3316" y="2068"/>
                </a:lnTo>
                <a:lnTo>
                  <a:pt x="3316" y="2067"/>
                </a:lnTo>
                <a:lnTo>
                  <a:pt x="3316" y="2063"/>
                </a:lnTo>
                <a:lnTo>
                  <a:pt x="3318" y="2060"/>
                </a:lnTo>
                <a:lnTo>
                  <a:pt x="3318" y="2058"/>
                </a:lnTo>
                <a:lnTo>
                  <a:pt x="3320" y="2055"/>
                </a:lnTo>
                <a:lnTo>
                  <a:pt x="3321" y="2053"/>
                </a:lnTo>
                <a:lnTo>
                  <a:pt x="3320" y="2053"/>
                </a:lnTo>
                <a:lnTo>
                  <a:pt x="3318" y="2050"/>
                </a:lnTo>
                <a:lnTo>
                  <a:pt x="3318" y="2045"/>
                </a:lnTo>
                <a:lnTo>
                  <a:pt x="3318" y="2041"/>
                </a:lnTo>
                <a:lnTo>
                  <a:pt x="3321" y="2038"/>
                </a:lnTo>
                <a:lnTo>
                  <a:pt x="3325" y="2034"/>
                </a:lnTo>
                <a:lnTo>
                  <a:pt x="3332" y="2031"/>
                </a:lnTo>
                <a:lnTo>
                  <a:pt x="3337" y="2029"/>
                </a:lnTo>
                <a:lnTo>
                  <a:pt x="3340" y="2031"/>
                </a:lnTo>
                <a:lnTo>
                  <a:pt x="3342" y="2031"/>
                </a:lnTo>
                <a:lnTo>
                  <a:pt x="3345" y="2028"/>
                </a:lnTo>
                <a:lnTo>
                  <a:pt x="3349" y="2026"/>
                </a:lnTo>
                <a:lnTo>
                  <a:pt x="3349" y="2024"/>
                </a:lnTo>
                <a:lnTo>
                  <a:pt x="3350" y="2022"/>
                </a:lnTo>
                <a:lnTo>
                  <a:pt x="3352" y="2021"/>
                </a:lnTo>
                <a:lnTo>
                  <a:pt x="3349" y="2021"/>
                </a:lnTo>
                <a:lnTo>
                  <a:pt x="3350" y="2019"/>
                </a:lnTo>
                <a:lnTo>
                  <a:pt x="3350" y="2021"/>
                </a:lnTo>
                <a:lnTo>
                  <a:pt x="3354" y="2017"/>
                </a:lnTo>
                <a:lnTo>
                  <a:pt x="3355" y="2017"/>
                </a:lnTo>
                <a:lnTo>
                  <a:pt x="3357" y="2019"/>
                </a:lnTo>
                <a:lnTo>
                  <a:pt x="3359" y="2019"/>
                </a:lnTo>
                <a:lnTo>
                  <a:pt x="3359" y="2016"/>
                </a:lnTo>
                <a:lnTo>
                  <a:pt x="3359" y="2014"/>
                </a:lnTo>
                <a:lnTo>
                  <a:pt x="3355" y="2014"/>
                </a:lnTo>
                <a:lnTo>
                  <a:pt x="3355" y="2004"/>
                </a:lnTo>
                <a:lnTo>
                  <a:pt x="3350" y="2000"/>
                </a:lnTo>
                <a:lnTo>
                  <a:pt x="3355" y="2002"/>
                </a:lnTo>
                <a:lnTo>
                  <a:pt x="3355" y="2004"/>
                </a:lnTo>
                <a:lnTo>
                  <a:pt x="3357" y="2007"/>
                </a:lnTo>
                <a:lnTo>
                  <a:pt x="3359" y="2005"/>
                </a:lnTo>
                <a:lnTo>
                  <a:pt x="3359" y="2004"/>
                </a:lnTo>
                <a:lnTo>
                  <a:pt x="3359" y="2002"/>
                </a:lnTo>
                <a:lnTo>
                  <a:pt x="3359" y="2000"/>
                </a:lnTo>
                <a:lnTo>
                  <a:pt x="3360" y="1999"/>
                </a:lnTo>
                <a:lnTo>
                  <a:pt x="3359" y="2000"/>
                </a:lnTo>
                <a:lnTo>
                  <a:pt x="3359" y="2004"/>
                </a:lnTo>
                <a:lnTo>
                  <a:pt x="3360" y="2005"/>
                </a:lnTo>
                <a:lnTo>
                  <a:pt x="3362" y="2005"/>
                </a:lnTo>
                <a:lnTo>
                  <a:pt x="3362" y="2004"/>
                </a:lnTo>
                <a:lnTo>
                  <a:pt x="3367" y="2002"/>
                </a:lnTo>
                <a:lnTo>
                  <a:pt x="3369" y="2002"/>
                </a:lnTo>
                <a:lnTo>
                  <a:pt x="3371" y="2002"/>
                </a:lnTo>
                <a:lnTo>
                  <a:pt x="3371" y="2000"/>
                </a:lnTo>
                <a:lnTo>
                  <a:pt x="3372" y="2002"/>
                </a:lnTo>
                <a:lnTo>
                  <a:pt x="3372" y="2000"/>
                </a:lnTo>
                <a:lnTo>
                  <a:pt x="3374" y="2000"/>
                </a:lnTo>
                <a:lnTo>
                  <a:pt x="3374" y="2002"/>
                </a:lnTo>
                <a:lnTo>
                  <a:pt x="3381" y="1995"/>
                </a:lnTo>
                <a:lnTo>
                  <a:pt x="3379" y="1997"/>
                </a:lnTo>
                <a:lnTo>
                  <a:pt x="3383" y="1995"/>
                </a:lnTo>
                <a:lnTo>
                  <a:pt x="3381" y="1995"/>
                </a:lnTo>
                <a:lnTo>
                  <a:pt x="3383" y="1994"/>
                </a:lnTo>
                <a:lnTo>
                  <a:pt x="3383" y="1992"/>
                </a:lnTo>
                <a:lnTo>
                  <a:pt x="3383" y="1994"/>
                </a:lnTo>
                <a:lnTo>
                  <a:pt x="3384" y="1992"/>
                </a:lnTo>
                <a:lnTo>
                  <a:pt x="3388" y="1985"/>
                </a:lnTo>
                <a:lnTo>
                  <a:pt x="3389" y="1985"/>
                </a:lnTo>
                <a:lnTo>
                  <a:pt x="3389" y="1983"/>
                </a:lnTo>
                <a:lnTo>
                  <a:pt x="3403" y="1965"/>
                </a:lnTo>
                <a:lnTo>
                  <a:pt x="3401" y="1961"/>
                </a:lnTo>
                <a:lnTo>
                  <a:pt x="3400" y="1960"/>
                </a:lnTo>
                <a:lnTo>
                  <a:pt x="3394" y="1963"/>
                </a:lnTo>
                <a:lnTo>
                  <a:pt x="3398" y="1960"/>
                </a:lnTo>
                <a:lnTo>
                  <a:pt x="3400" y="1960"/>
                </a:lnTo>
                <a:lnTo>
                  <a:pt x="3398" y="1958"/>
                </a:lnTo>
                <a:lnTo>
                  <a:pt x="3400" y="1960"/>
                </a:lnTo>
                <a:lnTo>
                  <a:pt x="3401" y="1960"/>
                </a:lnTo>
                <a:lnTo>
                  <a:pt x="3401" y="1961"/>
                </a:lnTo>
                <a:lnTo>
                  <a:pt x="3403" y="1961"/>
                </a:lnTo>
                <a:lnTo>
                  <a:pt x="3403" y="1963"/>
                </a:lnTo>
                <a:lnTo>
                  <a:pt x="3405" y="1963"/>
                </a:lnTo>
                <a:lnTo>
                  <a:pt x="3406" y="1961"/>
                </a:lnTo>
                <a:lnTo>
                  <a:pt x="3405" y="1963"/>
                </a:lnTo>
                <a:lnTo>
                  <a:pt x="3405" y="1961"/>
                </a:lnTo>
                <a:lnTo>
                  <a:pt x="3408" y="1960"/>
                </a:lnTo>
                <a:lnTo>
                  <a:pt x="3406" y="1960"/>
                </a:lnTo>
                <a:lnTo>
                  <a:pt x="3410" y="1954"/>
                </a:lnTo>
                <a:lnTo>
                  <a:pt x="3408" y="1953"/>
                </a:lnTo>
                <a:lnTo>
                  <a:pt x="3410" y="1953"/>
                </a:lnTo>
                <a:lnTo>
                  <a:pt x="3408" y="1951"/>
                </a:lnTo>
                <a:lnTo>
                  <a:pt x="3410" y="1948"/>
                </a:lnTo>
                <a:lnTo>
                  <a:pt x="3406" y="1946"/>
                </a:lnTo>
                <a:lnTo>
                  <a:pt x="3408" y="1946"/>
                </a:lnTo>
                <a:lnTo>
                  <a:pt x="3410" y="1948"/>
                </a:lnTo>
                <a:lnTo>
                  <a:pt x="3408" y="1951"/>
                </a:lnTo>
                <a:lnTo>
                  <a:pt x="3410" y="1951"/>
                </a:lnTo>
                <a:lnTo>
                  <a:pt x="3410" y="1953"/>
                </a:lnTo>
                <a:lnTo>
                  <a:pt x="3413" y="1951"/>
                </a:lnTo>
                <a:lnTo>
                  <a:pt x="3411" y="1949"/>
                </a:lnTo>
                <a:lnTo>
                  <a:pt x="3417" y="1946"/>
                </a:lnTo>
                <a:lnTo>
                  <a:pt x="3415" y="1944"/>
                </a:lnTo>
                <a:lnTo>
                  <a:pt x="3415" y="1946"/>
                </a:lnTo>
                <a:lnTo>
                  <a:pt x="3413" y="1946"/>
                </a:lnTo>
                <a:lnTo>
                  <a:pt x="3413" y="1943"/>
                </a:lnTo>
                <a:lnTo>
                  <a:pt x="3411" y="1943"/>
                </a:lnTo>
                <a:lnTo>
                  <a:pt x="3410" y="1943"/>
                </a:lnTo>
                <a:lnTo>
                  <a:pt x="3410" y="1941"/>
                </a:lnTo>
                <a:lnTo>
                  <a:pt x="3411" y="1943"/>
                </a:lnTo>
                <a:lnTo>
                  <a:pt x="3413" y="1943"/>
                </a:lnTo>
                <a:lnTo>
                  <a:pt x="3413" y="1946"/>
                </a:lnTo>
                <a:lnTo>
                  <a:pt x="3415" y="1944"/>
                </a:lnTo>
                <a:lnTo>
                  <a:pt x="3417" y="1944"/>
                </a:lnTo>
                <a:lnTo>
                  <a:pt x="3420" y="1943"/>
                </a:lnTo>
                <a:lnTo>
                  <a:pt x="3432" y="1927"/>
                </a:lnTo>
                <a:lnTo>
                  <a:pt x="3434" y="1924"/>
                </a:lnTo>
                <a:lnTo>
                  <a:pt x="3435" y="1926"/>
                </a:lnTo>
                <a:lnTo>
                  <a:pt x="3435" y="1924"/>
                </a:lnTo>
                <a:lnTo>
                  <a:pt x="3437" y="1922"/>
                </a:lnTo>
                <a:lnTo>
                  <a:pt x="3437" y="1920"/>
                </a:lnTo>
                <a:lnTo>
                  <a:pt x="3439" y="1920"/>
                </a:lnTo>
                <a:lnTo>
                  <a:pt x="3439" y="1922"/>
                </a:lnTo>
                <a:lnTo>
                  <a:pt x="3439" y="1920"/>
                </a:lnTo>
                <a:lnTo>
                  <a:pt x="3442" y="1915"/>
                </a:lnTo>
                <a:lnTo>
                  <a:pt x="3456" y="1902"/>
                </a:lnTo>
                <a:lnTo>
                  <a:pt x="3466" y="1890"/>
                </a:lnTo>
                <a:lnTo>
                  <a:pt x="3481" y="1874"/>
                </a:lnTo>
                <a:lnTo>
                  <a:pt x="3486" y="1868"/>
                </a:lnTo>
                <a:lnTo>
                  <a:pt x="3502" y="1856"/>
                </a:lnTo>
                <a:lnTo>
                  <a:pt x="3508" y="1849"/>
                </a:lnTo>
                <a:lnTo>
                  <a:pt x="3510" y="1849"/>
                </a:lnTo>
                <a:lnTo>
                  <a:pt x="3513" y="1846"/>
                </a:lnTo>
                <a:lnTo>
                  <a:pt x="3515" y="1844"/>
                </a:lnTo>
                <a:lnTo>
                  <a:pt x="3519" y="1842"/>
                </a:lnTo>
                <a:lnTo>
                  <a:pt x="3520" y="1839"/>
                </a:lnTo>
                <a:lnTo>
                  <a:pt x="3529" y="1832"/>
                </a:lnTo>
                <a:lnTo>
                  <a:pt x="3542" y="1820"/>
                </a:lnTo>
                <a:lnTo>
                  <a:pt x="3544" y="1820"/>
                </a:lnTo>
                <a:lnTo>
                  <a:pt x="3551" y="1815"/>
                </a:lnTo>
                <a:lnTo>
                  <a:pt x="3564" y="1806"/>
                </a:lnTo>
                <a:lnTo>
                  <a:pt x="3583" y="1798"/>
                </a:lnTo>
                <a:lnTo>
                  <a:pt x="3585" y="1796"/>
                </a:lnTo>
                <a:lnTo>
                  <a:pt x="3604" y="1784"/>
                </a:lnTo>
                <a:lnTo>
                  <a:pt x="3609" y="1783"/>
                </a:lnTo>
                <a:lnTo>
                  <a:pt x="3614" y="1779"/>
                </a:lnTo>
                <a:lnTo>
                  <a:pt x="3619" y="1774"/>
                </a:lnTo>
                <a:lnTo>
                  <a:pt x="3624" y="1767"/>
                </a:lnTo>
                <a:lnTo>
                  <a:pt x="3629" y="1764"/>
                </a:lnTo>
                <a:lnTo>
                  <a:pt x="3631" y="1761"/>
                </a:lnTo>
                <a:lnTo>
                  <a:pt x="3648" y="1745"/>
                </a:lnTo>
                <a:lnTo>
                  <a:pt x="3660" y="1732"/>
                </a:lnTo>
                <a:lnTo>
                  <a:pt x="3673" y="1716"/>
                </a:lnTo>
                <a:lnTo>
                  <a:pt x="3687" y="1703"/>
                </a:lnTo>
                <a:lnTo>
                  <a:pt x="3695" y="1692"/>
                </a:lnTo>
                <a:lnTo>
                  <a:pt x="3702" y="1687"/>
                </a:lnTo>
                <a:lnTo>
                  <a:pt x="3711" y="1675"/>
                </a:lnTo>
                <a:lnTo>
                  <a:pt x="3719" y="1665"/>
                </a:lnTo>
                <a:lnTo>
                  <a:pt x="3726" y="1652"/>
                </a:lnTo>
                <a:lnTo>
                  <a:pt x="3729" y="1647"/>
                </a:lnTo>
                <a:lnTo>
                  <a:pt x="3741" y="1631"/>
                </a:lnTo>
                <a:lnTo>
                  <a:pt x="3746" y="1624"/>
                </a:lnTo>
                <a:lnTo>
                  <a:pt x="3750" y="1618"/>
                </a:lnTo>
                <a:lnTo>
                  <a:pt x="3760" y="1602"/>
                </a:lnTo>
                <a:lnTo>
                  <a:pt x="3762" y="1599"/>
                </a:lnTo>
                <a:lnTo>
                  <a:pt x="3768" y="1587"/>
                </a:lnTo>
                <a:lnTo>
                  <a:pt x="3768" y="1584"/>
                </a:lnTo>
                <a:lnTo>
                  <a:pt x="3770" y="1575"/>
                </a:lnTo>
                <a:lnTo>
                  <a:pt x="3775" y="1560"/>
                </a:lnTo>
                <a:lnTo>
                  <a:pt x="3785" y="1544"/>
                </a:lnTo>
                <a:lnTo>
                  <a:pt x="3785" y="1543"/>
                </a:lnTo>
                <a:lnTo>
                  <a:pt x="3799" y="1524"/>
                </a:lnTo>
                <a:lnTo>
                  <a:pt x="3804" y="1516"/>
                </a:lnTo>
                <a:lnTo>
                  <a:pt x="3804" y="1514"/>
                </a:lnTo>
                <a:lnTo>
                  <a:pt x="3807" y="1509"/>
                </a:lnTo>
                <a:lnTo>
                  <a:pt x="3807" y="1507"/>
                </a:lnTo>
                <a:lnTo>
                  <a:pt x="3806" y="1507"/>
                </a:lnTo>
                <a:lnTo>
                  <a:pt x="3806" y="1505"/>
                </a:lnTo>
                <a:lnTo>
                  <a:pt x="3807" y="1500"/>
                </a:lnTo>
                <a:lnTo>
                  <a:pt x="3814" y="1492"/>
                </a:lnTo>
                <a:lnTo>
                  <a:pt x="3819" y="1488"/>
                </a:lnTo>
                <a:lnTo>
                  <a:pt x="3823" y="1487"/>
                </a:lnTo>
                <a:lnTo>
                  <a:pt x="3823" y="1482"/>
                </a:lnTo>
                <a:lnTo>
                  <a:pt x="3826" y="1476"/>
                </a:lnTo>
                <a:lnTo>
                  <a:pt x="3833" y="1470"/>
                </a:lnTo>
                <a:lnTo>
                  <a:pt x="3833" y="1465"/>
                </a:lnTo>
                <a:lnTo>
                  <a:pt x="3835" y="1461"/>
                </a:lnTo>
                <a:lnTo>
                  <a:pt x="3836" y="1453"/>
                </a:lnTo>
                <a:lnTo>
                  <a:pt x="3838" y="1451"/>
                </a:lnTo>
                <a:lnTo>
                  <a:pt x="3848" y="1442"/>
                </a:lnTo>
                <a:lnTo>
                  <a:pt x="3848" y="1436"/>
                </a:lnTo>
                <a:lnTo>
                  <a:pt x="3852" y="1432"/>
                </a:lnTo>
                <a:lnTo>
                  <a:pt x="3853" y="1431"/>
                </a:lnTo>
                <a:lnTo>
                  <a:pt x="3858" y="1424"/>
                </a:lnTo>
                <a:lnTo>
                  <a:pt x="3858" y="1422"/>
                </a:lnTo>
                <a:lnTo>
                  <a:pt x="3857" y="1419"/>
                </a:lnTo>
                <a:lnTo>
                  <a:pt x="3857" y="1415"/>
                </a:lnTo>
                <a:lnTo>
                  <a:pt x="3857" y="1412"/>
                </a:lnTo>
                <a:lnTo>
                  <a:pt x="3858" y="1402"/>
                </a:lnTo>
                <a:lnTo>
                  <a:pt x="3860" y="1402"/>
                </a:lnTo>
                <a:lnTo>
                  <a:pt x="3862" y="1395"/>
                </a:lnTo>
                <a:lnTo>
                  <a:pt x="3860" y="1390"/>
                </a:lnTo>
                <a:lnTo>
                  <a:pt x="3862" y="1386"/>
                </a:lnTo>
                <a:lnTo>
                  <a:pt x="3862" y="1379"/>
                </a:lnTo>
                <a:lnTo>
                  <a:pt x="3867" y="1374"/>
                </a:lnTo>
                <a:lnTo>
                  <a:pt x="3875" y="1373"/>
                </a:lnTo>
                <a:lnTo>
                  <a:pt x="3879" y="1373"/>
                </a:lnTo>
                <a:lnTo>
                  <a:pt x="3881" y="1374"/>
                </a:lnTo>
                <a:lnTo>
                  <a:pt x="3881" y="1376"/>
                </a:lnTo>
                <a:lnTo>
                  <a:pt x="3884" y="1376"/>
                </a:lnTo>
                <a:lnTo>
                  <a:pt x="3886" y="1376"/>
                </a:lnTo>
                <a:lnTo>
                  <a:pt x="3887" y="1373"/>
                </a:lnTo>
                <a:lnTo>
                  <a:pt x="3886" y="1371"/>
                </a:lnTo>
                <a:lnTo>
                  <a:pt x="3881" y="1371"/>
                </a:lnTo>
                <a:lnTo>
                  <a:pt x="3875" y="1368"/>
                </a:lnTo>
                <a:lnTo>
                  <a:pt x="3877" y="1371"/>
                </a:lnTo>
                <a:lnTo>
                  <a:pt x="3879" y="1373"/>
                </a:lnTo>
                <a:lnTo>
                  <a:pt x="3874" y="1373"/>
                </a:lnTo>
                <a:lnTo>
                  <a:pt x="3869" y="1374"/>
                </a:lnTo>
                <a:lnTo>
                  <a:pt x="3869" y="1373"/>
                </a:lnTo>
                <a:lnTo>
                  <a:pt x="3870" y="1371"/>
                </a:lnTo>
                <a:lnTo>
                  <a:pt x="3872" y="1371"/>
                </a:lnTo>
                <a:lnTo>
                  <a:pt x="3872" y="1368"/>
                </a:lnTo>
                <a:lnTo>
                  <a:pt x="3875" y="1366"/>
                </a:lnTo>
                <a:lnTo>
                  <a:pt x="3874" y="1361"/>
                </a:lnTo>
                <a:lnTo>
                  <a:pt x="3872" y="1345"/>
                </a:lnTo>
                <a:lnTo>
                  <a:pt x="3874" y="1342"/>
                </a:lnTo>
                <a:lnTo>
                  <a:pt x="3875" y="1337"/>
                </a:lnTo>
                <a:lnTo>
                  <a:pt x="3872" y="1335"/>
                </a:lnTo>
                <a:lnTo>
                  <a:pt x="3870" y="1332"/>
                </a:lnTo>
                <a:lnTo>
                  <a:pt x="3870" y="1327"/>
                </a:lnTo>
                <a:lnTo>
                  <a:pt x="3872" y="1322"/>
                </a:lnTo>
                <a:lnTo>
                  <a:pt x="3872" y="1318"/>
                </a:lnTo>
                <a:lnTo>
                  <a:pt x="3879" y="1310"/>
                </a:lnTo>
                <a:lnTo>
                  <a:pt x="3879" y="1308"/>
                </a:lnTo>
                <a:lnTo>
                  <a:pt x="3881" y="1301"/>
                </a:lnTo>
                <a:lnTo>
                  <a:pt x="3879" y="1301"/>
                </a:lnTo>
                <a:lnTo>
                  <a:pt x="3874" y="1300"/>
                </a:lnTo>
                <a:lnTo>
                  <a:pt x="3869" y="1300"/>
                </a:lnTo>
                <a:lnTo>
                  <a:pt x="3865" y="1298"/>
                </a:lnTo>
                <a:lnTo>
                  <a:pt x="3858" y="1296"/>
                </a:lnTo>
                <a:lnTo>
                  <a:pt x="3857" y="1294"/>
                </a:lnTo>
                <a:lnTo>
                  <a:pt x="3850" y="1296"/>
                </a:lnTo>
                <a:lnTo>
                  <a:pt x="3848" y="1296"/>
                </a:lnTo>
                <a:lnTo>
                  <a:pt x="3845" y="1298"/>
                </a:lnTo>
                <a:lnTo>
                  <a:pt x="3843" y="1300"/>
                </a:lnTo>
                <a:lnTo>
                  <a:pt x="3841" y="1306"/>
                </a:lnTo>
                <a:lnTo>
                  <a:pt x="3840" y="1308"/>
                </a:lnTo>
                <a:lnTo>
                  <a:pt x="3836" y="1310"/>
                </a:lnTo>
                <a:lnTo>
                  <a:pt x="3831" y="1313"/>
                </a:lnTo>
                <a:lnTo>
                  <a:pt x="3830" y="1315"/>
                </a:lnTo>
                <a:lnTo>
                  <a:pt x="3823" y="1317"/>
                </a:lnTo>
                <a:lnTo>
                  <a:pt x="3819" y="1318"/>
                </a:lnTo>
                <a:lnTo>
                  <a:pt x="3813" y="1318"/>
                </a:lnTo>
                <a:lnTo>
                  <a:pt x="3807" y="1322"/>
                </a:lnTo>
                <a:lnTo>
                  <a:pt x="3804" y="1322"/>
                </a:lnTo>
                <a:lnTo>
                  <a:pt x="3801" y="1320"/>
                </a:lnTo>
                <a:lnTo>
                  <a:pt x="3799" y="1322"/>
                </a:lnTo>
                <a:lnTo>
                  <a:pt x="3794" y="1322"/>
                </a:lnTo>
                <a:lnTo>
                  <a:pt x="3790" y="1325"/>
                </a:lnTo>
                <a:lnTo>
                  <a:pt x="3789" y="1325"/>
                </a:lnTo>
                <a:lnTo>
                  <a:pt x="3787" y="1327"/>
                </a:lnTo>
                <a:lnTo>
                  <a:pt x="3780" y="1327"/>
                </a:lnTo>
                <a:lnTo>
                  <a:pt x="3779" y="1328"/>
                </a:lnTo>
                <a:lnTo>
                  <a:pt x="3763" y="1332"/>
                </a:lnTo>
                <a:lnTo>
                  <a:pt x="3760" y="1332"/>
                </a:lnTo>
                <a:lnTo>
                  <a:pt x="3748" y="1328"/>
                </a:lnTo>
                <a:lnTo>
                  <a:pt x="3745" y="1328"/>
                </a:lnTo>
                <a:lnTo>
                  <a:pt x="3741" y="1328"/>
                </a:lnTo>
                <a:lnTo>
                  <a:pt x="3738" y="1330"/>
                </a:lnTo>
                <a:lnTo>
                  <a:pt x="3733" y="1330"/>
                </a:lnTo>
                <a:lnTo>
                  <a:pt x="3729" y="1334"/>
                </a:lnTo>
                <a:lnTo>
                  <a:pt x="3726" y="1334"/>
                </a:lnTo>
                <a:lnTo>
                  <a:pt x="3721" y="1337"/>
                </a:lnTo>
                <a:lnTo>
                  <a:pt x="3712" y="1339"/>
                </a:lnTo>
                <a:lnTo>
                  <a:pt x="3711" y="1337"/>
                </a:lnTo>
                <a:lnTo>
                  <a:pt x="3707" y="1339"/>
                </a:lnTo>
                <a:lnTo>
                  <a:pt x="3704" y="1339"/>
                </a:lnTo>
                <a:lnTo>
                  <a:pt x="3699" y="1340"/>
                </a:lnTo>
                <a:lnTo>
                  <a:pt x="3695" y="1339"/>
                </a:lnTo>
                <a:lnTo>
                  <a:pt x="3692" y="1335"/>
                </a:lnTo>
                <a:lnTo>
                  <a:pt x="3685" y="1335"/>
                </a:lnTo>
                <a:lnTo>
                  <a:pt x="3672" y="1340"/>
                </a:lnTo>
                <a:lnTo>
                  <a:pt x="3668" y="1345"/>
                </a:lnTo>
                <a:lnTo>
                  <a:pt x="3665" y="1345"/>
                </a:lnTo>
                <a:lnTo>
                  <a:pt x="3663" y="1347"/>
                </a:lnTo>
                <a:lnTo>
                  <a:pt x="3660" y="1349"/>
                </a:lnTo>
                <a:lnTo>
                  <a:pt x="3658" y="1351"/>
                </a:lnTo>
                <a:lnTo>
                  <a:pt x="3648" y="1357"/>
                </a:lnTo>
                <a:lnTo>
                  <a:pt x="3636" y="1361"/>
                </a:lnTo>
                <a:lnTo>
                  <a:pt x="3631" y="1359"/>
                </a:lnTo>
                <a:lnTo>
                  <a:pt x="3626" y="1356"/>
                </a:lnTo>
                <a:lnTo>
                  <a:pt x="3619" y="1356"/>
                </a:lnTo>
                <a:lnTo>
                  <a:pt x="3612" y="1356"/>
                </a:lnTo>
                <a:lnTo>
                  <a:pt x="3604" y="1351"/>
                </a:lnTo>
                <a:lnTo>
                  <a:pt x="3602" y="1351"/>
                </a:lnTo>
                <a:lnTo>
                  <a:pt x="3600" y="1352"/>
                </a:lnTo>
                <a:lnTo>
                  <a:pt x="3597" y="1356"/>
                </a:lnTo>
                <a:lnTo>
                  <a:pt x="3593" y="1356"/>
                </a:lnTo>
                <a:lnTo>
                  <a:pt x="3592" y="1357"/>
                </a:lnTo>
                <a:lnTo>
                  <a:pt x="3587" y="1361"/>
                </a:lnTo>
                <a:lnTo>
                  <a:pt x="3580" y="1361"/>
                </a:lnTo>
                <a:lnTo>
                  <a:pt x="3575" y="1366"/>
                </a:lnTo>
                <a:lnTo>
                  <a:pt x="3570" y="1369"/>
                </a:lnTo>
                <a:lnTo>
                  <a:pt x="3566" y="1369"/>
                </a:lnTo>
                <a:lnTo>
                  <a:pt x="3566" y="1371"/>
                </a:lnTo>
                <a:lnTo>
                  <a:pt x="3561" y="1373"/>
                </a:lnTo>
                <a:lnTo>
                  <a:pt x="3563" y="1373"/>
                </a:lnTo>
                <a:lnTo>
                  <a:pt x="3559" y="1374"/>
                </a:lnTo>
                <a:lnTo>
                  <a:pt x="3556" y="1374"/>
                </a:lnTo>
                <a:lnTo>
                  <a:pt x="3549" y="1374"/>
                </a:lnTo>
                <a:lnTo>
                  <a:pt x="3542" y="1376"/>
                </a:lnTo>
                <a:lnTo>
                  <a:pt x="3536" y="1374"/>
                </a:lnTo>
                <a:lnTo>
                  <a:pt x="3532" y="1374"/>
                </a:lnTo>
                <a:lnTo>
                  <a:pt x="3527" y="1373"/>
                </a:lnTo>
                <a:lnTo>
                  <a:pt x="3520" y="1368"/>
                </a:lnTo>
                <a:lnTo>
                  <a:pt x="3517" y="1366"/>
                </a:lnTo>
                <a:lnTo>
                  <a:pt x="3515" y="1364"/>
                </a:lnTo>
                <a:lnTo>
                  <a:pt x="3507" y="1359"/>
                </a:lnTo>
                <a:lnTo>
                  <a:pt x="3496" y="1347"/>
                </a:lnTo>
                <a:lnTo>
                  <a:pt x="3490" y="1335"/>
                </a:lnTo>
                <a:lnTo>
                  <a:pt x="3488" y="1334"/>
                </a:lnTo>
                <a:lnTo>
                  <a:pt x="3486" y="1327"/>
                </a:lnTo>
                <a:lnTo>
                  <a:pt x="3486" y="1325"/>
                </a:lnTo>
                <a:lnTo>
                  <a:pt x="3485" y="1327"/>
                </a:lnTo>
                <a:lnTo>
                  <a:pt x="3483" y="1325"/>
                </a:lnTo>
                <a:lnTo>
                  <a:pt x="3479" y="1323"/>
                </a:lnTo>
                <a:lnTo>
                  <a:pt x="3479" y="1322"/>
                </a:lnTo>
                <a:lnTo>
                  <a:pt x="3478" y="1323"/>
                </a:lnTo>
                <a:lnTo>
                  <a:pt x="3478" y="1320"/>
                </a:lnTo>
                <a:lnTo>
                  <a:pt x="3474" y="1322"/>
                </a:lnTo>
                <a:lnTo>
                  <a:pt x="3473" y="1318"/>
                </a:lnTo>
                <a:lnTo>
                  <a:pt x="3471" y="1318"/>
                </a:lnTo>
                <a:lnTo>
                  <a:pt x="3469" y="1313"/>
                </a:lnTo>
                <a:lnTo>
                  <a:pt x="3468" y="1313"/>
                </a:lnTo>
                <a:lnTo>
                  <a:pt x="3469" y="1313"/>
                </a:lnTo>
                <a:lnTo>
                  <a:pt x="3468" y="1315"/>
                </a:lnTo>
                <a:lnTo>
                  <a:pt x="3466" y="1315"/>
                </a:lnTo>
                <a:lnTo>
                  <a:pt x="3466" y="1313"/>
                </a:lnTo>
                <a:lnTo>
                  <a:pt x="3466" y="1315"/>
                </a:lnTo>
                <a:lnTo>
                  <a:pt x="3466" y="1313"/>
                </a:lnTo>
                <a:lnTo>
                  <a:pt x="3464" y="1315"/>
                </a:lnTo>
                <a:lnTo>
                  <a:pt x="3459" y="1315"/>
                </a:lnTo>
                <a:lnTo>
                  <a:pt x="3456" y="1315"/>
                </a:lnTo>
                <a:lnTo>
                  <a:pt x="3454" y="1313"/>
                </a:lnTo>
                <a:lnTo>
                  <a:pt x="3454" y="1315"/>
                </a:lnTo>
                <a:lnTo>
                  <a:pt x="3451" y="1315"/>
                </a:lnTo>
                <a:lnTo>
                  <a:pt x="3445" y="1317"/>
                </a:lnTo>
                <a:lnTo>
                  <a:pt x="3444" y="1318"/>
                </a:lnTo>
                <a:lnTo>
                  <a:pt x="3445" y="1318"/>
                </a:lnTo>
                <a:lnTo>
                  <a:pt x="3445" y="1320"/>
                </a:lnTo>
                <a:lnTo>
                  <a:pt x="3444" y="1320"/>
                </a:lnTo>
                <a:lnTo>
                  <a:pt x="3442" y="1320"/>
                </a:lnTo>
                <a:lnTo>
                  <a:pt x="3440" y="1320"/>
                </a:lnTo>
                <a:lnTo>
                  <a:pt x="3437" y="1318"/>
                </a:lnTo>
                <a:lnTo>
                  <a:pt x="3437" y="1317"/>
                </a:lnTo>
                <a:lnTo>
                  <a:pt x="3439" y="1317"/>
                </a:lnTo>
                <a:lnTo>
                  <a:pt x="3437" y="1315"/>
                </a:lnTo>
                <a:lnTo>
                  <a:pt x="3439" y="1315"/>
                </a:lnTo>
                <a:lnTo>
                  <a:pt x="3440" y="1315"/>
                </a:lnTo>
                <a:lnTo>
                  <a:pt x="3442" y="1315"/>
                </a:lnTo>
                <a:lnTo>
                  <a:pt x="3444" y="1317"/>
                </a:lnTo>
                <a:lnTo>
                  <a:pt x="3442" y="1315"/>
                </a:lnTo>
                <a:lnTo>
                  <a:pt x="3445" y="1317"/>
                </a:lnTo>
                <a:lnTo>
                  <a:pt x="3445" y="1311"/>
                </a:lnTo>
                <a:lnTo>
                  <a:pt x="3449" y="1310"/>
                </a:lnTo>
                <a:lnTo>
                  <a:pt x="3451" y="1306"/>
                </a:lnTo>
                <a:lnTo>
                  <a:pt x="3452" y="1306"/>
                </a:lnTo>
                <a:lnTo>
                  <a:pt x="3456" y="1305"/>
                </a:lnTo>
                <a:lnTo>
                  <a:pt x="3457" y="1305"/>
                </a:lnTo>
                <a:lnTo>
                  <a:pt x="3459" y="1305"/>
                </a:lnTo>
                <a:lnTo>
                  <a:pt x="3461" y="1303"/>
                </a:lnTo>
                <a:lnTo>
                  <a:pt x="3464" y="1303"/>
                </a:lnTo>
                <a:lnTo>
                  <a:pt x="3471" y="1296"/>
                </a:lnTo>
                <a:lnTo>
                  <a:pt x="3476" y="1296"/>
                </a:lnTo>
                <a:lnTo>
                  <a:pt x="3476" y="1294"/>
                </a:lnTo>
                <a:lnTo>
                  <a:pt x="3479" y="1294"/>
                </a:lnTo>
                <a:lnTo>
                  <a:pt x="3483" y="1289"/>
                </a:lnTo>
                <a:lnTo>
                  <a:pt x="3483" y="1286"/>
                </a:lnTo>
                <a:lnTo>
                  <a:pt x="3483" y="1283"/>
                </a:lnTo>
                <a:lnTo>
                  <a:pt x="3479" y="1279"/>
                </a:lnTo>
                <a:lnTo>
                  <a:pt x="3479" y="1274"/>
                </a:lnTo>
                <a:lnTo>
                  <a:pt x="3478" y="1271"/>
                </a:lnTo>
                <a:lnTo>
                  <a:pt x="3478" y="1269"/>
                </a:lnTo>
                <a:lnTo>
                  <a:pt x="3476" y="1271"/>
                </a:lnTo>
                <a:lnTo>
                  <a:pt x="3469" y="1260"/>
                </a:lnTo>
                <a:lnTo>
                  <a:pt x="3468" y="1257"/>
                </a:lnTo>
                <a:lnTo>
                  <a:pt x="3466" y="1255"/>
                </a:lnTo>
                <a:lnTo>
                  <a:pt x="3466" y="1250"/>
                </a:lnTo>
                <a:lnTo>
                  <a:pt x="3462" y="1248"/>
                </a:lnTo>
                <a:lnTo>
                  <a:pt x="3461" y="1245"/>
                </a:lnTo>
                <a:lnTo>
                  <a:pt x="3459" y="1245"/>
                </a:lnTo>
                <a:lnTo>
                  <a:pt x="3461" y="1245"/>
                </a:lnTo>
                <a:lnTo>
                  <a:pt x="3459" y="1247"/>
                </a:lnTo>
                <a:lnTo>
                  <a:pt x="3461" y="1248"/>
                </a:lnTo>
                <a:lnTo>
                  <a:pt x="3461" y="1250"/>
                </a:lnTo>
                <a:lnTo>
                  <a:pt x="3461" y="1252"/>
                </a:lnTo>
                <a:lnTo>
                  <a:pt x="3457" y="1254"/>
                </a:lnTo>
                <a:lnTo>
                  <a:pt x="3457" y="1252"/>
                </a:lnTo>
                <a:lnTo>
                  <a:pt x="3456" y="1252"/>
                </a:lnTo>
                <a:lnTo>
                  <a:pt x="3454" y="1250"/>
                </a:lnTo>
                <a:lnTo>
                  <a:pt x="3451" y="1250"/>
                </a:lnTo>
                <a:lnTo>
                  <a:pt x="3449" y="1248"/>
                </a:lnTo>
                <a:lnTo>
                  <a:pt x="3449" y="1247"/>
                </a:lnTo>
                <a:lnTo>
                  <a:pt x="3447" y="1245"/>
                </a:lnTo>
                <a:lnTo>
                  <a:pt x="3449" y="1243"/>
                </a:lnTo>
                <a:lnTo>
                  <a:pt x="3449" y="1242"/>
                </a:lnTo>
                <a:lnTo>
                  <a:pt x="3445" y="1240"/>
                </a:lnTo>
                <a:lnTo>
                  <a:pt x="3442" y="1237"/>
                </a:lnTo>
                <a:lnTo>
                  <a:pt x="3440" y="1235"/>
                </a:lnTo>
                <a:lnTo>
                  <a:pt x="3439" y="1233"/>
                </a:lnTo>
                <a:lnTo>
                  <a:pt x="3439" y="1231"/>
                </a:lnTo>
                <a:lnTo>
                  <a:pt x="3437" y="1231"/>
                </a:lnTo>
                <a:lnTo>
                  <a:pt x="3437" y="1233"/>
                </a:lnTo>
                <a:lnTo>
                  <a:pt x="3435" y="1233"/>
                </a:lnTo>
                <a:lnTo>
                  <a:pt x="3430" y="1231"/>
                </a:lnTo>
                <a:lnTo>
                  <a:pt x="3428" y="1221"/>
                </a:lnTo>
                <a:lnTo>
                  <a:pt x="3427" y="1218"/>
                </a:lnTo>
                <a:lnTo>
                  <a:pt x="3425" y="1214"/>
                </a:lnTo>
                <a:lnTo>
                  <a:pt x="3423" y="1211"/>
                </a:lnTo>
                <a:lnTo>
                  <a:pt x="3422" y="1209"/>
                </a:lnTo>
                <a:lnTo>
                  <a:pt x="3420" y="1209"/>
                </a:lnTo>
                <a:lnTo>
                  <a:pt x="3418" y="1209"/>
                </a:lnTo>
                <a:lnTo>
                  <a:pt x="3422" y="1211"/>
                </a:lnTo>
                <a:lnTo>
                  <a:pt x="3420" y="1211"/>
                </a:lnTo>
                <a:lnTo>
                  <a:pt x="3422" y="1211"/>
                </a:lnTo>
                <a:lnTo>
                  <a:pt x="3422" y="1213"/>
                </a:lnTo>
                <a:lnTo>
                  <a:pt x="3423" y="1214"/>
                </a:lnTo>
                <a:lnTo>
                  <a:pt x="3422" y="1214"/>
                </a:lnTo>
                <a:lnTo>
                  <a:pt x="3418" y="1211"/>
                </a:lnTo>
                <a:lnTo>
                  <a:pt x="3418" y="1209"/>
                </a:lnTo>
                <a:lnTo>
                  <a:pt x="3417" y="1211"/>
                </a:lnTo>
                <a:lnTo>
                  <a:pt x="3415" y="1206"/>
                </a:lnTo>
                <a:lnTo>
                  <a:pt x="3413" y="1206"/>
                </a:lnTo>
                <a:lnTo>
                  <a:pt x="3413" y="1204"/>
                </a:lnTo>
                <a:lnTo>
                  <a:pt x="3411" y="1204"/>
                </a:lnTo>
                <a:lnTo>
                  <a:pt x="3411" y="1201"/>
                </a:lnTo>
                <a:lnTo>
                  <a:pt x="3410" y="1201"/>
                </a:lnTo>
                <a:lnTo>
                  <a:pt x="3410" y="1199"/>
                </a:lnTo>
                <a:lnTo>
                  <a:pt x="3408" y="1199"/>
                </a:lnTo>
                <a:lnTo>
                  <a:pt x="3406" y="1199"/>
                </a:lnTo>
                <a:lnTo>
                  <a:pt x="3403" y="1199"/>
                </a:lnTo>
                <a:lnTo>
                  <a:pt x="3401" y="1196"/>
                </a:lnTo>
                <a:lnTo>
                  <a:pt x="3398" y="1196"/>
                </a:lnTo>
                <a:lnTo>
                  <a:pt x="3396" y="1196"/>
                </a:lnTo>
                <a:lnTo>
                  <a:pt x="3394" y="1196"/>
                </a:lnTo>
                <a:lnTo>
                  <a:pt x="3393" y="1191"/>
                </a:lnTo>
                <a:lnTo>
                  <a:pt x="3388" y="1186"/>
                </a:lnTo>
                <a:lnTo>
                  <a:pt x="3386" y="1180"/>
                </a:lnTo>
                <a:lnTo>
                  <a:pt x="3381" y="1177"/>
                </a:lnTo>
                <a:lnTo>
                  <a:pt x="3381" y="1174"/>
                </a:lnTo>
                <a:lnTo>
                  <a:pt x="3377" y="1172"/>
                </a:lnTo>
                <a:lnTo>
                  <a:pt x="3376" y="1167"/>
                </a:lnTo>
                <a:lnTo>
                  <a:pt x="3371" y="1163"/>
                </a:lnTo>
                <a:lnTo>
                  <a:pt x="3369" y="1160"/>
                </a:lnTo>
                <a:lnTo>
                  <a:pt x="3362" y="1158"/>
                </a:lnTo>
                <a:lnTo>
                  <a:pt x="3359" y="1158"/>
                </a:lnTo>
                <a:lnTo>
                  <a:pt x="3359" y="1157"/>
                </a:lnTo>
                <a:lnTo>
                  <a:pt x="3357" y="1157"/>
                </a:lnTo>
                <a:lnTo>
                  <a:pt x="3355" y="1155"/>
                </a:lnTo>
                <a:lnTo>
                  <a:pt x="3352" y="1155"/>
                </a:lnTo>
                <a:lnTo>
                  <a:pt x="3350" y="1157"/>
                </a:lnTo>
                <a:lnTo>
                  <a:pt x="3350" y="1155"/>
                </a:lnTo>
                <a:lnTo>
                  <a:pt x="3349" y="1157"/>
                </a:lnTo>
                <a:lnTo>
                  <a:pt x="3349" y="1155"/>
                </a:lnTo>
                <a:lnTo>
                  <a:pt x="3350" y="1155"/>
                </a:lnTo>
                <a:lnTo>
                  <a:pt x="3349" y="1155"/>
                </a:lnTo>
                <a:lnTo>
                  <a:pt x="3347" y="1155"/>
                </a:lnTo>
                <a:lnTo>
                  <a:pt x="3347" y="1153"/>
                </a:lnTo>
                <a:lnTo>
                  <a:pt x="3349" y="1152"/>
                </a:lnTo>
                <a:lnTo>
                  <a:pt x="3347" y="1152"/>
                </a:lnTo>
                <a:lnTo>
                  <a:pt x="3347" y="1150"/>
                </a:lnTo>
                <a:lnTo>
                  <a:pt x="3345" y="1148"/>
                </a:lnTo>
                <a:lnTo>
                  <a:pt x="3347" y="1148"/>
                </a:lnTo>
                <a:lnTo>
                  <a:pt x="3345" y="1148"/>
                </a:lnTo>
                <a:lnTo>
                  <a:pt x="3343" y="1148"/>
                </a:lnTo>
                <a:lnTo>
                  <a:pt x="3345" y="1146"/>
                </a:lnTo>
                <a:lnTo>
                  <a:pt x="3345" y="1148"/>
                </a:lnTo>
                <a:lnTo>
                  <a:pt x="3345" y="1146"/>
                </a:lnTo>
                <a:lnTo>
                  <a:pt x="3343" y="1146"/>
                </a:lnTo>
                <a:lnTo>
                  <a:pt x="3340" y="1146"/>
                </a:lnTo>
                <a:lnTo>
                  <a:pt x="3342" y="1145"/>
                </a:lnTo>
                <a:lnTo>
                  <a:pt x="3342" y="1143"/>
                </a:lnTo>
                <a:lnTo>
                  <a:pt x="3338" y="1145"/>
                </a:lnTo>
                <a:lnTo>
                  <a:pt x="3338" y="1143"/>
                </a:lnTo>
                <a:lnTo>
                  <a:pt x="3338" y="1141"/>
                </a:lnTo>
                <a:lnTo>
                  <a:pt x="3337" y="1140"/>
                </a:lnTo>
                <a:lnTo>
                  <a:pt x="3337" y="1143"/>
                </a:lnTo>
                <a:lnTo>
                  <a:pt x="3335" y="1143"/>
                </a:lnTo>
                <a:lnTo>
                  <a:pt x="3332" y="1143"/>
                </a:lnTo>
                <a:lnTo>
                  <a:pt x="3333" y="1143"/>
                </a:lnTo>
                <a:lnTo>
                  <a:pt x="3333" y="1141"/>
                </a:lnTo>
                <a:lnTo>
                  <a:pt x="3332" y="1141"/>
                </a:lnTo>
                <a:lnTo>
                  <a:pt x="3330" y="1143"/>
                </a:lnTo>
                <a:lnTo>
                  <a:pt x="3332" y="1143"/>
                </a:lnTo>
                <a:lnTo>
                  <a:pt x="3330" y="1145"/>
                </a:lnTo>
                <a:lnTo>
                  <a:pt x="3328" y="1143"/>
                </a:lnTo>
                <a:lnTo>
                  <a:pt x="3330" y="1141"/>
                </a:lnTo>
                <a:lnTo>
                  <a:pt x="3328" y="1141"/>
                </a:lnTo>
                <a:lnTo>
                  <a:pt x="3328" y="1145"/>
                </a:lnTo>
                <a:lnTo>
                  <a:pt x="3326" y="1145"/>
                </a:lnTo>
                <a:lnTo>
                  <a:pt x="3325" y="1146"/>
                </a:lnTo>
                <a:lnTo>
                  <a:pt x="3323" y="1145"/>
                </a:lnTo>
                <a:lnTo>
                  <a:pt x="3320" y="1145"/>
                </a:lnTo>
                <a:lnTo>
                  <a:pt x="3318" y="1141"/>
                </a:lnTo>
                <a:lnTo>
                  <a:pt x="3318" y="1140"/>
                </a:lnTo>
                <a:lnTo>
                  <a:pt x="3316" y="1138"/>
                </a:lnTo>
                <a:lnTo>
                  <a:pt x="3315" y="1138"/>
                </a:lnTo>
                <a:lnTo>
                  <a:pt x="3315" y="1136"/>
                </a:lnTo>
                <a:lnTo>
                  <a:pt x="3315" y="1138"/>
                </a:lnTo>
                <a:lnTo>
                  <a:pt x="3315" y="1135"/>
                </a:lnTo>
                <a:lnTo>
                  <a:pt x="3311" y="1131"/>
                </a:lnTo>
                <a:lnTo>
                  <a:pt x="3313" y="1131"/>
                </a:lnTo>
                <a:lnTo>
                  <a:pt x="3313" y="1133"/>
                </a:lnTo>
                <a:lnTo>
                  <a:pt x="3315" y="1131"/>
                </a:lnTo>
                <a:lnTo>
                  <a:pt x="3311" y="1131"/>
                </a:lnTo>
                <a:lnTo>
                  <a:pt x="3313" y="1129"/>
                </a:lnTo>
                <a:lnTo>
                  <a:pt x="3311" y="1129"/>
                </a:lnTo>
                <a:lnTo>
                  <a:pt x="3313" y="1126"/>
                </a:lnTo>
                <a:lnTo>
                  <a:pt x="3315" y="1124"/>
                </a:lnTo>
                <a:lnTo>
                  <a:pt x="3308" y="1121"/>
                </a:lnTo>
                <a:lnTo>
                  <a:pt x="3308" y="1119"/>
                </a:lnTo>
                <a:lnTo>
                  <a:pt x="3304" y="1119"/>
                </a:lnTo>
                <a:lnTo>
                  <a:pt x="3303" y="1116"/>
                </a:lnTo>
                <a:lnTo>
                  <a:pt x="3303" y="1118"/>
                </a:lnTo>
                <a:lnTo>
                  <a:pt x="3301" y="1118"/>
                </a:lnTo>
                <a:lnTo>
                  <a:pt x="3301" y="1119"/>
                </a:lnTo>
                <a:lnTo>
                  <a:pt x="3301" y="1118"/>
                </a:lnTo>
                <a:lnTo>
                  <a:pt x="3301" y="1119"/>
                </a:lnTo>
                <a:lnTo>
                  <a:pt x="3299" y="1119"/>
                </a:lnTo>
                <a:lnTo>
                  <a:pt x="3299" y="1121"/>
                </a:lnTo>
                <a:lnTo>
                  <a:pt x="3298" y="1121"/>
                </a:lnTo>
                <a:lnTo>
                  <a:pt x="3299" y="1124"/>
                </a:lnTo>
                <a:lnTo>
                  <a:pt x="3298" y="1126"/>
                </a:lnTo>
                <a:lnTo>
                  <a:pt x="3299" y="1128"/>
                </a:lnTo>
                <a:lnTo>
                  <a:pt x="3299" y="1129"/>
                </a:lnTo>
                <a:lnTo>
                  <a:pt x="3299" y="1128"/>
                </a:lnTo>
                <a:lnTo>
                  <a:pt x="3301" y="1128"/>
                </a:lnTo>
                <a:lnTo>
                  <a:pt x="3303" y="1133"/>
                </a:lnTo>
                <a:lnTo>
                  <a:pt x="3301" y="1135"/>
                </a:lnTo>
                <a:lnTo>
                  <a:pt x="3299" y="1138"/>
                </a:lnTo>
                <a:lnTo>
                  <a:pt x="3298" y="1138"/>
                </a:lnTo>
                <a:lnTo>
                  <a:pt x="3298" y="1136"/>
                </a:lnTo>
                <a:lnTo>
                  <a:pt x="3294" y="1136"/>
                </a:lnTo>
                <a:lnTo>
                  <a:pt x="3294" y="1135"/>
                </a:lnTo>
                <a:lnTo>
                  <a:pt x="3294" y="1128"/>
                </a:lnTo>
                <a:lnTo>
                  <a:pt x="3292" y="1124"/>
                </a:lnTo>
                <a:lnTo>
                  <a:pt x="3291" y="1118"/>
                </a:lnTo>
                <a:lnTo>
                  <a:pt x="3289" y="1116"/>
                </a:lnTo>
                <a:lnTo>
                  <a:pt x="3287" y="1114"/>
                </a:lnTo>
                <a:lnTo>
                  <a:pt x="3284" y="1116"/>
                </a:lnTo>
                <a:lnTo>
                  <a:pt x="3282" y="1114"/>
                </a:lnTo>
                <a:lnTo>
                  <a:pt x="3281" y="1111"/>
                </a:lnTo>
                <a:lnTo>
                  <a:pt x="3282" y="1111"/>
                </a:lnTo>
                <a:lnTo>
                  <a:pt x="3284" y="1111"/>
                </a:lnTo>
                <a:lnTo>
                  <a:pt x="3282" y="1109"/>
                </a:lnTo>
                <a:lnTo>
                  <a:pt x="3284" y="1109"/>
                </a:lnTo>
                <a:lnTo>
                  <a:pt x="3282" y="1107"/>
                </a:lnTo>
                <a:lnTo>
                  <a:pt x="3281" y="1104"/>
                </a:lnTo>
                <a:lnTo>
                  <a:pt x="3281" y="1100"/>
                </a:lnTo>
                <a:lnTo>
                  <a:pt x="3274" y="1095"/>
                </a:lnTo>
                <a:lnTo>
                  <a:pt x="3270" y="1087"/>
                </a:lnTo>
                <a:lnTo>
                  <a:pt x="3269" y="1077"/>
                </a:lnTo>
                <a:lnTo>
                  <a:pt x="3269" y="1068"/>
                </a:lnTo>
                <a:lnTo>
                  <a:pt x="3267" y="1066"/>
                </a:lnTo>
                <a:lnTo>
                  <a:pt x="3267" y="1065"/>
                </a:lnTo>
                <a:lnTo>
                  <a:pt x="3267" y="1063"/>
                </a:lnTo>
                <a:lnTo>
                  <a:pt x="3265" y="1060"/>
                </a:lnTo>
                <a:lnTo>
                  <a:pt x="3267" y="1058"/>
                </a:lnTo>
                <a:lnTo>
                  <a:pt x="3267" y="1056"/>
                </a:lnTo>
                <a:lnTo>
                  <a:pt x="3262" y="1046"/>
                </a:lnTo>
                <a:lnTo>
                  <a:pt x="3258" y="1032"/>
                </a:lnTo>
                <a:lnTo>
                  <a:pt x="3258" y="1031"/>
                </a:lnTo>
                <a:lnTo>
                  <a:pt x="3257" y="1029"/>
                </a:lnTo>
                <a:lnTo>
                  <a:pt x="3255" y="1019"/>
                </a:lnTo>
                <a:lnTo>
                  <a:pt x="3250" y="1009"/>
                </a:lnTo>
                <a:lnTo>
                  <a:pt x="3241" y="998"/>
                </a:lnTo>
                <a:lnTo>
                  <a:pt x="3241" y="995"/>
                </a:lnTo>
                <a:lnTo>
                  <a:pt x="3238" y="993"/>
                </a:lnTo>
                <a:lnTo>
                  <a:pt x="3236" y="990"/>
                </a:lnTo>
                <a:lnTo>
                  <a:pt x="3238" y="988"/>
                </a:lnTo>
                <a:lnTo>
                  <a:pt x="3236" y="988"/>
                </a:lnTo>
                <a:lnTo>
                  <a:pt x="3236" y="985"/>
                </a:lnTo>
                <a:lnTo>
                  <a:pt x="3235" y="983"/>
                </a:lnTo>
                <a:lnTo>
                  <a:pt x="3233" y="985"/>
                </a:lnTo>
                <a:lnTo>
                  <a:pt x="3235" y="985"/>
                </a:lnTo>
                <a:lnTo>
                  <a:pt x="3233" y="987"/>
                </a:lnTo>
                <a:lnTo>
                  <a:pt x="3233" y="985"/>
                </a:lnTo>
                <a:lnTo>
                  <a:pt x="3231" y="985"/>
                </a:lnTo>
                <a:lnTo>
                  <a:pt x="3233" y="985"/>
                </a:lnTo>
                <a:lnTo>
                  <a:pt x="3231" y="983"/>
                </a:lnTo>
                <a:lnTo>
                  <a:pt x="3230" y="985"/>
                </a:lnTo>
                <a:lnTo>
                  <a:pt x="3228" y="983"/>
                </a:lnTo>
                <a:lnTo>
                  <a:pt x="3228" y="981"/>
                </a:lnTo>
                <a:lnTo>
                  <a:pt x="3230" y="981"/>
                </a:lnTo>
                <a:lnTo>
                  <a:pt x="3228" y="980"/>
                </a:lnTo>
                <a:lnTo>
                  <a:pt x="3226" y="980"/>
                </a:lnTo>
                <a:lnTo>
                  <a:pt x="3226" y="981"/>
                </a:lnTo>
                <a:lnTo>
                  <a:pt x="3221" y="980"/>
                </a:lnTo>
                <a:lnTo>
                  <a:pt x="3223" y="976"/>
                </a:lnTo>
                <a:lnTo>
                  <a:pt x="3221" y="976"/>
                </a:lnTo>
                <a:lnTo>
                  <a:pt x="3223" y="976"/>
                </a:lnTo>
                <a:lnTo>
                  <a:pt x="3221" y="975"/>
                </a:lnTo>
                <a:lnTo>
                  <a:pt x="3221" y="978"/>
                </a:lnTo>
                <a:lnTo>
                  <a:pt x="3219" y="978"/>
                </a:lnTo>
                <a:lnTo>
                  <a:pt x="3216" y="978"/>
                </a:lnTo>
                <a:lnTo>
                  <a:pt x="3216" y="976"/>
                </a:lnTo>
                <a:lnTo>
                  <a:pt x="3214" y="976"/>
                </a:lnTo>
                <a:lnTo>
                  <a:pt x="3213" y="975"/>
                </a:lnTo>
                <a:lnTo>
                  <a:pt x="3213" y="973"/>
                </a:lnTo>
                <a:lnTo>
                  <a:pt x="3213" y="970"/>
                </a:lnTo>
                <a:lnTo>
                  <a:pt x="3214" y="968"/>
                </a:lnTo>
                <a:lnTo>
                  <a:pt x="3209" y="964"/>
                </a:lnTo>
                <a:lnTo>
                  <a:pt x="3206" y="961"/>
                </a:lnTo>
                <a:lnTo>
                  <a:pt x="3197" y="958"/>
                </a:lnTo>
                <a:lnTo>
                  <a:pt x="3197" y="956"/>
                </a:lnTo>
                <a:lnTo>
                  <a:pt x="3196" y="954"/>
                </a:lnTo>
                <a:lnTo>
                  <a:pt x="3192" y="954"/>
                </a:lnTo>
                <a:lnTo>
                  <a:pt x="3192" y="953"/>
                </a:lnTo>
                <a:lnTo>
                  <a:pt x="3190" y="953"/>
                </a:lnTo>
                <a:lnTo>
                  <a:pt x="3187" y="954"/>
                </a:lnTo>
                <a:lnTo>
                  <a:pt x="3185" y="953"/>
                </a:lnTo>
                <a:lnTo>
                  <a:pt x="3182" y="951"/>
                </a:lnTo>
                <a:lnTo>
                  <a:pt x="3179" y="946"/>
                </a:lnTo>
                <a:lnTo>
                  <a:pt x="3179" y="942"/>
                </a:lnTo>
                <a:lnTo>
                  <a:pt x="3177" y="941"/>
                </a:lnTo>
                <a:lnTo>
                  <a:pt x="3179" y="939"/>
                </a:lnTo>
                <a:lnTo>
                  <a:pt x="3177" y="939"/>
                </a:lnTo>
                <a:lnTo>
                  <a:pt x="3177" y="935"/>
                </a:lnTo>
                <a:lnTo>
                  <a:pt x="3175" y="932"/>
                </a:lnTo>
                <a:lnTo>
                  <a:pt x="3175" y="934"/>
                </a:lnTo>
                <a:lnTo>
                  <a:pt x="3173" y="934"/>
                </a:lnTo>
                <a:lnTo>
                  <a:pt x="3175" y="932"/>
                </a:lnTo>
                <a:lnTo>
                  <a:pt x="3173" y="924"/>
                </a:lnTo>
                <a:lnTo>
                  <a:pt x="3173" y="922"/>
                </a:lnTo>
                <a:lnTo>
                  <a:pt x="3173" y="920"/>
                </a:lnTo>
                <a:lnTo>
                  <a:pt x="3172" y="915"/>
                </a:lnTo>
                <a:lnTo>
                  <a:pt x="3172" y="913"/>
                </a:lnTo>
                <a:lnTo>
                  <a:pt x="3170" y="910"/>
                </a:lnTo>
                <a:lnTo>
                  <a:pt x="3170" y="908"/>
                </a:lnTo>
                <a:lnTo>
                  <a:pt x="3168" y="908"/>
                </a:lnTo>
                <a:lnTo>
                  <a:pt x="3168" y="907"/>
                </a:lnTo>
                <a:lnTo>
                  <a:pt x="3168" y="908"/>
                </a:lnTo>
                <a:lnTo>
                  <a:pt x="3170" y="908"/>
                </a:lnTo>
                <a:lnTo>
                  <a:pt x="3170" y="905"/>
                </a:lnTo>
                <a:lnTo>
                  <a:pt x="3172" y="900"/>
                </a:lnTo>
                <a:lnTo>
                  <a:pt x="3172" y="896"/>
                </a:lnTo>
                <a:lnTo>
                  <a:pt x="3170" y="896"/>
                </a:lnTo>
                <a:lnTo>
                  <a:pt x="3170" y="895"/>
                </a:lnTo>
                <a:lnTo>
                  <a:pt x="3168" y="893"/>
                </a:lnTo>
                <a:lnTo>
                  <a:pt x="3168" y="891"/>
                </a:lnTo>
                <a:lnTo>
                  <a:pt x="3167" y="888"/>
                </a:lnTo>
                <a:lnTo>
                  <a:pt x="3167" y="886"/>
                </a:lnTo>
                <a:lnTo>
                  <a:pt x="3168" y="884"/>
                </a:lnTo>
                <a:lnTo>
                  <a:pt x="3168" y="886"/>
                </a:lnTo>
                <a:lnTo>
                  <a:pt x="3168" y="884"/>
                </a:lnTo>
                <a:lnTo>
                  <a:pt x="3168" y="879"/>
                </a:lnTo>
                <a:lnTo>
                  <a:pt x="3168" y="876"/>
                </a:lnTo>
                <a:lnTo>
                  <a:pt x="3167" y="878"/>
                </a:lnTo>
                <a:lnTo>
                  <a:pt x="3168" y="874"/>
                </a:lnTo>
                <a:lnTo>
                  <a:pt x="3167" y="869"/>
                </a:lnTo>
                <a:lnTo>
                  <a:pt x="3168" y="867"/>
                </a:lnTo>
                <a:lnTo>
                  <a:pt x="3167" y="866"/>
                </a:lnTo>
                <a:lnTo>
                  <a:pt x="3168" y="864"/>
                </a:lnTo>
                <a:lnTo>
                  <a:pt x="3168" y="866"/>
                </a:lnTo>
                <a:lnTo>
                  <a:pt x="3170" y="864"/>
                </a:lnTo>
                <a:lnTo>
                  <a:pt x="3170" y="861"/>
                </a:lnTo>
                <a:lnTo>
                  <a:pt x="3168" y="857"/>
                </a:lnTo>
                <a:lnTo>
                  <a:pt x="3168" y="856"/>
                </a:lnTo>
                <a:lnTo>
                  <a:pt x="3167" y="854"/>
                </a:lnTo>
                <a:lnTo>
                  <a:pt x="3165" y="842"/>
                </a:lnTo>
                <a:lnTo>
                  <a:pt x="3162" y="835"/>
                </a:lnTo>
                <a:lnTo>
                  <a:pt x="3163" y="833"/>
                </a:lnTo>
                <a:lnTo>
                  <a:pt x="3165" y="833"/>
                </a:lnTo>
                <a:lnTo>
                  <a:pt x="3163" y="832"/>
                </a:lnTo>
                <a:lnTo>
                  <a:pt x="3165" y="830"/>
                </a:lnTo>
                <a:lnTo>
                  <a:pt x="3163" y="830"/>
                </a:lnTo>
                <a:lnTo>
                  <a:pt x="3162" y="828"/>
                </a:lnTo>
                <a:lnTo>
                  <a:pt x="3165" y="827"/>
                </a:lnTo>
                <a:lnTo>
                  <a:pt x="3167" y="827"/>
                </a:lnTo>
                <a:lnTo>
                  <a:pt x="3167" y="830"/>
                </a:lnTo>
                <a:lnTo>
                  <a:pt x="3168" y="830"/>
                </a:lnTo>
                <a:lnTo>
                  <a:pt x="3167" y="830"/>
                </a:lnTo>
                <a:lnTo>
                  <a:pt x="3170" y="830"/>
                </a:lnTo>
                <a:lnTo>
                  <a:pt x="3170" y="833"/>
                </a:lnTo>
                <a:lnTo>
                  <a:pt x="3172" y="835"/>
                </a:lnTo>
                <a:lnTo>
                  <a:pt x="3170" y="833"/>
                </a:lnTo>
                <a:lnTo>
                  <a:pt x="3167" y="832"/>
                </a:lnTo>
                <a:lnTo>
                  <a:pt x="3170" y="837"/>
                </a:lnTo>
                <a:lnTo>
                  <a:pt x="3173" y="837"/>
                </a:lnTo>
                <a:lnTo>
                  <a:pt x="3173" y="833"/>
                </a:lnTo>
                <a:lnTo>
                  <a:pt x="3172" y="833"/>
                </a:lnTo>
                <a:lnTo>
                  <a:pt x="3170" y="828"/>
                </a:lnTo>
                <a:lnTo>
                  <a:pt x="3165" y="823"/>
                </a:lnTo>
                <a:lnTo>
                  <a:pt x="3160" y="820"/>
                </a:lnTo>
                <a:lnTo>
                  <a:pt x="3153" y="808"/>
                </a:lnTo>
                <a:lnTo>
                  <a:pt x="3151" y="798"/>
                </a:lnTo>
                <a:lnTo>
                  <a:pt x="3151" y="796"/>
                </a:lnTo>
                <a:lnTo>
                  <a:pt x="3151" y="794"/>
                </a:lnTo>
                <a:lnTo>
                  <a:pt x="3151" y="791"/>
                </a:lnTo>
                <a:lnTo>
                  <a:pt x="3150" y="788"/>
                </a:lnTo>
                <a:lnTo>
                  <a:pt x="3151" y="788"/>
                </a:lnTo>
                <a:lnTo>
                  <a:pt x="3151" y="784"/>
                </a:lnTo>
                <a:lnTo>
                  <a:pt x="3150" y="782"/>
                </a:lnTo>
                <a:lnTo>
                  <a:pt x="3146" y="777"/>
                </a:lnTo>
                <a:lnTo>
                  <a:pt x="3145" y="779"/>
                </a:lnTo>
                <a:lnTo>
                  <a:pt x="3143" y="779"/>
                </a:lnTo>
                <a:lnTo>
                  <a:pt x="3136" y="772"/>
                </a:lnTo>
                <a:lnTo>
                  <a:pt x="3129" y="769"/>
                </a:lnTo>
                <a:lnTo>
                  <a:pt x="3128" y="765"/>
                </a:lnTo>
                <a:lnTo>
                  <a:pt x="3126" y="764"/>
                </a:lnTo>
                <a:lnTo>
                  <a:pt x="3122" y="762"/>
                </a:lnTo>
                <a:lnTo>
                  <a:pt x="3121" y="755"/>
                </a:lnTo>
                <a:lnTo>
                  <a:pt x="3116" y="753"/>
                </a:lnTo>
                <a:lnTo>
                  <a:pt x="3109" y="752"/>
                </a:lnTo>
                <a:lnTo>
                  <a:pt x="3105" y="752"/>
                </a:lnTo>
                <a:lnTo>
                  <a:pt x="3104" y="752"/>
                </a:lnTo>
                <a:lnTo>
                  <a:pt x="3104" y="750"/>
                </a:lnTo>
                <a:lnTo>
                  <a:pt x="3102" y="752"/>
                </a:lnTo>
                <a:lnTo>
                  <a:pt x="3104" y="750"/>
                </a:lnTo>
                <a:lnTo>
                  <a:pt x="3102" y="750"/>
                </a:lnTo>
                <a:lnTo>
                  <a:pt x="3100" y="750"/>
                </a:lnTo>
                <a:lnTo>
                  <a:pt x="3099" y="748"/>
                </a:lnTo>
                <a:lnTo>
                  <a:pt x="3097" y="743"/>
                </a:lnTo>
                <a:lnTo>
                  <a:pt x="3097" y="745"/>
                </a:lnTo>
                <a:lnTo>
                  <a:pt x="3095" y="745"/>
                </a:lnTo>
                <a:lnTo>
                  <a:pt x="3095" y="743"/>
                </a:lnTo>
                <a:lnTo>
                  <a:pt x="3095" y="742"/>
                </a:lnTo>
                <a:lnTo>
                  <a:pt x="3095" y="743"/>
                </a:lnTo>
                <a:lnTo>
                  <a:pt x="3092" y="740"/>
                </a:lnTo>
                <a:lnTo>
                  <a:pt x="3090" y="738"/>
                </a:lnTo>
                <a:lnTo>
                  <a:pt x="3090" y="733"/>
                </a:lnTo>
                <a:lnTo>
                  <a:pt x="3088" y="730"/>
                </a:lnTo>
                <a:lnTo>
                  <a:pt x="3085" y="725"/>
                </a:lnTo>
                <a:lnTo>
                  <a:pt x="3085" y="718"/>
                </a:lnTo>
                <a:lnTo>
                  <a:pt x="3080" y="711"/>
                </a:lnTo>
                <a:lnTo>
                  <a:pt x="3082" y="706"/>
                </a:lnTo>
                <a:lnTo>
                  <a:pt x="3082" y="704"/>
                </a:lnTo>
                <a:lnTo>
                  <a:pt x="3082" y="701"/>
                </a:lnTo>
                <a:lnTo>
                  <a:pt x="3082" y="699"/>
                </a:lnTo>
                <a:lnTo>
                  <a:pt x="3080" y="697"/>
                </a:lnTo>
                <a:lnTo>
                  <a:pt x="3082" y="697"/>
                </a:lnTo>
                <a:lnTo>
                  <a:pt x="3082" y="696"/>
                </a:lnTo>
                <a:lnTo>
                  <a:pt x="3080" y="697"/>
                </a:lnTo>
                <a:lnTo>
                  <a:pt x="3082" y="696"/>
                </a:lnTo>
                <a:lnTo>
                  <a:pt x="3080" y="696"/>
                </a:lnTo>
                <a:lnTo>
                  <a:pt x="3082" y="692"/>
                </a:lnTo>
                <a:lnTo>
                  <a:pt x="3080" y="689"/>
                </a:lnTo>
                <a:lnTo>
                  <a:pt x="3082" y="687"/>
                </a:lnTo>
                <a:lnTo>
                  <a:pt x="3085" y="687"/>
                </a:lnTo>
                <a:lnTo>
                  <a:pt x="3082" y="687"/>
                </a:lnTo>
                <a:lnTo>
                  <a:pt x="3082" y="689"/>
                </a:lnTo>
                <a:lnTo>
                  <a:pt x="3085" y="687"/>
                </a:lnTo>
                <a:lnTo>
                  <a:pt x="3085" y="689"/>
                </a:lnTo>
                <a:lnTo>
                  <a:pt x="3088" y="689"/>
                </a:lnTo>
                <a:lnTo>
                  <a:pt x="3092" y="691"/>
                </a:lnTo>
                <a:lnTo>
                  <a:pt x="3094" y="689"/>
                </a:lnTo>
                <a:lnTo>
                  <a:pt x="3095" y="691"/>
                </a:lnTo>
                <a:lnTo>
                  <a:pt x="3097" y="691"/>
                </a:lnTo>
                <a:lnTo>
                  <a:pt x="3095" y="687"/>
                </a:lnTo>
                <a:lnTo>
                  <a:pt x="3094" y="685"/>
                </a:lnTo>
                <a:lnTo>
                  <a:pt x="3087" y="684"/>
                </a:lnTo>
                <a:lnTo>
                  <a:pt x="3087" y="682"/>
                </a:lnTo>
                <a:lnTo>
                  <a:pt x="3085" y="680"/>
                </a:lnTo>
                <a:lnTo>
                  <a:pt x="3082" y="679"/>
                </a:lnTo>
                <a:lnTo>
                  <a:pt x="3082" y="680"/>
                </a:lnTo>
                <a:lnTo>
                  <a:pt x="3082" y="679"/>
                </a:lnTo>
                <a:lnTo>
                  <a:pt x="3078" y="675"/>
                </a:lnTo>
                <a:lnTo>
                  <a:pt x="3077" y="672"/>
                </a:lnTo>
                <a:lnTo>
                  <a:pt x="3075" y="670"/>
                </a:lnTo>
                <a:lnTo>
                  <a:pt x="3073" y="667"/>
                </a:lnTo>
                <a:lnTo>
                  <a:pt x="3071" y="667"/>
                </a:lnTo>
                <a:lnTo>
                  <a:pt x="3068" y="665"/>
                </a:lnTo>
                <a:lnTo>
                  <a:pt x="3066" y="662"/>
                </a:lnTo>
                <a:lnTo>
                  <a:pt x="3063" y="660"/>
                </a:lnTo>
                <a:lnTo>
                  <a:pt x="3063" y="657"/>
                </a:lnTo>
                <a:lnTo>
                  <a:pt x="3065" y="657"/>
                </a:lnTo>
                <a:lnTo>
                  <a:pt x="3063" y="655"/>
                </a:lnTo>
                <a:lnTo>
                  <a:pt x="3061" y="655"/>
                </a:lnTo>
                <a:lnTo>
                  <a:pt x="3061" y="653"/>
                </a:lnTo>
                <a:lnTo>
                  <a:pt x="3061" y="651"/>
                </a:lnTo>
                <a:lnTo>
                  <a:pt x="3060" y="648"/>
                </a:lnTo>
                <a:lnTo>
                  <a:pt x="3056" y="643"/>
                </a:lnTo>
                <a:lnTo>
                  <a:pt x="3056" y="640"/>
                </a:lnTo>
                <a:lnTo>
                  <a:pt x="3053" y="636"/>
                </a:lnTo>
                <a:lnTo>
                  <a:pt x="3053" y="634"/>
                </a:lnTo>
                <a:lnTo>
                  <a:pt x="3051" y="631"/>
                </a:lnTo>
                <a:lnTo>
                  <a:pt x="3049" y="626"/>
                </a:lnTo>
                <a:lnTo>
                  <a:pt x="3046" y="624"/>
                </a:lnTo>
                <a:lnTo>
                  <a:pt x="3046" y="621"/>
                </a:lnTo>
                <a:lnTo>
                  <a:pt x="3044" y="619"/>
                </a:lnTo>
                <a:lnTo>
                  <a:pt x="3043" y="616"/>
                </a:lnTo>
                <a:lnTo>
                  <a:pt x="3041" y="614"/>
                </a:lnTo>
                <a:lnTo>
                  <a:pt x="3039" y="611"/>
                </a:lnTo>
                <a:lnTo>
                  <a:pt x="3037" y="607"/>
                </a:lnTo>
                <a:lnTo>
                  <a:pt x="3037" y="605"/>
                </a:lnTo>
                <a:lnTo>
                  <a:pt x="3036" y="604"/>
                </a:lnTo>
                <a:lnTo>
                  <a:pt x="3032" y="597"/>
                </a:lnTo>
                <a:lnTo>
                  <a:pt x="3031" y="595"/>
                </a:lnTo>
                <a:lnTo>
                  <a:pt x="3029" y="594"/>
                </a:lnTo>
                <a:lnTo>
                  <a:pt x="3027" y="592"/>
                </a:lnTo>
                <a:lnTo>
                  <a:pt x="3026" y="587"/>
                </a:lnTo>
                <a:lnTo>
                  <a:pt x="3024" y="585"/>
                </a:lnTo>
                <a:lnTo>
                  <a:pt x="3022" y="580"/>
                </a:lnTo>
                <a:lnTo>
                  <a:pt x="3020" y="580"/>
                </a:lnTo>
                <a:lnTo>
                  <a:pt x="3020" y="578"/>
                </a:lnTo>
                <a:lnTo>
                  <a:pt x="3017" y="573"/>
                </a:lnTo>
                <a:lnTo>
                  <a:pt x="3015" y="568"/>
                </a:lnTo>
                <a:lnTo>
                  <a:pt x="3010" y="561"/>
                </a:lnTo>
                <a:lnTo>
                  <a:pt x="3007" y="553"/>
                </a:lnTo>
                <a:lnTo>
                  <a:pt x="3002" y="551"/>
                </a:lnTo>
                <a:lnTo>
                  <a:pt x="3003" y="546"/>
                </a:lnTo>
                <a:lnTo>
                  <a:pt x="3002" y="544"/>
                </a:lnTo>
                <a:lnTo>
                  <a:pt x="3003" y="543"/>
                </a:lnTo>
                <a:lnTo>
                  <a:pt x="3003" y="541"/>
                </a:lnTo>
                <a:lnTo>
                  <a:pt x="3005" y="541"/>
                </a:lnTo>
                <a:lnTo>
                  <a:pt x="3005" y="539"/>
                </a:lnTo>
                <a:lnTo>
                  <a:pt x="3003" y="539"/>
                </a:lnTo>
                <a:lnTo>
                  <a:pt x="3000" y="534"/>
                </a:lnTo>
                <a:lnTo>
                  <a:pt x="3002" y="532"/>
                </a:lnTo>
                <a:lnTo>
                  <a:pt x="3000" y="531"/>
                </a:lnTo>
                <a:lnTo>
                  <a:pt x="2997" y="529"/>
                </a:lnTo>
                <a:lnTo>
                  <a:pt x="2997" y="524"/>
                </a:lnTo>
                <a:lnTo>
                  <a:pt x="2998" y="524"/>
                </a:lnTo>
                <a:lnTo>
                  <a:pt x="2998" y="520"/>
                </a:lnTo>
                <a:lnTo>
                  <a:pt x="2992" y="517"/>
                </a:lnTo>
                <a:lnTo>
                  <a:pt x="2990" y="517"/>
                </a:lnTo>
                <a:lnTo>
                  <a:pt x="2990" y="514"/>
                </a:lnTo>
                <a:lnTo>
                  <a:pt x="2990" y="512"/>
                </a:lnTo>
                <a:lnTo>
                  <a:pt x="2986" y="510"/>
                </a:lnTo>
                <a:lnTo>
                  <a:pt x="2986" y="509"/>
                </a:lnTo>
                <a:lnTo>
                  <a:pt x="2983" y="507"/>
                </a:lnTo>
                <a:lnTo>
                  <a:pt x="2983" y="503"/>
                </a:lnTo>
                <a:lnTo>
                  <a:pt x="2980" y="500"/>
                </a:lnTo>
                <a:lnTo>
                  <a:pt x="2981" y="498"/>
                </a:lnTo>
                <a:lnTo>
                  <a:pt x="2983" y="500"/>
                </a:lnTo>
                <a:lnTo>
                  <a:pt x="2985" y="502"/>
                </a:lnTo>
                <a:lnTo>
                  <a:pt x="2985" y="500"/>
                </a:lnTo>
                <a:lnTo>
                  <a:pt x="2983" y="498"/>
                </a:lnTo>
                <a:lnTo>
                  <a:pt x="2983" y="495"/>
                </a:lnTo>
                <a:lnTo>
                  <a:pt x="2981" y="495"/>
                </a:lnTo>
                <a:lnTo>
                  <a:pt x="2980" y="492"/>
                </a:lnTo>
                <a:lnTo>
                  <a:pt x="2983" y="492"/>
                </a:lnTo>
                <a:lnTo>
                  <a:pt x="2985" y="493"/>
                </a:lnTo>
                <a:lnTo>
                  <a:pt x="2985" y="495"/>
                </a:lnTo>
                <a:lnTo>
                  <a:pt x="2986" y="495"/>
                </a:lnTo>
                <a:lnTo>
                  <a:pt x="2986" y="493"/>
                </a:lnTo>
                <a:lnTo>
                  <a:pt x="2985" y="493"/>
                </a:lnTo>
                <a:lnTo>
                  <a:pt x="2985" y="490"/>
                </a:lnTo>
                <a:lnTo>
                  <a:pt x="2980" y="483"/>
                </a:lnTo>
                <a:lnTo>
                  <a:pt x="2976" y="481"/>
                </a:lnTo>
                <a:lnTo>
                  <a:pt x="2975" y="481"/>
                </a:lnTo>
                <a:lnTo>
                  <a:pt x="2973" y="480"/>
                </a:lnTo>
                <a:lnTo>
                  <a:pt x="2971" y="478"/>
                </a:lnTo>
                <a:lnTo>
                  <a:pt x="2969" y="476"/>
                </a:lnTo>
                <a:lnTo>
                  <a:pt x="2968" y="476"/>
                </a:lnTo>
                <a:lnTo>
                  <a:pt x="2968" y="475"/>
                </a:lnTo>
                <a:lnTo>
                  <a:pt x="2961" y="468"/>
                </a:lnTo>
                <a:lnTo>
                  <a:pt x="2961" y="464"/>
                </a:lnTo>
                <a:lnTo>
                  <a:pt x="2958" y="463"/>
                </a:lnTo>
                <a:lnTo>
                  <a:pt x="2956" y="459"/>
                </a:lnTo>
                <a:lnTo>
                  <a:pt x="2954" y="457"/>
                </a:lnTo>
                <a:lnTo>
                  <a:pt x="2951" y="454"/>
                </a:lnTo>
                <a:lnTo>
                  <a:pt x="2947" y="454"/>
                </a:lnTo>
                <a:lnTo>
                  <a:pt x="2947" y="451"/>
                </a:lnTo>
                <a:lnTo>
                  <a:pt x="2946" y="444"/>
                </a:lnTo>
                <a:lnTo>
                  <a:pt x="2942" y="442"/>
                </a:lnTo>
                <a:lnTo>
                  <a:pt x="2939" y="439"/>
                </a:lnTo>
                <a:lnTo>
                  <a:pt x="2937" y="435"/>
                </a:lnTo>
                <a:lnTo>
                  <a:pt x="2935" y="434"/>
                </a:lnTo>
                <a:lnTo>
                  <a:pt x="2935" y="429"/>
                </a:lnTo>
                <a:lnTo>
                  <a:pt x="2939" y="427"/>
                </a:lnTo>
                <a:lnTo>
                  <a:pt x="2934" y="415"/>
                </a:lnTo>
                <a:lnTo>
                  <a:pt x="2934" y="413"/>
                </a:lnTo>
                <a:lnTo>
                  <a:pt x="2924" y="405"/>
                </a:lnTo>
                <a:lnTo>
                  <a:pt x="2922" y="401"/>
                </a:lnTo>
                <a:lnTo>
                  <a:pt x="2924" y="400"/>
                </a:lnTo>
                <a:lnTo>
                  <a:pt x="2922" y="400"/>
                </a:lnTo>
                <a:lnTo>
                  <a:pt x="2924" y="400"/>
                </a:lnTo>
                <a:lnTo>
                  <a:pt x="2922" y="398"/>
                </a:lnTo>
                <a:lnTo>
                  <a:pt x="2930" y="388"/>
                </a:lnTo>
                <a:lnTo>
                  <a:pt x="2929" y="388"/>
                </a:lnTo>
                <a:lnTo>
                  <a:pt x="2927" y="388"/>
                </a:lnTo>
                <a:lnTo>
                  <a:pt x="2929" y="384"/>
                </a:lnTo>
                <a:lnTo>
                  <a:pt x="2932" y="383"/>
                </a:lnTo>
                <a:lnTo>
                  <a:pt x="2932" y="384"/>
                </a:lnTo>
                <a:lnTo>
                  <a:pt x="2934" y="384"/>
                </a:lnTo>
                <a:lnTo>
                  <a:pt x="2932" y="384"/>
                </a:lnTo>
                <a:lnTo>
                  <a:pt x="2937" y="388"/>
                </a:lnTo>
                <a:lnTo>
                  <a:pt x="2935" y="391"/>
                </a:lnTo>
                <a:lnTo>
                  <a:pt x="2939" y="395"/>
                </a:lnTo>
                <a:lnTo>
                  <a:pt x="2939" y="401"/>
                </a:lnTo>
                <a:lnTo>
                  <a:pt x="2941" y="403"/>
                </a:lnTo>
                <a:lnTo>
                  <a:pt x="2941" y="405"/>
                </a:lnTo>
                <a:lnTo>
                  <a:pt x="2941" y="406"/>
                </a:lnTo>
                <a:lnTo>
                  <a:pt x="2942" y="406"/>
                </a:lnTo>
                <a:lnTo>
                  <a:pt x="2941" y="410"/>
                </a:lnTo>
                <a:lnTo>
                  <a:pt x="2942" y="408"/>
                </a:lnTo>
                <a:lnTo>
                  <a:pt x="2942" y="410"/>
                </a:lnTo>
                <a:lnTo>
                  <a:pt x="2946" y="412"/>
                </a:lnTo>
                <a:lnTo>
                  <a:pt x="2946" y="417"/>
                </a:lnTo>
                <a:lnTo>
                  <a:pt x="2949" y="417"/>
                </a:lnTo>
                <a:lnTo>
                  <a:pt x="2949" y="420"/>
                </a:lnTo>
                <a:lnTo>
                  <a:pt x="2952" y="422"/>
                </a:lnTo>
                <a:lnTo>
                  <a:pt x="2959" y="427"/>
                </a:lnTo>
                <a:lnTo>
                  <a:pt x="2959" y="430"/>
                </a:lnTo>
                <a:lnTo>
                  <a:pt x="2964" y="432"/>
                </a:lnTo>
                <a:lnTo>
                  <a:pt x="2963" y="435"/>
                </a:lnTo>
                <a:lnTo>
                  <a:pt x="2964" y="435"/>
                </a:lnTo>
                <a:lnTo>
                  <a:pt x="2964" y="440"/>
                </a:lnTo>
                <a:lnTo>
                  <a:pt x="2966" y="444"/>
                </a:lnTo>
                <a:lnTo>
                  <a:pt x="2964" y="449"/>
                </a:lnTo>
                <a:lnTo>
                  <a:pt x="2968" y="454"/>
                </a:lnTo>
                <a:lnTo>
                  <a:pt x="2966" y="454"/>
                </a:lnTo>
                <a:lnTo>
                  <a:pt x="2968" y="454"/>
                </a:lnTo>
                <a:lnTo>
                  <a:pt x="2969" y="454"/>
                </a:lnTo>
                <a:lnTo>
                  <a:pt x="2968" y="456"/>
                </a:lnTo>
                <a:lnTo>
                  <a:pt x="2971" y="457"/>
                </a:lnTo>
                <a:lnTo>
                  <a:pt x="2973" y="459"/>
                </a:lnTo>
                <a:lnTo>
                  <a:pt x="2976" y="463"/>
                </a:lnTo>
                <a:lnTo>
                  <a:pt x="2983" y="468"/>
                </a:lnTo>
                <a:lnTo>
                  <a:pt x="2985" y="471"/>
                </a:lnTo>
                <a:lnTo>
                  <a:pt x="2986" y="471"/>
                </a:lnTo>
                <a:lnTo>
                  <a:pt x="2986" y="473"/>
                </a:lnTo>
                <a:lnTo>
                  <a:pt x="2988" y="475"/>
                </a:lnTo>
                <a:lnTo>
                  <a:pt x="2992" y="480"/>
                </a:lnTo>
                <a:lnTo>
                  <a:pt x="2993" y="480"/>
                </a:lnTo>
                <a:lnTo>
                  <a:pt x="2993" y="481"/>
                </a:lnTo>
                <a:lnTo>
                  <a:pt x="3000" y="486"/>
                </a:lnTo>
                <a:lnTo>
                  <a:pt x="3002" y="486"/>
                </a:lnTo>
                <a:lnTo>
                  <a:pt x="3003" y="488"/>
                </a:lnTo>
                <a:lnTo>
                  <a:pt x="3005" y="488"/>
                </a:lnTo>
                <a:lnTo>
                  <a:pt x="3009" y="492"/>
                </a:lnTo>
                <a:lnTo>
                  <a:pt x="3010" y="493"/>
                </a:lnTo>
                <a:lnTo>
                  <a:pt x="3012" y="493"/>
                </a:lnTo>
                <a:lnTo>
                  <a:pt x="3015" y="493"/>
                </a:lnTo>
                <a:lnTo>
                  <a:pt x="3017" y="497"/>
                </a:lnTo>
                <a:lnTo>
                  <a:pt x="3019" y="497"/>
                </a:lnTo>
                <a:lnTo>
                  <a:pt x="3019" y="495"/>
                </a:lnTo>
                <a:lnTo>
                  <a:pt x="3017" y="495"/>
                </a:lnTo>
                <a:lnTo>
                  <a:pt x="3015" y="493"/>
                </a:lnTo>
                <a:lnTo>
                  <a:pt x="3019" y="493"/>
                </a:lnTo>
                <a:lnTo>
                  <a:pt x="3019" y="490"/>
                </a:lnTo>
                <a:lnTo>
                  <a:pt x="3020" y="490"/>
                </a:lnTo>
                <a:lnTo>
                  <a:pt x="3022" y="490"/>
                </a:lnTo>
                <a:lnTo>
                  <a:pt x="3022" y="486"/>
                </a:lnTo>
                <a:lnTo>
                  <a:pt x="3024" y="486"/>
                </a:lnTo>
                <a:lnTo>
                  <a:pt x="3026" y="485"/>
                </a:lnTo>
                <a:lnTo>
                  <a:pt x="3027" y="483"/>
                </a:lnTo>
                <a:lnTo>
                  <a:pt x="3027" y="481"/>
                </a:lnTo>
                <a:lnTo>
                  <a:pt x="3027" y="478"/>
                </a:lnTo>
                <a:lnTo>
                  <a:pt x="3029" y="475"/>
                </a:lnTo>
                <a:lnTo>
                  <a:pt x="3026" y="471"/>
                </a:lnTo>
                <a:lnTo>
                  <a:pt x="3026" y="466"/>
                </a:lnTo>
                <a:lnTo>
                  <a:pt x="3027" y="464"/>
                </a:lnTo>
                <a:lnTo>
                  <a:pt x="3029" y="461"/>
                </a:lnTo>
                <a:lnTo>
                  <a:pt x="3031" y="459"/>
                </a:lnTo>
                <a:lnTo>
                  <a:pt x="3032" y="459"/>
                </a:lnTo>
                <a:lnTo>
                  <a:pt x="3032" y="454"/>
                </a:lnTo>
                <a:lnTo>
                  <a:pt x="3034" y="452"/>
                </a:lnTo>
                <a:lnTo>
                  <a:pt x="3034" y="451"/>
                </a:lnTo>
                <a:lnTo>
                  <a:pt x="3034" y="449"/>
                </a:lnTo>
                <a:lnTo>
                  <a:pt x="3037" y="446"/>
                </a:lnTo>
                <a:lnTo>
                  <a:pt x="3037" y="440"/>
                </a:lnTo>
                <a:lnTo>
                  <a:pt x="3039" y="439"/>
                </a:lnTo>
                <a:lnTo>
                  <a:pt x="3037" y="435"/>
                </a:lnTo>
                <a:lnTo>
                  <a:pt x="3041" y="434"/>
                </a:lnTo>
                <a:lnTo>
                  <a:pt x="3039" y="430"/>
                </a:lnTo>
                <a:lnTo>
                  <a:pt x="3041" y="423"/>
                </a:lnTo>
                <a:lnTo>
                  <a:pt x="3043" y="423"/>
                </a:lnTo>
                <a:lnTo>
                  <a:pt x="3043" y="422"/>
                </a:lnTo>
                <a:lnTo>
                  <a:pt x="3043" y="417"/>
                </a:lnTo>
                <a:lnTo>
                  <a:pt x="3044" y="415"/>
                </a:lnTo>
                <a:lnTo>
                  <a:pt x="3049" y="408"/>
                </a:lnTo>
                <a:lnTo>
                  <a:pt x="3051" y="406"/>
                </a:lnTo>
                <a:lnTo>
                  <a:pt x="3049" y="401"/>
                </a:lnTo>
                <a:lnTo>
                  <a:pt x="3051" y="400"/>
                </a:lnTo>
                <a:lnTo>
                  <a:pt x="3049" y="396"/>
                </a:lnTo>
                <a:lnTo>
                  <a:pt x="3049" y="393"/>
                </a:lnTo>
                <a:lnTo>
                  <a:pt x="3041" y="372"/>
                </a:lnTo>
                <a:lnTo>
                  <a:pt x="3037" y="362"/>
                </a:lnTo>
                <a:lnTo>
                  <a:pt x="3032" y="361"/>
                </a:lnTo>
                <a:lnTo>
                  <a:pt x="3034" y="357"/>
                </a:lnTo>
                <a:lnTo>
                  <a:pt x="3032" y="354"/>
                </a:lnTo>
                <a:lnTo>
                  <a:pt x="3031" y="347"/>
                </a:lnTo>
                <a:lnTo>
                  <a:pt x="3026" y="338"/>
                </a:lnTo>
                <a:lnTo>
                  <a:pt x="3020" y="325"/>
                </a:lnTo>
                <a:lnTo>
                  <a:pt x="3017" y="316"/>
                </a:lnTo>
                <a:lnTo>
                  <a:pt x="3017" y="315"/>
                </a:lnTo>
                <a:lnTo>
                  <a:pt x="3005" y="320"/>
                </a:lnTo>
                <a:lnTo>
                  <a:pt x="2992" y="325"/>
                </a:lnTo>
                <a:lnTo>
                  <a:pt x="2985" y="325"/>
                </a:lnTo>
                <a:lnTo>
                  <a:pt x="2978" y="325"/>
                </a:lnTo>
                <a:lnTo>
                  <a:pt x="2976" y="325"/>
                </a:lnTo>
                <a:lnTo>
                  <a:pt x="2976" y="327"/>
                </a:lnTo>
                <a:lnTo>
                  <a:pt x="2975" y="327"/>
                </a:lnTo>
                <a:lnTo>
                  <a:pt x="2973" y="327"/>
                </a:lnTo>
                <a:lnTo>
                  <a:pt x="2969" y="327"/>
                </a:lnTo>
                <a:lnTo>
                  <a:pt x="2971" y="327"/>
                </a:lnTo>
                <a:lnTo>
                  <a:pt x="2969" y="327"/>
                </a:lnTo>
                <a:lnTo>
                  <a:pt x="2968" y="327"/>
                </a:lnTo>
                <a:lnTo>
                  <a:pt x="2964" y="327"/>
                </a:lnTo>
                <a:lnTo>
                  <a:pt x="2966" y="328"/>
                </a:lnTo>
                <a:lnTo>
                  <a:pt x="2964" y="328"/>
                </a:lnTo>
                <a:lnTo>
                  <a:pt x="2966" y="328"/>
                </a:lnTo>
                <a:lnTo>
                  <a:pt x="2963" y="328"/>
                </a:lnTo>
                <a:lnTo>
                  <a:pt x="2963" y="327"/>
                </a:lnTo>
                <a:lnTo>
                  <a:pt x="2961" y="327"/>
                </a:lnTo>
                <a:lnTo>
                  <a:pt x="2961" y="325"/>
                </a:lnTo>
                <a:lnTo>
                  <a:pt x="2959" y="325"/>
                </a:lnTo>
                <a:lnTo>
                  <a:pt x="2961" y="325"/>
                </a:lnTo>
                <a:lnTo>
                  <a:pt x="2959" y="325"/>
                </a:lnTo>
                <a:lnTo>
                  <a:pt x="2961" y="323"/>
                </a:lnTo>
                <a:lnTo>
                  <a:pt x="2963" y="325"/>
                </a:lnTo>
                <a:lnTo>
                  <a:pt x="2959" y="321"/>
                </a:lnTo>
                <a:lnTo>
                  <a:pt x="2956" y="323"/>
                </a:lnTo>
                <a:lnTo>
                  <a:pt x="2954" y="327"/>
                </a:lnTo>
                <a:lnTo>
                  <a:pt x="2952" y="325"/>
                </a:lnTo>
                <a:lnTo>
                  <a:pt x="2954" y="327"/>
                </a:lnTo>
                <a:lnTo>
                  <a:pt x="2956" y="327"/>
                </a:lnTo>
                <a:lnTo>
                  <a:pt x="2956" y="325"/>
                </a:lnTo>
                <a:lnTo>
                  <a:pt x="2958" y="325"/>
                </a:lnTo>
                <a:lnTo>
                  <a:pt x="2959" y="325"/>
                </a:lnTo>
                <a:lnTo>
                  <a:pt x="2958" y="325"/>
                </a:lnTo>
                <a:lnTo>
                  <a:pt x="2958" y="327"/>
                </a:lnTo>
                <a:lnTo>
                  <a:pt x="2956" y="327"/>
                </a:lnTo>
                <a:lnTo>
                  <a:pt x="2956" y="328"/>
                </a:lnTo>
                <a:lnTo>
                  <a:pt x="2952" y="328"/>
                </a:lnTo>
                <a:lnTo>
                  <a:pt x="2954" y="328"/>
                </a:lnTo>
                <a:lnTo>
                  <a:pt x="2954" y="327"/>
                </a:lnTo>
                <a:lnTo>
                  <a:pt x="2952" y="327"/>
                </a:lnTo>
                <a:lnTo>
                  <a:pt x="2951" y="327"/>
                </a:lnTo>
                <a:lnTo>
                  <a:pt x="2949" y="327"/>
                </a:lnTo>
                <a:lnTo>
                  <a:pt x="2942" y="328"/>
                </a:lnTo>
                <a:lnTo>
                  <a:pt x="2944" y="328"/>
                </a:lnTo>
                <a:lnTo>
                  <a:pt x="2944" y="330"/>
                </a:lnTo>
                <a:lnTo>
                  <a:pt x="2942" y="328"/>
                </a:lnTo>
                <a:lnTo>
                  <a:pt x="2941" y="330"/>
                </a:lnTo>
                <a:lnTo>
                  <a:pt x="2941" y="328"/>
                </a:lnTo>
                <a:lnTo>
                  <a:pt x="2939" y="328"/>
                </a:lnTo>
                <a:lnTo>
                  <a:pt x="2941" y="328"/>
                </a:lnTo>
                <a:lnTo>
                  <a:pt x="2944" y="327"/>
                </a:lnTo>
                <a:lnTo>
                  <a:pt x="2951" y="323"/>
                </a:lnTo>
                <a:lnTo>
                  <a:pt x="2942" y="327"/>
                </a:lnTo>
                <a:lnTo>
                  <a:pt x="2937" y="328"/>
                </a:lnTo>
                <a:lnTo>
                  <a:pt x="2934" y="328"/>
                </a:lnTo>
                <a:lnTo>
                  <a:pt x="2930" y="325"/>
                </a:lnTo>
                <a:lnTo>
                  <a:pt x="2927" y="321"/>
                </a:lnTo>
                <a:lnTo>
                  <a:pt x="2924" y="320"/>
                </a:lnTo>
                <a:lnTo>
                  <a:pt x="2924" y="318"/>
                </a:lnTo>
                <a:lnTo>
                  <a:pt x="2922" y="321"/>
                </a:lnTo>
                <a:lnTo>
                  <a:pt x="2922" y="318"/>
                </a:lnTo>
                <a:lnTo>
                  <a:pt x="2922" y="320"/>
                </a:lnTo>
                <a:lnTo>
                  <a:pt x="2920" y="318"/>
                </a:lnTo>
                <a:lnTo>
                  <a:pt x="2922" y="316"/>
                </a:lnTo>
                <a:lnTo>
                  <a:pt x="2920" y="316"/>
                </a:lnTo>
                <a:lnTo>
                  <a:pt x="2913" y="315"/>
                </a:lnTo>
                <a:lnTo>
                  <a:pt x="2905" y="310"/>
                </a:lnTo>
                <a:lnTo>
                  <a:pt x="2901" y="304"/>
                </a:lnTo>
                <a:lnTo>
                  <a:pt x="2905" y="308"/>
                </a:lnTo>
                <a:lnTo>
                  <a:pt x="2903" y="306"/>
                </a:lnTo>
                <a:lnTo>
                  <a:pt x="2900" y="304"/>
                </a:lnTo>
                <a:lnTo>
                  <a:pt x="2896" y="304"/>
                </a:lnTo>
                <a:lnTo>
                  <a:pt x="2893" y="306"/>
                </a:lnTo>
                <a:lnTo>
                  <a:pt x="2893" y="308"/>
                </a:lnTo>
                <a:lnTo>
                  <a:pt x="2891" y="308"/>
                </a:lnTo>
                <a:lnTo>
                  <a:pt x="2891" y="306"/>
                </a:lnTo>
                <a:lnTo>
                  <a:pt x="2890" y="306"/>
                </a:lnTo>
                <a:lnTo>
                  <a:pt x="2883" y="308"/>
                </a:lnTo>
                <a:lnTo>
                  <a:pt x="2878" y="308"/>
                </a:lnTo>
                <a:lnTo>
                  <a:pt x="2867" y="303"/>
                </a:lnTo>
                <a:lnTo>
                  <a:pt x="2859" y="301"/>
                </a:lnTo>
                <a:lnTo>
                  <a:pt x="2856" y="301"/>
                </a:lnTo>
                <a:lnTo>
                  <a:pt x="2852" y="301"/>
                </a:lnTo>
                <a:lnTo>
                  <a:pt x="2830" y="308"/>
                </a:lnTo>
                <a:lnTo>
                  <a:pt x="2822" y="306"/>
                </a:lnTo>
                <a:lnTo>
                  <a:pt x="2818" y="313"/>
                </a:lnTo>
                <a:lnTo>
                  <a:pt x="2815" y="316"/>
                </a:lnTo>
                <a:lnTo>
                  <a:pt x="2811" y="316"/>
                </a:lnTo>
                <a:lnTo>
                  <a:pt x="2808" y="316"/>
                </a:lnTo>
                <a:lnTo>
                  <a:pt x="2806" y="315"/>
                </a:lnTo>
                <a:lnTo>
                  <a:pt x="2808" y="315"/>
                </a:lnTo>
                <a:lnTo>
                  <a:pt x="2806" y="315"/>
                </a:lnTo>
                <a:lnTo>
                  <a:pt x="2799" y="320"/>
                </a:lnTo>
                <a:lnTo>
                  <a:pt x="2798" y="320"/>
                </a:lnTo>
                <a:lnTo>
                  <a:pt x="2796" y="320"/>
                </a:lnTo>
                <a:lnTo>
                  <a:pt x="2796" y="323"/>
                </a:lnTo>
                <a:lnTo>
                  <a:pt x="2796" y="321"/>
                </a:lnTo>
                <a:lnTo>
                  <a:pt x="2798" y="321"/>
                </a:lnTo>
                <a:lnTo>
                  <a:pt x="2796" y="321"/>
                </a:lnTo>
                <a:lnTo>
                  <a:pt x="2794" y="323"/>
                </a:lnTo>
                <a:lnTo>
                  <a:pt x="2793" y="323"/>
                </a:lnTo>
                <a:lnTo>
                  <a:pt x="2786" y="328"/>
                </a:lnTo>
                <a:lnTo>
                  <a:pt x="2776" y="335"/>
                </a:lnTo>
                <a:lnTo>
                  <a:pt x="2764" y="338"/>
                </a:lnTo>
                <a:lnTo>
                  <a:pt x="2755" y="340"/>
                </a:lnTo>
                <a:lnTo>
                  <a:pt x="2754" y="340"/>
                </a:lnTo>
                <a:lnTo>
                  <a:pt x="2754" y="338"/>
                </a:lnTo>
                <a:lnTo>
                  <a:pt x="2752" y="338"/>
                </a:lnTo>
                <a:lnTo>
                  <a:pt x="2748" y="337"/>
                </a:lnTo>
                <a:lnTo>
                  <a:pt x="2745" y="335"/>
                </a:lnTo>
                <a:lnTo>
                  <a:pt x="2743" y="333"/>
                </a:lnTo>
                <a:lnTo>
                  <a:pt x="2740" y="332"/>
                </a:lnTo>
                <a:lnTo>
                  <a:pt x="2733" y="330"/>
                </a:lnTo>
                <a:lnTo>
                  <a:pt x="2730" y="328"/>
                </a:lnTo>
                <a:lnTo>
                  <a:pt x="2726" y="328"/>
                </a:lnTo>
                <a:lnTo>
                  <a:pt x="2723" y="327"/>
                </a:lnTo>
                <a:lnTo>
                  <a:pt x="2718" y="327"/>
                </a:lnTo>
                <a:lnTo>
                  <a:pt x="2713" y="327"/>
                </a:lnTo>
                <a:lnTo>
                  <a:pt x="2709" y="327"/>
                </a:lnTo>
                <a:lnTo>
                  <a:pt x="2697" y="327"/>
                </a:lnTo>
                <a:lnTo>
                  <a:pt x="2696" y="325"/>
                </a:lnTo>
                <a:lnTo>
                  <a:pt x="2696" y="321"/>
                </a:lnTo>
                <a:lnTo>
                  <a:pt x="2694" y="318"/>
                </a:lnTo>
                <a:lnTo>
                  <a:pt x="2692" y="320"/>
                </a:lnTo>
                <a:lnTo>
                  <a:pt x="2686" y="321"/>
                </a:lnTo>
                <a:lnTo>
                  <a:pt x="2684" y="321"/>
                </a:lnTo>
                <a:lnTo>
                  <a:pt x="2680" y="321"/>
                </a:lnTo>
                <a:lnTo>
                  <a:pt x="2679" y="320"/>
                </a:lnTo>
                <a:lnTo>
                  <a:pt x="2674" y="320"/>
                </a:lnTo>
                <a:lnTo>
                  <a:pt x="2670" y="318"/>
                </a:lnTo>
                <a:lnTo>
                  <a:pt x="2669" y="311"/>
                </a:lnTo>
                <a:lnTo>
                  <a:pt x="2660" y="313"/>
                </a:lnTo>
                <a:lnTo>
                  <a:pt x="2660" y="311"/>
                </a:lnTo>
                <a:lnTo>
                  <a:pt x="2662" y="311"/>
                </a:lnTo>
                <a:lnTo>
                  <a:pt x="2655" y="311"/>
                </a:lnTo>
                <a:lnTo>
                  <a:pt x="2655" y="310"/>
                </a:lnTo>
                <a:lnTo>
                  <a:pt x="2652" y="310"/>
                </a:lnTo>
                <a:lnTo>
                  <a:pt x="2650" y="308"/>
                </a:lnTo>
                <a:lnTo>
                  <a:pt x="2643" y="308"/>
                </a:lnTo>
                <a:lnTo>
                  <a:pt x="2638" y="306"/>
                </a:lnTo>
                <a:lnTo>
                  <a:pt x="2629" y="306"/>
                </a:lnTo>
                <a:lnTo>
                  <a:pt x="2629" y="304"/>
                </a:lnTo>
                <a:lnTo>
                  <a:pt x="2626" y="306"/>
                </a:lnTo>
                <a:lnTo>
                  <a:pt x="2606" y="301"/>
                </a:lnTo>
                <a:lnTo>
                  <a:pt x="2595" y="299"/>
                </a:lnTo>
                <a:lnTo>
                  <a:pt x="2590" y="299"/>
                </a:lnTo>
                <a:lnTo>
                  <a:pt x="2575" y="304"/>
                </a:lnTo>
                <a:lnTo>
                  <a:pt x="2570" y="304"/>
                </a:lnTo>
                <a:lnTo>
                  <a:pt x="2565" y="304"/>
                </a:lnTo>
                <a:lnTo>
                  <a:pt x="2558" y="303"/>
                </a:lnTo>
                <a:lnTo>
                  <a:pt x="2558" y="301"/>
                </a:lnTo>
                <a:lnTo>
                  <a:pt x="2558" y="299"/>
                </a:lnTo>
                <a:lnTo>
                  <a:pt x="2556" y="296"/>
                </a:lnTo>
                <a:lnTo>
                  <a:pt x="2556" y="292"/>
                </a:lnTo>
                <a:lnTo>
                  <a:pt x="2555" y="292"/>
                </a:lnTo>
                <a:lnTo>
                  <a:pt x="2551" y="287"/>
                </a:lnTo>
                <a:lnTo>
                  <a:pt x="2551" y="284"/>
                </a:lnTo>
                <a:lnTo>
                  <a:pt x="2550" y="282"/>
                </a:lnTo>
                <a:lnTo>
                  <a:pt x="2543" y="281"/>
                </a:lnTo>
                <a:lnTo>
                  <a:pt x="2538" y="279"/>
                </a:lnTo>
                <a:lnTo>
                  <a:pt x="2534" y="279"/>
                </a:lnTo>
                <a:lnTo>
                  <a:pt x="2533" y="279"/>
                </a:lnTo>
                <a:lnTo>
                  <a:pt x="2527" y="281"/>
                </a:lnTo>
                <a:lnTo>
                  <a:pt x="2524" y="281"/>
                </a:lnTo>
                <a:lnTo>
                  <a:pt x="2519" y="281"/>
                </a:lnTo>
                <a:lnTo>
                  <a:pt x="2512" y="279"/>
                </a:lnTo>
                <a:lnTo>
                  <a:pt x="2509" y="281"/>
                </a:lnTo>
                <a:lnTo>
                  <a:pt x="2504" y="279"/>
                </a:lnTo>
                <a:lnTo>
                  <a:pt x="2497" y="277"/>
                </a:lnTo>
                <a:lnTo>
                  <a:pt x="2497" y="275"/>
                </a:lnTo>
                <a:lnTo>
                  <a:pt x="2500" y="277"/>
                </a:lnTo>
                <a:lnTo>
                  <a:pt x="2500" y="275"/>
                </a:lnTo>
                <a:lnTo>
                  <a:pt x="2499" y="275"/>
                </a:lnTo>
                <a:lnTo>
                  <a:pt x="2493" y="274"/>
                </a:lnTo>
                <a:lnTo>
                  <a:pt x="2485" y="270"/>
                </a:lnTo>
                <a:lnTo>
                  <a:pt x="2470" y="270"/>
                </a:lnTo>
                <a:lnTo>
                  <a:pt x="2465" y="269"/>
                </a:lnTo>
                <a:lnTo>
                  <a:pt x="2465" y="270"/>
                </a:lnTo>
                <a:lnTo>
                  <a:pt x="2465" y="272"/>
                </a:lnTo>
                <a:lnTo>
                  <a:pt x="2463" y="270"/>
                </a:lnTo>
                <a:lnTo>
                  <a:pt x="2461" y="270"/>
                </a:lnTo>
                <a:lnTo>
                  <a:pt x="2459" y="265"/>
                </a:lnTo>
                <a:lnTo>
                  <a:pt x="2453" y="264"/>
                </a:lnTo>
                <a:lnTo>
                  <a:pt x="2453" y="258"/>
                </a:lnTo>
                <a:lnTo>
                  <a:pt x="2456" y="260"/>
                </a:lnTo>
                <a:lnTo>
                  <a:pt x="2454" y="260"/>
                </a:lnTo>
                <a:lnTo>
                  <a:pt x="2456" y="260"/>
                </a:lnTo>
                <a:lnTo>
                  <a:pt x="2456" y="258"/>
                </a:lnTo>
                <a:lnTo>
                  <a:pt x="2456" y="257"/>
                </a:lnTo>
                <a:lnTo>
                  <a:pt x="2454" y="253"/>
                </a:lnTo>
                <a:lnTo>
                  <a:pt x="2454" y="252"/>
                </a:lnTo>
                <a:lnTo>
                  <a:pt x="2454" y="250"/>
                </a:lnTo>
                <a:lnTo>
                  <a:pt x="2454" y="248"/>
                </a:lnTo>
                <a:lnTo>
                  <a:pt x="2444" y="247"/>
                </a:lnTo>
                <a:lnTo>
                  <a:pt x="2439" y="243"/>
                </a:lnTo>
                <a:lnTo>
                  <a:pt x="2431" y="241"/>
                </a:lnTo>
                <a:lnTo>
                  <a:pt x="2429" y="241"/>
                </a:lnTo>
                <a:lnTo>
                  <a:pt x="2425" y="240"/>
                </a:lnTo>
                <a:lnTo>
                  <a:pt x="2422" y="238"/>
                </a:lnTo>
                <a:lnTo>
                  <a:pt x="2417" y="236"/>
                </a:lnTo>
                <a:lnTo>
                  <a:pt x="2408" y="235"/>
                </a:lnTo>
                <a:lnTo>
                  <a:pt x="2407" y="235"/>
                </a:lnTo>
                <a:lnTo>
                  <a:pt x="2407" y="233"/>
                </a:lnTo>
                <a:lnTo>
                  <a:pt x="2405" y="233"/>
                </a:lnTo>
                <a:lnTo>
                  <a:pt x="2400" y="235"/>
                </a:lnTo>
                <a:lnTo>
                  <a:pt x="2393" y="235"/>
                </a:lnTo>
                <a:lnTo>
                  <a:pt x="2383" y="233"/>
                </a:lnTo>
                <a:lnTo>
                  <a:pt x="2380" y="233"/>
                </a:lnTo>
                <a:lnTo>
                  <a:pt x="2371" y="238"/>
                </a:lnTo>
                <a:lnTo>
                  <a:pt x="2368" y="240"/>
                </a:lnTo>
                <a:lnTo>
                  <a:pt x="2351" y="241"/>
                </a:lnTo>
                <a:lnTo>
                  <a:pt x="2330" y="250"/>
                </a:lnTo>
                <a:lnTo>
                  <a:pt x="2317" y="258"/>
                </a:lnTo>
                <a:lnTo>
                  <a:pt x="2306" y="265"/>
                </a:lnTo>
                <a:lnTo>
                  <a:pt x="2303" y="270"/>
                </a:lnTo>
                <a:lnTo>
                  <a:pt x="2301" y="270"/>
                </a:lnTo>
                <a:lnTo>
                  <a:pt x="2300" y="274"/>
                </a:lnTo>
                <a:lnTo>
                  <a:pt x="2298" y="274"/>
                </a:lnTo>
                <a:lnTo>
                  <a:pt x="2300" y="274"/>
                </a:lnTo>
                <a:lnTo>
                  <a:pt x="2300" y="275"/>
                </a:lnTo>
                <a:lnTo>
                  <a:pt x="2300" y="274"/>
                </a:lnTo>
                <a:lnTo>
                  <a:pt x="2298" y="275"/>
                </a:lnTo>
                <a:lnTo>
                  <a:pt x="2298" y="274"/>
                </a:lnTo>
                <a:lnTo>
                  <a:pt x="2298" y="275"/>
                </a:lnTo>
                <a:lnTo>
                  <a:pt x="2300" y="275"/>
                </a:lnTo>
                <a:lnTo>
                  <a:pt x="2298" y="277"/>
                </a:lnTo>
                <a:lnTo>
                  <a:pt x="2295" y="282"/>
                </a:lnTo>
                <a:lnTo>
                  <a:pt x="2295" y="284"/>
                </a:lnTo>
                <a:lnTo>
                  <a:pt x="2293" y="292"/>
                </a:lnTo>
                <a:lnTo>
                  <a:pt x="2295" y="296"/>
                </a:lnTo>
                <a:lnTo>
                  <a:pt x="2296" y="306"/>
                </a:lnTo>
                <a:lnTo>
                  <a:pt x="2298" y="308"/>
                </a:lnTo>
                <a:lnTo>
                  <a:pt x="2298" y="311"/>
                </a:lnTo>
                <a:lnTo>
                  <a:pt x="2301" y="313"/>
                </a:lnTo>
                <a:lnTo>
                  <a:pt x="2305" y="318"/>
                </a:lnTo>
                <a:lnTo>
                  <a:pt x="2305" y="323"/>
                </a:lnTo>
                <a:lnTo>
                  <a:pt x="2305" y="328"/>
                </a:lnTo>
                <a:lnTo>
                  <a:pt x="2300" y="338"/>
                </a:lnTo>
                <a:lnTo>
                  <a:pt x="2293" y="347"/>
                </a:lnTo>
                <a:lnTo>
                  <a:pt x="2286" y="354"/>
                </a:lnTo>
                <a:lnTo>
                  <a:pt x="2278" y="361"/>
                </a:lnTo>
                <a:lnTo>
                  <a:pt x="2274" y="361"/>
                </a:lnTo>
                <a:lnTo>
                  <a:pt x="2266" y="366"/>
                </a:lnTo>
                <a:lnTo>
                  <a:pt x="2259" y="367"/>
                </a:lnTo>
                <a:lnTo>
                  <a:pt x="2255" y="367"/>
                </a:lnTo>
                <a:lnTo>
                  <a:pt x="2247" y="367"/>
                </a:lnTo>
                <a:lnTo>
                  <a:pt x="2244" y="367"/>
                </a:lnTo>
                <a:lnTo>
                  <a:pt x="2240" y="364"/>
                </a:lnTo>
                <a:lnTo>
                  <a:pt x="2235" y="364"/>
                </a:lnTo>
                <a:lnTo>
                  <a:pt x="2235" y="362"/>
                </a:lnTo>
                <a:lnTo>
                  <a:pt x="2228" y="361"/>
                </a:lnTo>
                <a:lnTo>
                  <a:pt x="2225" y="357"/>
                </a:lnTo>
                <a:lnTo>
                  <a:pt x="2225" y="355"/>
                </a:lnTo>
                <a:lnTo>
                  <a:pt x="2225" y="357"/>
                </a:lnTo>
                <a:lnTo>
                  <a:pt x="2225" y="355"/>
                </a:lnTo>
                <a:lnTo>
                  <a:pt x="2221" y="355"/>
                </a:lnTo>
                <a:lnTo>
                  <a:pt x="2216" y="350"/>
                </a:lnTo>
                <a:lnTo>
                  <a:pt x="2211" y="347"/>
                </a:lnTo>
                <a:lnTo>
                  <a:pt x="2206" y="342"/>
                </a:lnTo>
                <a:lnTo>
                  <a:pt x="2204" y="342"/>
                </a:lnTo>
                <a:lnTo>
                  <a:pt x="2191" y="338"/>
                </a:lnTo>
                <a:lnTo>
                  <a:pt x="2187" y="335"/>
                </a:lnTo>
                <a:lnTo>
                  <a:pt x="2179" y="333"/>
                </a:lnTo>
                <a:lnTo>
                  <a:pt x="2170" y="330"/>
                </a:lnTo>
                <a:lnTo>
                  <a:pt x="2165" y="327"/>
                </a:lnTo>
                <a:lnTo>
                  <a:pt x="2160" y="327"/>
                </a:lnTo>
                <a:lnTo>
                  <a:pt x="2145" y="323"/>
                </a:lnTo>
                <a:lnTo>
                  <a:pt x="2133" y="320"/>
                </a:lnTo>
                <a:lnTo>
                  <a:pt x="2114" y="320"/>
                </a:lnTo>
                <a:lnTo>
                  <a:pt x="2101" y="318"/>
                </a:lnTo>
                <a:lnTo>
                  <a:pt x="2092" y="316"/>
                </a:lnTo>
                <a:lnTo>
                  <a:pt x="2080" y="311"/>
                </a:lnTo>
                <a:lnTo>
                  <a:pt x="2075" y="306"/>
                </a:lnTo>
                <a:lnTo>
                  <a:pt x="2068" y="296"/>
                </a:lnTo>
                <a:lnTo>
                  <a:pt x="2062" y="282"/>
                </a:lnTo>
                <a:lnTo>
                  <a:pt x="2062" y="277"/>
                </a:lnTo>
                <a:lnTo>
                  <a:pt x="2062" y="272"/>
                </a:lnTo>
                <a:lnTo>
                  <a:pt x="2060" y="269"/>
                </a:lnTo>
                <a:lnTo>
                  <a:pt x="2057" y="264"/>
                </a:lnTo>
                <a:lnTo>
                  <a:pt x="2055" y="262"/>
                </a:lnTo>
                <a:lnTo>
                  <a:pt x="2057" y="262"/>
                </a:lnTo>
                <a:lnTo>
                  <a:pt x="2055" y="262"/>
                </a:lnTo>
                <a:lnTo>
                  <a:pt x="2048" y="258"/>
                </a:lnTo>
                <a:lnTo>
                  <a:pt x="2041" y="258"/>
                </a:lnTo>
                <a:lnTo>
                  <a:pt x="2038" y="258"/>
                </a:lnTo>
                <a:lnTo>
                  <a:pt x="2031" y="258"/>
                </a:lnTo>
                <a:lnTo>
                  <a:pt x="2023" y="255"/>
                </a:lnTo>
                <a:lnTo>
                  <a:pt x="2017" y="253"/>
                </a:lnTo>
                <a:lnTo>
                  <a:pt x="2009" y="248"/>
                </a:lnTo>
                <a:lnTo>
                  <a:pt x="2006" y="247"/>
                </a:lnTo>
                <a:lnTo>
                  <a:pt x="2006" y="245"/>
                </a:lnTo>
                <a:lnTo>
                  <a:pt x="2002" y="243"/>
                </a:lnTo>
                <a:lnTo>
                  <a:pt x="1994" y="243"/>
                </a:lnTo>
                <a:lnTo>
                  <a:pt x="1990" y="241"/>
                </a:lnTo>
                <a:lnTo>
                  <a:pt x="1983" y="240"/>
                </a:lnTo>
                <a:lnTo>
                  <a:pt x="1973" y="240"/>
                </a:lnTo>
                <a:lnTo>
                  <a:pt x="1963" y="236"/>
                </a:lnTo>
                <a:lnTo>
                  <a:pt x="1961" y="235"/>
                </a:lnTo>
                <a:lnTo>
                  <a:pt x="1953" y="233"/>
                </a:lnTo>
                <a:lnTo>
                  <a:pt x="1953" y="235"/>
                </a:lnTo>
                <a:lnTo>
                  <a:pt x="1951" y="235"/>
                </a:lnTo>
                <a:lnTo>
                  <a:pt x="1953" y="233"/>
                </a:lnTo>
                <a:lnTo>
                  <a:pt x="1951" y="235"/>
                </a:lnTo>
                <a:lnTo>
                  <a:pt x="1949" y="235"/>
                </a:lnTo>
                <a:lnTo>
                  <a:pt x="1941" y="238"/>
                </a:lnTo>
                <a:lnTo>
                  <a:pt x="1929" y="240"/>
                </a:lnTo>
                <a:lnTo>
                  <a:pt x="1921" y="240"/>
                </a:lnTo>
                <a:lnTo>
                  <a:pt x="1909" y="238"/>
                </a:lnTo>
                <a:lnTo>
                  <a:pt x="1902" y="236"/>
                </a:lnTo>
                <a:lnTo>
                  <a:pt x="1883" y="224"/>
                </a:lnTo>
                <a:lnTo>
                  <a:pt x="1881" y="226"/>
                </a:lnTo>
                <a:lnTo>
                  <a:pt x="1880" y="224"/>
                </a:lnTo>
                <a:lnTo>
                  <a:pt x="1876" y="223"/>
                </a:lnTo>
                <a:lnTo>
                  <a:pt x="1876" y="224"/>
                </a:lnTo>
                <a:lnTo>
                  <a:pt x="1880" y="224"/>
                </a:lnTo>
                <a:lnTo>
                  <a:pt x="1881" y="226"/>
                </a:lnTo>
                <a:lnTo>
                  <a:pt x="1873" y="224"/>
                </a:lnTo>
                <a:lnTo>
                  <a:pt x="1870" y="221"/>
                </a:lnTo>
                <a:lnTo>
                  <a:pt x="1866" y="219"/>
                </a:lnTo>
                <a:lnTo>
                  <a:pt x="1858" y="216"/>
                </a:lnTo>
                <a:lnTo>
                  <a:pt x="1863" y="219"/>
                </a:lnTo>
                <a:lnTo>
                  <a:pt x="1863" y="221"/>
                </a:lnTo>
                <a:lnTo>
                  <a:pt x="1849" y="219"/>
                </a:lnTo>
                <a:lnTo>
                  <a:pt x="1849" y="216"/>
                </a:lnTo>
                <a:lnTo>
                  <a:pt x="1847" y="214"/>
                </a:lnTo>
                <a:lnTo>
                  <a:pt x="1847" y="213"/>
                </a:lnTo>
                <a:lnTo>
                  <a:pt x="1849" y="213"/>
                </a:lnTo>
                <a:lnTo>
                  <a:pt x="1856" y="216"/>
                </a:lnTo>
                <a:lnTo>
                  <a:pt x="1851" y="213"/>
                </a:lnTo>
                <a:lnTo>
                  <a:pt x="1847" y="211"/>
                </a:lnTo>
                <a:lnTo>
                  <a:pt x="1846" y="207"/>
                </a:lnTo>
                <a:lnTo>
                  <a:pt x="1847" y="206"/>
                </a:lnTo>
                <a:lnTo>
                  <a:pt x="1846" y="201"/>
                </a:lnTo>
                <a:lnTo>
                  <a:pt x="1844" y="197"/>
                </a:lnTo>
                <a:lnTo>
                  <a:pt x="1841" y="196"/>
                </a:lnTo>
                <a:lnTo>
                  <a:pt x="1841" y="197"/>
                </a:lnTo>
                <a:lnTo>
                  <a:pt x="1839" y="197"/>
                </a:lnTo>
                <a:lnTo>
                  <a:pt x="1837" y="199"/>
                </a:lnTo>
                <a:lnTo>
                  <a:pt x="1839" y="201"/>
                </a:lnTo>
                <a:lnTo>
                  <a:pt x="1837" y="202"/>
                </a:lnTo>
                <a:lnTo>
                  <a:pt x="1829" y="206"/>
                </a:lnTo>
                <a:lnTo>
                  <a:pt x="1825" y="204"/>
                </a:lnTo>
                <a:lnTo>
                  <a:pt x="1825" y="202"/>
                </a:lnTo>
                <a:lnTo>
                  <a:pt x="1827" y="199"/>
                </a:lnTo>
                <a:lnTo>
                  <a:pt x="1829" y="196"/>
                </a:lnTo>
                <a:lnTo>
                  <a:pt x="1827" y="194"/>
                </a:lnTo>
                <a:lnTo>
                  <a:pt x="1813" y="197"/>
                </a:lnTo>
                <a:lnTo>
                  <a:pt x="1812" y="197"/>
                </a:lnTo>
                <a:lnTo>
                  <a:pt x="1813" y="196"/>
                </a:lnTo>
                <a:lnTo>
                  <a:pt x="1807" y="194"/>
                </a:lnTo>
                <a:lnTo>
                  <a:pt x="1796" y="185"/>
                </a:lnTo>
                <a:lnTo>
                  <a:pt x="1793" y="180"/>
                </a:lnTo>
                <a:lnTo>
                  <a:pt x="1791" y="175"/>
                </a:lnTo>
                <a:lnTo>
                  <a:pt x="1791" y="170"/>
                </a:lnTo>
                <a:lnTo>
                  <a:pt x="1796" y="163"/>
                </a:lnTo>
                <a:lnTo>
                  <a:pt x="1798" y="162"/>
                </a:lnTo>
                <a:lnTo>
                  <a:pt x="1800" y="160"/>
                </a:lnTo>
                <a:lnTo>
                  <a:pt x="1802" y="162"/>
                </a:lnTo>
                <a:lnTo>
                  <a:pt x="1803" y="160"/>
                </a:lnTo>
                <a:lnTo>
                  <a:pt x="1805" y="158"/>
                </a:lnTo>
                <a:lnTo>
                  <a:pt x="1807" y="158"/>
                </a:lnTo>
                <a:lnTo>
                  <a:pt x="1808" y="158"/>
                </a:lnTo>
                <a:lnTo>
                  <a:pt x="1807" y="158"/>
                </a:lnTo>
                <a:lnTo>
                  <a:pt x="1808" y="156"/>
                </a:lnTo>
                <a:lnTo>
                  <a:pt x="1808" y="158"/>
                </a:lnTo>
                <a:lnTo>
                  <a:pt x="1813" y="153"/>
                </a:lnTo>
                <a:lnTo>
                  <a:pt x="1820" y="151"/>
                </a:lnTo>
                <a:lnTo>
                  <a:pt x="1820" y="150"/>
                </a:lnTo>
                <a:lnTo>
                  <a:pt x="1824" y="146"/>
                </a:lnTo>
                <a:lnTo>
                  <a:pt x="1825" y="146"/>
                </a:lnTo>
                <a:lnTo>
                  <a:pt x="1827" y="146"/>
                </a:lnTo>
                <a:lnTo>
                  <a:pt x="1829" y="143"/>
                </a:lnTo>
                <a:lnTo>
                  <a:pt x="1829" y="141"/>
                </a:lnTo>
                <a:lnTo>
                  <a:pt x="1830" y="143"/>
                </a:lnTo>
                <a:lnTo>
                  <a:pt x="1829" y="141"/>
                </a:lnTo>
                <a:lnTo>
                  <a:pt x="1834" y="138"/>
                </a:lnTo>
                <a:lnTo>
                  <a:pt x="1834" y="136"/>
                </a:lnTo>
                <a:lnTo>
                  <a:pt x="1837" y="134"/>
                </a:lnTo>
                <a:lnTo>
                  <a:pt x="1837" y="129"/>
                </a:lnTo>
                <a:lnTo>
                  <a:pt x="1841" y="127"/>
                </a:lnTo>
                <a:lnTo>
                  <a:pt x="1842" y="126"/>
                </a:lnTo>
                <a:lnTo>
                  <a:pt x="1842" y="122"/>
                </a:lnTo>
                <a:lnTo>
                  <a:pt x="1844" y="121"/>
                </a:lnTo>
                <a:lnTo>
                  <a:pt x="1846" y="119"/>
                </a:lnTo>
                <a:lnTo>
                  <a:pt x="1847" y="117"/>
                </a:lnTo>
                <a:lnTo>
                  <a:pt x="1849" y="116"/>
                </a:lnTo>
                <a:lnTo>
                  <a:pt x="1846" y="114"/>
                </a:lnTo>
                <a:lnTo>
                  <a:pt x="1842" y="110"/>
                </a:lnTo>
                <a:lnTo>
                  <a:pt x="1842" y="105"/>
                </a:lnTo>
                <a:lnTo>
                  <a:pt x="1844" y="104"/>
                </a:lnTo>
                <a:lnTo>
                  <a:pt x="1846" y="102"/>
                </a:lnTo>
                <a:lnTo>
                  <a:pt x="1844" y="102"/>
                </a:lnTo>
                <a:lnTo>
                  <a:pt x="1842" y="100"/>
                </a:lnTo>
                <a:lnTo>
                  <a:pt x="1844" y="97"/>
                </a:lnTo>
                <a:lnTo>
                  <a:pt x="1832" y="92"/>
                </a:lnTo>
                <a:lnTo>
                  <a:pt x="1832" y="90"/>
                </a:lnTo>
                <a:lnTo>
                  <a:pt x="1832" y="88"/>
                </a:lnTo>
                <a:lnTo>
                  <a:pt x="1827" y="88"/>
                </a:lnTo>
                <a:lnTo>
                  <a:pt x="1824" y="87"/>
                </a:lnTo>
                <a:lnTo>
                  <a:pt x="1817" y="78"/>
                </a:lnTo>
                <a:lnTo>
                  <a:pt x="1817" y="76"/>
                </a:lnTo>
                <a:lnTo>
                  <a:pt x="1815" y="75"/>
                </a:lnTo>
                <a:lnTo>
                  <a:pt x="1813" y="71"/>
                </a:lnTo>
                <a:lnTo>
                  <a:pt x="1815" y="65"/>
                </a:lnTo>
                <a:lnTo>
                  <a:pt x="1819" y="58"/>
                </a:lnTo>
                <a:lnTo>
                  <a:pt x="1820" y="58"/>
                </a:lnTo>
                <a:lnTo>
                  <a:pt x="1822" y="58"/>
                </a:lnTo>
                <a:lnTo>
                  <a:pt x="1825" y="56"/>
                </a:lnTo>
                <a:lnTo>
                  <a:pt x="1830" y="54"/>
                </a:lnTo>
                <a:lnTo>
                  <a:pt x="1839" y="41"/>
                </a:lnTo>
                <a:lnTo>
                  <a:pt x="1844" y="36"/>
                </a:lnTo>
                <a:lnTo>
                  <a:pt x="1847" y="36"/>
                </a:lnTo>
                <a:lnTo>
                  <a:pt x="1847" y="32"/>
                </a:lnTo>
                <a:lnTo>
                  <a:pt x="1846" y="32"/>
                </a:lnTo>
                <a:lnTo>
                  <a:pt x="1846" y="29"/>
                </a:lnTo>
                <a:lnTo>
                  <a:pt x="1844" y="25"/>
                </a:lnTo>
                <a:lnTo>
                  <a:pt x="1844" y="24"/>
                </a:lnTo>
                <a:lnTo>
                  <a:pt x="1842" y="22"/>
                </a:lnTo>
                <a:lnTo>
                  <a:pt x="1839" y="24"/>
                </a:lnTo>
                <a:lnTo>
                  <a:pt x="1836" y="24"/>
                </a:lnTo>
                <a:lnTo>
                  <a:pt x="1836" y="27"/>
                </a:lnTo>
                <a:lnTo>
                  <a:pt x="1829" y="32"/>
                </a:lnTo>
                <a:lnTo>
                  <a:pt x="1825" y="32"/>
                </a:lnTo>
                <a:lnTo>
                  <a:pt x="1820" y="32"/>
                </a:lnTo>
                <a:lnTo>
                  <a:pt x="1820" y="34"/>
                </a:lnTo>
                <a:lnTo>
                  <a:pt x="1817" y="39"/>
                </a:lnTo>
                <a:lnTo>
                  <a:pt x="1812" y="41"/>
                </a:lnTo>
                <a:lnTo>
                  <a:pt x="1810" y="41"/>
                </a:lnTo>
                <a:lnTo>
                  <a:pt x="1807" y="39"/>
                </a:lnTo>
                <a:lnTo>
                  <a:pt x="1805" y="37"/>
                </a:lnTo>
                <a:lnTo>
                  <a:pt x="1808" y="32"/>
                </a:lnTo>
                <a:lnTo>
                  <a:pt x="1807" y="32"/>
                </a:lnTo>
                <a:lnTo>
                  <a:pt x="1807" y="31"/>
                </a:lnTo>
                <a:lnTo>
                  <a:pt x="1802" y="29"/>
                </a:lnTo>
                <a:lnTo>
                  <a:pt x="1800" y="25"/>
                </a:lnTo>
                <a:lnTo>
                  <a:pt x="1800" y="22"/>
                </a:lnTo>
                <a:lnTo>
                  <a:pt x="1802" y="20"/>
                </a:lnTo>
                <a:lnTo>
                  <a:pt x="1802" y="22"/>
                </a:lnTo>
                <a:lnTo>
                  <a:pt x="1802" y="20"/>
                </a:lnTo>
                <a:lnTo>
                  <a:pt x="1802" y="19"/>
                </a:lnTo>
                <a:lnTo>
                  <a:pt x="1800" y="20"/>
                </a:lnTo>
                <a:lnTo>
                  <a:pt x="1802" y="20"/>
                </a:lnTo>
                <a:lnTo>
                  <a:pt x="1796" y="19"/>
                </a:lnTo>
                <a:lnTo>
                  <a:pt x="1798" y="19"/>
                </a:lnTo>
                <a:lnTo>
                  <a:pt x="1802" y="19"/>
                </a:lnTo>
                <a:lnTo>
                  <a:pt x="1805" y="17"/>
                </a:lnTo>
                <a:lnTo>
                  <a:pt x="1802" y="17"/>
                </a:lnTo>
                <a:lnTo>
                  <a:pt x="1798" y="15"/>
                </a:lnTo>
                <a:lnTo>
                  <a:pt x="1795" y="15"/>
                </a:lnTo>
                <a:lnTo>
                  <a:pt x="1793" y="14"/>
                </a:lnTo>
                <a:lnTo>
                  <a:pt x="1790" y="14"/>
                </a:lnTo>
                <a:lnTo>
                  <a:pt x="1785" y="14"/>
                </a:lnTo>
                <a:lnTo>
                  <a:pt x="1781" y="15"/>
                </a:lnTo>
                <a:lnTo>
                  <a:pt x="1786" y="15"/>
                </a:lnTo>
                <a:lnTo>
                  <a:pt x="1786" y="19"/>
                </a:lnTo>
                <a:lnTo>
                  <a:pt x="1783" y="20"/>
                </a:lnTo>
                <a:lnTo>
                  <a:pt x="1781" y="20"/>
                </a:lnTo>
                <a:lnTo>
                  <a:pt x="1778" y="15"/>
                </a:lnTo>
                <a:lnTo>
                  <a:pt x="1785" y="12"/>
                </a:lnTo>
                <a:lnTo>
                  <a:pt x="1783" y="10"/>
                </a:lnTo>
                <a:lnTo>
                  <a:pt x="1779" y="10"/>
                </a:lnTo>
                <a:lnTo>
                  <a:pt x="1778" y="8"/>
                </a:lnTo>
                <a:lnTo>
                  <a:pt x="1776" y="10"/>
                </a:lnTo>
                <a:lnTo>
                  <a:pt x="1773" y="10"/>
                </a:lnTo>
                <a:lnTo>
                  <a:pt x="1769" y="12"/>
                </a:lnTo>
                <a:lnTo>
                  <a:pt x="1768" y="12"/>
                </a:lnTo>
                <a:lnTo>
                  <a:pt x="1763" y="14"/>
                </a:lnTo>
                <a:lnTo>
                  <a:pt x="1759" y="14"/>
                </a:lnTo>
                <a:lnTo>
                  <a:pt x="1756" y="15"/>
                </a:lnTo>
                <a:lnTo>
                  <a:pt x="1752" y="15"/>
                </a:lnTo>
                <a:lnTo>
                  <a:pt x="1751" y="15"/>
                </a:lnTo>
                <a:lnTo>
                  <a:pt x="1746" y="19"/>
                </a:lnTo>
                <a:lnTo>
                  <a:pt x="1740" y="20"/>
                </a:lnTo>
                <a:lnTo>
                  <a:pt x="1739" y="22"/>
                </a:lnTo>
                <a:lnTo>
                  <a:pt x="1737" y="24"/>
                </a:lnTo>
                <a:lnTo>
                  <a:pt x="1732" y="27"/>
                </a:lnTo>
                <a:lnTo>
                  <a:pt x="1729" y="29"/>
                </a:lnTo>
                <a:lnTo>
                  <a:pt x="1727" y="29"/>
                </a:lnTo>
                <a:lnTo>
                  <a:pt x="1725" y="29"/>
                </a:lnTo>
                <a:lnTo>
                  <a:pt x="1722" y="29"/>
                </a:lnTo>
                <a:lnTo>
                  <a:pt x="1710" y="32"/>
                </a:lnTo>
                <a:lnTo>
                  <a:pt x="1706" y="31"/>
                </a:lnTo>
                <a:lnTo>
                  <a:pt x="1703" y="31"/>
                </a:lnTo>
                <a:lnTo>
                  <a:pt x="1700" y="29"/>
                </a:lnTo>
                <a:lnTo>
                  <a:pt x="1689" y="34"/>
                </a:lnTo>
                <a:lnTo>
                  <a:pt x="1681" y="34"/>
                </a:lnTo>
                <a:lnTo>
                  <a:pt x="1679" y="34"/>
                </a:lnTo>
                <a:lnTo>
                  <a:pt x="1678" y="32"/>
                </a:lnTo>
                <a:lnTo>
                  <a:pt x="1678" y="31"/>
                </a:lnTo>
                <a:lnTo>
                  <a:pt x="1679" y="29"/>
                </a:lnTo>
                <a:lnTo>
                  <a:pt x="1674" y="29"/>
                </a:lnTo>
                <a:lnTo>
                  <a:pt x="1672" y="29"/>
                </a:lnTo>
                <a:lnTo>
                  <a:pt x="1672" y="27"/>
                </a:lnTo>
                <a:lnTo>
                  <a:pt x="1671" y="29"/>
                </a:lnTo>
                <a:lnTo>
                  <a:pt x="1667" y="27"/>
                </a:lnTo>
                <a:lnTo>
                  <a:pt x="1664" y="24"/>
                </a:lnTo>
                <a:lnTo>
                  <a:pt x="1659" y="25"/>
                </a:lnTo>
                <a:lnTo>
                  <a:pt x="1657" y="24"/>
                </a:lnTo>
                <a:lnTo>
                  <a:pt x="1659" y="22"/>
                </a:lnTo>
                <a:lnTo>
                  <a:pt x="1655" y="24"/>
                </a:lnTo>
                <a:lnTo>
                  <a:pt x="1654" y="22"/>
                </a:lnTo>
                <a:lnTo>
                  <a:pt x="1652" y="24"/>
                </a:lnTo>
                <a:lnTo>
                  <a:pt x="1649" y="22"/>
                </a:lnTo>
                <a:lnTo>
                  <a:pt x="1647" y="22"/>
                </a:lnTo>
                <a:lnTo>
                  <a:pt x="1650" y="25"/>
                </a:lnTo>
                <a:lnTo>
                  <a:pt x="1652" y="25"/>
                </a:lnTo>
                <a:lnTo>
                  <a:pt x="1649" y="31"/>
                </a:lnTo>
                <a:lnTo>
                  <a:pt x="1645" y="31"/>
                </a:lnTo>
                <a:lnTo>
                  <a:pt x="1642" y="31"/>
                </a:lnTo>
                <a:lnTo>
                  <a:pt x="1635" y="32"/>
                </a:lnTo>
                <a:lnTo>
                  <a:pt x="1632" y="32"/>
                </a:lnTo>
                <a:lnTo>
                  <a:pt x="1632" y="31"/>
                </a:lnTo>
                <a:lnTo>
                  <a:pt x="1630" y="31"/>
                </a:lnTo>
                <a:lnTo>
                  <a:pt x="1630" y="29"/>
                </a:lnTo>
                <a:lnTo>
                  <a:pt x="1628" y="29"/>
                </a:lnTo>
                <a:lnTo>
                  <a:pt x="1627" y="29"/>
                </a:lnTo>
                <a:lnTo>
                  <a:pt x="1625" y="29"/>
                </a:lnTo>
                <a:lnTo>
                  <a:pt x="1623" y="29"/>
                </a:lnTo>
                <a:lnTo>
                  <a:pt x="1621" y="29"/>
                </a:lnTo>
                <a:lnTo>
                  <a:pt x="1620" y="29"/>
                </a:lnTo>
                <a:lnTo>
                  <a:pt x="1620" y="27"/>
                </a:lnTo>
                <a:lnTo>
                  <a:pt x="1616" y="27"/>
                </a:lnTo>
                <a:lnTo>
                  <a:pt x="1618" y="25"/>
                </a:lnTo>
                <a:lnTo>
                  <a:pt x="1616" y="25"/>
                </a:lnTo>
                <a:lnTo>
                  <a:pt x="1615" y="25"/>
                </a:lnTo>
                <a:lnTo>
                  <a:pt x="1616" y="24"/>
                </a:lnTo>
                <a:lnTo>
                  <a:pt x="1615" y="24"/>
                </a:lnTo>
                <a:lnTo>
                  <a:pt x="1613" y="22"/>
                </a:lnTo>
                <a:lnTo>
                  <a:pt x="1611" y="22"/>
                </a:lnTo>
                <a:lnTo>
                  <a:pt x="1604" y="24"/>
                </a:lnTo>
                <a:lnTo>
                  <a:pt x="1603" y="25"/>
                </a:lnTo>
                <a:lnTo>
                  <a:pt x="1601" y="25"/>
                </a:lnTo>
                <a:lnTo>
                  <a:pt x="1599" y="27"/>
                </a:lnTo>
                <a:lnTo>
                  <a:pt x="1601" y="29"/>
                </a:lnTo>
                <a:lnTo>
                  <a:pt x="1598" y="32"/>
                </a:lnTo>
                <a:lnTo>
                  <a:pt x="1582" y="36"/>
                </a:lnTo>
                <a:lnTo>
                  <a:pt x="1581" y="36"/>
                </a:lnTo>
                <a:lnTo>
                  <a:pt x="1579" y="36"/>
                </a:lnTo>
                <a:lnTo>
                  <a:pt x="1577" y="36"/>
                </a:lnTo>
                <a:lnTo>
                  <a:pt x="1576" y="36"/>
                </a:lnTo>
                <a:lnTo>
                  <a:pt x="1572" y="36"/>
                </a:lnTo>
                <a:lnTo>
                  <a:pt x="1570" y="37"/>
                </a:lnTo>
                <a:lnTo>
                  <a:pt x="1565" y="39"/>
                </a:lnTo>
                <a:lnTo>
                  <a:pt x="1565" y="41"/>
                </a:lnTo>
                <a:lnTo>
                  <a:pt x="1562" y="42"/>
                </a:lnTo>
                <a:lnTo>
                  <a:pt x="1559" y="44"/>
                </a:lnTo>
                <a:lnTo>
                  <a:pt x="1553" y="44"/>
                </a:lnTo>
                <a:lnTo>
                  <a:pt x="1550" y="44"/>
                </a:lnTo>
                <a:lnTo>
                  <a:pt x="1543" y="42"/>
                </a:lnTo>
                <a:lnTo>
                  <a:pt x="1542" y="41"/>
                </a:lnTo>
                <a:lnTo>
                  <a:pt x="1542" y="39"/>
                </a:lnTo>
                <a:lnTo>
                  <a:pt x="1543" y="37"/>
                </a:lnTo>
                <a:lnTo>
                  <a:pt x="1538" y="37"/>
                </a:lnTo>
                <a:lnTo>
                  <a:pt x="1538" y="36"/>
                </a:lnTo>
                <a:lnTo>
                  <a:pt x="1535" y="36"/>
                </a:lnTo>
                <a:lnTo>
                  <a:pt x="1533" y="34"/>
                </a:lnTo>
                <a:lnTo>
                  <a:pt x="1528" y="32"/>
                </a:lnTo>
                <a:lnTo>
                  <a:pt x="1526" y="32"/>
                </a:lnTo>
                <a:lnTo>
                  <a:pt x="1514" y="32"/>
                </a:lnTo>
                <a:lnTo>
                  <a:pt x="1508" y="31"/>
                </a:lnTo>
                <a:lnTo>
                  <a:pt x="1508" y="32"/>
                </a:lnTo>
                <a:lnTo>
                  <a:pt x="1502" y="32"/>
                </a:lnTo>
                <a:lnTo>
                  <a:pt x="1501" y="31"/>
                </a:lnTo>
                <a:lnTo>
                  <a:pt x="1497" y="32"/>
                </a:lnTo>
                <a:lnTo>
                  <a:pt x="1494" y="31"/>
                </a:lnTo>
                <a:lnTo>
                  <a:pt x="1492" y="32"/>
                </a:lnTo>
                <a:lnTo>
                  <a:pt x="1484" y="32"/>
                </a:lnTo>
                <a:lnTo>
                  <a:pt x="1482" y="31"/>
                </a:lnTo>
                <a:lnTo>
                  <a:pt x="1480" y="31"/>
                </a:lnTo>
                <a:lnTo>
                  <a:pt x="1474" y="32"/>
                </a:lnTo>
                <a:lnTo>
                  <a:pt x="1470" y="34"/>
                </a:lnTo>
                <a:lnTo>
                  <a:pt x="1460" y="39"/>
                </a:lnTo>
                <a:lnTo>
                  <a:pt x="1451" y="37"/>
                </a:lnTo>
                <a:lnTo>
                  <a:pt x="1448" y="36"/>
                </a:lnTo>
                <a:lnTo>
                  <a:pt x="1446" y="39"/>
                </a:lnTo>
                <a:lnTo>
                  <a:pt x="1445" y="39"/>
                </a:lnTo>
                <a:lnTo>
                  <a:pt x="1441" y="39"/>
                </a:lnTo>
                <a:lnTo>
                  <a:pt x="1440" y="39"/>
                </a:lnTo>
                <a:lnTo>
                  <a:pt x="1440" y="37"/>
                </a:lnTo>
                <a:lnTo>
                  <a:pt x="1436" y="36"/>
                </a:lnTo>
                <a:lnTo>
                  <a:pt x="1431" y="37"/>
                </a:lnTo>
                <a:lnTo>
                  <a:pt x="1429" y="39"/>
                </a:lnTo>
                <a:lnTo>
                  <a:pt x="1428" y="39"/>
                </a:lnTo>
                <a:lnTo>
                  <a:pt x="1428" y="41"/>
                </a:lnTo>
                <a:lnTo>
                  <a:pt x="1426" y="42"/>
                </a:lnTo>
                <a:lnTo>
                  <a:pt x="1417" y="46"/>
                </a:lnTo>
                <a:lnTo>
                  <a:pt x="1414" y="48"/>
                </a:lnTo>
                <a:lnTo>
                  <a:pt x="1407" y="48"/>
                </a:lnTo>
                <a:lnTo>
                  <a:pt x="1406" y="46"/>
                </a:lnTo>
                <a:lnTo>
                  <a:pt x="1402" y="44"/>
                </a:lnTo>
                <a:lnTo>
                  <a:pt x="1385" y="49"/>
                </a:lnTo>
                <a:lnTo>
                  <a:pt x="1380" y="48"/>
                </a:lnTo>
                <a:lnTo>
                  <a:pt x="1375" y="49"/>
                </a:lnTo>
                <a:lnTo>
                  <a:pt x="1368" y="49"/>
                </a:lnTo>
                <a:lnTo>
                  <a:pt x="1365" y="51"/>
                </a:lnTo>
                <a:lnTo>
                  <a:pt x="1361" y="49"/>
                </a:lnTo>
                <a:lnTo>
                  <a:pt x="1360" y="51"/>
                </a:lnTo>
                <a:lnTo>
                  <a:pt x="1358" y="49"/>
                </a:lnTo>
                <a:lnTo>
                  <a:pt x="1355" y="51"/>
                </a:lnTo>
                <a:lnTo>
                  <a:pt x="1355" y="49"/>
                </a:lnTo>
                <a:lnTo>
                  <a:pt x="1351" y="49"/>
                </a:lnTo>
                <a:lnTo>
                  <a:pt x="1351" y="51"/>
                </a:lnTo>
                <a:lnTo>
                  <a:pt x="1349" y="51"/>
                </a:lnTo>
                <a:lnTo>
                  <a:pt x="1344" y="51"/>
                </a:lnTo>
                <a:lnTo>
                  <a:pt x="1341" y="53"/>
                </a:lnTo>
                <a:lnTo>
                  <a:pt x="1339" y="53"/>
                </a:lnTo>
                <a:lnTo>
                  <a:pt x="1331" y="54"/>
                </a:lnTo>
                <a:lnTo>
                  <a:pt x="1331" y="58"/>
                </a:lnTo>
                <a:lnTo>
                  <a:pt x="1327" y="58"/>
                </a:lnTo>
                <a:lnTo>
                  <a:pt x="1324" y="59"/>
                </a:lnTo>
                <a:lnTo>
                  <a:pt x="1322" y="61"/>
                </a:lnTo>
                <a:lnTo>
                  <a:pt x="1317" y="61"/>
                </a:lnTo>
                <a:lnTo>
                  <a:pt x="1309" y="66"/>
                </a:lnTo>
                <a:lnTo>
                  <a:pt x="1302" y="68"/>
                </a:lnTo>
                <a:lnTo>
                  <a:pt x="1300" y="70"/>
                </a:lnTo>
                <a:lnTo>
                  <a:pt x="1295" y="71"/>
                </a:lnTo>
                <a:lnTo>
                  <a:pt x="1290" y="75"/>
                </a:lnTo>
                <a:lnTo>
                  <a:pt x="1285" y="85"/>
                </a:lnTo>
                <a:lnTo>
                  <a:pt x="1278" y="88"/>
                </a:lnTo>
                <a:lnTo>
                  <a:pt x="1270" y="87"/>
                </a:lnTo>
                <a:lnTo>
                  <a:pt x="1268" y="85"/>
                </a:lnTo>
                <a:lnTo>
                  <a:pt x="1270" y="85"/>
                </a:lnTo>
                <a:lnTo>
                  <a:pt x="1270" y="83"/>
                </a:lnTo>
                <a:lnTo>
                  <a:pt x="1266" y="83"/>
                </a:lnTo>
                <a:lnTo>
                  <a:pt x="1266" y="82"/>
                </a:lnTo>
                <a:lnTo>
                  <a:pt x="1264" y="82"/>
                </a:lnTo>
                <a:lnTo>
                  <a:pt x="1263" y="83"/>
                </a:lnTo>
                <a:lnTo>
                  <a:pt x="1259" y="83"/>
                </a:lnTo>
                <a:lnTo>
                  <a:pt x="1259" y="85"/>
                </a:lnTo>
                <a:lnTo>
                  <a:pt x="1258" y="88"/>
                </a:lnTo>
                <a:lnTo>
                  <a:pt x="1256" y="88"/>
                </a:lnTo>
                <a:lnTo>
                  <a:pt x="1253" y="92"/>
                </a:lnTo>
                <a:lnTo>
                  <a:pt x="1251" y="92"/>
                </a:lnTo>
                <a:lnTo>
                  <a:pt x="1253" y="92"/>
                </a:lnTo>
                <a:lnTo>
                  <a:pt x="1249" y="92"/>
                </a:lnTo>
                <a:lnTo>
                  <a:pt x="1251" y="92"/>
                </a:lnTo>
                <a:lnTo>
                  <a:pt x="1249" y="92"/>
                </a:lnTo>
                <a:lnTo>
                  <a:pt x="1247" y="90"/>
                </a:lnTo>
                <a:lnTo>
                  <a:pt x="1249" y="92"/>
                </a:lnTo>
                <a:lnTo>
                  <a:pt x="1247" y="90"/>
                </a:lnTo>
                <a:lnTo>
                  <a:pt x="1246" y="90"/>
                </a:lnTo>
                <a:lnTo>
                  <a:pt x="1244" y="88"/>
                </a:lnTo>
                <a:lnTo>
                  <a:pt x="1242" y="88"/>
                </a:lnTo>
                <a:lnTo>
                  <a:pt x="1241" y="92"/>
                </a:lnTo>
                <a:lnTo>
                  <a:pt x="1239" y="92"/>
                </a:lnTo>
                <a:lnTo>
                  <a:pt x="1237" y="92"/>
                </a:lnTo>
                <a:lnTo>
                  <a:pt x="1234" y="93"/>
                </a:lnTo>
                <a:lnTo>
                  <a:pt x="1232" y="93"/>
                </a:lnTo>
                <a:lnTo>
                  <a:pt x="1230" y="95"/>
                </a:lnTo>
                <a:lnTo>
                  <a:pt x="1229" y="97"/>
                </a:lnTo>
                <a:lnTo>
                  <a:pt x="1225" y="99"/>
                </a:lnTo>
                <a:lnTo>
                  <a:pt x="1224" y="99"/>
                </a:lnTo>
                <a:lnTo>
                  <a:pt x="1222" y="105"/>
                </a:lnTo>
                <a:lnTo>
                  <a:pt x="1219" y="110"/>
                </a:lnTo>
                <a:lnTo>
                  <a:pt x="1217" y="110"/>
                </a:lnTo>
                <a:lnTo>
                  <a:pt x="1213" y="112"/>
                </a:lnTo>
                <a:lnTo>
                  <a:pt x="1210" y="112"/>
                </a:lnTo>
                <a:lnTo>
                  <a:pt x="1207" y="114"/>
                </a:lnTo>
                <a:lnTo>
                  <a:pt x="1205" y="114"/>
                </a:lnTo>
                <a:lnTo>
                  <a:pt x="1203" y="116"/>
                </a:lnTo>
                <a:lnTo>
                  <a:pt x="1202" y="117"/>
                </a:lnTo>
                <a:lnTo>
                  <a:pt x="1200" y="119"/>
                </a:lnTo>
                <a:lnTo>
                  <a:pt x="1198" y="119"/>
                </a:lnTo>
                <a:lnTo>
                  <a:pt x="1195" y="122"/>
                </a:lnTo>
                <a:lnTo>
                  <a:pt x="1193" y="121"/>
                </a:lnTo>
                <a:lnTo>
                  <a:pt x="1188" y="124"/>
                </a:lnTo>
                <a:lnTo>
                  <a:pt x="1185" y="124"/>
                </a:lnTo>
                <a:lnTo>
                  <a:pt x="1179" y="124"/>
                </a:lnTo>
                <a:lnTo>
                  <a:pt x="1174" y="122"/>
                </a:lnTo>
                <a:lnTo>
                  <a:pt x="1173" y="124"/>
                </a:lnTo>
                <a:lnTo>
                  <a:pt x="1161" y="121"/>
                </a:lnTo>
                <a:lnTo>
                  <a:pt x="1156" y="124"/>
                </a:lnTo>
                <a:lnTo>
                  <a:pt x="1151" y="124"/>
                </a:lnTo>
                <a:lnTo>
                  <a:pt x="1145" y="122"/>
                </a:lnTo>
                <a:lnTo>
                  <a:pt x="1140" y="119"/>
                </a:lnTo>
                <a:lnTo>
                  <a:pt x="1145" y="122"/>
                </a:lnTo>
                <a:lnTo>
                  <a:pt x="1144" y="122"/>
                </a:lnTo>
                <a:lnTo>
                  <a:pt x="1142" y="122"/>
                </a:lnTo>
                <a:lnTo>
                  <a:pt x="1139" y="121"/>
                </a:lnTo>
                <a:lnTo>
                  <a:pt x="1135" y="119"/>
                </a:lnTo>
                <a:lnTo>
                  <a:pt x="1135" y="117"/>
                </a:lnTo>
                <a:lnTo>
                  <a:pt x="1137" y="117"/>
                </a:lnTo>
                <a:lnTo>
                  <a:pt x="1135" y="117"/>
                </a:lnTo>
                <a:lnTo>
                  <a:pt x="1135" y="116"/>
                </a:lnTo>
                <a:lnTo>
                  <a:pt x="1140" y="117"/>
                </a:lnTo>
                <a:lnTo>
                  <a:pt x="1135" y="114"/>
                </a:lnTo>
                <a:lnTo>
                  <a:pt x="1134" y="114"/>
                </a:lnTo>
                <a:lnTo>
                  <a:pt x="1134" y="112"/>
                </a:lnTo>
                <a:lnTo>
                  <a:pt x="1134" y="109"/>
                </a:lnTo>
                <a:lnTo>
                  <a:pt x="1135" y="107"/>
                </a:lnTo>
                <a:lnTo>
                  <a:pt x="1134" y="105"/>
                </a:lnTo>
                <a:lnTo>
                  <a:pt x="1132" y="105"/>
                </a:lnTo>
                <a:lnTo>
                  <a:pt x="1132" y="109"/>
                </a:lnTo>
                <a:lnTo>
                  <a:pt x="1128" y="114"/>
                </a:lnTo>
                <a:lnTo>
                  <a:pt x="1127" y="114"/>
                </a:lnTo>
                <a:lnTo>
                  <a:pt x="1125" y="114"/>
                </a:lnTo>
                <a:lnTo>
                  <a:pt x="1122" y="116"/>
                </a:lnTo>
                <a:lnTo>
                  <a:pt x="1115" y="119"/>
                </a:lnTo>
                <a:lnTo>
                  <a:pt x="1103" y="117"/>
                </a:lnTo>
                <a:lnTo>
                  <a:pt x="1098" y="114"/>
                </a:lnTo>
                <a:lnTo>
                  <a:pt x="1096" y="114"/>
                </a:lnTo>
                <a:lnTo>
                  <a:pt x="1094" y="114"/>
                </a:lnTo>
                <a:lnTo>
                  <a:pt x="1093" y="117"/>
                </a:lnTo>
                <a:lnTo>
                  <a:pt x="1091" y="117"/>
                </a:lnTo>
                <a:lnTo>
                  <a:pt x="1086" y="117"/>
                </a:lnTo>
                <a:lnTo>
                  <a:pt x="1084" y="114"/>
                </a:lnTo>
                <a:lnTo>
                  <a:pt x="1083" y="116"/>
                </a:lnTo>
                <a:lnTo>
                  <a:pt x="1079" y="116"/>
                </a:lnTo>
                <a:lnTo>
                  <a:pt x="1074" y="117"/>
                </a:lnTo>
                <a:lnTo>
                  <a:pt x="1067" y="119"/>
                </a:lnTo>
                <a:lnTo>
                  <a:pt x="1064" y="121"/>
                </a:lnTo>
                <a:lnTo>
                  <a:pt x="1059" y="121"/>
                </a:lnTo>
                <a:lnTo>
                  <a:pt x="1057" y="119"/>
                </a:lnTo>
                <a:lnTo>
                  <a:pt x="1050" y="119"/>
                </a:lnTo>
                <a:lnTo>
                  <a:pt x="1049" y="117"/>
                </a:lnTo>
                <a:lnTo>
                  <a:pt x="1047" y="117"/>
                </a:lnTo>
                <a:lnTo>
                  <a:pt x="1043" y="117"/>
                </a:lnTo>
                <a:lnTo>
                  <a:pt x="1037" y="112"/>
                </a:lnTo>
                <a:lnTo>
                  <a:pt x="1035" y="112"/>
                </a:lnTo>
                <a:lnTo>
                  <a:pt x="1030" y="107"/>
                </a:lnTo>
                <a:lnTo>
                  <a:pt x="1028" y="107"/>
                </a:lnTo>
                <a:lnTo>
                  <a:pt x="1025" y="104"/>
                </a:lnTo>
                <a:lnTo>
                  <a:pt x="1021" y="100"/>
                </a:lnTo>
                <a:lnTo>
                  <a:pt x="1018" y="100"/>
                </a:lnTo>
                <a:lnTo>
                  <a:pt x="1016" y="95"/>
                </a:lnTo>
                <a:lnTo>
                  <a:pt x="1016" y="93"/>
                </a:lnTo>
                <a:lnTo>
                  <a:pt x="1015" y="93"/>
                </a:lnTo>
                <a:lnTo>
                  <a:pt x="1013" y="92"/>
                </a:lnTo>
                <a:lnTo>
                  <a:pt x="1013" y="83"/>
                </a:lnTo>
                <a:lnTo>
                  <a:pt x="1011" y="83"/>
                </a:lnTo>
                <a:lnTo>
                  <a:pt x="1011" y="82"/>
                </a:lnTo>
                <a:lnTo>
                  <a:pt x="1008" y="82"/>
                </a:lnTo>
                <a:lnTo>
                  <a:pt x="1006" y="82"/>
                </a:lnTo>
                <a:lnTo>
                  <a:pt x="1003" y="85"/>
                </a:lnTo>
                <a:lnTo>
                  <a:pt x="1001" y="85"/>
                </a:lnTo>
                <a:lnTo>
                  <a:pt x="994" y="87"/>
                </a:lnTo>
                <a:lnTo>
                  <a:pt x="992" y="87"/>
                </a:lnTo>
                <a:lnTo>
                  <a:pt x="992" y="88"/>
                </a:lnTo>
                <a:lnTo>
                  <a:pt x="991" y="88"/>
                </a:lnTo>
                <a:lnTo>
                  <a:pt x="989" y="88"/>
                </a:lnTo>
                <a:lnTo>
                  <a:pt x="991" y="88"/>
                </a:lnTo>
                <a:lnTo>
                  <a:pt x="987" y="87"/>
                </a:lnTo>
                <a:lnTo>
                  <a:pt x="984" y="88"/>
                </a:lnTo>
                <a:lnTo>
                  <a:pt x="979" y="102"/>
                </a:lnTo>
                <a:lnTo>
                  <a:pt x="975" y="109"/>
                </a:lnTo>
                <a:lnTo>
                  <a:pt x="972" y="117"/>
                </a:lnTo>
                <a:lnTo>
                  <a:pt x="974" y="117"/>
                </a:lnTo>
                <a:lnTo>
                  <a:pt x="972" y="119"/>
                </a:lnTo>
                <a:lnTo>
                  <a:pt x="965" y="134"/>
                </a:lnTo>
                <a:lnTo>
                  <a:pt x="960" y="143"/>
                </a:lnTo>
                <a:lnTo>
                  <a:pt x="953" y="156"/>
                </a:lnTo>
                <a:lnTo>
                  <a:pt x="945" y="165"/>
                </a:lnTo>
                <a:lnTo>
                  <a:pt x="947" y="165"/>
                </a:lnTo>
                <a:lnTo>
                  <a:pt x="945" y="165"/>
                </a:lnTo>
                <a:lnTo>
                  <a:pt x="943" y="170"/>
                </a:lnTo>
                <a:lnTo>
                  <a:pt x="938" y="177"/>
                </a:lnTo>
                <a:lnTo>
                  <a:pt x="928" y="185"/>
                </a:lnTo>
                <a:lnTo>
                  <a:pt x="923" y="187"/>
                </a:lnTo>
                <a:lnTo>
                  <a:pt x="918" y="189"/>
                </a:lnTo>
                <a:lnTo>
                  <a:pt x="911" y="194"/>
                </a:lnTo>
                <a:lnTo>
                  <a:pt x="909" y="194"/>
                </a:lnTo>
                <a:lnTo>
                  <a:pt x="909" y="192"/>
                </a:lnTo>
                <a:lnTo>
                  <a:pt x="909" y="194"/>
                </a:lnTo>
                <a:lnTo>
                  <a:pt x="902" y="197"/>
                </a:lnTo>
                <a:lnTo>
                  <a:pt x="899" y="199"/>
                </a:lnTo>
                <a:lnTo>
                  <a:pt x="897" y="199"/>
                </a:lnTo>
                <a:lnTo>
                  <a:pt x="899" y="197"/>
                </a:lnTo>
                <a:lnTo>
                  <a:pt x="899" y="199"/>
                </a:lnTo>
                <a:lnTo>
                  <a:pt x="896" y="199"/>
                </a:lnTo>
                <a:lnTo>
                  <a:pt x="889" y="202"/>
                </a:lnTo>
                <a:lnTo>
                  <a:pt x="887" y="202"/>
                </a:lnTo>
                <a:lnTo>
                  <a:pt x="882" y="206"/>
                </a:lnTo>
                <a:lnTo>
                  <a:pt x="863" y="211"/>
                </a:lnTo>
                <a:lnTo>
                  <a:pt x="862" y="213"/>
                </a:lnTo>
                <a:lnTo>
                  <a:pt x="856" y="216"/>
                </a:lnTo>
                <a:lnTo>
                  <a:pt x="855" y="218"/>
                </a:lnTo>
                <a:lnTo>
                  <a:pt x="853" y="216"/>
                </a:lnTo>
                <a:lnTo>
                  <a:pt x="851" y="216"/>
                </a:lnTo>
                <a:lnTo>
                  <a:pt x="848" y="221"/>
                </a:lnTo>
                <a:lnTo>
                  <a:pt x="848" y="223"/>
                </a:lnTo>
                <a:lnTo>
                  <a:pt x="846" y="223"/>
                </a:lnTo>
                <a:lnTo>
                  <a:pt x="848" y="223"/>
                </a:lnTo>
                <a:lnTo>
                  <a:pt x="846" y="223"/>
                </a:lnTo>
                <a:lnTo>
                  <a:pt x="846" y="224"/>
                </a:lnTo>
                <a:lnTo>
                  <a:pt x="839" y="233"/>
                </a:lnTo>
                <a:lnTo>
                  <a:pt x="822" y="247"/>
                </a:lnTo>
                <a:lnTo>
                  <a:pt x="814" y="253"/>
                </a:lnTo>
                <a:lnTo>
                  <a:pt x="816" y="257"/>
                </a:lnTo>
                <a:lnTo>
                  <a:pt x="816" y="258"/>
                </a:lnTo>
                <a:lnTo>
                  <a:pt x="814" y="262"/>
                </a:lnTo>
                <a:lnTo>
                  <a:pt x="814" y="264"/>
                </a:lnTo>
                <a:lnTo>
                  <a:pt x="816" y="265"/>
                </a:lnTo>
                <a:lnTo>
                  <a:pt x="814" y="267"/>
                </a:lnTo>
                <a:lnTo>
                  <a:pt x="816" y="269"/>
                </a:lnTo>
                <a:lnTo>
                  <a:pt x="816" y="270"/>
                </a:lnTo>
                <a:lnTo>
                  <a:pt x="812" y="274"/>
                </a:lnTo>
                <a:lnTo>
                  <a:pt x="811" y="279"/>
                </a:lnTo>
                <a:lnTo>
                  <a:pt x="794" y="296"/>
                </a:lnTo>
                <a:lnTo>
                  <a:pt x="794" y="299"/>
                </a:lnTo>
                <a:lnTo>
                  <a:pt x="788" y="304"/>
                </a:lnTo>
                <a:lnTo>
                  <a:pt x="790" y="306"/>
                </a:lnTo>
                <a:lnTo>
                  <a:pt x="785" y="311"/>
                </a:lnTo>
                <a:lnTo>
                  <a:pt x="787" y="311"/>
                </a:lnTo>
                <a:lnTo>
                  <a:pt x="788" y="315"/>
                </a:lnTo>
                <a:lnTo>
                  <a:pt x="785" y="325"/>
                </a:lnTo>
                <a:lnTo>
                  <a:pt x="787" y="327"/>
                </a:lnTo>
                <a:lnTo>
                  <a:pt x="787" y="330"/>
                </a:lnTo>
                <a:lnTo>
                  <a:pt x="787" y="333"/>
                </a:lnTo>
                <a:lnTo>
                  <a:pt x="787" y="337"/>
                </a:lnTo>
                <a:lnTo>
                  <a:pt x="787" y="338"/>
                </a:lnTo>
                <a:lnTo>
                  <a:pt x="787" y="340"/>
                </a:lnTo>
                <a:lnTo>
                  <a:pt x="783" y="345"/>
                </a:lnTo>
                <a:lnTo>
                  <a:pt x="783" y="349"/>
                </a:lnTo>
                <a:lnTo>
                  <a:pt x="788" y="350"/>
                </a:lnTo>
                <a:lnTo>
                  <a:pt x="790" y="354"/>
                </a:lnTo>
                <a:lnTo>
                  <a:pt x="792" y="354"/>
                </a:lnTo>
                <a:lnTo>
                  <a:pt x="795" y="361"/>
                </a:lnTo>
                <a:lnTo>
                  <a:pt x="795" y="359"/>
                </a:lnTo>
                <a:lnTo>
                  <a:pt x="797" y="361"/>
                </a:lnTo>
                <a:lnTo>
                  <a:pt x="795" y="376"/>
                </a:lnTo>
                <a:lnTo>
                  <a:pt x="788" y="388"/>
                </a:lnTo>
                <a:lnTo>
                  <a:pt x="785" y="391"/>
                </a:lnTo>
                <a:lnTo>
                  <a:pt x="778" y="398"/>
                </a:lnTo>
                <a:lnTo>
                  <a:pt x="775" y="403"/>
                </a:lnTo>
                <a:lnTo>
                  <a:pt x="773" y="406"/>
                </a:lnTo>
                <a:lnTo>
                  <a:pt x="768" y="413"/>
                </a:lnTo>
                <a:lnTo>
                  <a:pt x="766" y="417"/>
                </a:lnTo>
                <a:lnTo>
                  <a:pt x="761" y="420"/>
                </a:lnTo>
                <a:lnTo>
                  <a:pt x="754" y="427"/>
                </a:lnTo>
                <a:lnTo>
                  <a:pt x="751" y="432"/>
                </a:lnTo>
                <a:lnTo>
                  <a:pt x="741" y="437"/>
                </a:lnTo>
                <a:lnTo>
                  <a:pt x="724" y="446"/>
                </a:lnTo>
                <a:lnTo>
                  <a:pt x="720" y="449"/>
                </a:lnTo>
                <a:lnTo>
                  <a:pt x="709" y="457"/>
                </a:lnTo>
                <a:lnTo>
                  <a:pt x="709" y="459"/>
                </a:lnTo>
                <a:lnTo>
                  <a:pt x="705" y="464"/>
                </a:lnTo>
                <a:lnTo>
                  <a:pt x="703" y="466"/>
                </a:lnTo>
                <a:lnTo>
                  <a:pt x="702" y="468"/>
                </a:lnTo>
                <a:lnTo>
                  <a:pt x="680" y="475"/>
                </a:lnTo>
                <a:lnTo>
                  <a:pt x="673" y="478"/>
                </a:lnTo>
                <a:lnTo>
                  <a:pt x="664" y="480"/>
                </a:lnTo>
                <a:lnTo>
                  <a:pt x="664" y="481"/>
                </a:lnTo>
                <a:lnTo>
                  <a:pt x="663" y="481"/>
                </a:lnTo>
                <a:lnTo>
                  <a:pt x="663" y="483"/>
                </a:lnTo>
                <a:lnTo>
                  <a:pt x="659" y="485"/>
                </a:lnTo>
                <a:lnTo>
                  <a:pt x="661" y="481"/>
                </a:lnTo>
                <a:lnTo>
                  <a:pt x="664" y="480"/>
                </a:lnTo>
                <a:lnTo>
                  <a:pt x="647" y="483"/>
                </a:lnTo>
                <a:lnTo>
                  <a:pt x="630" y="485"/>
                </a:lnTo>
                <a:lnTo>
                  <a:pt x="627" y="488"/>
                </a:lnTo>
                <a:lnTo>
                  <a:pt x="625" y="493"/>
                </a:lnTo>
                <a:lnTo>
                  <a:pt x="624" y="495"/>
                </a:lnTo>
                <a:lnTo>
                  <a:pt x="617" y="498"/>
                </a:lnTo>
                <a:lnTo>
                  <a:pt x="612" y="514"/>
                </a:lnTo>
                <a:lnTo>
                  <a:pt x="605" y="526"/>
                </a:lnTo>
                <a:lnTo>
                  <a:pt x="605" y="529"/>
                </a:lnTo>
                <a:lnTo>
                  <a:pt x="598" y="544"/>
                </a:lnTo>
                <a:lnTo>
                  <a:pt x="596" y="548"/>
                </a:lnTo>
                <a:lnTo>
                  <a:pt x="591" y="551"/>
                </a:lnTo>
                <a:lnTo>
                  <a:pt x="576" y="560"/>
                </a:lnTo>
                <a:lnTo>
                  <a:pt x="573" y="561"/>
                </a:lnTo>
                <a:lnTo>
                  <a:pt x="566" y="563"/>
                </a:lnTo>
                <a:lnTo>
                  <a:pt x="562" y="568"/>
                </a:lnTo>
                <a:lnTo>
                  <a:pt x="559" y="570"/>
                </a:lnTo>
                <a:lnTo>
                  <a:pt x="554" y="571"/>
                </a:lnTo>
                <a:lnTo>
                  <a:pt x="550" y="575"/>
                </a:lnTo>
                <a:lnTo>
                  <a:pt x="549" y="578"/>
                </a:lnTo>
                <a:lnTo>
                  <a:pt x="550" y="580"/>
                </a:lnTo>
                <a:lnTo>
                  <a:pt x="550" y="585"/>
                </a:lnTo>
                <a:lnTo>
                  <a:pt x="545" y="592"/>
                </a:lnTo>
                <a:lnTo>
                  <a:pt x="542" y="595"/>
                </a:lnTo>
                <a:lnTo>
                  <a:pt x="540" y="607"/>
                </a:lnTo>
                <a:lnTo>
                  <a:pt x="535" y="614"/>
                </a:lnTo>
                <a:lnTo>
                  <a:pt x="533" y="619"/>
                </a:lnTo>
                <a:lnTo>
                  <a:pt x="532" y="628"/>
                </a:lnTo>
                <a:lnTo>
                  <a:pt x="532" y="631"/>
                </a:lnTo>
                <a:lnTo>
                  <a:pt x="533" y="633"/>
                </a:lnTo>
                <a:lnTo>
                  <a:pt x="533" y="640"/>
                </a:lnTo>
                <a:lnTo>
                  <a:pt x="530" y="645"/>
                </a:lnTo>
                <a:lnTo>
                  <a:pt x="530" y="650"/>
                </a:lnTo>
                <a:lnTo>
                  <a:pt x="525" y="653"/>
                </a:lnTo>
                <a:lnTo>
                  <a:pt x="523" y="657"/>
                </a:lnTo>
                <a:lnTo>
                  <a:pt x="516" y="660"/>
                </a:lnTo>
                <a:lnTo>
                  <a:pt x="513" y="663"/>
                </a:lnTo>
                <a:lnTo>
                  <a:pt x="508" y="670"/>
                </a:lnTo>
                <a:lnTo>
                  <a:pt x="494" y="680"/>
                </a:lnTo>
                <a:lnTo>
                  <a:pt x="494" y="684"/>
                </a:lnTo>
                <a:lnTo>
                  <a:pt x="484" y="689"/>
                </a:lnTo>
                <a:lnTo>
                  <a:pt x="479" y="694"/>
                </a:lnTo>
                <a:lnTo>
                  <a:pt x="477" y="699"/>
                </a:lnTo>
                <a:lnTo>
                  <a:pt x="474" y="702"/>
                </a:lnTo>
                <a:lnTo>
                  <a:pt x="474" y="704"/>
                </a:lnTo>
                <a:lnTo>
                  <a:pt x="476" y="702"/>
                </a:lnTo>
                <a:lnTo>
                  <a:pt x="477" y="701"/>
                </a:lnTo>
                <a:lnTo>
                  <a:pt x="479" y="694"/>
                </a:lnTo>
                <a:lnTo>
                  <a:pt x="482" y="692"/>
                </a:lnTo>
                <a:lnTo>
                  <a:pt x="484" y="692"/>
                </a:lnTo>
                <a:lnTo>
                  <a:pt x="486" y="689"/>
                </a:lnTo>
                <a:lnTo>
                  <a:pt x="486" y="691"/>
                </a:lnTo>
                <a:lnTo>
                  <a:pt x="488" y="692"/>
                </a:lnTo>
                <a:lnTo>
                  <a:pt x="486" y="696"/>
                </a:lnTo>
                <a:lnTo>
                  <a:pt x="488" y="694"/>
                </a:lnTo>
                <a:lnTo>
                  <a:pt x="484" y="699"/>
                </a:lnTo>
                <a:lnTo>
                  <a:pt x="481" y="704"/>
                </a:lnTo>
                <a:lnTo>
                  <a:pt x="479" y="704"/>
                </a:lnTo>
                <a:lnTo>
                  <a:pt x="479" y="708"/>
                </a:lnTo>
                <a:lnTo>
                  <a:pt x="476" y="711"/>
                </a:lnTo>
                <a:lnTo>
                  <a:pt x="476" y="713"/>
                </a:lnTo>
                <a:lnTo>
                  <a:pt x="474" y="716"/>
                </a:lnTo>
                <a:lnTo>
                  <a:pt x="471" y="719"/>
                </a:lnTo>
                <a:lnTo>
                  <a:pt x="471" y="721"/>
                </a:lnTo>
                <a:lnTo>
                  <a:pt x="467" y="725"/>
                </a:lnTo>
                <a:lnTo>
                  <a:pt x="467" y="726"/>
                </a:lnTo>
                <a:lnTo>
                  <a:pt x="464" y="731"/>
                </a:lnTo>
                <a:lnTo>
                  <a:pt x="465" y="733"/>
                </a:lnTo>
                <a:lnTo>
                  <a:pt x="467" y="736"/>
                </a:lnTo>
                <a:lnTo>
                  <a:pt x="465" y="738"/>
                </a:lnTo>
                <a:lnTo>
                  <a:pt x="464" y="740"/>
                </a:lnTo>
                <a:lnTo>
                  <a:pt x="460" y="742"/>
                </a:lnTo>
                <a:lnTo>
                  <a:pt x="459" y="742"/>
                </a:lnTo>
                <a:lnTo>
                  <a:pt x="459" y="743"/>
                </a:lnTo>
                <a:lnTo>
                  <a:pt x="459" y="745"/>
                </a:lnTo>
                <a:lnTo>
                  <a:pt x="457" y="748"/>
                </a:lnTo>
                <a:lnTo>
                  <a:pt x="455" y="759"/>
                </a:lnTo>
                <a:lnTo>
                  <a:pt x="452" y="762"/>
                </a:lnTo>
                <a:lnTo>
                  <a:pt x="450" y="767"/>
                </a:lnTo>
                <a:lnTo>
                  <a:pt x="448" y="770"/>
                </a:lnTo>
                <a:lnTo>
                  <a:pt x="442" y="774"/>
                </a:lnTo>
                <a:lnTo>
                  <a:pt x="440" y="772"/>
                </a:lnTo>
                <a:lnTo>
                  <a:pt x="435" y="777"/>
                </a:lnTo>
                <a:lnTo>
                  <a:pt x="433" y="779"/>
                </a:lnTo>
                <a:lnTo>
                  <a:pt x="428" y="789"/>
                </a:lnTo>
                <a:lnTo>
                  <a:pt x="428" y="793"/>
                </a:lnTo>
                <a:lnTo>
                  <a:pt x="425" y="796"/>
                </a:lnTo>
                <a:lnTo>
                  <a:pt x="425" y="798"/>
                </a:lnTo>
                <a:lnTo>
                  <a:pt x="426" y="799"/>
                </a:lnTo>
                <a:lnTo>
                  <a:pt x="425" y="801"/>
                </a:lnTo>
                <a:lnTo>
                  <a:pt x="425" y="810"/>
                </a:lnTo>
                <a:lnTo>
                  <a:pt x="421" y="820"/>
                </a:lnTo>
                <a:lnTo>
                  <a:pt x="420" y="837"/>
                </a:lnTo>
                <a:lnTo>
                  <a:pt x="418" y="842"/>
                </a:lnTo>
                <a:lnTo>
                  <a:pt x="420" y="844"/>
                </a:lnTo>
                <a:lnTo>
                  <a:pt x="418" y="845"/>
                </a:lnTo>
                <a:lnTo>
                  <a:pt x="421" y="849"/>
                </a:lnTo>
                <a:lnTo>
                  <a:pt x="421" y="845"/>
                </a:lnTo>
                <a:lnTo>
                  <a:pt x="420" y="844"/>
                </a:lnTo>
                <a:lnTo>
                  <a:pt x="421" y="842"/>
                </a:lnTo>
                <a:lnTo>
                  <a:pt x="423" y="842"/>
                </a:lnTo>
                <a:lnTo>
                  <a:pt x="423" y="839"/>
                </a:lnTo>
                <a:lnTo>
                  <a:pt x="423" y="837"/>
                </a:lnTo>
                <a:lnTo>
                  <a:pt x="421" y="837"/>
                </a:lnTo>
                <a:lnTo>
                  <a:pt x="421" y="835"/>
                </a:lnTo>
                <a:lnTo>
                  <a:pt x="423" y="835"/>
                </a:lnTo>
                <a:lnTo>
                  <a:pt x="423" y="837"/>
                </a:lnTo>
                <a:lnTo>
                  <a:pt x="423" y="835"/>
                </a:lnTo>
                <a:lnTo>
                  <a:pt x="425" y="832"/>
                </a:lnTo>
                <a:lnTo>
                  <a:pt x="426" y="832"/>
                </a:lnTo>
                <a:lnTo>
                  <a:pt x="426" y="830"/>
                </a:lnTo>
                <a:lnTo>
                  <a:pt x="428" y="828"/>
                </a:lnTo>
                <a:lnTo>
                  <a:pt x="428" y="832"/>
                </a:lnTo>
                <a:lnTo>
                  <a:pt x="430" y="837"/>
                </a:lnTo>
                <a:lnTo>
                  <a:pt x="431" y="839"/>
                </a:lnTo>
                <a:lnTo>
                  <a:pt x="433" y="840"/>
                </a:lnTo>
                <a:lnTo>
                  <a:pt x="435" y="842"/>
                </a:lnTo>
                <a:lnTo>
                  <a:pt x="435" y="845"/>
                </a:lnTo>
                <a:lnTo>
                  <a:pt x="437" y="847"/>
                </a:lnTo>
                <a:lnTo>
                  <a:pt x="438" y="850"/>
                </a:lnTo>
                <a:lnTo>
                  <a:pt x="440" y="850"/>
                </a:lnTo>
                <a:lnTo>
                  <a:pt x="440" y="854"/>
                </a:lnTo>
                <a:lnTo>
                  <a:pt x="447" y="861"/>
                </a:lnTo>
                <a:lnTo>
                  <a:pt x="447" y="850"/>
                </a:lnTo>
                <a:lnTo>
                  <a:pt x="448" y="852"/>
                </a:lnTo>
                <a:lnTo>
                  <a:pt x="448" y="854"/>
                </a:lnTo>
                <a:lnTo>
                  <a:pt x="452" y="856"/>
                </a:lnTo>
                <a:lnTo>
                  <a:pt x="452" y="857"/>
                </a:lnTo>
                <a:lnTo>
                  <a:pt x="454" y="862"/>
                </a:lnTo>
                <a:lnTo>
                  <a:pt x="455" y="866"/>
                </a:lnTo>
                <a:lnTo>
                  <a:pt x="455" y="867"/>
                </a:lnTo>
                <a:lnTo>
                  <a:pt x="457" y="867"/>
                </a:lnTo>
                <a:lnTo>
                  <a:pt x="460" y="874"/>
                </a:lnTo>
                <a:lnTo>
                  <a:pt x="462" y="874"/>
                </a:lnTo>
                <a:lnTo>
                  <a:pt x="464" y="878"/>
                </a:lnTo>
                <a:lnTo>
                  <a:pt x="462" y="881"/>
                </a:lnTo>
                <a:lnTo>
                  <a:pt x="460" y="881"/>
                </a:lnTo>
                <a:lnTo>
                  <a:pt x="462" y="884"/>
                </a:lnTo>
                <a:lnTo>
                  <a:pt x="462" y="886"/>
                </a:lnTo>
                <a:lnTo>
                  <a:pt x="462" y="888"/>
                </a:lnTo>
                <a:lnTo>
                  <a:pt x="459" y="893"/>
                </a:lnTo>
                <a:lnTo>
                  <a:pt x="459" y="895"/>
                </a:lnTo>
                <a:lnTo>
                  <a:pt x="460" y="893"/>
                </a:lnTo>
                <a:lnTo>
                  <a:pt x="460" y="895"/>
                </a:lnTo>
                <a:lnTo>
                  <a:pt x="460" y="896"/>
                </a:lnTo>
                <a:lnTo>
                  <a:pt x="460" y="900"/>
                </a:lnTo>
                <a:lnTo>
                  <a:pt x="459" y="901"/>
                </a:lnTo>
                <a:lnTo>
                  <a:pt x="460" y="901"/>
                </a:lnTo>
                <a:lnTo>
                  <a:pt x="459" y="903"/>
                </a:lnTo>
                <a:lnTo>
                  <a:pt x="459" y="901"/>
                </a:lnTo>
                <a:lnTo>
                  <a:pt x="457" y="901"/>
                </a:lnTo>
                <a:lnTo>
                  <a:pt x="455" y="903"/>
                </a:lnTo>
                <a:lnTo>
                  <a:pt x="454" y="908"/>
                </a:lnTo>
                <a:lnTo>
                  <a:pt x="455" y="907"/>
                </a:lnTo>
                <a:lnTo>
                  <a:pt x="452" y="912"/>
                </a:lnTo>
                <a:lnTo>
                  <a:pt x="450" y="917"/>
                </a:lnTo>
                <a:lnTo>
                  <a:pt x="452" y="918"/>
                </a:lnTo>
                <a:lnTo>
                  <a:pt x="452" y="917"/>
                </a:lnTo>
                <a:lnTo>
                  <a:pt x="454" y="917"/>
                </a:lnTo>
                <a:lnTo>
                  <a:pt x="454" y="913"/>
                </a:lnTo>
                <a:lnTo>
                  <a:pt x="455" y="912"/>
                </a:lnTo>
                <a:lnTo>
                  <a:pt x="454" y="915"/>
                </a:lnTo>
                <a:lnTo>
                  <a:pt x="457" y="912"/>
                </a:lnTo>
                <a:lnTo>
                  <a:pt x="459" y="912"/>
                </a:lnTo>
                <a:lnTo>
                  <a:pt x="455" y="917"/>
                </a:lnTo>
                <a:lnTo>
                  <a:pt x="454" y="918"/>
                </a:lnTo>
                <a:lnTo>
                  <a:pt x="450" y="920"/>
                </a:lnTo>
                <a:lnTo>
                  <a:pt x="448" y="920"/>
                </a:lnTo>
                <a:lnTo>
                  <a:pt x="448" y="918"/>
                </a:lnTo>
                <a:lnTo>
                  <a:pt x="448" y="920"/>
                </a:lnTo>
                <a:lnTo>
                  <a:pt x="448" y="918"/>
                </a:lnTo>
                <a:lnTo>
                  <a:pt x="447" y="920"/>
                </a:lnTo>
                <a:lnTo>
                  <a:pt x="448" y="920"/>
                </a:lnTo>
                <a:lnTo>
                  <a:pt x="450" y="925"/>
                </a:lnTo>
                <a:lnTo>
                  <a:pt x="455" y="929"/>
                </a:lnTo>
                <a:lnTo>
                  <a:pt x="459" y="934"/>
                </a:lnTo>
                <a:lnTo>
                  <a:pt x="464" y="942"/>
                </a:lnTo>
                <a:lnTo>
                  <a:pt x="467" y="956"/>
                </a:lnTo>
                <a:lnTo>
                  <a:pt x="471" y="966"/>
                </a:lnTo>
                <a:lnTo>
                  <a:pt x="472" y="981"/>
                </a:lnTo>
                <a:lnTo>
                  <a:pt x="472" y="988"/>
                </a:lnTo>
                <a:lnTo>
                  <a:pt x="472" y="990"/>
                </a:lnTo>
                <a:lnTo>
                  <a:pt x="471" y="1005"/>
                </a:lnTo>
                <a:lnTo>
                  <a:pt x="469" y="1015"/>
                </a:lnTo>
                <a:lnTo>
                  <a:pt x="465" y="1026"/>
                </a:lnTo>
                <a:lnTo>
                  <a:pt x="460" y="1036"/>
                </a:lnTo>
                <a:lnTo>
                  <a:pt x="455" y="1048"/>
                </a:lnTo>
                <a:lnTo>
                  <a:pt x="452" y="1060"/>
                </a:lnTo>
                <a:lnTo>
                  <a:pt x="450" y="1066"/>
                </a:lnTo>
                <a:lnTo>
                  <a:pt x="447" y="1077"/>
                </a:lnTo>
                <a:lnTo>
                  <a:pt x="448" y="1089"/>
                </a:lnTo>
                <a:lnTo>
                  <a:pt x="447" y="1097"/>
                </a:lnTo>
                <a:lnTo>
                  <a:pt x="447" y="1102"/>
                </a:lnTo>
                <a:lnTo>
                  <a:pt x="447" y="1100"/>
                </a:lnTo>
                <a:lnTo>
                  <a:pt x="447" y="1102"/>
                </a:lnTo>
                <a:lnTo>
                  <a:pt x="442" y="1111"/>
                </a:lnTo>
                <a:lnTo>
                  <a:pt x="431" y="1128"/>
                </a:lnTo>
                <a:lnTo>
                  <a:pt x="428" y="1131"/>
                </a:lnTo>
                <a:lnTo>
                  <a:pt x="418" y="1143"/>
                </a:lnTo>
                <a:lnTo>
                  <a:pt x="416" y="1146"/>
                </a:lnTo>
                <a:lnTo>
                  <a:pt x="408" y="1152"/>
                </a:lnTo>
                <a:lnTo>
                  <a:pt x="396" y="1155"/>
                </a:lnTo>
                <a:lnTo>
                  <a:pt x="397" y="1157"/>
                </a:lnTo>
                <a:lnTo>
                  <a:pt x="399" y="1158"/>
                </a:lnTo>
                <a:lnTo>
                  <a:pt x="401" y="1158"/>
                </a:lnTo>
                <a:lnTo>
                  <a:pt x="401" y="1160"/>
                </a:lnTo>
                <a:lnTo>
                  <a:pt x="401" y="1158"/>
                </a:lnTo>
                <a:lnTo>
                  <a:pt x="401" y="1157"/>
                </a:lnTo>
                <a:lnTo>
                  <a:pt x="403" y="1158"/>
                </a:lnTo>
                <a:lnTo>
                  <a:pt x="403" y="1157"/>
                </a:lnTo>
                <a:lnTo>
                  <a:pt x="401" y="1155"/>
                </a:lnTo>
                <a:lnTo>
                  <a:pt x="404" y="1155"/>
                </a:lnTo>
                <a:lnTo>
                  <a:pt x="409" y="1157"/>
                </a:lnTo>
                <a:lnTo>
                  <a:pt x="413" y="1158"/>
                </a:lnTo>
                <a:lnTo>
                  <a:pt x="418" y="1165"/>
                </a:lnTo>
                <a:lnTo>
                  <a:pt x="420" y="1169"/>
                </a:lnTo>
                <a:lnTo>
                  <a:pt x="423" y="1170"/>
                </a:lnTo>
                <a:lnTo>
                  <a:pt x="426" y="1174"/>
                </a:lnTo>
                <a:lnTo>
                  <a:pt x="426" y="1177"/>
                </a:lnTo>
                <a:lnTo>
                  <a:pt x="430" y="1180"/>
                </a:lnTo>
                <a:lnTo>
                  <a:pt x="430" y="1182"/>
                </a:lnTo>
                <a:lnTo>
                  <a:pt x="431" y="1186"/>
                </a:lnTo>
                <a:lnTo>
                  <a:pt x="431" y="1184"/>
                </a:lnTo>
                <a:lnTo>
                  <a:pt x="433" y="1187"/>
                </a:lnTo>
                <a:lnTo>
                  <a:pt x="435" y="1196"/>
                </a:lnTo>
                <a:lnTo>
                  <a:pt x="435" y="1194"/>
                </a:lnTo>
                <a:lnTo>
                  <a:pt x="437" y="1192"/>
                </a:lnTo>
                <a:lnTo>
                  <a:pt x="440" y="1191"/>
                </a:lnTo>
                <a:lnTo>
                  <a:pt x="442" y="1192"/>
                </a:lnTo>
                <a:lnTo>
                  <a:pt x="443" y="1191"/>
                </a:lnTo>
                <a:lnTo>
                  <a:pt x="445" y="1191"/>
                </a:lnTo>
                <a:lnTo>
                  <a:pt x="447" y="1191"/>
                </a:lnTo>
                <a:lnTo>
                  <a:pt x="443" y="1192"/>
                </a:lnTo>
                <a:lnTo>
                  <a:pt x="445" y="1192"/>
                </a:lnTo>
                <a:lnTo>
                  <a:pt x="447" y="1192"/>
                </a:lnTo>
                <a:lnTo>
                  <a:pt x="448" y="1192"/>
                </a:lnTo>
                <a:lnTo>
                  <a:pt x="450" y="1194"/>
                </a:lnTo>
                <a:lnTo>
                  <a:pt x="448" y="1196"/>
                </a:lnTo>
                <a:lnTo>
                  <a:pt x="448" y="1197"/>
                </a:lnTo>
                <a:lnTo>
                  <a:pt x="450" y="1197"/>
                </a:lnTo>
                <a:lnTo>
                  <a:pt x="450" y="1196"/>
                </a:lnTo>
                <a:lnTo>
                  <a:pt x="450" y="1197"/>
                </a:lnTo>
                <a:lnTo>
                  <a:pt x="448" y="1199"/>
                </a:lnTo>
                <a:lnTo>
                  <a:pt x="450" y="1199"/>
                </a:lnTo>
                <a:lnTo>
                  <a:pt x="448" y="1199"/>
                </a:lnTo>
                <a:lnTo>
                  <a:pt x="448" y="1201"/>
                </a:lnTo>
                <a:lnTo>
                  <a:pt x="450" y="1203"/>
                </a:lnTo>
                <a:lnTo>
                  <a:pt x="448" y="1204"/>
                </a:lnTo>
                <a:lnTo>
                  <a:pt x="448" y="1206"/>
                </a:lnTo>
                <a:lnTo>
                  <a:pt x="447" y="1208"/>
                </a:lnTo>
                <a:lnTo>
                  <a:pt x="448" y="1208"/>
                </a:lnTo>
                <a:lnTo>
                  <a:pt x="448" y="1209"/>
                </a:lnTo>
                <a:lnTo>
                  <a:pt x="443" y="1211"/>
                </a:lnTo>
                <a:lnTo>
                  <a:pt x="445" y="1213"/>
                </a:lnTo>
                <a:lnTo>
                  <a:pt x="447" y="1213"/>
                </a:lnTo>
                <a:lnTo>
                  <a:pt x="445" y="1211"/>
                </a:lnTo>
                <a:lnTo>
                  <a:pt x="447" y="1213"/>
                </a:lnTo>
                <a:lnTo>
                  <a:pt x="447" y="1211"/>
                </a:lnTo>
                <a:lnTo>
                  <a:pt x="447" y="1213"/>
                </a:lnTo>
                <a:lnTo>
                  <a:pt x="447" y="1216"/>
                </a:lnTo>
                <a:lnTo>
                  <a:pt x="445" y="1218"/>
                </a:lnTo>
                <a:lnTo>
                  <a:pt x="447" y="1220"/>
                </a:lnTo>
                <a:lnTo>
                  <a:pt x="445" y="1220"/>
                </a:lnTo>
                <a:lnTo>
                  <a:pt x="442" y="1218"/>
                </a:lnTo>
                <a:lnTo>
                  <a:pt x="440" y="1220"/>
                </a:lnTo>
                <a:lnTo>
                  <a:pt x="440" y="1218"/>
                </a:lnTo>
                <a:lnTo>
                  <a:pt x="437" y="1220"/>
                </a:lnTo>
                <a:lnTo>
                  <a:pt x="435" y="1223"/>
                </a:lnTo>
                <a:lnTo>
                  <a:pt x="433" y="1223"/>
                </a:lnTo>
                <a:lnTo>
                  <a:pt x="433" y="1226"/>
                </a:lnTo>
                <a:lnTo>
                  <a:pt x="433" y="1228"/>
                </a:lnTo>
                <a:lnTo>
                  <a:pt x="433" y="1230"/>
                </a:lnTo>
                <a:lnTo>
                  <a:pt x="433" y="1235"/>
                </a:lnTo>
                <a:lnTo>
                  <a:pt x="435" y="1237"/>
                </a:lnTo>
                <a:lnTo>
                  <a:pt x="435" y="1238"/>
                </a:lnTo>
                <a:lnTo>
                  <a:pt x="437" y="1240"/>
                </a:lnTo>
                <a:lnTo>
                  <a:pt x="437" y="1245"/>
                </a:lnTo>
                <a:lnTo>
                  <a:pt x="433" y="1255"/>
                </a:lnTo>
                <a:lnTo>
                  <a:pt x="435" y="1252"/>
                </a:lnTo>
                <a:lnTo>
                  <a:pt x="435" y="1254"/>
                </a:lnTo>
                <a:lnTo>
                  <a:pt x="435" y="1255"/>
                </a:lnTo>
                <a:lnTo>
                  <a:pt x="433" y="1255"/>
                </a:lnTo>
                <a:lnTo>
                  <a:pt x="435" y="1255"/>
                </a:lnTo>
                <a:lnTo>
                  <a:pt x="433" y="1259"/>
                </a:lnTo>
                <a:lnTo>
                  <a:pt x="437" y="1255"/>
                </a:lnTo>
                <a:lnTo>
                  <a:pt x="438" y="1257"/>
                </a:lnTo>
                <a:lnTo>
                  <a:pt x="438" y="1255"/>
                </a:lnTo>
                <a:lnTo>
                  <a:pt x="440" y="1254"/>
                </a:lnTo>
                <a:lnTo>
                  <a:pt x="442" y="1254"/>
                </a:lnTo>
                <a:lnTo>
                  <a:pt x="443" y="1254"/>
                </a:lnTo>
                <a:lnTo>
                  <a:pt x="442" y="1252"/>
                </a:lnTo>
                <a:lnTo>
                  <a:pt x="442" y="1250"/>
                </a:lnTo>
                <a:lnTo>
                  <a:pt x="442" y="1248"/>
                </a:lnTo>
                <a:lnTo>
                  <a:pt x="440" y="1248"/>
                </a:lnTo>
                <a:lnTo>
                  <a:pt x="442" y="1248"/>
                </a:lnTo>
                <a:lnTo>
                  <a:pt x="440" y="1247"/>
                </a:lnTo>
                <a:lnTo>
                  <a:pt x="442" y="1243"/>
                </a:lnTo>
                <a:lnTo>
                  <a:pt x="442" y="1245"/>
                </a:lnTo>
                <a:lnTo>
                  <a:pt x="443" y="1245"/>
                </a:lnTo>
                <a:lnTo>
                  <a:pt x="443" y="1247"/>
                </a:lnTo>
                <a:lnTo>
                  <a:pt x="443" y="1245"/>
                </a:lnTo>
                <a:lnTo>
                  <a:pt x="445" y="1248"/>
                </a:lnTo>
                <a:lnTo>
                  <a:pt x="443" y="1255"/>
                </a:lnTo>
                <a:lnTo>
                  <a:pt x="445" y="1257"/>
                </a:lnTo>
                <a:lnTo>
                  <a:pt x="447" y="1257"/>
                </a:lnTo>
                <a:lnTo>
                  <a:pt x="447" y="1259"/>
                </a:lnTo>
                <a:lnTo>
                  <a:pt x="445" y="1259"/>
                </a:lnTo>
                <a:lnTo>
                  <a:pt x="448" y="1262"/>
                </a:lnTo>
                <a:lnTo>
                  <a:pt x="448" y="1260"/>
                </a:lnTo>
                <a:lnTo>
                  <a:pt x="450" y="1262"/>
                </a:lnTo>
                <a:lnTo>
                  <a:pt x="452" y="1264"/>
                </a:lnTo>
                <a:lnTo>
                  <a:pt x="452" y="1262"/>
                </a:lnTo>
                <a:lnTo>
                  <a:pt x="452" y="1264"/>
                </a:lnTo>
                <a:lnTo>
                  <a:pt x="454" y="1264"/>
                </a:lnTo>
                <a:lnTo>
                  <a:pt x="452" y="1266"/>
                </a:lnTo>
                <a:lnTo>
                  <a:pt x="450" y="1264"/>
                </a:lnTo>
                <a:lnTo>
                  <a:pt x="448" y="1264"/>
                </a:lnTo>
                <a:lnTo>
                  <a:pt x="447" y="1264"/>
                </a:lnTo>
                <a:lnTo>
                  <a:pt x="447" y="1262"/>
                </a:lnTo>
                <a:lnTo>
                  <a:pt x="443" y="1260"/>
                </a:lnTo>
                <a:lnTo>
                  <a:pt x="442" y="1264"/>
                </a:lnTo>
                <a:lnTo>
                  <a:pt x="440" y="1266"/>
                </a:lnTo>
                <a:lnTo>
                  <a:pt x="440" y="1269"/>
                </a:lnTo>
                <a:lnTo>
                  <a:pt x="438" y="1269"/>
                </a:lnTo>
                <a:lnTo>
                  <a:pt x="440" y="1271"/>
                </a:lnTo>
                <a:lnTo>
                  <a:pt x="440" y="1272"/>
                </a:lnTo>
                <a:lnTo>
                  <a:pt x="438" y="1271"/>
                </a:lnTo>
                <a:lnTo>
                  <a:pt x="437" y="1271"/>
                </a:lnTo>
                <a:lnTo>
                  <a:pt x="438" y="1271"/>
                </a:lnTo>
                <a:lnTo>
                  <a:pt x="438" y="1269"/>
                </a:lnTo>
                <a:lnTo>
                  <a:pt x="440" y="1269"/>
                </a:lnTo>
                <a:lnTo>
                  <a:pt x="437" y="1267"/>
                </a:lnTo>
                <a:lnTo>
                  <a:pt x="437" y="1266"/>
                </a:lnTo>
                <a:lnTo>
                  <a:pt x="435" y="1266"/>
                </a:lnTo>
                <a:lnTo>
                  <a:pt x="433" y="1269"/>
                </a:lnTo>
                <a:lnTo>
                  <a:pt x="433" y="1271"/>
                </a:lnTo>
                <a:lnTo>
                  <a:pt x="435" y="1272"/>
                </a:lnTo>
                <a:lnTo>
                  <a:pt x="437" y="1274"/>
                </a:lnTo>
                <a:lnTo>
                  <a:pt x="437" y="1276"/>
                </a:lnTo>
                <a:lnTo>
                  <a:pt x="438" y="1276"/>
                </a:lnTo>
                <a:lnTo>
                  <a:pt x="440" y="1277"/>
                </a:lnTo>
                <a:lnTo>
                  <a:pt x="440" y="1276"/>
                </a:lnTo>
                <a:lnTo>
                  <a:pt x="443" y="1279"/>
                </a:lnTo>
                <a:lnTo>
                  <a:pt x="447" y="1281"/>
                </a:lnTo>
                <a:lnTo>
                  <a:pt x="450" y="1284"/>
                </a:lnTo>
                <a:lnTo>
                  <a:pt x="452" y="1284"/>
                </a:lnTo>
                <a:lnTo>
                  <a:pt x="454" y="1284"/>
                </a:lnTo>
                <a:lnTo>
                  <a:pt x="454" y="1283"/>
                </a:lnTo>
                <a:lnTo>
                  <a:pt x="455" y="1284"/>
                </a:lnTo>
                <a:lnTo>
                  <a:pt x="457" y="1283"/>
                </a:lnTo>
                <a:lnTo>
                  <a:pt x="457" y="1281"/>
                </a:lnTo>
                <a:lnTo>
                  <a:pt x="459" y="1281"/>
                </a:lnTo>
                <a:lnTo>
                  <a:pt x="457" y="1283"/>
                </a:lnTo>
                <a:lnTo>
                  <a:pt x="459" y="1283"/>
                </a:lnTo>
                <a:lnTo>
                  <a:pt x="464" y="1279"/>
                </a:lnTo>
                <a:lnTo>
                  <a:pt x="467" y="1279"/>
                </a:lnTo>
                <a:lnTo>
                  <a:pt x="462" y="1281"/>
                </a:lnTo>
                <a:lnTo>
                  <a:pt x="460" y="1284"/>
                </a:lnTo>
                <a:lnTo>
                  <a:pt x="457" y="1286"/>
                </a:lnTo>
                <a:lnTo>
                  <a:pt x="455" y="1288"/>
                </a:lnTo>
                <a:lnTo>
                  <a:pt x="457" y="1291"/>
                </a:lnTo>
                <a:lnTo>
                  <a:pt x="457" y="1293"/>
                </a:lnTo>
                <a:lnTo>
                  <a:pt x="459" y="1293"/>
                </a:lnTo>
                <a:lnTo>
                  <a:pt x="460" y="1294"/>
                </a:lnTo>
                <a:lnTo>
                  <a:pt x="462" y="1298"/>
                </a:lnTo>
                <a:lnTo>
                  <a:pt x="467" y="1298"/>
                </a:lnTo>
                <a:lnTo>
                  <a:pt x="469" y="1300"/>
                </a:lnTo>
                <a:lnTo>
                  <a:pt x="471" y="1298"/>
                </a:lnTo>
                <a:lnTo>
                  <a:pt x="474" y="1298"/>
                </a:lnTo>
                <a:lnTo>
                  <a:pt x="477" y="1296"/>
                </a:lnTo>
                <a:lnTo>
                  <a:pt x="476" y="1294"/>
                </a:lnTo>
                <a:lnTo>
                  <a:pt x="474" y="1293"/>
                </a:lnTo>
                <a:lnTo>
                  <a:pt x="474" y="1291"/>
                </a:lnTo>
                <a:lnTo>
                  <a:pt x="476" y="1293"/>
                </a:lnTo>
                <a:lnTo>
                  <a:pt x="476" y="1294"/>
                </a:lnTo>
                <a:lnTo>
                  <a:pt x="477" y="1294"/>
                </a:lnTo>
                <a:lnTo>
                  <a:pt x="479" y="1294"/>
                </a:lnTo>
                <a:lnTo>
                  <a:pt x="481" y="1293"/>
                </a:lnTo>
                <a:lnTo>
                  <a:pt x="484" y="1293"/>
                </a:lnTo>
                <a:lnTo>
                  <a:pt x="482" y="1294"/>
                </a:lnTo>
                <a:lnTo>
                  <a:pt x="481" y="1294"/>
                </a:lnTo>
                <a:lnTo>
                  <a:pt x="477" y="1300"/>
                </a:lnTo>
                <a:lnTo>
                  <a:pt x="477" y="1303"/>
                </a:lnTo>
                <a:lnTo>
                  <a:pt x="476" y="1305"/>
                </a:lnTo>
                <a:lnTo>
                  <a:pt x="476" y="1306"/>
                </a:lnTo>
                <a:lnTo>
                  <a:pt x="477" y="1306"/>
                </a:lnTo>
                <a:lnTo>
                  <a:pt x="479" y="1306"/>
                </a:lnTo>
                <a:lnTo>
                  <a:pt x="479" y="1305"/>
                </a:lnTo>
                <a:lnTo>
                  <a:pt x="481" y="1305"/>
                </a:lnTo>
                <a:lnTo>
                  <a:pt x="482" y="1303"/>
                </a:lnTo>
                <a:lnTo>
                  <a:pt x="484" y="1303"/>
                </a:lnTo>
                <a:lnTo>
                  <a:pt x="482" y="1306"/>
                </a:lnTo>
                <a:lnTo>
                  <a:pt x="488" y="1305"/>
                </a:lnTo>
                <a:lnTo>
                  <a:pt x="491" y="1303"/>
                </a:lnTo>
                <a:lnTo>
                  <a:pt x="494" y="1301"/>
                </a:lnTo>
                <a:lnTo>
                  <a:pt x="496" y="1300"/>
                </a:lnTo>
                <a:lnTo>
                  <a:pt x="496" y="1298"/>
                </a:lnTo>
                <a:lnTo>
                  <a:pt x="498" y="1300"/>
                </a:lnTo>
                <a:lnTo>
                  <a:pt x="499" y="1296"/>
                </a:lnTo>
                <a:lnTo>
                  <a:pt x="503" y="1296"/>
                </a:lnTo>
                <a:lnTo>
                  <a:pt x="505" y="1296"/>
                </a:lnTo>
                <a:lnTo>
                  <a:pt x="508" y="1296"/>
                </a:lnTo>
                <a:lnTo>
                  <a:pt x="510" y="1298"/>
                </a:lnTo>
                <a:lnTo>
                  <a:pt x="515" y="1298"/>
                </a:lnTo>
                <a:lnTo>
                  <a:pt x="518" y="1294"/>
                </a:lnTo>
                <a:lnTo>
                  <a:pt x="522" y="1294"/>
                </a:lnTo>
                <a:lnTo>
                  <a:pt x="523" y="1294"/>
                </a:lnTo>
                <a:lnTo>
                  <a:pt x="525" y="1296"/>
                </a:lnTo>
                <a:lnTo>
                  <a:pt x="523" y="1296"/>
                </a:lnTo>
                <a:lnTo>
                  <a:pt x="522" y="1296"/>
                </a:lnTo>
                <a:lnTo>
                  <a:pt x="518" y="1298"/>
                </a:lnTo>
                <a:lnTo>
                  <a:pt x="516" y="1300"/>
                </a:lnTo>
                <a:lnTo>
                  <a:pt x="510" y="1300"/>
                </a:lnTo>
                <a:lnTo>
                  <a:pt x="506" y="1300"/>
                </a:lnTo>
                <a:lnTo>
                  <a:pt x="505" y="1300"/>
                </a:lnTo>
                <a:lnTo>
                  <a:pt x="503" y="1301"/>
                </a:lnTo>
                <a:lnTo>
                  <a:pt x="501" y="1301"/>
                </a:lnTo>
                <a:lnTo>
                  <a:pt x="498" y="1305"/>
                </a:lnTo>
                <a:lnTo>
                  <a:pt x="496" y="1308"/>
                </a:lnTo>
                <a:lnTo>
                  <a:pt x="498" y="1306"/>
                </a:lnTo>
                <a:lnTo>
                  <a:pt x="498" y="1310"/>
                </a:lnTo>
                <a:lnTo>
                  <a:pt x="499" y="1308"/>
                </a:lnTo>
                <a:lnTo>
                  <a:pt x="501" y="1308"/>
                </a:lnTo>
                <a:lnTo>
                  <a:pt x="499" y="1308"/>
                </a:lnTo>
                <a:lnTo>
                  <a:pt x="499" y="1310"/>
                </a:lnTo>
                <a:lnTo>
                  <a:pt x="499" y="1311"/>
                </a:lnTo>
                <a:lnTo>
                  <a:pt x="501" y="1311"/>
                </a:lnTo>
                <a:lnTo>
                  <a:pt x="503" y="1310"/>
                </a:lnTo>
                <a:lnTo>
                  <a:pt x="505" y="1310"/>
                </a:lnTo>
                <a:lnTo>
                  <a:pt x="503" y="1310"/>
                </a:lnTo>
                <a:lnTo>
                  <a:pt x="503" y="1311"/>
                </a:lnTo>
                <a:lnTo>
                  <a:pt x="501" y="1313"/>
                </a:lnTo>
                <a:lnTo>
                  <a:pt x="503" y="1313"/>
                </a:lnTo>
                <a:lnTo>
                  <a:pt x="501" y="1313"/>
                </a:lnTo>
                <a:lnTo>
                  <a:pt x="503" y="1317"/>
                </a:lnTo>
                <a:lnTo>
                  <a:pt x="503" y="1315"/>
                </a:lnTo>
                <a:lnTo>
                  <a:pt x="503" y="1317"/>
                </a:lnTo>
                <a:lnTo>
                  <a:pt x="503" y="1313"/>
                </a:lnTo>
                <a:lnTo>
                  <a:pt x="505" y="1313"/>
                </a:lnTo>
                <a:lnTo>
                  <a:pt x="505" y="1315"/>
                </a:lnTo>
                <a:lnTo>
                  <a:pt x="506" y="1315"/>
                </a:lnTo>
                <a:lnTo>
                  <a:pt x="505" y="1313"/>
                </a:lnTo>
                <a:lnTo>
                  <a:pt x="506" y="1315"/>
                </a:lnTo>
                <a:lnTo>
                  <a:pt x="505" y="1311"/>
                </a:lnTo>
                <a:lnTo>
                  <a:pt x="508" y="1313"/>
                </a:lnTo>
                <a:lnTo>
                  <a:pt x="508" y="1311"/>
                </a:lnTo>
                <a:lnTo>
                  <a:pt x="508" y="1310"/>
                </a:lnTo>
                <a:lnTo>
                  <a:pt x="508" y="1313"/>
                </a:lnTo>
                <a:lnTo>
                  <a:pt x="508" y="1311"/>
                </a:lnTo>
                <a:lnTo>
                  <a:pt x="510" y="1311"/>
                </a:lnTo>
                <a:lnTo>
                  <a:pt x="510" y="1310"/>
                </a:lnTo>
                <a:lnTo>
                  <a:pt x="508" y="1310"/>
                </a:lnTo>
                <a:lnTo>
                  <a:pt x="510" y="1310"/>
                </a:lnTo>
                <a:lnTo>
                  <a:pt x="510" y="1308"/>
                </a:lnTo>
                <a:lnTo>
                  <a:pt x="510" y="1310"/>
                </a:lnTo>
                <a:lnTo>
                  <a:pt x="511" y="1306"/>
                </a:lnTo>
                <a:lnTo>
                  <a:pt x="510" y="1310"/>
                </a:lnTo>
                <a:lnTo>
                  <a:pt x="511" y="1308"/>
                </a:lnTo>
                <a:lnTo>
                  <a:pt x="511" y="1310"/>
                </a:lnTo>
                <a:lnTo>
                  <a:pt x="511" y="1311"/>
                </a:lnTo>
                <a:lnTo>
                  <a:pt x="511" y="1310"/>
                </a:lnTo>
                <a:lnTo>
                  <a:pt x="511" y="1311"/>
                </a:lnTo>
                <a:lnTo>
                  <a:pt x="513" y="1310"/>
                </a:lnTo>
                <a:lnTo>
                  <a:pt x="513" y="1308"/>
                </a:lnTo>
                <a:lnTo>
                  <a:pt x="513" y="1310"/>
                </a:lnTo>
                <a:lnTo>
                  <a:pt x="515" y="1308"/>
                </a:lnTo>
                <a:lnTo>
                  <a:pt x="513" y="1308"/>
                </a:lnTo>
                <a:lnTo>
                  <a:pt x="515" y="1308"/>
                </a:lnTo>
                <a:lnTo>
                  <a:pt x="513" y="1306"/>
                </a:lnTo>
                <a:lnTo>
                  <a:pt x="515" y="1306"/>
                </a:lnTo>
                <a:lnTo>
                  <a:pt x="515" y="1305"/>
                </a:lnTo>
                <a:lnTo>
                  <a:pt x="515" y="1306"/>
                </a:lnTo>
                <a:lnTo>
                  <a:pt x="516" y="1306"/>
                </a:lnTo>
                <a:lnTo>
                  <a:pt x="515" y="1306"/>
                </a:lnTo>
                <a:lnTo>
                  <a:pt x="516" y="1308"/>
                </a:lnTo>
                <a:lnTo>
                  <a:pt x="515" y="1306"/>
                </a:lnTo>
                <a:lnTo>
                  <a:pt x="515" y="1308"/>
                </a:lnTo>
                <a:lnTo>
                  <a:pt x="515" y="1310"/>
                </a:lnTo>
                <a:lnTo>
                  <a:pt x="513" y="1310"/>
                </a:lnTo>
                <a:lnTo>
                  <a:pt x="515" y="1310"/>
                </a:lnTo>
                <a:lnTo>
                  <a:pt x="513" y="1311"/>
                </a:lnTo>
                <a:lnTo>
                  <a:pt x="511" y="1311"/>
                </a:lnTo>
                <a:lnTo>
                  <a:pt x="513" y="1311"/>
                </a:lnTo>
                <a:lnTo>
                  <a:pt x="515" y="1311"/>
                </a:lnTo>
                <a:lnTo>
                  <a:pt x="515" y="1310"/>
                </a:lnTo>
                <a:lnTo>
                  <a:pt x="515" y="1311"/>
                </a:lnTo>
                <a:lnTo>
                  <a:pt x="516" y="1311"/>
                </a:lnTo>
                <a:lnTo>
                  <a:pt x="516" y="1310"/>
                </a:lnTo>
                <a:lnTo>
                  <a:pt x="518" y="1310"/>
                </a:lnTo>
                <a:lnTo>
                  <a:pt x="518" y="1308"/>
                </a:lnTo>
                <a:lnTo>
                  <a:pt x="518" y="1310"/>
                </a:lnTo>
                <a:lnTo>
                  <a:pt x="516" y="1311"/>
                </a:lnTo>
                <a:lnTo>
                  <a:pt x="518" y="1311"/>
                </a:lnTo>
                <a:lnTo>
                  <a:pt x="520" y="1310"/>
                </a:lnTo>
                <a:lnTo>
                  <a:pt x="520" y="1311"/>
                </a:lnTo>
                <a:lnTo>
                  <a:pt x="518" y="1313"/>
                </a:lnTo>
                <a:lnTo>
                  <a:pt x="520" y="1313"/>
                </a:lnTo>
                <a:lnTo>
                  <a:pt x="522" y="1311"/>
                </a:lnTo>
                <a:lnTo>
                  <a:pt x="520" y="1313"/>
                </a:lnTo>
                <a:lnTo>
                  <a:pt x="523" y="1311"/>
                </a:lnTo>
                <a:lnTo>
                  <a:pt x="522" y="1313"/>
                </a:lnTo>
                <a:lnTo>
                  <a:pt x="520" y="1313"/>
                </a:lnTo>
                <a:lnTo>
                  <a:pt x="522" y="1315"/>
                </a:lnTo>
                <a:lnTo>
                  <a:pt x="523" y="1315"/>
                </a:lnTo>
                <a:lnTo>
                  <a:pt x="525" y="1313"/>
                </a:lnTo>
                <a:lnTo>
                  <a:pt x="525" y="1315"/>
                </a:lnTo>
                <a:lnTo>
                  <a:pt x="523" y="1315"/>
                </a:lnTo>
                <a:lnTo>
                  <a:pt x="523" y="1317"/>
                </a:lnTo>
                <a:lnTo>
                  <a:pt x="523" y="1315"/>
                </a:lnTo>
                <a:lnTo>
                  <a:pt x="523" y="1317"/>
                </a:lnTo>
                <a:lnTo>
                  <a:pt x="522" y="1315"/>
                </a:lnTo>
                <a:lnTo>
                  <a:pt x="522" y="1317"/>
                </a:lnTo>
                <a:lnTo>
                  <a:pt x="522" y="1315"/>
                </a:lnTo>
                <a:lnTo>
                  <a:pt x="522" y="1317"/>
                </a:lnTo>
                <a:lnTo>
                  <a:pt x="522" y="1315"/>
                </a:lnTo>
                <a:lnTo>
                  <a:pt x="520" y="1317"/>
                </a:lnTo>
                <a:lnTo>
                  <a:pt x="522" y="1315"/>
                </a:lnTo>
                <a:lnTo>
                  <a:pt x="520" y="1317"/>
                </a:lnTo>
                <a:lnTo>
                  <a:pt x="520" y="1315"/>
                </a:lnTo>
                <a:lnTo>
                  <a:pt x="518" y="1317"/>
                </a:lnTo>
                <a:lnTo>
                  <a:pt x="518" y="1315"/>
                </a:lnTo>
                <a:lnTo>
                  <a:pt x="520" y="1315"/>
                </a:lnTo>
                <a:lnTo>
                  <a:pt x="518" y="1315"/>
                </a:lnTo>
                <a:lnTo>
                  <a:pt x="520" y="1315"/>
                </a:lnTo>
                <a:lnTo>
                  <a:pt x="518" y="1313"/>
                </a:lnTo>
                <a:lnTo>
                  <a:pt x="518" y="1315"/>
                </a:lnTo>
                <a:lnTo>
                  <a:pt x="518" y="1311"/>
                </a:lnTo>
                <a:lnTo>
                  <a:pt x="516" y="1313"/>
                </a:lnTo>
                <a:lnTo>
                  <a:pt x="516" y="1311"/>
                </a:lnTo>
                <a:lnTo>
                  <a:pt x="515" y="1311"/>
                </a:lnTo>
                <a:lnTo>
                  <a:pt x="516" y="1313"/>
                </a:lnTo>
                <a:lnTo>
                  <a:pt x="515" y="1311"/>
                </a:lnTo>
                <a:lnTo>
                  <a:pt x="515" y="1313"/>
                </a:lnTo>
                <a:lnTo>
                  <a:pt x="516" y="1313"/>
                </a:lnTo>
                <a:lnTo>
                  <a:pt x="515" y="1313"/>
                </a:lnTo>
                <a:lnTo>
                  <a:pt x="516" y="1315"/>
                </a:lnTo>
                <a:lnTo>
                  <a:pt x="515" y="1315"/>
                </a:lnTo>
                <a:lnTo>
                  <a:pt x="515" y="1317"/>
                </a:lnTo>
                <a:lnTo>
                  <a:pt x="515" y="1315"/>
                </a:lnTo>
                <a:lnTo>
                  <a:pt x="513" y="1313"/>
                </a:lnTo>
                <a:lnTo>
                  <a:pt x="515" y="1313"/>
                </a:lnTo>
                <a:lnTo>
                  <a:pt x="513" y="1313"/>
                </a:lnTo>
                <a:lnTo>
                  <a:pt x="510" y="1313"/>
                </a:lnTo>
                <a:lnTo>
                  <a:pt x="511" y="1313"/>
                </a:lnTo>
                <a:lnTo>
                  <a:pt x="511" y="1315"/>
                </a:lnTo>
                <a:lnTo>
                  <a:pt x="513" y="1315"/>
                </a:lnTo>
                <a:lnTo>
                  <a:pt x="513" y="1317"/>
                </a:lnTo>
                <a:lnTo>
                  <a:pt x="511" y="1315"/>
                </a:lnTo>
                <a:lnTo>
                  <a:pt x="511" y="1317"/>
                </a:lnTo>
                <a:lnTo>
                  <a:pt x="510" y="1313"/>
                </a:lnTo>
                <a:lnTo>
                  <a:pt x="508" y="1315"/>
                </a:lnTo>
                <a:lnTo>
                  <a:pt x="510" y="1315"/>
                </a:lnTo>
                <a:lnTo>
                  <a:pt x="511" y="1317"/>
                </a:lnTo>
                <a:lnTo>
                  <a:pt x="510" y="1317"/>
                </a:lnTo>
                <a:lnTo>
                  <a:pt x="510" y="1315"/>
                </a:lnTo>
                <a:lnTo>
                  <a:pt x="508" y="1317"/>
                </a:lnTo>
                <a:lnTo>
                  <a:pt x="508" y="1315"/>
                </a:lnTo>
                <a:lnTo>
                  <a:pt x="508" y="1318"/>
                </a:lnTo>
                <a:lnTo>
                  <a:pt x="506" y="1318"/>
                </a:lnTo>
                <a:lnTo>
                  <a:pt x="506" y="1317"/>
                </a:lnTo>
                <a:lnTo>
                  <a:pt x="505" y="1317"/>
                </a:lnTo>
                <a:lnTo>
                  <a:pt x="505" y="1318"/>
                </a:lnTo>
                <a:lnTo>
                  <a:pt x="506" y="1318"/>
                </a:lnTo>
                <a:lnTo>
                  <a:pt x="505" y="1320"/>
                </a:lnTo>
                <a:lnTo>
                  <a:pt x="506" y="1320"/>
                </a:lnTo>
                <a:lnTo>
                  <a:pt x="505" y="1320"/>
                </a:lnTo>
                <a:lnTo>
                  <a:pt x="503" y="1318"/>
                </a:lnTo>
                <a:lnTo>
                  <a:pt x="503" y="1320"/>
                </a:lnTo>
                <a:lnTo>
                  <a:pt x="501" y="1320"/>
                </a:lnTo>
                <a:lnTo>
                  <a:pt x="499" y="1320"/>
                </a:lnTo>
                <a:lnTo>
                  <a:pt x="501" y="1322"/>
                </a:lnTo>
                <a:lnTo>
                  <a:pt x="499" y="1323"/>
                </a:lnTo>
                <a:lnTo>
                  <a:pt x="499" y="1327"/>
                </a:lnTo>
                <a:lnTo>
                  <a:pt x="501" y="1327"/>
                </a:lnTo>
                <a:lnTo>
                  <a:pt x="503" y="1325"/>
                </a:lnTo>
                <a:lnTo>
                  <a:pt x="506" y="1323"/>
                </a:lnTo>
                <a:lnTo>
                  <a:pt x="508" y="1322"/>
                </a:lnTo>
                <a:lnTo>
                  <a:pt x="506" y="1325"/>
                </a:lnTo>
                <a:lnTo>
                  <a:pt x="508" y="1325"/>
                </a:lnTo>
                <a:lnTo>
                  <a:pt x="510" y="1323"/>
                </a:lnTo>
                <a:lnTo>
                  <a:pt x="508" y="1325"/>
                </a:lnTo>
                <a:lnTo>
                  <a:pt x="506" y="1325"/>
                </a:lnTo>
                <a:lnTo>
                  <a:pt x="505" y="1325"/>
                </a:lnTo>
                <a:lnTo>
                  <a:pt x="503" y="1328"/>
                </a:lnTo>
                <a:lnTo>
                  <a:pt x="503" y="1330"/>
                </a:lnTo>
                <a:lnTo>
                  <a:pt x="505" y="1332"/>
                </a:lnTo>
                <a:lnTo>
                  <a:pt x="506" y="1330"/>
                </a:lnTo>
                <a:lnTo>
                  <a:pt x="508" y="1330"/>
                </a:lnTo>
                <a:lnTo>
                  <a:pt x="508" y="1332"/>
                </a:lnTo>
                <a:lnTo>
                  <a:pt x="505" y="1332"/>
                </a:lnTo>
                <a:lnTo>
                  <a:pt x="506" y="1332"/>
                </a:lnTo>
                <a:lnTo>
                  <a:pt x="505" y="1334"/>
                </a:lnTo>
                <a:lnTo>
                  <a:pt x="505" y="1332"/>
                </a:lnTo>
                <a:lnTo>
                  <a:pt x="503" y="1334"/>
                </a:lnTo>
                <a:lnTo>
                  <a:pt x="508" y="1337"/>
                </a:lnTo>
                <a:lnTo>
                  <a:pt x="510" y="1337"/>
                </a:lnTo>
                <a:lnTo>
                  <a:pt x="510" y="1339"/>
                </a:lnTo>
                <a:lnTo>
                  <a:pt x="513" y="1339"/>
                </a:lnTo>
                <a:lnTo>
                  <a:pt x="513" y="1337"/>
                </a:lnTo>
                <a:lnTo>
                  <a:pt x="513" y="1334"/>
                </a:lnTo>
                <a:lnTo>
                  <a:pt x="513" y="1332"/>
                </a:lnTo>
                <a:lnTo>
                  <a:pt x="513" y="1334"/>
                </a:lnTo>
                <a:lnTo>
                  <a:pt x="515" y="1337"/>
                </a:lnTo>
                <a:lnTo>
                  <a:pt x="513" y="1339"/>
                </a:lnTo>
                <a:lnTo>
                  <a:pt x="513" y="1340"/>
                </a:lnTo>
                <a:lnTo>
                  <a:pt x="511" y="1342"/>
                </a:lnTo>
                <a:lnTo>
                  <a:pt x="513" y="1344"/>
                </a:lnTo>
                <a:lnTo>
                  <a:pt x="518" y="1340"/>
                </a:lnTo>
                <a:lnTo>
                  <a:pt x="520" y="1339"/>
                </a:lnTo>
                <a:lnTo>
                  <a:pt x="522" y="1337"/>
                </a:lnTo>
                <a:lnTo>
                  <a:pt x="522" y="1335"/>
                </a:lnTo>
                <a:lnTo>
                  <a:pt x="523" y="1337"/>
                </a:lnTo>
                <a:lnTo>
                  <a:pt x="523" y="1335"/>
                </a:lnTo>
                <a:lnTo>
                  <a:pt x="525" y="1334"/>
                </a:lnTo>
                <a:lnTo>
                  <a:pt x="527" y="1332"/>
                </a:lnTo>
                <a:lnTo>
                  <a:pt x="528" y="1332"/>
                </a:lnTo>
                <a:lnTo>
                  <a:pt x="525" y="1334"/>
                </a:lnTo>
                <a:lnTo>
                  <a:pt x="525" y="1335"/>
                </a:lnTo>
                <a:lnTo>
                  <a:pt x="525" y="1337"/>
                </a:lnTo>
                <a:lnTo>
                  <a:pt x="527" y="1337"/>
                </a:lnTo>
                <a:lnTo>
                  <a:pt x="525" y="1337"/>
                </a:lnTo>
                <a:lnTo>
                  <a:pt x="527" y="1339"/>
                </a:lnTo>
                <a:lnTo>
                  <a:pt x="523" y="1337"/>
                </a:lnTo>
                <a:lnTo>
                  <a:pt x="523" y="1339"/>
                </a:lnTo>
                <a:lnTo>
                  <a:pt x="522" y="1339"/>
                </a:lnTo>
                <a:lnTo>
                  <a:pt x="520" y="1340"/>
                </a:lnTo>
                <a:lnTo>
                  <a:pt x="520" y="1342"/>
                </a:lnTo>
                <a:lnTo>
                  <a:pt x="520" y="1344"/>
                </a:lnTo>
                <a:lnTo>
                  <a:pt x="520" y="1347"/>
                </a:lnTo>
                <a:lnTo>
                  <a:pt x="520" y="1349"/>
                </a:lnTo>
                <a:lnTo>
                  <a:pt x="523" y="1347"/>
                </a:lnTo>
                <a:lnTo>
                  <a:pt x="525" y="1345"/>
                </a:lnTo>
                <a:lnTo>
                  <a:pt x="527" y="1345"/>
                </a:lnTo>
                <a:lnTo>
                  <a:pt x="528" y="1347"/>
                </a:lnTo>
                <a:lnTo>
                  <a:pt x="530" y="1345"/>
                </a:lnTo>
                <a:lnTo>
                  <a:pt x="530" y="1344"/>
                </a:lnTo>
                <a:lnTo>
                  <a:pt x="528" y="1342"/>
                </a:lnTo>
                <a:lnTo>
                  <a:pt x="528" y="1340"/>
                </a:lnTo>
                <a:lnTo>
                  <a:pt x="528" y="1342"/>
                </a:lnTo>
                <a:lnTo>
                  <a:pt x="530" y="1342"/>
                </a:lnTo>
                <a:lnTo>
                  <a:pt x="532" y="1339"/>
                </a:lnTo>
                <a:lnTo>
                  <a:pt x="530" y="1339"/>
                </a:lnTo>
                <a:lnTo>
                  <a:pt x="532" y="1339"/>
                </a:lnTo>
                <a:lnTo>
                  <a:pt x="532" y="1342"/>
                </a:lnTo>
                <a:lnTo>
                  <a:pt x="530" y="1342"/>
                </a:lnTo>
                <a:lnTo>
                  <a:pt x="530" y="1345"/>
                </a:lnTo>
                <a:lnTo>
                  <a:pt x="533" y="1345"/>
                </a:lnTo>
                <a:lnTo>
                  <a:pt x="533" y="1344"/>
                </a:lnTo>
                <a:lnTo>
                  <a:pt x="535" y="1344"/>
                </a:lnTo>
                <a:lnTo>
                  <a:pt x="535" y="1345"/>
                </a:lnTo>
                <a:lnTo>
                  <a:pt x="537" y="1345"/>
                </a:lnTo>
                <a:lnTo>
                  <a:pt x="533" y="1347"/>
                </a:lnTo>
                <a:lnTo>
                  <a:pt x="533" y="1351"/>
                </a:lnTo>
                <a:lnTo>
                  <a:pt x="535" y="1349"/>
                </a:lnTo>
                <a:lnTo>
                  <a:pt x="533" y="1351"/>
                </a:lnTo>
                <a:lnTo>
                  <a:pt x="533" y="1354"/>
                </a:lnTo>
                <a:lnTo>
                  <a:pt x="537" y="1352"/>
                </a:lnTo>
                <a:lnTo>
                  <a:pt x="539" y="1349"/>
                </a:lnTo>
                <a:lnTo>
                  <a:pt x="537" y="1349"/>
                </a:lnTo>
                <a:lnTo>
                  <a:pt x="539" y="1349"/>
                </a:lnTo>
                <a:lnTo>
                  <a:pt x="537" y="1351"/>
                </a:lnTo>
                <a:lnTo>
                  <a:pt x="539" y="1352"/>
                </a:lnTo>
                <a:lnTo>
                  <a:pt x="537" y="1352"/>
                </a:lnTo>
                <a:lnTo>
                  <a:pt x="537" y="1356"/>
                </a:lnTo>
                <a:lnTo>
                  <a:pt x="535" y="1356"/>
                </a:lnTo>
                <a:lnTo>
                  <a:pt x="535" y="1359"/>
                </a:lnTo>
                <a:lnTo>
                  <a:pt x="537" y="1359"/>
                </a:lnTo>
                <a:lnTo>
                  <a:pt x="537" y="1357"/>
                </a:lnTo>
                <a:lnTo>
                  <a:pt x="540" y="1356"/>
                </a:lnTo>
                <a:lnTo>
                  <a:pt x="542" y="1354"/>
                </a:lnTo>
                <a:lnTo>
                  <a:pt x="544" y="1354"/>
                </a:lnTo>
                <a:lnTo>
                  <a:pt x="544" y="1352"/>
                </a:lnTo>
                <a:lnTo>
                  <a:pt x="544" y="1354"/>
                </a:lnTo>
                <a:lnTo>
                  <a:pt x="545" y="1354"/>
                </a:lnTo>
                <a:lnTo>
                  <a:pt x="547" y="1352"/>
                </a:lnTo>
                <a:lnTo>
                  <a:pt x="549" y="1352"/>
                </a:lnTo>
                <a:lnTo>
                  <a:pt x="547" y="1354"/>
                </a:lnTo>
                <a:lnTo>
                  <a:pt x="545" y="1359"/>
                </a:lnTo>
                <a:lnTo>
                  <a:pt x="544" y="1359"/>
                </a:lnTo>
                <a:lnTo>
                  <a:pt x="544" y="1362"/>
                </a:lnTo>
                <a:lnTo>
                  <a:pt x="544" y="1364"/>
                </a:lnTo>
                <a:lnTo>
                  <a:pt x="545" y="1364"/>
                </a:lnTo>
                <a:lnTo>
                  <a:pt x="542" y="1368"/>
                </a:lnTo>
                <a:lnTo>
                  <a:pt x="542" y="1366"/>
                </a:lnTo>
                <a:lnTo>
                  <a:pt x="542" y="1368"/>
                </a:lnTo>
                <a:lnTo>
                  <a:pt x="540" y="1369"/>
                </a:lnTo>
                <a:lnTo>
                  <a:pt x="542" y="1371"/>
                </a:lnTo>
                <a:lnTo>
                  <a:pt x="544" y="1371"/>
                </a:lnTo>
                <a:lnTo>
                  <a:pt x="544" y="1369"/>
                </a:lnTo>
                <a:lnTo>
                  <a:pt x="544" y="1371"/>
                </a:lnTo>
                <a:lnTo>
                  <a:pt x="542" y="1371"/>
                </a:lnTo>
                <a:lnTo>
                  <a:pt x="544" y="1371"/>
                </a:lnTo>
                <a:lnTo>
                  <a:pt x="545" y="1373"/>
                </a:lnTo>
                <a:lnTo>
                  <a:pt x="552" y="1378"/>
                </a:lnTo>
                <a:lnTo>
                  <a:pt x="552" y="1379"/>
                </a:lnTo>
                <a:lnTo>
                  <a:pt x="550" y="1381"/>
                </a:lnTo>
                <a:lnTo>
                  <a:pt x="552" y="1385"/>
                </a:lnTo>
                <a:lnTo>
                  <a:pt x="556" y="1383"/>
                </a:lnTo>
                <a:lnTo>
                  <a:pt x="559" y="1385"/>
                </a:lnTo>
                <a:lnTo>
                  <a:pt x="559" y="1383"/>
                </a:lnTo>
                <a:lnTo>
                  <a:pt x="561" y="1383"/>
                </a:lnTo>
                <a:lnTo>
                  <a:pt x="561" y="1385"/>
                </a:lnTo>
                <a:lnTo>
                  <a:pt x="559" y="1383"/>
                </a:lnTo>
                <a:lnTo>
                  <a:pt x="559" y="1385"/>
                </a:lnTo>
                <a:lnTo>
                  <a:pt x="562" y="1386"/>
                </a:lnTo>
                <a:lnTo>
                  <a:pt x="562" y="1385"/>
                </a:lnTo>
                <a:lnTo>
                  <a:pt x="564" y="1385"/>
                </a:lnTo>
                <a:lnTo>
                  <a:pt x="562" y="1385"/>
                </a:lnTo>
                <a:lnTo>
                  <a:pt x="566" y="1386"/>
                </a:lnTo>
                <a:lnTo>
                  <a:pt x="564" y="1385"/>
                </a:lnTo>
                <a:lnTo>
                  <a:pt x="566" y="1386"/>
                </a:lnTo>
                <a:lnTo>
                  <a:pt x="562" y="1386"/>
                </a:lnTo>
                <a:lnTo>
                  <a:pt x="562" y="1388"/>
                </a:lnTo>
                <a:lnTo>
                  <a:pt x="564" y="1390"/>
                </a:lnTo>
                <a:lnTo>
                  <a:pt x="566" y="1388"/>
                </a:lnTo>
                <a:lnTo>
                  <a:pt x="566" y="1386"/>
                </a:lnTo>
                <a:lnTo>
                  <a:pt x="566" y="1388"/>
                </a:lnTo>
                <a:lnTo>
                  <a:pt x="567" y="1386"/>
                </a:lnTo>
                <a:lnTo>
                  <a:pt x="567" y="1385"/>
                </a:lnTo>
                <a:lnTo>
                  <a:pt x="571" y="1386"/>
                </a:lnTo>
                <a:lnTo>
                  <a:pt x="573" y="1388"/>
                </a:lnTo>
                <a:lnTo>
                  <a:pt x="574" y="1385"/>
                </a:lnTo>
                <a:lnTo>
                  <a:pt x="573" y="1388"/>
                </a:lnTo>
                <a:lnTo>
                  <a:pt x="574" y="1390"/>
                </a:lnTo>
                <a:lnTo>
                  <a:pt x="576" y="1391"/>
                </a:lnTo>
                <a:lnTo>
                  <a:pt x="578" y="1391"/>
                </a:lnTo>
                <a:lnTo>
                  <a:pt x="576" y="1391"/>
                </a:lnTo>
                <a:lnTo>
                  <a:pt x="574" y="1390"/>
                </a:lnTo>
                <a:lnTo>
                  <a:pt x="573" y="1390"/>
                </a:lnTo>
                <a:lnTo>
                  <a:pt x="573" y="1391"/>
                </a:lnTo>
                <a:lnTo>
                  <a:pt x="574" y="1391"/>
                </a:lnTo>
                <a:lnTo>
                  <a:pt x="574" y="1393"/>
                </a:lnTo>
                <a:lnTo>
                  <a:pt x="574" y="1395"/>
                </a:lnTo>
                <a:lnTo>
                  <a:pt x="576" y="1396"/>
                </a:lnTo>
                <a:lnTo>
                  <a:pt x="578" y="1396"/>
                </a:lnTo>
                <a:lnTo>
                  <a:pt x="584" y="1403"/>
                </a:lnTo>
                <a:lnTo>
                  <a:pt x="590" y="1402"/>
                </a:lnTo>
                <a:lnTo>
                  <a:pt x="591" y="1398"/>
                </a:lnTo>
                <a:lnTo>
                  <a:pt x="591" y="1400"/>
                </a:lnTo>
                <a:lnTo>
                  <a:pt x="588" y="1403"/>
                </a:lnTo>
                <a:lnTo>
                  <a:pt x="590" y="1403"/>
                </a:lnTo>
                <a:lnTo>
                  <a:pt x="590" y="1405"/>
                </a:lnTo>
                <a:lnTo>
                  <a:pt x="591" y="1403"/>
                </a:lnTo>
                <a:lnTo>
                  <a:pt x="593" y="1403"/>
                </a:lnTo>
                <a:lnTo>
                  <a:pt x="593" y="1402"/>
                </a:lnTo>
                <a:lnTo>
                  <a:pt x="591" y="1402"/>
                </a:lnTo>
                <a:lnTo>
                  <a:pt x="593" y="1400"/>
                </a:lnTo>
                <a:lnTo>
                  <a:pt x="593" y="1402"/>
                </a:lnTo>
                <a:lnTo>
                  <a:pt x="593" y="1403"/>
                </a:lnTo>
                <a:lnTo>
                  <a:pt x="595" y="1405"/>
                </a:lnTo>
                <a:lnTo>
                  <a:pt x="595" y="1407"/>
                </a:lnTo>
                <a:lnTo>
                  <a:pt x="596" y="1407"/>
                </a:lnTo>
                <a:lnTo>
                  <a:pt x="598" y="1405"/>
                </a:lnTo>
                <a:lnTo>
                  <a:pt x="598" y="1408"/>
                </a:lnTo>
                <a:lnTo>
                  <a:pt x="600" y="1407"/>
                </a:lnTo>
                <a:lnTo>
                  <a:pt x="598" y="1408"/>
                </a:lnTo>
                <a:lnTo>
                  <a:pt x="596" y="1408"/>
                </a:lnTo>
                <a:lnTo>
                  <a:pt x="596" y="1407"/>
                </a:lnTo>
                <a:lnTo>
                  <a:pt x="595" y="1408"/>
                </a:lnTo>
                <a:lnTo>
                  <a:pt x="596" y="1408"/>
                </a:lnTo>
                <a:lnTo>
                  <a:pt x="595" y="1408"/>
                </a:lnTo>
                <a:lnTo>
                  <a:pt x="595" y="1413"/>
                </a:lnTo>
                <a:lnTo>
                  <a:pt x="593" y="1415"/>
                </a:lnTo>
                <a:lnTo>
                  <a:pt x="591" y="1417"/>
                </a:lnTo>
                <a:lnTo>
                  <a:pt x="590" y="1419"/>
                </a:lnTo>
                <a:lnTo>
                  <a:pt x="590" y="1420"/>
                </a:lnTo>
                <a:lnTo>
                  <a:pt x="593" y="1417"/>
                </a:lnTo>
                <a:lnTo>
                  <a:pt x="595" y="1417"/>
                </a:lnTo>
                <a:lnTo>
                  <a:pt x="596" y="1415"/>
                </a:lnTo>
                <a:lnTo>
                  <a:pt x="598" y="1415"/>
                </a:lnTo>
                <a:lnTo>
                  <a:pt x="596" y="1417"/>
                </a:lnTo>
                <a:lnTo>
                  <a:pt x="598" y="1417"/>
                </a:lnTo>
                <a:lnTo>
                  <a:pt x="596" y="1417"/>
                </a:lnTo>
                <a:lnTo>
                  <a:pt x="598" y="1420"/>
                </a:lnTo>
                <a:lnTo>
                  <a:pt x="600" y="1420"/>
                </a:lnTo>
                <a:lnTo>
                  <a:pt x="601" y="1417"/>
                </a:lnTo>
                <a:lnTo>
                  <a:pt x="600" y="1417"/>
                </a:lnTo>
                <a:lnTo>
                  <a:pt x="600" y="1415"/>
                </a:lnTo>
                <a:lnTo>
                  <a:pt x="600" y="1413"/>
                </a:lnTo>
                <a:lnTo>
                  <a:pt x="600" y="1415"/>
                </a:lnTo>
                <a:lnTo>
                  <a:pt x="600" y="1417"/>
                </a:lnTo>
                <a:lnTo>
                  <a:pt x="601" y="1417"/>
                </a:lnTo>
                <a:lnTo>
                  <a:pt x="601" y="1415"/>
                </a:lnTo>
                <a:lnTo>
                  <a:pt x="601" y="1417"/>
                </a:lnTo>
                <a:lnTo>
                  <a:pt x="600" y="1422"/>
                </a:lnTo>
                <a:lnTo>
                  <a:pt x="600" y="1424"/>
                </a:lnTo>
                <a:lnTo>
                  <a:pt x="601" y="1425"/>
                </a:lnTo>
                <a:lnTo>
                  <a:pt x="603" y="1425"/>
                </a:lnTo>
                <a:lnTo>
                  <a:pt x="605" y="1425"/>
                </a:lnTo>
                <a:lnTo>
                  <a:pt x="607" y="1424"/>
                </a:lnTo>
                <a:lnTo>
                  <a:pt x="607" y="1425"/>
                </a:lnTo>
                <a:lnTo>
                  <a:pt x="605" y="1425"/>
                </a:lnTo>
                <a:lnTo>
                  <a:pt x="605" y="1432"/>
                </a:lnTo>
                <a:lnTo>
                  <a:pt x="608" y="1431"/>
                </a:lnTo>
                <a:lnTo>
                  <a:pt x="608" y="1429"/>
                </a:lnTo>
                <a:lnTo>
                  <a:pt x="610" y="1429"/>
                </a:lnTo>
                <a:lnTo>
                  <a:pt x="610" y="1427"/>
                </a:lnTo>
                <a:lnTo>
                  <a:pt x="610" y="1429"/>
                </a:lnTo>
                <a:lnTo>
                  <a:pt x="612" y="1427"/>
                </a:lnTo>
                <a:lnTo>
                  <a:pt x="610" y="1429"/>
                </a:lnTo>
                <a:lnTo>
                  <a:pt x="612" y="1431"/>
                </a:lnTo>
                <a:lnTo>
                  <a:pt x="613" y="1429"/>
                </a:lnTo>
                <a:lnTo>
                  <a:pt x="612" y="1431"/>
                </a:lnTo>
                <a:lnTo>
                  <a:pt x="610" y="1431"/>
                </a:lnTo>
                <a:lnTo>
                  <a:pt x="610" y="1429"/>
                </a:lnTo>
                <a:lnTo>
                  <a:pt x="608" y="1429"/>
                </a:lnTo>
                <a:lnTo>
                  <a:pt x="610" y="1436"/>
                </a:lnTo>
                <a:lnTo>
                  <a:pt x="610" y="1437"/>
                </a:lnTo>
                <a:lnTo>
                  <a:pt x="612" y="1436"/>
                </a:lnTo>
                <a:lnTo>
                  <a:pt x="610" y="1437"/>
                </a:lnTo>
                <a:lnTo>
                  <a:pt x="610" y="1436"/>
                </a:lnTo>
                <a:lnTo>
                  <a:pt x="610" y="1437"/>
                </a:lnTo>
                <a:lnTo>
                  <a:pt x="612" y="1437"/>
                </a:lnTo>
                <a:lnTo>
                  <a:pt x="612" y="1436"/>
                </a:lnTo>
                <a:lnTo>
                  <a:pt x="613" y="1434"/>
                </a:lnTo>
                <a:lnTo>
                  <a:pt x="612" y="1436"/>
                </a:lnTo>
                <a:lnTo>
                  <a:pt x="613" y="1437"/>
                </a:lnTo>
                <a:lnTo>
                  <a:pt x="615" y="1436"/>
                </a:lnTo>
                <a:lnTo>
                  <a:pt x="617" y="1437"/>
                </a:lnTo>
                <a:lnTo>
                  <a:pt x="615" y="1437"/>
                </a:lnTo>
                <a:lnTo>
                  <a:pt x="612" y="1439"/>
                </a:lnTo>
                <a:lnTo>
                  <a:pt x="610" y="1442"/>
                </a:lnTo>
                <a:lnTo>
                  <a:pt x="612" y="1448"/>
                </a:lnTo>
                <a:lnTo>
                  <a:pt x="613" y="1446"/>
                </a:lnTo>
                <a:lnTo>
                  <a:pt x="613" y="1448"/>
                </a:lnTo>
                <a:lnTo>
                  <a:pt x="615" y="1449"/>
                </a:lnTo>
                <a:lnTo>
                  <a:pt x="617" y="1451"/>
                </a:lnTo>
                <a:lnTo>
                  <a:pt x="618" y="1449"/>
                </a:lnTo>
                <a:lnTo>
                  <a:pt x="622" y="1449"/>
                </a:lnTo>
                <a:lnTo>
                  <a:pt x="617" y="1451"/>
                </a:lnTo>
                <a:lnTo>
                  <a:pt x="618" y="1453"/>
                </a:lnTo>
                <a:lnTo>
                  <a:pt x="622" y="1453"/>
                </a:lnTo>
                <a:lnTo>
                  <a:pt x="622" y="1454"/>
                </a:lnTo>
                <a:lnTo>
                  <a:pt x="620" y="1454"/>
                </a:lnTo>
                <a:lnTo>
                  <a:pt x="618" y="1454"/>
                </a:lnTo>
                <a:lnTo>
                  <a:pt x="615" y="1453"/>
                </a:lnTo>
                <a:lnTo>
                  <a:pt x="613" y="1454"/>
                </a:lnTo>
                <a:lnTo>
                  <a:pt x="613" y="1463"/>
                </a:lnTo>
                <a:lnTo>
                  <a:pt x="617" y="1470"/>
                </a:lnTo>
                <a:lnTo>
                  <a:pt x="618" y="1470"/>
                </a:lnTo>
                <a:lnTo>
                  <a:pt x="618" y="1468"/>
                </a:lnTo>
                <a:lnTo>
                  <a:pt x="620" y="1466"/>
                </a:lnTo>
                <a:lnTo>
                  <a:pt x="618" y="1465"/>
                </a:lnTo>
                <a:lnTo>
                  <a:pt x="620" y="1465"/>
                </a:lnTo>
                <a:lnTo>
                  <a:pt x="618" y="1465"/>
                </a:lnTo>
                <a:lnTo>
                  <a:pt x="617" y="1463"/>
                </a:lnTo>
                <a:lnTo>
                  <a:pt x="618" y="1461"/>
                </a:lnTo>
                <a:lnTo>
                  <a:pt x="618" y="1463"/>
                </a:lnTo>
                <a:lnTo>
                  <a:pt x="618" y="1465"/>
                </a:lnTo>
                <a:lnTo>
                  <a:pt x="620" y="1465"/>
                </a:lnTo>
                <a:lnTo>
                  <a:pt x="620" y="1463"/>
                </a:lnTo>
                <a:lnTo>
                  <a:pt x="620" y="1465"/>
                </a:lnTo>
                <a:lnTo>
                  <a:pt x="622" y="1465"/>
                </a:lnTo>
                <a:lnTo>
                  <a:pt x="622" y="1461"/>
                </a:lnTo>
                <a:lnTo>
                  <a:pt x="622" y="1463"/>
                </a:lnTo>
                <a:lnTo>
                  <a:pt x="624" y="1461"/>
                </a:lnTo>
                <a:lnTo>
                  <a:pt x="624" y="1463"/>
                </a:lnTo>
                <a:lnTo>
                  <a:pt x="625" y="1463"/>
                </a:lnTo>
                <a:lnTo>
                  <a:pt x="620" y="1466"/>
                </a:lnTo>
                <a:lnTo>
                  <a:pt x="622" y="1468"/>
                </a:lnTo>
                <a:lnTo>
                  <a:pt x="625" y="1466"/>
                </a:lnTo>
                <a:lnTo>
                  <a:pt x="629" y="1466"/>
                </a:lnTo>
                <a:lnTo>
                  <a:pt x="630" y="1468"/>
                </a:lnTo>
                <a:lnTo>
                  <a:pt x="630" y="1466"/>
                </a:lnTo>
                <a:lnTo>
                  <a:pt x="634" y="1468"/>
                </a:lnTo>
                <a:lnTo>
                  <a:pt x="632" y="1468"/>
                </a:lnTo>
                <a:lnTo>
                  <a:pt x="629" y="1470"/>
                </a:lnTo>
                <a:lnTo>
                  <a:pt x="627" y="1470"/>
                </a:lnTo>
                <a:lnTo>
                  <a:pt x="627" y="1468"/>
                </a:lnTo>
                <a:lnTo>
                  <a:pt x="625" y="1468"/>
                </a:lnTo>
                <a:lnTo>
                  <a:pt x="624" y="1470"/>
                </a:lnTo>
                <a:lnTo>
                  <a:pt x="624" y="1471"/>
                </a:lnTo>
                <a:lnTo>
                  <a:pt x="625" y="1471"/>
                </a:lnTo>
                <a:lnTo>
                  <a:pt x="625" y="1473"/>
                </a:lnTo>
                <a:lnTo>
                  <a:pt x="624" y="1471"/>
                </a:lnTo>
                <a:lnTo>
                  <a:pt x="624" y="1470"/>
                </a:lnTo>
                <a:lnTo>
                  <a:pt x="622" y="1471"/>
                </a:lnTo>
                <a:lnTo>
                  <a:pt x="620" y="1471"/>
                </a:lnTo>
                <a:lnTo>
                  <a:pt x="620" y="1473"/>
                </a:lnTo>
                <a:lnTo>
                  <a:pt x="618" y="1473"/>
                </a:lnTo>
                <a:lnTo>
                  <a:pt x="618" y="1475"/>
                </a:lnTo>
                <a:lnTo>
                  <a:pt x="622" y="1475"/>
                </a:lnTo>
                <a:lnTo>
                  <a:pt x="622" y="1476"/>
                </a:lnTo>
                <a:lnTo>
                  <a:pt x="624" y="1478"/>
                </a:lnTo>
                <a:lnTo>
                  <a:pt x="622" y="1476"/>
                </a:lnTo>
                <a:lnTo>
                  <a:pt x="622" y="1478"/>
                </a:lnTo>
                <a:lnTo>
                  <a:pt x="620" y="1475"/>
                </a:lnTo>
                <a:lnTo>
                  <a:pt x="618" y="1475"/>
                </a:lnTo>
                <a:lnTo>
                  <a:pt x="615" y="1471"/>
                </a:lnTo>
                <a:lnTo>
                  <a:pt x="613" y="1471"/>
                </a:lnTo>
                <a:lnTo>
                  <a:pt x="612" y="1471"/>
                </a:lnTo>
                <a:lnTo>
                  <a:pt x="612" y="1473"/>
                </a:lnTo>
                <a:lnTo>
                  <a:pt x="612" y="1471"/>
                </a:lnTo>
                <a:lnTo>
                  <a:pt x="610" y="1471"/>
                </a:lnTo>
                <a:lnTo>
                  <a:pt x="612" y="1473"/>
                </a:lnTo>
                <a:lnTo>
                  <a:pt x="610" y="1475"/>
                </a:lnTo>
                <a:lnTo>
                  <a:pt x="613" y="1478"/>
                </a:lnTo>
                <a:lnTo>
                  <a:pt x="615" y="1480"/>
                </a:lnTo>
                <a:lnTo>
                  <a:pt x="617" y="1482"/>
                </a:lnTo>
                <a:lnTo>
                  <a:pt x="617" y="1483"/>
                </a:lnTo>
                <a:lnTo>
                  <a:pt x="618" y="1485"/>
                </a:lnTo>
                <a:lnTo>
                  <a:pt x="617" y="1488"/>
                </a:lnTo>
                <a:lnTo>
                  <a:pt x="622" y="1485"/>
                </a:lnTo>
                <a:lnTo>
                  <a:pt x="625" y="1485"/>
                </a:lnTo>
                <a:lnTo>
                  <a:pt x="629" y="1488"/>
                </a:lnTo>
                <a:lnTo>
                  <a:pt x="630" y="1492"/>
                </a:lnTo>
                <a:lnTo>
                  <a:pt x="630" y="1493"/>
                </a:lnTo>
                <a:lnTo>
                  <a:pt x="630" y="1497"/>
                </a:lnTo>
                <a:lnTo>
                  <a:pt x="634" y="1499"/>
                </a:lnTo>
                <a:lnTo>
                  <a:pt x="630" y="1499"/>
                </a:lnTo>
                <a:lnTo>
                  <a:pt x="627" y="1500"/>
                </a:lnTo>
                <a:lnTo>
                  <a:pt x="629" y="1502"/>
                </a:lnTo>
                <a:lnTo>
                  <a:pt x="630" y="1504"/>
                </a:lnTo>
                <a:lnTo>
                  <a:pt x="632" y="1505"/>
                </a:lnTo>
                <a:lnTo>
                  <a:pt x="635" y="1507"/>
                </a:lnTo>
                <a:lnTo>
                  <a:pt x="637" y="1505"/>
                </a:lnTo>
                <a:lnTo>
                  <a:pt x="635" y="1507"/>
                </a:lnTo>
                <a:lnTo>
                  <a:pt x="635" y="1509"/>
                </a:lnTo>
                <a:lnTo>
                  <a:pt x="641" y="1510"/>
                </a:lnTo>
                <a:lnTo>
                  <a:pt x="642" y="1510"/>
                </a:lnTo>
                <a:lnTo>
                  <a:pt x="646" y="1512"/>
                </a:lnTo>
                <a:lnTo>
                  <a:pt x="651" y="1509"/>
                </a:lnTo>
                <a:lnTo>
                  <a:pt x="651" y="1512"/>
                </a:lnTo>
                <a:lnTo>
                  <a:pt x="649" y="1512"/>
                </a:lnTo>
                <a:lnTo>
                  <a:pt x="652" y="1516"/>
                </a:lnTo>
                <a:lnTo>
                  <a:pt x="652" y="1519"/>
                </a:lnTo>
                <a:lnTo>
                  <a:pt x="656" y="1519"/>
                </a:lnTo>
                <a:lnTo>
                  <a:pt x="658" y="1519"/>
                </a:lnTo>
                <a:lnTo>
                  <a:pt x="659" y="1519"/>
                </a:lnTo>
                <a:lnTo>
                  <a:pt x="658" y="1519"/>
                </a:lnTo>
                <a:lnTo>
                  <a:pt x="658" y="1521"/>
                </a:lnTo>
                <a:lnTo>
                  <a:pt x="654" y="1521"/>
                </a:lnTo>
                <a:lnTo>
                  <a:pt x="651" y="1524"/>
                </a:lnTo>
                <a:lnTo>
                  <a:pt x="652" y="1526"/>
                </a:lnTo>
                <a:lnTo>
                  <a:pt x="654" y="1526"/>
                </a:lnTo>
                <a:lnTo>
                  <a:pt x="656" y="1526"/>
                </a:lnTo>
                <a:lnTo>
                  <a:pt x="658" y="1526"/>
                </a:lnTo>
                <a:lnTo>
                  <a:pt x="658" y="1527"/>
                </a:lnTo>
                <a:lnTo>
                  <a:pt x="654" y="1526"/>
                </a:lnTo>
                <a:lnTo>
                  <a:pt x="652" y="1526"/>
                </a:lnTo>
                <a:lnTo>
                  <a:pt x="649" y="1527"/>
                </a:lnTo>
                <a:lnTo>
                  <a:pt x="659" y="1529"/>
                </a:lnTo>
                <a:lnTo>
                  <a:pt x="681" y="1538"/>
                </a:lnTo>
                <a:lnTo>
                  <a:pt x="693" y="1544"/>
                </a:lnTo>
                <a:lnTo>
                  <a:pt x="697" y="1548"/>
                </a:lnTo>
                <a:lnTo>
                  <a:pt x="698" y="1548"/>
                </a:lnTo>
                <a:lnTo>
                  <a:pt x="697" y="1548"/>
                </a:lnTo>
                <a:lnTo>
                  <a:pt x="703" y="1551"/>
                </a:lnTo>
                <a:lnTo>
                  <a:pt x="702" y="1551"/>
                </a:lnTo>
                <a:lnTo>
                  <a:pt x="707" y="1555"/>
                </a:lnTo>
                <a:lnTo>
                  <a:pt x="709" y="1558"/>
                </a:lnTo>
                <a:lnTo>
                  <a:pt x="710" y="1560"/>
                </a:lnTo>
                <a:lnTo>
                  <a:pt x="715" y="1558"/>
                </a:lnTo>
                <a:lnTo>
                  <a:pt x="717" y="1560"/>
                </a:lnTo>
                <a:lnTo>
                  <a:pt x="715" y="1560"/>
                </a:lnTo>
                <a:lnTo>
                  <a:pt x="717" y="1561"/>
                </a:lnTo>
                <a:lnTo>
                  <a:pt x="717" y="1563"/>
                </a:lnTo>
                <a:lnTo>
                  <a:pt x="715" y="1563"/>
                </a:lnTo>
                <a:lnTo>
                  <a:pt x="710" y="1560"/>
                </a:lnTo>
                <a:lnTo>
                  <a:pt x="709" y="1560"/>
                </a:lnTo>
                <a:lnTo>
                  <a:pt x="709" y="1558"/>
                </a:lnTo>
                <a:lnTo>
                  <a:pt x="707" y="1560"/>
                </a:lnTo>
                <a:lnTo>
                  <a:pt x="709" y="1561"/>
                </a:lnTo>
                <a:lnTo>
                  <a:pt x="727" y="1570"/>
                </a:lnTo>
                <a:lnTo>
                  <a:pt x="734" y="1573"/>
                </a:lnTo>
                <a:lnTo>
                  <a:pt x="736" y="1577"/>
                </a:lnTo>
                <a:lnTo>
                  <a:pt x="737" y="1579"/>
                </a:lnTo>
                <a:lnTo>
                  <a:pt x="736" y="1580"/>
                </a:lnTo>
                <a:lnTo>
                  <a:pt x="737" y="1580"/>
                </a:lnTo>
                <a:lnTo>
                  <a:pt x="736" y="1580"/>
                </a:lnTo>
                <a:lnTo>
                  <a:pt x="736" y="1582"/>
                </a:lnTo>
                <a:lnTo>
                  <a:pt x="741" y="1585"/>
                </a:lnTo>
                <a:lnTo>
                  <a:pt x="743" y="1585"/>
                </a:lnTo>
                <a:lnTo>
                  <a:pt x="758" y="1590"/>
                </a:lnTo>
                <a:lnTo>
                  <a:pt x="760" y="1592"/>
                </a:lnTo>
                <a:lnTo>
                  <a:pt x="765" y="1596"/>
                </a:lnTo>
                <a:lnTo>
                  <a:pt x="768" y="1599"/>
                </a:lnTo>
                <a:lnTo>
                  <a:pt x="773" y="1602"/>
                </a:lnTo>
                <a:lnTo>
                  <a:pt x="775" y="1602"/>
                </a:lnTo>
                <a:lnTo>
                  <a:pt x="775" y="1604"/>
                </a:lnTo>
                <a:lnTo>
                  <a:pt x="785" y="1613"/>
                </a:lnTo>
                <a:lnTo>
                  <a:pt x="788" y="1618"/>
                </a:lnTo>
                <a:lnTo>
                  <a:pt x="799" y="1624"/>
                </a:lnTo>
                <a:lnTo>
                  <a:pt x="799" y="1626"/>
                </a:lnTo>
                <a:lnTo>
                  <a:pt x="802" y="1630"/>
                </a:lnTo>
                <a:lnTo>
                  <a:pt x="805" y="1633"/>
                </a:lnTo>
                <a:lnTo>
                  <a:pt x="809" y="1636"/>
                </a:lnTo>
                <a:lnTo>
                  <a:pt x="814" y="1640"/>
                </a:lnTo>
                <a:lnTo>
                  <a:pt x="814" y="1641"/>
                </a:lnTo>
                <a:lnTo>
                  <a:pt x="817" y="1643"/>
                </a:lnTo>
                <a:lnTo>
                  <a:pt x="822" y="1645"/>
                </a:lnTo>
                <a:lnTo>
                  <a:pt x="822" y="1647"/>
                </a:lnTo>
                <a:lnTo>
                  <a:pt x="826" y="1648"/>
                </a:lnTo>
                <a:lnTo>
                  <a:pt x="826" y="1650"/>
                </a:lnTo>
                <a:lnTo>
                  <a:pt x="834" y="1652"/>
                </a:lnTo>
                <a:lnTo>
                  <a:pt x="838" y="1655"/>
                </a:lnTo>
                <a:lnTo>
                  <a:pt x="841" y="1657"/>
                </a:lnTo>
                <a:lnTo>
                  <a:pt x="843" y="1658"/>
                </a:lnTo>
                <a:lnTo>
                  <a:pt x="848" y="1660"/>
                </a:lnTo>
                <a:lnTo>
                  <a:pt x="853" y="1662"/>
                </a:lnTo>
                <a:lnTo>
                  <a:pt x="856" y="1665"/>
                </a:lnTo>
                <a:lnTo>
                  <a:pt x="862" y="1667"/>
                </a:lnTo>
                <a:lnTo>
                  <a:pt x="867" y="1670"/>
                </a:lnTo>
                <a:lnTo>
                  <a:pt x="882" y="1674"/>
                </a:lnTo>
                <a:lnTo>
                  <a:pt x="887" y="1675"/>
                </a:lnTo>
                <a:lnTo>
                  <a:pt x="889" y="1677"/>
                </a:lnTo>
                <a:lnTo>
                  <a:pt x="887" y="1677"/>
                </a:lnTo>
                <a:lnTo>
                  <a:pt x="889" y="1679"/>
                </a:lnTo>
                <a:lnTo>
                  <a:pt x="890" y="1679"/>
                </a:lnTo>
                <a:lnTo>
                  <a:pt x="892" y="1679"/>
                </a:lnTo>
                <a:lnTo>
                  <a:pt x="892" y="1681"/>
                </a:lnTo>
                <a:lnTo>
                  <a:pt x="897" y="1681"/>
                </a:lnTo>
                <a:lnTo>
                  <a:pt x="902" y="1681"/>
                </a:lnTo>
                <a:lnTo>
                  <a:pt x="909" y="1679"/>
                </a:lnTo>
                <a:lnTo>
                  <a:pt x="914" y="1675"/>
                </a:lnTo>
                <a:lnTo>
                  <a:pt x="916" y="1675"/>
                </a:lnTo>
                <a:lnTo>
                  <a:pt x="918" y="1674"/>
                </a:lnTo>
                <a:lnTo>
                  <a:pt x="919" y="1672"/>
                </a:lnTo>
                <a:lnTo>
                  <a:pt x="928" y="1670"/>
                </a:lnTo>
                <a:lnTo>
                  <a:pt x="930" y="1670"/>
                </a:lnTo>
                <a:lnTo>
                  <a:pt x="933" y="1667"/>
                </a:lnTo>
                <a:lnTo>
                  <a:pt x="933" y="1665"/>
                </a:lnTo>
                <a:lnTo>
                  <a:pt x="945" y="1664"/>
                </a:lnTo>
                <a:lnTo>
                  <a:pt x="948" y="1662"/>
                </a:lnTo>
                <a:lnTo>
                  <a:pt x="948" y="1660"/>
                </a:lnTo>
                <a:lnTo>
                  <a:pt x="950" y="1662"/>
                </a:lnTo>
                <a:lnTo>
                  <a:pt x="950" y="1660"/>
                </a:lnTo>
                <a:lnTo>
                  <a:pt x="957" y="1658"/>
                </a:lnTo>
                <a:lnTo>
                  <a:pt x="958" y="1658"/>
                </a:lnTo>
                <a:lnTo>
                  <a:pt x="970" y="1653"/>
                </a:lnTo>
                <a:lnTo>
                  <a:pt x="975" y="1652"/>
                </a:lnTo>
                <a:lnTo>
                  <a:pt x="977" y="1650"/>
                </a:lnTo>
                <a:lnTo>
                  <a:pt x="991" y="1647"/>
                </a:lnTo>
                <a:lnTo>
                  <a:pt x="1004" y="1643"/>
                </a:lnTo>
                <a:lnTo>
                  <a:pt x="1016" y="1643"/>
                </a:lnTo>
                <a:lnTo>
                  <a:pt x="1021" y="1641"/>
                </a:lnTo>
                <a:lnTo>
                  <a:pt x="1043" y="1640"/>
                </a:lnTo>
                <a:lnTo>
                  <a:pt x="1054" y="1638"/>
                </a:lnTo>
                <a:lnTo>
                  <a:pt x="1071" y="1636"/>
                </a:lnTo>
                <a:lnTo>
                  <a:pt x="1077" y="1636"/>
                </a:lnTo>
                <a:lnTo>
                  <a:pt x="1081" y="1636"/>
                </a:lnTo>
                <a:lnTo>
                  <a:pt x="1083" y="1635"/>
                </a:lnTo>
                <a:lnTo>
                  <a:pt x="1096" y="1638"/>
                </a:lnTo>
                <a:lnTo>
                  <a:pt x="1110" y="1640"/>
                </a:lnTo>
                <a:lnTo>
                  <a:pt x="1127" y="1643"/>
                </a:lnTo>
                <a:lnTo>
                  <a:pt x="1147" y="1648"/>
                </a:lnTo>
                <a:lnTo>
                  <a:pt x="1162" y="1652"/>
                </a:lnTo>
                <a:lnTo>
                  <a:pt x="1169" y="1653"/>
                </a:lnTo>
                <a:lnTo>
                  <a:pt x="1169" y="1655"/>
                </a:lnTo>
                <a:lnTo>
                  <a:pt x="1171" y="1655"/>
                </a:lnTo>
                <a:lnTo>
                  <a:pt x="1174" y="1658"/>
                </a:lnTo>
                <a:lnTo>
                  <a:pt x="1178" y="1658"/>
                </a:lnTo>
                <a:lnTo>
                  <a:pt x="1178" y="1660"/>
                </a:lnTo>
                <a:lnTo>
                  <a:pt x="1178" y="1662"/>
                </a:lnTo>
                <a:lnTo>
                  <a:pt x="1178" y="1660"/>
                </a:lnTo>
                <a:lnTo>
                  <a:pt x="1179" y="1662"/>
                </a:lnTo>
                <a:lnTo>
                  <a:pt x="1181" y="1660"/>
                </a:lnTo>
                <a:lnTo>
                  <a:pt x="1183" y="1660"/>
                </a:lnTo>
                <a:lnTo>
                  <a:pt x="1186" y="1657"/>
                </a:lnTo>
                <a:lnTo>
                  <a:pt x="1191" y="1655"/>
                </a:lnTo>
                <a:lnTo>
                  <a:pt x="1193" y="1655"/>
                </a:lnTo>
                <a:lnTo>
                  <a:pt x="1195" y="1655"/>
                </a:lnTo>
                <a:lnTo>
                  <a:pt x="1193" y="1653"/>
                </a:lnTo>
                <a:lnTo>
                  <a:pt x="1196" y="1653"/>
                </a:lnTo>
                <a:lnTo>
                  <a:pt x="1195" y="1653"/>
                </a:lnTo>
                <a:lnTo>
                  <a:pt x="1196" y="1652"/>
                </a:lnTo>
                <a:lnTo>
                  <a:pt x="1198" y="1652"/>
                </a:lnTo>
                <a:lnTo>
                  <a:pt x="1198" y="1650"/>
                </a:lnTo>
                <a:lnTo>
                  <a:pt x="1200" y="1650"/>
                </a:lnTo>
                <a:lnTo>
                  <a:pt x="1202" y="1647"/>
                </a:lnTo>
                <a:lnTo>
                  <a:pt x="1210" y="1645"/>
                </a:lnTo>
                <a:lnTo>
                  <a:pt x="1212" y="1645"/>
                </a:lnTo>
                <a:lnTo>
                  <a:pt x="1217" y="1643"/>
                </a:lnTo>
                <a:lnTo>
                  <a:pt x="1220" y="1643"/>
                </a:lnTo>
                <a:lnTo>
                  <a:pt x="1229" y="1638"/>
                </a:lnTo>
                <a:lnTo>
                  <a:pt x="1242" y="1638"/>
                </a:lnTo>
                <a:lnTo>
                  <a:pt x="1247" y="1633"/>
                </a:lnTo>
                <a:lnTo>
                  <a:pt x="1251" y="1631"/>
                </a:lnTo>
                <a:lnTo>
                  <a:pt x="1253" y="1631"/>
                </a:lnTo>
                <a:lnTo>
                  <a:pt x="1253" y="1630"/>
                </a:lnTo>
                <a:lnTo>
                  <a:pt x="1259" y="1630"/>
                </a:lnTo>
                <a:lnTo>
                  <a:pt x="1261" y="1626"/>
                </a:lnTo>
                <a:lnTo>
                  <a:pt x="1264" y="1624"/>
                </a:lnTo>
                <a:lnTo>
                  <a:pt x="1268" y="1623"/>
                </a:lnTo>
                <a:lnTo>
                  <a:pt x="1273" y="1621"/>
                </a:lnTo>
                <a:lnTo>
                  <a:pt x="1278" y="1619"/>
                </a:lnTo>
                <a:lnTo>
                  <a:pt x="1281" y="1618"/>
                </a:lnTo>
                <a:lnTo>
                  <a:pt x="1285" y="1616"/>
                </a:lnTo>
                <a:lnTo>
                  <a:pt x="1287" y="1613"/>
                </a:lnTo>
                <a:lnTo>
                  <a:pt x="1290" y="1613"/>
                </a:lnTo>
                <a:lnTo>
                  <a:pt x="1293" y="1611"/>
                </a:lnTo>
                <a:lnTo>
                  <a:pt x="1298" y="1609"/>
                </a:lnTo>
                <a:lnTo>
                  <a:pt x="1305" y="1607"/>
                </a:lnTo>
                <a:lnTo>
                  <a:pt x="1317" y="1609"/>
                </a:lnTo>
                <a:lnTo>
                  <a:pt x="1331" y="1609"/>
                </a:lnTo>
                <a:lnTo>
                  <a:pt x="1334" y="1606"/>
                </a:lnTo>
                <a:lnTo>
                  <a:pt x="1334" y="1601"/>
                </a:lnTo>
                <a:lnTo>
                  <a:pt x="1338" y="1596"/>
                </a:lnTo>
                <a:lnTo>
                  <a:pt x="1344" y="1592"/>
                </a:lnTo>
                <a:lnTo>
                  <a:pt x="1349" y="1590"/>
                </a:lnTo>
                <a:lnTo>
                  <a:pt x="1353" y="1589"/>
                </a:lnTo>
                <a:lnTo>
                  <a:pt x="1366" y="1585"/>
                </a:lnTo>
                <a:lnTo>
                  <a:pt x="1382" y="1582"/>
                </a:lnTo>
                <a:lnTo>
                  <a:pt x="1392" y="1580"/>
                </a:lnTo>
                <a:lnTo>
                  <a:pt x="1402" y="1580"/>
                </a:lnTo>
                <a:lnTo>
                  <a:pt x="1407" y="1580"/>
                </a:lnTo>
                <a:lnTo>
                  <a:pt x="1409" y="1579"/>
                </a:lnTo>
                <a:lnTo>
                  <a:pt x="1421" y="1579"/>
                </a:lnTo>
                <a:lnTo>
                  <a:pt x="1428" y="1579"/>
                </a:lnTo>
                <a:lnTo>
                  <a:pt x="1446" y="1577"/>
                </a:lnTo>
                <a:lnTo>
                  <a:pt x="1457" y="1577"/>
                </a:lnTo>
                <a:lnTo>
                  <a:pt x="1477" y="1575"/>
                </a:lnTo>
                <a:lnTo>
                  <a:pt x="1482" y="1575"/>
                </a:lnTo>
                <a:lnTo>
                  <a:pt x="1504" y="1579"/>
                </a:lnTo>
                <a:lnTo>
                  <a:pt x="1509" y="1580"/>
                </a:lnTo>
                <a:lnTo>
                  <a:pt x="1514" y="1582"/>
                </a:lnTo>
                <a:lnTo>
                  <a:pt x="1525" y="1592"/>
                </a:lnTo>
                <a:lnTo>
                  <a:pt x="1535" y="1601"/>
                </a:lnTo>
                <a:lnTo>
                  <a:pt x="1540" y="1609"/>
                </a:lnTo>
                <a:lnTo>
                  <a:pt x="1542" y="1609"/>
                </a:lnTo>
                <a:lnTo>
                  <a:pt x="1542" y="1613"/>
                </a:lnTo>
                <a:lnTo>
                  <a:pt x="1545" y="1618"/>
                </a:lnTo>
                <a:lnTo>
                  <a:pt x="1547" y="1618"/>
                </a:lnTo>
                <a:lnTo>
                  <a:pt x="1548" y="1616"/>
                </a:lnTo>
                <a:lnTo>
                  <a:pt x="1552" y="1618"/>
                </a:lnTo>
                <a:lnTo>
                  <a:pt x="1553" y="1613"/>
                </a:lnTo>
                <a:lnTo>
                  <a:pt x="1553" y="1616"/>
                </a:lnTo>
                <a:lnTo>
                  <a:pt x="1553" y="1618"/>
                </a:lnTo>
                <a:lnTo>
                  <a:pt x="1555" y="1618"/>
                </a:lnTo>
                <a:lnTo>
                  <a:pt x="1557" y="1616"/>
                </a:lnTo>
                <a:lnTo>
                  <a:pt x="1557" y="1618"/>
                </a:lnTo>
                <a:lnTo>
                  <a:pt x="1557" y="1619"/>
                </a:lnTo>
                <a:lnTo>
                  <a:pt x="1548" y="1618"/>
                </a:lnTo>
                <a:lnTo>
                  <a:pt x="1545" y="1621"/>
                </a:lnTo>
                <a:lnTo>
                  <a:pt x="1548" y="1624"/>
                </a:lnTo>
                <a:lnTo>
                  <a:pt x="1550" y="1626"/>
                </a:lnTo>
                <a:lnTo>
                  <a:pt x="1555" y="1628"/>
                </a:lnTo>
                <a:lnTo>
                  <a:pt x="1559" y="1628"/>
                </a:lnTo>
                <a:lnTo>
                  <a:pt x="1559" y="1626"/>
                </a:lnTo>
                <a:lnTo>
                  <a:pt x="1559" y="1624"/>
                </a:lnTo>
                <a:lnTo>
                  <a:pt x="1559" y="1626"/>
                </a:lnTo>
                <a:lnTo>
                  <a:pt x="1560" y="1628"/>
                </a:lnTo>
                <a:lnTo>
                  <a:pt x="1564" y="1623"/>
                </a:lnTo>
                <a:lnTo>
                  <a:pt x="1567" y="1623"/>
                </a:lnTo>
                <a:lnTo>
                  <a:pt x="1569" y="1621"/>
                </a:lnTo>
                <a:lnTo>
                  <a:pt x="1570" y="1621"/>
                </a:lnTo>
                <a:lnTo>
                  <a:pt x="1569" y="1621"/>
                </a:lnTo>
                <a:lnTo>
                  <a:pt x="1567" y="1623"/>
                </a:lnTo>
                <a:lnTo>
                  <a:pt x="1564" y="1623"/>
                </a:lnTo>
                <a:lnTo>
                  <a:pt x="1564" y="1626"/>
                </a:lnTo>
                <a:lnTo>
                  <a:pt x="1564" y="1628"/>
                </a:lnTo>
                <a:lnTo>
                  <a:pt x="1565" y="1628"/>
                </a:lnTo>
                <a:lnTo>
                  <a:pt x="1565" y="1630"/>
                </a:lnTo>
                <a:lnTo>
                  <a:pt x="1560" y="1631"/>
                </a:lnTo>
                <a:lnTo>
                  <a:pt x="1559" y="1630"/>
                </a:lnTo>
                <a:lnTo>
                  <a:pt x="1555" y="1630"/>
                </a:lnTo>
                <a:lnTo>
                  <a:pt x="1555" y="1631"/>
                </a:lnTo>
                <a:lnTo>
                  <a:pt x="1555" y="1630"/>
                </a:lnTo>
                <a:lnTo>
                  <a:pt x="1553" y="1630"/>
                </a:lnTo>
                <a:lnTo>
                  <a:pt x="1555" y="1640"/>
                </a:lnTo>
                <a:lnTo>
                  <a:pt x="1557" y="1641"/>
                </a:lnTo>
                <a:lnTo>
                  <a:pt x="1560" y="1640"/>
                </a:lnTo>
                <a:lnTo>
                  <a:pt x="1560" y="1641"/>
                </a:lnTo>
                <a:lnTo>
                  <a:pt x="1557" y="1641"/>
                </a:lnTo>
                <a:lnTo>
                  <a:pt x="1560" y="1650"/>
                </a:lnTo>
                <a:lnTo>
                  <a:pt x="1560" y="1653"/>
                </a:lnTo>
                <a:lnTo>
                  <a:pt x="1564" y="1660"/>
                </a:lnTo>
                <a:lnTo>
                  <a:pt x="1570" y="1670"/>
                </a:lnTo>
                <a:lnTo>
                  <a:pt x="1572" y="1670"/>
                </a:lnTo>
                <a:lnTo>
                  <a:pt x="1572" y="1672"/>
                </a:lnTo>
                <a:lnTo>
                  <a:pt x="1574" y="1672"/>
                </a:lnTo>
                <a:lnTo>
                  <a:pt x="1576" y="1675"/>
                </a:lnTo>
                <a:lnTo>
                  <a:pt x="1577" y="1675"/>
                </a:lnTo>
                <a:lnTo>
                  <a:pt x="1579" y="1677"/>
                </a:lnTo>
                <a:lnTo>
                  <a:pt x="1582" y="1675"/>
                </a:lnTo>
                <a:lnTo>
                  <a:pt x="1581" y="1677"/>
                </a:lnTo>
                <a:lnTo>
                  <a:pt x="1581" y="1679"/>
                </a:lnTo>
                <a:lnTo>
                  <a:pt x="1582" y="1681"/>
                </a:lnTo>
                <a:lnTo>
                  <a:pt x="1586" y="1682"/>
                </a:lnTo>
                <a:lnTo>
                  <a:pt x="1586" y="1681"/>
                </a:lnTo>
                <a:lnTo>
                  <a:pt x="1586" y="1679"/>
                </a:lnTo>
                <a:lnTo>
                  <a:pt x="1587" y="1681"/>
                </a:lnTo>
                <a:lnTo>
                  <a:pt x="1586" y="1682"/>
                </a:lnTo>
                <a:lnTo>
                  <a:pt x="1591" y="1684"/>
                </a:lnTo>
                <a:lnTo>
                  <a:pt x="1591" y="1682"/>
                </a:lnTo>
                <a:lnTo>
                  <a:pt x="1589" y="1681"/>
                </a:lnTo>
                <a:lnTo>
                  <a:pt x="1591" y="1681"/>
                </a:lnTo>
                <a:lnTo>
                  <a:pt x="1591" y="1679"/>
                </a:lnTo>
                <a:lnTo>
                  <a:pt x="1594" y="1677"/>
                </a:lnTo>
                <a:lnTo>
                  <a:pt x="1596" y="1679"/>
                </a:lnTo>
                <a:lnTo>
                  <a:pt x="1594" y="1681"/>
                </a:lnTo>
                <a:lnTo>
                  <a:pt x="1593" y="1681"/>
                </a:lnTo>
                <a:lnTo>
                  <a:pt x="1593" y="1682"/>
                </a:lnTo>
                <a:lnTo>
                  <a:pt x="1593" y="1686"/>
                </a:lnTo>
                <a:lnTo>
                  <a:pt x="1599" y="1684"/>
                </a:lnTo>
                <a:lnTo>
                  <a:pt x="1598" y="1682"/>
                </a:lnTo>
                <a:lnTo>
                  <a:pt x="1599" y="1679"/>
                </a:lnTo>
                <a:lnTo>
                  <a:pt x="1598" y="1677"/>
                </a:lnTo>
                <a:lnTo>
                  <a:pt x="1599" y="1677"/>
                </a:lnTo>
                <a:lnTo>
                  <a:pt x="1601" y="1679"/>
                </a:lnTo>
                <a:lnTo>
                  <a:pt x="1599" y="1675"/>
                </a:lnTo>
                <a:lnTo>
                  <a:pt x="1601" y="1677"/>
                </a:lnTo>
                <a:lnTo>
                  <a:pt x="1601" y="1679"/>
                </a:lnTo>
                <a:lnTo>
                  <a:pt x="1603" y="1677"/>
                </a:lnTo>
                <a:lnTo>
                  <a:pt x="1604" y="1677"/>
                </a:lnTo>
                <a:lnTo>
                  <a:pt x="1606" y="1681"/>
                </a:lnTo>
                <a:lnTo>
                  <a:pt x="1608" y="1682"/>
                </a:lnTo>
                <a:lnTo>
                  <a:pt x="1610" y="1682"/>
                </a:lnTo>
                <a:lnTo>
                  <a:pt x="1618" y="1682"/>
                </a:lnTo>
                <a:lnTo>
                  <a:pt x="1618" y="1681"/>
                </a:lnTo>
                <a:lnTo>
                  <a:pt x="1616" y="1681"/>
                </a:lnTo>
                <a:lnTo>
                  <a:pt x="1618" y="1681"/>
                </a:lnTo>
                <a:lnTo>
                  <a:pt x="1618" y="1675"/>
                </a:lnTo>
                <a:lnTo>
                  <a:pt x="1616" y="1674"/>
                </a:lnTo>
                <a:lnTo>
                  <a:pt x="1615" y="1674"/>
                </a:lnTo>
                <a:lnTo>
                  <a:pt x="1615" y="1672"/>
                </a:lnTo>
                <a:lnTo>
                  <a:pt x="1616" y="1674"/>
                </a:lnTo>
                <a:lnTo>
                  <a:pt x="1618" y="1675"/>
                </a:lnTo>
                <a:lnTo>
                  <a:pt x="1618" y="1681"/>
                </a:lnTo>
                <a:lnTo>
                  <a:pt x="1620" y="1682"/>
                </a:lnTo>
                <a:lnTo>
                  <a:pt x="1623" y="1682"/>
                </a:lnTo>
                <a:lnTo>
                  <a:pt x="1623" y="1679"/>
                </a:lnTo>
                <a:lnTo>
                  <a:pt x="1621" y="1677"/>
                </a:lnTo>
                <a:lnTo>
                  <a:pt x="1621" y="1674"/>
                </a:lnTo>
                <a:lnTo>
                  <a:pt x="1620" y="1674"/>
                </a:lnTo>
                <a:lnTo>
                  <a:pt x="1621" y="1674"/>
                </a:lnTo>
                <a:lnTo>
                  <a:pt x="1623" y="1677"/>
                </a:lnTo>
                <a:lnTo>
                  <a:pt x="1623" y="1672"/>
                </a:lnTo>
                <a:lnTo>
                  <a:pt x="1625" y="1670"/>
                </a:lnTo>
                <a:lnTo>
                  <a:pt x="1625" y="1667"/>
                </a:lnTo>
                <a:lnTo>
                  <a:pt x="1625" y="1669"/>
                </a:lnTo>
                <a:lnTo>
                  <a:pt x="1625" y="1670"/>
                </a:lnTo>
                <a:lnTo>
                  <a:pt x="1623" y="1674"/>
                </a:lnTo>
                <a:lnTo>
                  <a:pt x="1623" y="1675"/>
                </a:lnTo>
                <a:lnTo>
                  <a:pt x="1623" y="1681"/>
                </a:lnTo>
                <a:lnTo>
                  <a:pt x="1627" y="1681"/>
                </a:lnTo>
                <a:lnTo>
                  <a:pt x="1632" y="1681"/>
                </a:lnTo>
                <a:lnTo>
                  <a:pt x="1630" y="1679"/>
                </a:lnTo>
                <a:lnTo>
                  <a:pt x="1628" y="1672"/>
                </a:lnTo>
                <a:lnTo>
                  <a:pt x="1628" y="1670"/>
                </a:lnTo>
                <a:lnTo>
                  <a:pt x="1630" y="1669"/>
                </a:lnTo>
                <a:lnTo>
                  <a:pt x="1630" y="1667"/>
                </a:lnTo>
                <a:lnTo>
                  <a:pt x="1627" y="1665"/>
                </a:lnTo>
                <a:lnTo>
                  <a:pt x="1627" y="1660"/>
                </a:lnTo>
                <a:lnTo>
                  <a:pt x="1625" y="1658"/>
                </a:lnTo>
                <a:lnTo>
                  <a:pt x="1625" y="1657"/>
                </a:lnTo>
                <a:lnTo>
                  <a:pt x="1627" y="1658"/>
                </a:lnTo>
                <a:lnTo>
                  <a:pt x="1628" y="1657"/>
                </a:lnTo>
                <a:lnTo>
                  <a:pt x="1627" y="1658"/>
                </a:lnTo>
                <a:lnTo>
                  <a:pt x="1627" y="1660"/>
                </a:lnTo>
                <a:lnTo>
                  <a:pt x="1627" y="1662"/>
                </a:lnTo>
                <a:lnTo>
                  <a:pt x="1627" y="1660"/>
                </a:lnTo>
                <a:lnTo>
                  <a:pt x="1628" y="1662"/>
                </a:lnTo>
                <a:lnTo>
                  <a:pt x="1627" y="1662"/>
                </a:lnTo>
                <a:lnTo>
                  <a:pt x="1627" y="1665"/>
                </a:lnTo>
                <a:lnTo>
                  <a:pt x="1630" y="1667"/>
                </a:lnTo>
                <a:lnTo>
                  <a:pt x="1630" y="1669"/>
                </a:lnTo>
                <a:lnTo>
                  <a:pt x="1632" y="1669"/>
                </a:lnTo>
                <a:lnTo>
                  <a:pt x="1633" y="1669"/>
                </a:lnTo>
                <a:lnTo>
                  <a:pt x="1635" y="1669"/>
                </a:lnTo>
                <a:lnTo>
                  <a:pt x="1633" y="1664"/>
                </a:lnTo>
                <a:lnTo>
                  <a:pt x="1632" y="1664"/>
                </a:lnTo>
                <a:lnTo>
                  <a:pt x="1633" y="1664"/>
                </a:lnTo>
                <a:lnTo>
                  <a:pt x="1635" y="1669"/>
                </a:lnTo>
                <a:lnTo>
                  <a:pt x="1637" y="1667"/>
                </a:lnTo>
                <a:lnTo>
                  <a:pt x="1637" y="1662"/>
                </a:lnTo>
                <a:lnTo>
                  <a:pt x="1637" y="1664"/>
                </a:lnTo>
                <a:lnTo>
                  <a:pt x="1638" y="1665"/>
                </a:lnTo>
                <a:lnTo>
                  <a:pt x="1638" y="1664"/>
                </a:lnTo>
                <a:lnTo>
                  <a:pt x="1642" y="1662"/>
                </a:lnTo>
                <a:lnTo>
                  <a:pt x="1642" y="1660"/>
                </a:lnTo>
                <a:lnTo>
                  <a:pt x="1642" y="1662"/>
                </a:lnTo>
                <a:lnTo>
                  <a:pt x="1644" y="1660"/>
                </a:lnTo>
                <a:lnTo>
                  <a:pt x="1644" y="1662"/>
                </a:lnTo>
                <a:lnTo>
                  <a:pt x="1642" y="1662"/>
                </a:lnTo>
                <a:lnTo>
                  <a:pt x="1644" y="1664"/>
                </a:lnTo>
                <a:lnTo>
                  <a:pt x="1645" y="1665"/>
                </a:lnTo>
                <a:lnTo>
                  <a:pt x="1647" y="1664"/>
                </a:lnTo>
                <a:lnTo>
                  <a:pt x="1647" y="1665"/>
                </a:lnTo>
                <a:lnTo>
                  <a:pt x="1647" y="1667"/>
                </a:lnTo>
                <a:lnTo>
                  <a:pt x="1650" y="1670"/>
                </a:lnTo>
                <a:lnTo>
                  <a:pt x="1652" y="1674"/>
                </a:lnTo>
                <a:lnTo>
                  <a:pt x="1655" y="1674"/>
                </a:lnTo>
                <a:lnTo>
                  <a:pt x="1655" y="1672"/>
                </a:lnTo>
                <a:lnTo>
                  <a:pt x="1654" y="1672"/>
                </a:lnTo>
                <a:lnTo>
                  <a:pt x="1652" y="1672"/>
                </a:lnTo>
                <a:lnTo>
                  <a:pt x="1652" y="1670"/>
                </a:lnTo>
                <a:lnTo>
                  <a:pt x="1652" y="1669"/>
                </a:lnTo>
                <a:lnTo>
                  <a:pt x="1654" y="1669"/>
                </a:lnTo>
                <a:lnTo>
                  <a:pt x="1655" y="1670"/>
                </a:lnTo>
                <a:lnTo>
                  <a:pt x="1655" y="1669"/>
                </a:lnTo>
                <a:lnTo>
                  <a:pt x="1657" y="1670"/>
                </a:lnTo>
                <a:lnTo>
                  <a:pt x="1659" y="1670"/>
                </a:lnTo>
                <a:lnTo>
                  <a:pt x="1661" y="1670"/>
                </a:lnTo>
                <a:lnTo>
                  <a:pt x="1661" y="1672"/>
                </a:lnTo>
                <a:lnTo>
                  <a:pt x="1662" y="1670"/>
                </a:lnTo>
                <a:lnTo>
                  <a:pt x="1664" y="1672"/>
                </a:lnTo>
                <a:lnTo>
                  <a:pt x="1666" y="1670"/>
                </a:lnTo>
                <a:lnTo>
                  <a:pt x="1666" y="1672"/>
                </a:lnTo>
                <a:lnTo>
                  <a:pt x="1669" y="1674"/>
                </a:lnTo>
                <a:lnTo>
                  <a:pt x="1669" y="1675"/>
                </a:lnTo>
                <a:lnTo>
                  <a:pt x="1672" y="1674"/>
                </a:lnTo>
                <a:lnTo>
                  <a:pt x="1684" y="1672"/>
                </a:lnTo>
                <a:lnTo>
                  <a:pt x="1696" y="1672"/>
                </a:lnTo>
                <a:lnTo>
                  <a:pt x="1703" y="1672"/>
                </a:lnTo>
                <a:lnTo>
                  <a:pt x="1703" y="1670"/>
                </a:lnTo>
                <a:lnTo>
                  <a:pt x="1705" y="1669"/>
                </a:lnTo>
                <a:lnTo>
                  <a:pt x="1705" y="1667"/>
                </a:lnTo>
                <a:lnTo>
                  <a:pt x="1705" y="1665"/>
                </a:lnTo>
                <a:lnTo>
                  <a:pt x="1705" y="1660"/>
                </a:lnTo>
                <a:lnTo>
                  <a:pt x="1700" y="1657"/>
                </a:lnTo>
                <a:lnTo>
                  <a:pt x="1698" y="1655"/>
                </a:lnTo>
                <a:lnTo>
                  <a:pt x="1695" y="1650"/>
                </a:lnTo>
                <a:lnTo>
                  <a:pt x="1695" y="1647"/>
                </a:lnTo>
                <a:lnTo>
                  <a:pt x="1695" y="1643"/>
                </a:lnTo>
                <a:lnTo>
                  <a:pt x="1696" y="1647"/>
                </a:lnTo>
                <a:lnTo>
                  <a:pt x="1696" y="1645"/>
                </a:lnTo>
                <a:lnTo>
                  <a:pt x="1698" y="1645"/>
                </a:lnTo>
                <a:lnTo>
                  <a:pt x="1698" y="1647"/>
                </a:lnTo>
                <a:lnTo>
                  <a:pt x="1700" y="1648"/>
                </a:lnTo>
                <a:lnTo>
                  <a:pt x="1701" y="1650"/>
                </a:lnTo>
                <a:lnTo>
                  <a:pt x="1701" y="1652"/>
                </a:lnTo>
                <a:lnTo>
                  <a:pt x="1703" y="1653"/>
                </a:lnTo>
                <a:lnTo>
                  <a:pt x="1703" y="1655"/>
                </a:lnTo>
                <a:lnTo>
                  <a:pt x="1705" y="1655"/>
                </a:lnTo>
                <a:lnTo>
                  <a:pt x="1705" y="1657"/>
                </a:lnTo>
                <a:lnTo>
                  <a:pt x="1706" y="1657"/>
                </a:lnTo>
                <a:lnTo>
                  <a:pt x="1706" y="1658"/>
                </a:lnTo>
                <a:lnTo>
                  <a:pt x="1708" y="1660"/>
                </a:lnTo>
                <a:lnTo>
                  <a:pt x="1710" y="1658"/>
                </a:lnTo>
                <a:lnTo>
                  <a:pt x="1708" y="1660"/>
                </a:lnTo>
                <a:lnTo>
                  <a:pt x="1710" y="1662"/>
                </a:lnTo>
                <a:lnTo>
                  <a:pt x="1712" y="1662"/>
                </a:lnTo>
                <a:lnTo>
                  <a:pt x="1713" y="1660"/>
                </a:lnTo>
                <a:lnTo>
                  <a:pt x="1713" y="1662"/>
                </a:lnTo>
                <a:lnTo>
                  <a:pt x="1712" y="1664"/>
                </a:lnTo>
                <a:lnTo>
                  <a:pt x="1715" y="1664"/>
                </a:lnTo>
                <a:lnTo>
                  <a:pt x="1717" y="1664"/>
                </a:lnTo>
                <a:lnTo>
                  <a:pt x="1715" y="1660"/>
                </a:lnTo>
                <a:lnTo>
                  <a:pt x="1717" y="1658"/>
                </a:lnTo>
                <a:lnTo>
                  <a:pt x="1718" y="1657"/>
                </a:lnTo>
                <a:lnTo>
                  <a:pt x="1718" y="1658"/>
                </a:lnTo>
                <a:lnTo>
                  <a:pt x="1717" y="1660"/>
                </a:lnTo>
                <a:lnTo>
                  <a:pt x="1718" y="1662"/>
                </a:lnTo>
                <a:lnTo>
                  <a:pt x="1722" y="1660"/>
                </a:lnTo>
                <a:lnTo>
                  <a:pt x="1722" y="1662"/>
                </a:lnTo>
                <a:lnTo>
                  <a:pt x="1723" y="1660"/>
                </a:lnTo>
                <a:lnTo>
                  <a:pt x="1723" y="1662"/>
                </a:lnTo>
                <a:lnTo>
                  <a:pt x="1722" y="1662"/>
                </a:lnTo>
                <a:lnTo>
                  <a:pt x="1722" y="1664"/>
                </a:lnTo>
                <a:lnTo>
                  <a:pt x="1723" y="1665"/>
                </a:lnTo>
                <a:lnTo>
                  <a:pt x="1725" y="1665"/>
                </a:lnTo>
                <a:lnTo>
                  <a:pt x="1725" y="1664"/>
                </a:lnTo>
                <a:lnTo>
                  <a:pt x="1725" y="1662"/>
                </a:lnTo>
                <a:lnTo>
                  <a:pt x="1725" y="1664"/>
                </a:lnTo>
                <a:lnTo>
                  <a:pt x="1725" y="1665"/>
                </a:lnTo>
                <a:lnTo>
                  <a:pt x="1723" y="1665"/>
                </a:lnTo>
                <a:lnTo>
                  <a:pt x="1725" y="1667"/>
                </a:lnTo>
                <a:lnTo>
                  <a:pt x="1725" y="1669"/>
                </a:lnTo>
                <a:lnTo>
                  <a:pt x="1729" y="1672"/>
                </a:lnTo>
                <a:lnTo>
                  <a:pt x="1729" y="1670"/>
                </a:lnTo>
                <a:lnTo>
                  <a:pt x="1727" y="1667"/>
                </a:lnTo>
                <a:lnTo>
                  <a:pt x="1727" y="1664"/>
                </a:lnTo>
                <a:lnTo>
                  <a:pt x="1727" y="1662"/>
                </a:lnTo>
                <a:lnTo>
                  <a:pt x="1727" y="1660"/>
                </a:lnTo>
                <a:lnTo>
                  <a:pt x="1729" y="1660"/>
                </a:lnTo>
                <a:lnTo>
                  <a:pt x="1727" y="1660"/>
                </a:lnTo>
                <a:lnTo>
                  <a:pt x="1729" y="1662"/>
                </a:lnTo>
                <a:lnTo>
                  <a:pt x="1727" y="1662"/>
                </a:lnTo>
                <a:lnTo>
                  <a:pt x="1727" y="1665"/>
                </a:lnTo>
                <a:lnTo>
                  <a:pt x="1730" y="1665"/>
                </a:lnTo>
                <a:lnTo>
                  <a:pt x="1732" y="1662"/>
                </a:lnTo>
                <a:lnTo>
                  <a:pt x="1730" y="1660"/>
                </a:lnTo>
                <a:lnTo>
                  <a:pt x="1729" y="1658"/>
                </a:lnTo>
                <a:lnTo>
                  <a:pt x="1730" y="1660"/>
                </a:lnTo>
                <a:lnTo>
                  <a:pt x="1732" y="1662"/>
                </a:lnTo>
                <a:lnTo>
                  <a:pt x="1730" y="1667"/>
                </a:lnTo>
                <a:lnTo>
                  <a:pt x="1734" y="1669"/>
                </a:lnTo>
                <a:lnTo>
                  <a:pt x="1734" y="1674"/>
                </a:lnTo>
                <a:lnTo>
                  <a:pt x="1735" y="1674"/>
                </a:lnTo>
                <a:lnTo>
                  <a:pt x="1735" y="1670"/>
                </a:lnTo>
                <a:lnTo>
                  <a:pt x="1737" y="1670"/>
                </a:lnTo>
                <a:lnTo>
                  <a:pt x="1737" y="1669"/>
                </a:lnTo>
                <a:lnTo>
                  <a:pt x="1737" y="1670"/>
                </a:lnTo>
                <a:lnTo>
                  <a:pt x="1734" y="1675"/>
                </a:lnTo>
                <a:lnTo>
                  <a:pt x="1735" y="1675"/>
                </a:lnTo>
                <a:lnTo>
                  <a:pt x="1734" y="1677"/>
                </a:lnTo>
                <a:lnTo>
                  <a:pt x="1734" y="1679"/>
                </a:lnTo>
                <a:lnTo>
                  <a:pt x="1735" y="1682"/>
                </a:lnTo>
                <a:lnTo>
                  <a:pt x="1735" y="1684"/>
                </a:lnTo>
                <a:lnTo>
                  <a:pt x="1739" y="1689"/>
                </a:lnTo>
                <a:lnTo>
                  <a:pt x="1739" y="1694"/>
                </a:lnTo>
                <a:lnTo>
                  <a:pt x="1740" y="1696"/>
                </a:lnTo>
                <a:lnTo>
                  <a:pt x="1744" y="1696"/>
                </a:lnTo>
                <a:lnTo>
                  <a:pt x="1746" y="1699"/>
                </a:lnTo>
                <a:lnTo>
                  <a:pt x="1747" y="1698"/>
                </a:lnTo>
                <a:lnTo>
                  <a:pt x="1751" y="1698"/>
                </a:lnTo>
                <a:lnTo>
                  <a:pt x="1751" y="1701"/>
                </a:lnTo>
                <a:lnTo>
                  <a:pt x="1752" y="1701"/>
                </a:lnTo>
                <a:lnTo>
                  <a:pt x="1754" y="1699"/>
                </a:lnTo>
                <a:lnTo>
                  <a:pt x="1756" y="1699"/>
                </a:lnTo>
                <a:lnTo>
                  <a:pt x="1756" y="1698"/>
                </a:lnTo>
                <a:lnTo>
                  <a:pt x="1757" y="1698"/>
                </a:lnTo>
                <a:lnTo>
                  <a:pt x="1759" y="1698"/>
                </a:lnTo>
                <a:lnTo>
                  <a:pt x="1759" y="1696"/>
                </a:lnTo>
                <a:lnTo>
                  <a:pt x="1761" y="1694"/>
                </a:lnTo>
                <a:lnTo>
                  <a:pt x="1763" y="1694"/>
                </a:lnTo>
                <a:lnTo>
                  <a:pt x="1764" y="1692"/>
                </a:lnTo>
                <a:lnTo>
                  <a:pt x="1764" y="1694"/>
                </a:lnTo>
                <a:lnTo>
                  <a:pt x="1764" y="1696"/>
                </a:lnTo>
                <a:lnTo>
                  <a:pt x="1766" y="1696"/>
                </a:lnTo>
                <a:lnTo>
                  <a:pt x="1768" y="1698"/>
                </a:lnTo>
                <a:lnTo>
                  <a:pt x="1769" y="1696"/>
                </a:lnTo>
                <a:lnTo>
                  <a:pt x="1768" y="1698"/>
                </a:lnTo>
                <a:lnTo>
                  <a:pt x="1769" y="1698"/>
                </a:lnTo>
                <a:lnTo>
                  <a:pt x="1768" y="1698"/>
                </a:lnTo>
                <a:lnTo>
                  <a:pt x="1769" y="1699"/>
                </a:lnTo>
                <a:lnTo>
                  <a:pt x="1771" y="1698"/>
                </a:lnTo>
                <a:lnTo>
                  <a:pt x="1773" y="1696"/>
                </a:lnTo>
                <a:lnTo>
                  <a:pt x="1774" y="1696"/>
                </a:lnTo>
                <a:lnTo>
                  <a:pt x="1774" y="1694"/>
                </a:lnTo>
                <a:lnTo>
                  <a:pt x="1774" y="1692"/>
                </a:lnTo>
                <a:lnTo>
                  <a:pt x="1773" y="1692"/>
                </a:lnTo>
                <a:lnTo>
                  <a:pt x="1774" y="1692"/>
                </a:lnTo>
                <a:lnTo>
                  <a:pt x="1774" y="1694"/>
                </a:lnTo>
                <a:lnTo>
                  <a:pt x="1776" y="1694"/>
                </a:lnTo>
                <a:lnTo>
                  <a:pt x="1773" y="1698"/>
                </a:lnTo>
                <a:lnTo>
                  <a:pt x="1774" y="1699"/>
                </a:lnTo>
                <a:lnTo>
                  <a:pt x="1774" y="1698"/>
                </a:lnTo>
                <a:lnTo>
                  <a:pt x="1776" y="1699"/>
                </a:lnTo>
                <a:lnTo>
                  <a:pt x="1774" y="1699"/>
                </a:lnTo>
                <a:lnTo>
                  <a:pt x="1773" y="1698"/>
                </a:lnTo>
                <a:lnTo>
                  <a:pt x="1771" y="1701"/>
                </a:lnTo>
                <a:lnTo>
                  <a:pt x="1774" y="1701"/>
                </a:lnTo>
                <a:lnTo>
                  <a:pt x="1774" y="1703"/>
                </a:lnTo>
                <a:lnTo>
                  <a:pt x="1778" y="1701"/>
                </a:lnTo>
                <a:lnTo>
                  <a:pt x="1779" y="1701"/>
                </a:lnTo>
                <a:lnTo>
                  <a:pt x="1781" y="1701"/>
                </a:lnTo>
                <a:lnTo>
                  <a:pt x="1779" y="1701"/>
                </a:lnTo>
                <a:lnTo>
                  <a:pt x="1778" y="1703"/>
                </a:lnTo>
                <a:lnTo>
                  <a:pt x="1774" y="1703"/>
                </a:lnTo>
                <a:lnTo>
                  <a:pt x="1776" y="1706"/>
                </a:lnTo>
                <a:lnTo>
                  <a:pt x="1778" y="1704"/>
                </a:lnTo>
                <a:lnTo>
                  <a:pt x="1779" y="1706"/>
                </a:lnTo>
                <a:lnTo>
                  <a:pt x="1781" y="1706"/>
                </a:lnTo>
                <a:lnTo>
                  <a:pt x="1779" y="1706"/>
                </a:lnTo>
                <a:lnTo>
                  <a:pt x="1778" y="1706"/>
                </a:lnTo>
                <a:lnTo>
                  <a:pt x="1778" y="1708"/>
                </a:lnTo>
                <a:lnTo>
                  <a:pt x="1779" y="1708"/>
                </a:lnTo>
                <a:lnTo>
                  <a:pt x="1779" y="1711"/>
                </a:lnTo>
                <a:lnTo>
                  <a:pt x="1779" y="1708"/>
                </a:lnTo>
                <a:lnTo>
                  <a:pt x="1778" y="1709"/>
                </a:lnTo>
                <a:lnTo>
                  <a:pt x="1776" y="1706"/>
                </a:lnTo>
                <a:lnTo>
                  <a:pt x="1774" y="1706"/>
                </a:lnTo>
                <a:lnTo>
                  <a:pt x="1774" y="1709"/>
                </a:lnTo>
                <a:lnTo>
                  <a:pt x="1776" y="1711"/>
                </a:lnTo>
                <a:lnTo>
                  <a:pt x="1774" y="1711"/>
                </a:lnTo>
                <a:lnTo>
                  <a:pt x="1776" y="1713"/>
                </a:lnTo>
                <a:lnTo>
                  <a:pt x="1774" y="1711"/>
                </a:lnTo>
                <a:lnTo>
                  <a:pt x="1774" y="1715"/>
                </a:lnTo>
                <a:lnTo>
                  <a:pt x="1774" y="1713"/>
                </a:lnTo>
                <a:lnTo>
                  <a:pt x="1771" y="1711"/>
                </a:lnTo>
                <a:lnTo>
                  <a:pt x="1771" y="1713"/>
                </a:lnTo>
                <a:lnTo>
                  <a:pt x="1774" y="1716"/>
                </a:lnTo>
                <a:lnTo>
                  <a:pt x="1771" y="1713"/>
                </a:lnTo>
                <a:lnTo>
                  <a:pt x="1769" y="1711"/>
                </a:lnTo>
                <a:lnTo>
                  <a:pt x="1769" y="1709"/>
                </a:lnTo>
                <a:lnTo>
                  <a:pt x="1768" y="1708"/>
                </a:lnTo>
                <a:lnTo>
                  <a:pt x="1773" y="1718"/>
                </a:lnTo>
                <a:lnTo>
                  <a:pt x="1773" y="1720"/>
                </a:lnTo>
                <a:lnTo>
                  <a:pt x="1778" y="1718"/>
                </a:lnTo>
                <a:lnTo>
                  <a:pt x="1778" y="1720"/>
                </a:lnTo>
                <a:lnTo>
                  <a:pt x="1776" y="1721"/>
                </a:lnTo>
                <a:lnTo>
                  <a:pt x="1773" y="1721"/>
                </a:lnTo>
                <a:lnTo>
                  <a:pt x="1778" y="1726"/>
                </a:lnTo>
                <a:lnTo>
                  <a:pt x="1785" y="1733"/>
                </a:lnTo>
                <a:lnTo>
                  <a:pt x="1790" y="1745"/>
                </a:lnTo>
                <a:lnTo>
                  <a:pt x="1788" y="1749"/>
                </a:lnTo>
                <a:lnTo>
                  <a:pt x="1786" y="1750"/>
                </a:lnTo>
                <a:lnTo>
                  <a:pt x="1786" y="1752"/>
                </a:lnTo>
                <a:lnTo>
                  <a:pt x="1785" y="1757"/>
                </a:lnTo>
                <a:lnTo>
                  <a:pt x="1785" y="1759"/>
                </a:lnTo>
                <a:lnTo>
                  <a:pt x="1783" y="1764"/>
                </a:lnTo>
                <a:lnTo>
                  <a:pt x="1781" y="1771"/>
                </a:lnTo>
                <a:lnTo>
                  <a:pt x="1781" y="1783"/>
                </a:lnTo>
                <a:lnTo>
                  <a:pt x="1779" y="1784"/>
                </a:lnTo>
                <a:lnTo>
                  <a:pt x="1779" y="1791"/>
                </a:lnTo>
                <a:lnTo>
                  <a:pt x="1778" y="1796"/>
                </a:lnTo>
                <a:lnTo>
                  <a:pt x="1781" y="1803"/>
                </a:lnTo>
                <a:lnTo>
                  <a:pt x="1781" y="1805"/>
                </a:lnTo>
                <a:lnTo>
                  <a:pt x="1778" y="1808"/>
                </a:lnTo>
                <a:lnTo>
                  <a:pt x="1776" y="1812"/>
                </a:lnTo>
                <a:lnTo>
                  <a:pt x="1771" y="1817"/>
                </a:lnTo>
                <a:lnTo>
                  <a:pt x="1771" y="1820"/>
                </a:lnTo>
                <a:lnTo>
                  <a:pt x="1771" y="1822"/>
                </a:lnTo>
                <a:lnTo>
                  <a:pt x="1769" y="1822"/>
                </a:lnTo>
                <a:lnTo>
                  <a:pt x="1768" y="1827"/>
                </a:lnTo>
                <a:lnTo>
                  <a:pt x="1763" y="1830"/>
                </a:lnTo>
                <a:lnTo>
                  <a:pt x="1763" y="1834"/>
                </a:lnTo>
                <a:lnTo>
                  <a:pt x="1761" y="1837"/>
                </a:lnTo>
                <a:lnTo>
                  <a:pt x="1759" y="1837"/>
                </a:lnTo>
                <a:lnTo>
                  <a:pt x="1759" y="1842"/>
                </a:lnTo>
                <a:lnTo>
                  <a:pt x="1757" y="1842"/>
                </a:lnTo>
                <a:lnTo>
                  <a:pt x="1759" y="1846"/>
                </a:lnTo>
                <a:lnTo>
                  <a:pt x="1761" y="1846"/>
                </a:lnTo>
                <a:lnTo>
                  <a:pt x="1764" y="1844"/>
                </a:lnTo>
                <a:lnTo>
                  <a:pt x="1766" y="1844"/>
                </a:lnTo>
                <a:lnTo>
                  <a:pt x="1769" y="1849"/>
                </a:lnTo>
                <a:lnTo>
                  <a:pt x="1773" y="1847"/>
                </a:lnTo>
                <a:lnTo>
                  <a:pt x="1774" y="1846"/>
                </a:lnTo>
                <a:lnTo>
                  <a:pt x="1776" y="1844"/>
                </a:lnTo>
                <a:lnTo>
                  <a:pt x="1774" y="1844"/>
                </a:lnTo>
                <a:lnTo>
                  <a:pt x="1774" y="1847"/>
                </a:lnTo>
                <a:lnTo>
                  <a:pt x="1778" y="1846"/>
                </a:lnTo>
                <a:lnTo>
                  <a:pt x="1781" y="1847"/>
                </a:lnTo>
                <a:lnTo>
                  <a:pt x="1779" y="1847"/>
                </a:lnTo>
                <a:lnTo>
                  <a:pt x="1779" y="1851"/>
                </a:lnTo>
                <a:lnTo>
                  <a:pt x="1779" y="1849"/>
                </a:lnTo>
                <a:lnTo>
                  <a:pt x="1778" y="1847"/>
                </a:lnTo>
                <a:lnTo>
                  <a:pt x="1776" y="1849"/>
                </a:lnTo>
                <a:lnTo>
                  <a:pt x="1773" y="1847"/>
                </a:lnTo>
                <a:lnTo>
                  <a:pt x="1773" y="1851"/>
                </a:lnTo>
                <a:lnTo>
                  <a:pt x="1769" y="1851"/>
                </a:lnTo>
                <a:lnTo>
                  <a:pt x="1768" y="1854"/>
                </a:lnTo>
                <a:lnTo>
                  <a:pt x="1771" y="1864"/>
                </a:lnTo>
                <a:lnTo>
                  <a:pt x="1771" y="1871"/>
                </a:lnTo>
                <a:lnTo>
                  <a:pt x="1771" y="1873"/>
                </a:lnTo>
                <a:lnTo>
                  <a:pt x="1771" y="1874"/>
                </a:lnTo>
                <a:lnTo>
                  <a:pt x="1774" y="1878"/>
                </a:lnTo>
                <a:lnTo>
                  <a:pt x="1769" y="1876"/>
                </a:lnTo>
                <a:lnTo>
                  <a:pt x="1771" y="1880"/>
                </a:lnTo>
                <a:lnTo>
                  <a:pt x="1769" y="1878"/>
                </a:lnTo>
                <a:lnTo>
                  <a:pt x="1769" y="1876"/>
                </a:lnTo>
                <a:lnTo>
                  <a:pt x="1768" y="1876"/>
                </a:lnTo>
                <a:lnTo>
                  <a:pt x="1769" y="1876"/>
                </a:lnTo>
                <a:lnTo>
                  <a:pt x="1768" y="1874"/>
                </a:lnTo>
                <a:lnTo>
                  <a:pt x="1768" y="1873"/>
                </a:lnTo>
                <a:lnTo>
                  <a:pt x="1768" y="1871"/>
                </a:lnTo>
                <a:lnTo>
                  <a:pt x="1766" y="1873"/>
                </a:lnTo>
                <a:lnTo>
                  <a:pt x="1764" y="1871"/>
                </a:lnTo>
                <a:lnTo>
                  <a:pt x="1763" y="1873"/>
                </a:lnTo>
                <a:lnTo>
                  <a:pt x="1764" y="1871"/>
                </a:lnTo>
                <a:lnTo>
                  <a:pt x="1766" y="1871"/>
                </a:lnTo>
                <a:lnTo>
                  <a:pt x="1766" y="1869"/>
                </a:lnTo>
                <a:lnTo>
                  <a:pt x="1764" y="1868"/>
                </a:lnTo>
                <a:lnTo>
                  <a:pt x="1763" y="1869"/>
                </a:lnTo>
                <a:lnTo>
                  <a:pt x="1759" y="1869"/>
                </a:lnTo>
                <a:lnTo>
                  <a:pt x="1756" y="1869"/>
                </a:lnTo>
                <a:lnTo>
                  <a:pt x="1756" y="1871"/>
                </a:lnTo>
                <a:lnTo>
                  <a:pt x="1756" y="1876"/>
                </a:lnTo>
                <a:lnTo>
                  <a:pt x="1757" y="1874"/>
                </a:lnTo>
                <a:lnTo>
                  <a:pt x="1759" y="1876"/>
                </a:lnTo>
                <a:lnTo>
                  <a:pt x="1764" y="1883"/>
                </a:lnTo>
                <a:lnTo>
                  <a:pt x="1764" y="1886"/>
                </a:lnTo>
                <a:lnTo>
                  <a:pt x="1766" y="1886"/>
                </a:lnTo>
                <a:lnTo>
                  <a:pt x="1768" y="1886"/>
                </a:lnTo>
                <a:lnTo>
                  <a:pt x="1769" y="1885"/>
                </a:lnTo>
                <a:lnTo>
                  <a:pt x="1769" y="1883"/>
                </a:lnTo>
                <a:lnTo>
                  <a:pt x="1769" y="1885"/>
                </a:lnTo>
                <a:lnTo>
                  <a:pt x="1768" y="1886"/>
                </a:lnTo>
                <a:lnTo>
                  <a:pt x="1774" y="1891"/>
                </a:lnTo>
                <a:lnTo>
                  <a:pt x="1776" y="1890"/>
                </a:lnTo>
                <a:lnTo>
                  <a:pt x="1776" y="1891"/>
                </a:lnTo>
                <a:lnTo>
                  <a:pt x="1779" y="1893"/>
                </a:lnTo>
                <a:lnTo>
                  <a:pt x="1781" y="1893"/>
                </a:lnTo>
                <a:lnTo>
                  <a:pt x="1785" y="1893"/>
                </a:lnTo>
                <a:lnTo>
                  <a:pt x="1786" y="1891"/>
                </a:lnTo>
                <a:lnTo>
                  <a:pt x="1788" y="1893"/>
                </a:lnTo>
                <a:lnTo>
                  <a:pt x="1791" y="1891"/>
                </a:lnTo>
                <a:lnTo>
                  <a:pt x="1795" y="1893"/>
                </a:lnTo>
                <a:lnTo>
                  <a:pt x="1791" y="1891"/>
                </a:lnTo>
                <a:lnTo>
                  <a:pt x="1790" y="1893"/>
                </a:lnTo>
                <a:lnTo>
                  <a:pt x="1788" y="1893"/>
                </a:lnTo>
                <a:lnTo>
                  <a:pt x="1786" y="1891"/>
                </a:lnTo>
                <a:lnTo>
                  <a:pt x="1785" y="1893"/>
                </a:lnTo>
                <a:lnTo>
                  <a:pt x="1781" y="1895"/>
                </a:lnTo>
                <a:lnTo>
                  <a:pt x="1778" y="1895"/>
                </a:lnTo>
                <a:lnTo>
                  <a:pt x="1779" y="1897"/>
                </a:lnTo>
                <a:lnTo>
                  <a:pt x="1781" y="1900"/>
                </a:lnTo>
                <a:lnTo>
                  <a:pt x="1781" y="1902"/>
                </a:lnTo>
                <a:lnTo>
                  <a:pt x="1783" y="1900"/>
                </a:lnTo>
                <a:lnTo>
                  <a:pt x="1781" y="1902"/>
                </a:lnTo>
                <a:lnTo>
                  <a:pt x="1779" y="1900"/>
                </a:lnTo>
                <a:lnTo>
                  <a:pt x="1778" y="1895"/>
                </a:lnTo>
                <a:lnTo>
                  <a:pt x="1774" y="1895"/>
                </a:lnTo>
                <a:lnTo>
                  <a:pt x="1773" y="1895"/>
                </a:lnTo>
                <a:lnTo>
                  <a:pt x="1771" y="1893"/>
                </a:lnTo>
                <a:lnTo>
                  <a:pt x="1769" y="1895"/>
                </a:lnTo>
                <a:lnTo>
                  <a:pt x="1769" y="1898"/>
                </a:lnTo>
                <a:lnTo>
                  <a:pt x="1769" y="1893"/>
                </a:lnTo>
                <a:lnTo>
                  <a:pt x="1766" y="1893"/>
                </a:lnTo>
                <a:lnTo>
                  <a:pt x="1764" y="1893"/>
                </a:lnTo>
                <a:lnTo>
                  <a:pt x="1764" y="1897"/>
                </a:lnTo>
                <a:lnTo>
                  <a:pt x="1764" y="1895"/>
                </a:lnTo>
                <a:lnTo>
                  <a:pt x="1763" y="1893"/>
                </a:lnTo>
                <a:lnTo>
                  <a:pt x="1761" y="1891"/>
                </a:lnTo>
                <a:lnTo>
                  <a:pt x="1759" y="1891"/>
                </a:lnTo>
                <a:lnTo>
                  <a:pt x="1759" y="1890"/>
                </a:lnTo>
                <a:lnTo>
                  <a:pt x="1757" y="1886"/>
                </a:lnTo>
                <a:lnTo>
                  <a:pt x="1759" y="1886"/>
                </a:lnTo>
                <a:lnTo>
                  <a:pt x="1757" y="1883"/>
                </a:lnTo>
                <a:lnTo>
                  <a:pt x="1754" y="1886"/>
                </a:lnTo>
                <a:lnTo>
                  <a:pt x="1757" y="1902"/>
                </a:lnTo>
                <a:lnTo>
                  <a:pt x="1756" y="1903"/>
                </a:lnTo>
                <a:lnTo>
                  <a:pt x="1756" y="1909"/>
                </a:lnTo>
                <a:lnTo>
                  <a:pt x="1756" y="1912"/>
                </a:lnTo>
                <a:lnTo>
                  <a:pt x="1754" y="1920"/>
                </a:lnTo>
                <a:lnTo>
                  <a:pt x="1752" y="1926"/>
                </a:lnTo>
                <a:lnTo>
                  <a:pt x="1747" y="1931"/>
                </a:lnTo>
                <a:lnTo>
                  <a:pt x="1747" y="1932"/>
                </a:lnTo>
                <a:lnTo>
                  <a:pt x="1746" y="1934"/>
                </a:lnTo>
                <a:lnTo>
                  <a:pt x="1746" y="1937"/>
                </a:lnTo>
                <a:lnTo>
                  <a:pt x="1744" y="1941"/>
                </a:lnTo>
                <a:lnTo>
                  <a:pt x="1744" y="1937"/>
                </a:lnTo>
                <a:lnTo>
                  <a:pt x="1742" y="1937"/>
                </a:lnTo>
                <a:lnTo>
                  <a:pt x="1740" y="1934"/>
                </a:lnTo>
                <a:lnTo>
                  <a:pt x="1737" y="1936"/>
                </a:lnTo>
                <a:lnTo>
                  <a:pt x="1737" y="1939"/>
                </a:lnTo>
                <a:lnTo>
                  <a:pt x="1735" y="1939"/>
                </a:lnTo>
                <a:lnTo>
                  <a:pt x="1734" y="1937"/>
                </a:lnTo>
                <a:lnTo>
                  <a:pt x="1734" y="1939"/>
                </a:lnTo>
                <a:lnTo>
                  <a:pt x="1735" y="1941"/>
                </a:lnTo>
                <a:lnTo>
                  <a:pt x="1734" y="1939"/>
                </a:lnTo>
                <a:lnTo>
                  <a:pt x="1732" y="1944"/>
                </a:lnTo>
                <a:lnTo>
                  <a:pt x="1734" y="1944"/>
                </a:lnTo>
                <a:lnTo>
                  <a:pt x="1732" y="1944"/>
                </a:lnTo>
                <a:lnTo>
                  <a:pt x="1730" y="1941"/>
                </a:lnTo>
                <a:lnTo>
                  <a:pt x="1729" y="1937"/>
                </a:lnTo>
                <a:lnTo>
                  <a:pt x="1729" y="1936"/>
                </a:lnTo>
                <a:lnTo>
                  <a:pt x="1727" y="1936"/>
                </a:lnTo>
                <a:lnTo>
                  <a:pt x="1727" y="1934"/>
                </a:lnTo>
                <a:lnTo>
                  <a:pt x="1725" y="1934"/>
                </a:lnTo>
                <a:lnTo>
                  <a:pt x="1725" y="1932"/>
                </a:lnTo>
                <a:lnTo>
                  <a:pt x="1725" y="1936"/>
                </a:lnTo>
                <a:lnTo>
                  <a:pt x="1734" y="1953"/>
                </a:lnTo>
                <a:lnTo>
                  <a:pt x="1734" y="1954"/>
                </a:lnTo>
                <a:lnTo>
                  <a:pt x="1732" y="1953"/>
                </a:lnTo>
                <a:lnTo>
                  <a:pt x="1739" y="1963"/>
                </a:lnTo>
                <a:lnTo>
                  <a:pt x="1739" y="1965"/>
                </a:lnTo>
                <a:lnTo>
                  <a:pt x="1739" y="1966"/>
                </a:lnTo>
                <a:lnTo>
                  <a:pt x="1740" y="1970"/>
                </a:lnTo>
                <a:lnTo>
                  <a:pt x="1751" y="1983"/>
                </a:lnTo>
                <a:lnTo>
                  <a:pt x="1754" y="1992"/>
                </a:lnTo>
                <a:lnTo>
                  <a:pt x="1752" y="1994"/>
                </a:lnTo>
                <a:lnTo>
                  <a:pt x="1752" y="1997"/>
                </a:lnTo>
                <a:lnTo>
                  <a:pt x="1754" y="1999"/>
                </a:lnTo>
                <a:lnTo>
                  <a:pt x="1769" y="2014"/>
                </a:lnTo>
                <a:lnTo>
                  <a:pt x="1769" y="2021"/>
                </a:lnTo>
                <a:lnTo>
                  <a:pt x="1771" y="2024"/>
                </a:lnTo>
                <a:lnTo>
                  <a:pt x="1783" y="2036"/>
                </a:lnTo>
                <a:lnTo>
                  <a:pt x="1785" y="2038"/>
                </a:lnTo>
                <a:lnTo>
                  <a:pt x="1798" y="2048"/>
                </a:lnTo>
                <a:lnTo>
                  <a:pt x="1803" y="2051"/>
                </a:lnTo>
                <a:lnTo>
                  <a:pt x="1810" y="2057"/>
                </a:lnTo>
                <a:lnTo>
                  <a:pt x="1817" y="2065"/>
                </a:lnTo>
                <a:lnTo>
                  <a:pt x="1819" y="2067"/>
                </a:lnTo>
                <a:lnTo>
                  <a:pt x="1824" y="2070"/>
                </a:lnTo>
                <a:lnTo>
                  <a:pt x="1824" y="2074"/>
                </a:lnTo>
                <a:lnTo>
                  <a:pt x="1822" y="2075"/>
                </a:lnTo>
                <a:lnTo>
                  <a:pt x="1837" y="2087"/>
                </a:lnTo>
                <a:lnTo>
                  <a:pt x="1842" y="2094"/>
                </a:lnTo>
                <a:lnTo>
                  <a:pt x="1841" y="2096"/>
                </a:lnTo>
                <a:lnTo>
                  <a:pt x="1842" y="2097"/>
                </a:lnTo>
                <a:lnTo>
                  <a:pt x="1847" y="2102"/>
                </a:lnTo>
                <a:lnTo>
                  <a:pt x="1858" y="2109"/>
                </a:lnTo>
                <a:lnTo>
                  <a:pt x="1859" y="2111"/>
                </a:lnTo>
                <a:lnTo>
                  <a:pt x="1859" y="2113"/>
                </a:lnTo>
                <a:lnTo>
                  <a:pt x="1861" y="2114"/>
                </a:lnTo>
                <a:lnTo>
                  <a:pt x="1876" y="2128"/>
                </a:lnTo>
                <a:lnTo>
                  <a:pt x="1878" y="2128"/>
                </a:lnTo>
                <a:lnTo>
                  <a:pt x="1876" y="2128"/>
                </a:lnTo>
                <a:lnTo>
                  <a:pt x="1881" y="2133"/>
                </a:lnTo>
                <a:lnTo>
                  <a:pt x="1883" y="2135"/>
                </a:lnTo>
                <a:lnTo>
                  <a:pt x="1881" y="2138"/>
                </a:lnTo>
                <a:lnTo>
                  <a:pt x="1880" y="2138"/>
                </a:lnTo>
                <a:lnTo>
                  <a:pt x="1883" y="2143"/>
                </a:lnTo>
                <a:lnTo>
                  <a:pt x="1883" y="2145"/>
                </a:lnTo>
                <a:lnTo>
                  <a:pt x="1883" y="2143"/>
                </a:lnTo>
                <a:lnTo>
                  <a:pt x="1883" y="2145"/>
                </a:lnTo>
                <a:lnTo>
                  <a:pt x="1892" y="2157"/>
                </a:lnTo>
                <a:lnTo>
                  <a:pt x="1898" y="2165"/>
                </a:lnTo>
                <a:lnTo>
                  <a:pt x="1898" y="2167"/>
                </a:lnTo>
                <a:lnTo>
                  <a:pt x="1900" y="2170"/>
                </a:lnTo>
                <a:lnTo>
                  <a:pt x="1900" y="2172"/>
                </a:lnTo>
                <a:lnTo>
                  <a:pt x="1904" y="2179"/>
                </a:lnTo>
                <a:lnTo>
                  <a:pt x="1904" y="2182"/>
                </a:lnTo>
                <a:lnTo>
                  <a:pt x="1902" y="2182"/>
                </a:lnTo>
                <a:lnTo>
                  <a:pt x="1900" y="2182"/>
                </a:lnTo>
                <a:lnTo>
                  <a:pt x="1898" y="2187"/>
                </a:lnTo>
                <a:lnTo>
                  <a:pt x="1898" y="2189"/>
                </a:lnTo>
                <a:lnTo>
                  <a:pt x="1902" y="2194"/>
                </a:lnTo>
                <a:lnTo>
                  <a:pt x="1907" y="2199"/>
                </a:lnTo>
                <a:lnTo>
                  <a:pt x="1909" y="2201"/>
                </a:lnTo>
                <a:lnTo>
                  <a:pt x="1912" y="2206"/>
                </a:lnTo>
                <a:lnTo>
                  <a:pt x="1912" y="2204"/>
                </a:lnTo>
                <a:lnTo>
                  <a:pt x="1915" y="2204"/>
                </a:lnTo>
                <a:lnTo>
                  <a:pt x="1917" y="2206"/>
                </a:lnTo>
                <a:lnTo>
                  <a:pt x="1914" y="2208"/>
                </a:lnTo>
                <a:lnTo>
                  <a:pt x="1919" y="2208"/>
                </a:lnTo>
                <a:lnTo>
                  <a:pt x="1921" y="2206"/>
                </a:lnTo>
                <a:lnTo>
                  <a:pt x="1922" y="2204"/>
                </a:lnTo>
                <a:lnTo>
                  <a:pt x="1922" y="2206"/>
                </a:lnTo>
                <a:lnTo>
                  <a:pt x="1927" y="2206"/>
                </a:lnTo>
                <a:lnTo>
                  <a:pt x="1929" y="2204"/>
                </a:lnTo>
                <a:lnTo>
                  <a:pt x="1929" y="2203"/>
                </a:lnTo>
                <a:lnTo>
                  <a:pt x="1931" y="2199"/>
                </a:lnTo>
                <a:lnTo>
                  <a:pt x="1938" y="2198"/>
                </a:lnTo>
                <a:lnTo>
                  <a:pt x="1946" y="2199"/>
                </a:lnTo>
                <a:lnTo>
                  <a:pt x="1948" y="2199"/>
                </a:lnTo>
                <a:lnTo>
                  <a:pt x="1944" y="2201"/>
                </a:lnTo>
                <a:lnTo>
                  <a:pt x="1943" y="2201"/>
                </a:lnTo>
                <a:lnTo>
                  <a:pt x="1941" y="2201"/>
                </a:lnTo>
                <a:lnTo>
                  <a:pt x="1941" y="2203"/>
                </a:lnTo>
                <a:lnTo>
                  <a:pt x="1939" y="2204"/>
                </a:lnTo>
                <a:lnTo>
                  <a:pt x="1938" y="2206"/>
                </a:lnTo>
                <a:lnTo>
                  <a:pt x="1936" y="2206"/>
                </a:lnTo>
                <a:lnTo>
                  <a:pt x="1934" y="2208"/>
                </a:lnTo>
                <a:lnTo>
                  <a:pt x="1932" y="2206"/>
                </a:lnTo>
                <a:lnTo>
                  <a:pt x="1931" y="2208"/>
                </a:lnTo>
                <a:lnTo>
                  <a:pt x="1929" y="2208"/>
                </a:lnTo>
                <a:lnTo>
                  <a:pt x="1926" y="2208"/>
                </a:lnTo>
                <a:lnTo>
                  <a:pt x="1924" y="2210"/>
                </a:lnTo>
                <a:lnTo>
                  <a:pt x="1921" y="2208"/>
                </a:lnTo>
                <a:lnTo>
                  <a:pt x="1921" y="2210"/>
                </a:lnTo>
                <a:lnTo>
                  <a:pt x="1917" y="2210"/>
                </a:lnTo>
                <a:lnTo>
                  <a:pt x="1917" y="2211"/>
                </a:lnTo>
                <a:lnTo>
                  <a:pt x="1915" y="2210"/>
                </a:lnTo>
                <a:lnTo>
                  <a:pt x="1915" y="2211"/>
                </a:lnTo>
                <a:lnTo>
                  <a:pt x="1914" y="2211"/>
                </a:lnTo>
                <a:lnTo>
                  <a:pt x="1910" y="2211"/>
                </a:lnTo>
                <a:lnTo>
                  <a:pt x="1910" y="2213"/>
                </a:lnTo>
                <a:lnTo>
                  <a:pt x="1909" y="2211"/>
                </a:lnTo>
                <a:lnTo>
                  <a:pt x="1909" y="2213"/>
                </a:lnTo>
                <a:lnTo>
                  <a:pt x="1907" y="2213"/>
                </a:lnTo>
                <a:lnTo>
                  <a:pt x="1907" y="2215"/>
                </a:lnTo>
                <a:lnTo>
                  <a:pt x="1905" y="2215"/>
                </a:lnTo>
                <a:lnTo>
                  <a:pt x="1912" y="2222"/>
                </a:lnTo>
                <a:lnTo>
                  <a:pt x="1921" y="2239"/>
                </a:lnTo>
                <a:lnTo>
                  <a:pt x="1929" y="2250"/>
                </a:lnTo>
                <a:lnTo>
                  <a:pt x="1934" y="2256"/>
                </a:lnTo>
                <a:lnTo>
                  <a:pt x="1934" y="2262"/>
                </a:lnTo>
                <a:lnTo>
                  <a:pt x="1934" y="2271"/>
                </a:lnTo>
                <a:lnTo>
                  <a:pt x="1938" y="2273"/>
                </a:lnTo>
                <a:lnTo>
                  <a:pt x="1939" y="2278"/>
                </a:lnTo>
                <a:lnTo>
                  <a:pt x="1943" y="2286"/>
                </a:lnTo>
                <a:lnTo>
                  <a:pt x="1944" y="2293"/>
                </a:lnTo>
                <a:lnTo>
                  <a:pt x="1946" y="2296"/>
                </a:lnTo>
                <a:lnTo>
                  <a:pt x="1948" y="2298"/>
                </a:lnTo>
                <a:lnTo>
                  <a:pt x="1949" y="2303"/>
                </a:lnTo>
                <a:lnTo>
                  <a:pt x="1949" y="2305"/>
                </a:lnTo>
                <a:lnTo>
                  <a:pt x="1951" y="2307"/>
                </a:lnTo>
                <a:lnTo>
                  <a:pt x="1953" y="2310"/>
                </a:lnTo>
                <a:lnTo>
                  <a:pt x="1955" y="2313"/>
                </a:lnTo>
                <a:lnTo>
                  <a:pt x="1956" y="2315"/>
                </a:lnTo>
                <a:lnTo>
                  <a:pt x="1960" y="2324"/>
                </a:lnTo>
                <a:lnTo>
                  <a:pt x="1961" y="2327"/>
                </a:lnTo>
                <a:lnTo>
                  <a:pt x="1961" y="2330"/>
                </a:lnTo>
                <a:lnTo>
                  <a:pt x="1960" y="2330"/>
                </a:lnTo>
                <a:lnTo>
                  <a:pt x="1961" y="2337"/>
                </a:lnTo>
                <a:lnTo>
                  <a:pt x="1963" y="2341"/>
                </a:lnTo>
                <a:lnTo>
                  <a:pt x="1961" y="2346"/>
                </a:lnTo>
                <a:lnTo>
                  <a:pt x="1958" y="2346"/>
                </a:lnTo>
                <a:lnTo>
                  <a:pt x="1956" y="2347"/>
                </a:lnTo>
                <a:lnTo>
                  <a:pt x="1955" y="2347"/>
                </a:lnTo>
                <a:lnTo>
                  <a:pt x="1953" y="2347"/>
                </a:lnTo>
                <a:lnTo>
                  <a:pt x="1956" y="2346"/>
                </a:lnTo>
                <a:lnTo>
                  <a:pt x="1955" y="2347"/>
                </a:lnTo>
                <a:lnTo>
                  <a:pt x="1953" y="2347"/>
                </a:lnTo>
                <a:lnTo>
                  <a:pt x="1953" y="2349"/>
                </a:lnTo>
                <a:lnTo>
                  <a:pt x="1953" y="2347"/>
                </a:lnTo>
                <a:lnTo>
                  <a:pt x="1953" y="2349"/>
                </a:lnTo>
                <a:lnTo>
                  <a:pt x="1953" y="2351"/>
                </a:lnTo>
                <a:lnTo>
                  <a:pt x="1949" y="2352"/>
                </a:lnTo>
                <a:lnTo>
                  <a:pt x="1949" y="2356"/>
                </a:lnTo>
                <a:lnTo>
                  <a:pt x="1948" y="2356"/>
                </a:lnTo>
                <a:lnTo>
                  <a:pt x="1943" y="2363"/>
                </a:lnTo>
                <a:lnTo>
                  <a:pt x="1943" y="2361"/>
                </a:lnTo>
                <a:lnTo>
                  <a:pt x="1943" y="2359"/>
                </a:lnTo>
                <a:lnTo>
                  <a:pt x="1944" y="2358"/>
                </a:lnTo>
                <a:lnTo>
                  <a:pt x="1949" y="2352"/>
                </a:lnTo>
                <a:lnTo>
                  <a:pt x="1949" y="2351"/>
                </a:lnTo>
                <a:lnTo>
                  <a:pt x="1951" y="2351"/>
                </a:lnTo>
                <a:lnTo>
                  <a:pt x="1949" y="2351"/>
                </a:lnTo>
                <a:lnTo>
                  <a:pt x="1944" y="2356"/>
                </a:lnTo>
                <a:lnTo>
                  <a:pt x="1943" y="2359"/>
                </a:lnTo>
                <a:lnTo>
                  <a:pt x="1941" y="2363"/>
                </a:lnTo>
                <a:lnTo>
                  <a:pt x="1949" y="2373"/>
                </a:lnTo>
                <a:lnTo>
                  <a:pt x="1951" y="2378"/>
                </a:lnTo>
                <a:lnTo>
                  <a:pt x="1951" y="2381"/>
                </a:lnTo>
                <a:lnTo>
                  <a:pt x="1953" y="2385"/>
                </a:lnTo>
                <a:lnTo>
                  <a:pt x="1951" y="2387"/>
                </a:lnTo>
                <a:lnTo>
                  <a:pt x="1955" y="2390"/>
                </a:lnTo>
                <a:lnTo>
                  <a:pt x="1953" y="2392"/>
                </a:lnTo>
                <a:lnTo>
                  <a:pt x="1958" y="2402"/>
                </a:lnTo>
                <a:lnTo>
                  <a:pt x="1960" y="2407"/>
                </a:lnTo>
                <a:lnTo>
                  <a:pt x="1958" y="2407"/>
                </a:lnTo>
                <a:lnTo>
                  <a:pt x="1965" y="2414"/>
                </a:lnTo>
                <a:lnTo>
                  <a:pt x="1966" y="2419"/>
                </a:lnTo>
                <a:lnTo>
                  <a:pt x="1968" y="2422"/>
                </a:lnTo>
                <a:lnTo>
                  <a:pt x="1970" y="2427"/>
                </a:lnTo>
                <a:lnTo>
                  <a:pt x="1968" y="2427"/>
                </a:lnTo>
                <a:lnTo>
                  <a:pt x="1975" y="2434"/>
                </a:lnTo>
                <a:lnTo>
                  <a:pt x="1982" y="2443"/>
                </a:lnTo>
                <a:lnTo>
                  <a:pt x="1982" y="2444"/>
                </a:lnTo>
                <a:lnTo>
                  <a:pt x="1978" y="2446"/>
                </a:lnTo>
                <a:lnTo>
                  <a:pt x="1985" y="2455"/>
                </a:lnTo>
                <a:lnTo>
                  <a:pt x="1985" y="2460"/>
                </a:lnTo>
                <a:lnTo>
                  <a:pt x="1983" y="2472"/>
                </a:lnTo>
                <a:lnTo>
                  <a:pt x="1983" y="2475"/>
                </a:lnTo>
                <a:lnTo>
                  <a:pt x="1982" y="2477"/>
                </a:lnTo>
                <a:lnTo>
                  <a:pt x="1983" y="2478"/>
                </a:lnTo>
                <a:lnTo>
                  <a:pt x="1982" y="2483"/>
                </a:lnTo>
                <a:lnTo>
                  <a:pt x="1982" y="2487"/>
                </a:lnTo>
                <a:lnTo>
                  <a:pt x="1982" y="2489"/>
                </a:lnTo>
                <a:lnTo>
                  <a:pt x="1982" y="2490"/>
                </a:lnTo>
                <a:lnTo>
                  <a:pt x="1982" y="2499"/>
                </a:lnTo>
                <a:lnTo>
                  <a:pt x="1980" y="2507"/>
                </a:lnTo>
                <a:lnTo>
                  <a:pt x="1978" y="2509"/>
                </a:lnTo>
                <a:lnTo>
                  <a:pt x="1978" y="2516"/>
                </a:lnTo>
                <a:lnTo>
                  <a:pt x="1977" y="2517"/>
                </a:lnTo>
                <a:lnTo>
                  <a:pt x="1975" y="2523"/>
                </a:lnTo>
                <a:lnTo>
                  <a:pt x="1972" y="2528"/>
                </a:lnTo>
                <a:lnTo>
                  <a:pt x="1970" y="2528"/>
                </a:lnTo>
                <a:lnTo>
                  <a:pt x="1972" y="2526"/>
                </a:lnTo>
                <a:lnTo>
                  <a:pt x="1968" y="2528"/>
                </a:lnTo>
                <a:lnTo>
                  <a:pt x="1966" y="2533"/>
                </a:lnTo>
                <a:lnTo>
                  <a:pt x="1966" y="2535"/>
                </a:lnTo>
                <a:lnTo>
                  <a:pt x="1966" y="2536"/>
                </a:lnTo>
                <a:lnTo>
                  <a:pt x="1960" y="2541"/>
                </a:lnTo>
                <a:lnTo>
                  <a:pt x="1958" y="2541"/>
                </a:lnTo>
                <a:lnTo>
                  <a:pt x="1958" y="2540"/>
                </a:lnTo>
                <a:lnTo>
                  <a:pt x="1956" y="2540"/>
                </a:lnTo>
                <a:lnTo>
                  <a:pt x="1955" y="2541"/>
                </a:lnTo>
                <a:lnTo>
                  <a:pt x="1953" y="2541"/>
                </a:lnTo>
                <a:lnTo>
                  <a:pt x="1953" y="2540"/>
                </a:lnTo>
                <a:lnTo>
                  <a:pt x="1949" y="2541"/>
                </a:lnTo>
                <a:lnTo>
                  <a:pt x="1949" y="2543"/>
                </a:lnTo>
                <a:lnTo>
                  <a:pt x="1939" y="2552"/>
                </a:lnTo>
                <a:lnTo>
                  <a:pt x="1939" y="2553"/>
                </a:lnTo>
                <a:lnTo>
                  <a:pt x="1941" y="2560"/>
                </a:lnTo>
                <a:lnTo>
                  <a:pt x="1938" y="2562"/>
                </a:lnTo>
                <a:lnTo>
                  <a:pt x="1936" y="2565"/>
                </a:lnTo>
                <a:lnTo>
                  <a:pt x="1934" y="2567"/>
                </a:lnTo>
                <a:lnTo>
                  <a:pt x="1932" y="2569"/>
                </a:lnTo>
                <a:lnTo>
                  <a:pt x="1931" y="2570"/>
                </a:lnTo>
                <a:lnTo>
                  <a:pt x="1929" y="2570"/>
                </a:lnTo>
                <a:lnTo>
                  <a:pt x="1929" y="2572"/>
                </a:lnTo>
                <a:lnTo>
                  <a:pt x="1927" y="2572"/>
                </a:lnTo>
                <a:lnTo>
                  <a:pt x="1926" y="2574"/>
                </a:lnTo>
                <a:lnTo>
                  <a:pt x="1924" y="2575"/>
                </a:lnTo>
                <a:lnTo>
                  <a:pt x="1924" y="2577"/>
                </a:lnTo>
                <a:lnTo>
                  <a:pt x="1922" y="2579"/>
                </a:lnTo>
                <a:lnTo>
                  <a:pt x="1921" y="2580"/>
                </a:lnTo>
                <a:lnTo>
                  <a:pt x="1919" y="2582"/>
                </a:lnTo>
                <a:lnTo>
                  <a:pt x="1919" y="2586"/>
                </a:lnTo>
                <a:lnTo>
                  <a:pt x="1919" y="2587"/>
                </a:lnTo>
                <a:lnTo>
                  <a:pt x="1919" y="2589"/>
                </a:lnTo>
                <a:lnTo>
                  <a:pt x="1919" y="2591"/>
                </a:lnTo>
                <a:lnTo>
                  <a:pt x="1919" y="2594"/>
                </a:lnTo>
                <a:lnTo>
                  <a:pt x="1917" y="2599"/>
                </a:lnTo>
                <a:lnTo>
                  <a:pt x="1919" y="2603"/>
                </a:lnTo>
                <a:lnTo>
                  <a:pt x="1917" y="2604"/>
                </a:lnTo>
                <a:lnTo>
                  <a:pt x="1915" y="2604"/>
                </a:lnTo>
                <a:lnTo>
                  <a:pt x="1917" y="2604"/>
                </a:lnTo>
                <a:lnTo>
                  <a:pt x="1912" y="2604"/>
                </a:lnTo>
                <a:lnTo>
                  <a:pt x="1914" y="2608"/>
                </a:lnTo>
                <a:lnTo>
                  <a:pt x="1912" y="2609"/>
                </a:lnTo>
                <a:lnTo>
                  <a:pt x="1912" y="2613"/>
                </a:lnTo>
                <a:lnTo>
                  <a:pt x="1910" y="2614"/>
                </a:lnTo>
                <a:lnTo>
                  <a:pt x="1909" y="2616"/>
                </a:lnTo>
                <a:lnTo>
                  <a:pt x="1910" y="2620"/>
                </a:lnTo>
                <a:lnTo>
                  <a:pt x="1909" y="2620"/>
                </a:lnTo>
                <a:lnTo>
                  <a:pt x="1910" y="2626"/>
                </a:lnTo>
                <a:lnTo>
                  <a:pt x="1909" y="2628"/>
                </a:lnTo>
                <a:lnTo>
                  <a:pt x="1909" y="2631"/>
                </a:lnTo>
                <a:lnTo>
                  <a:pt x="1907" y="2640"/>
                </a:lnTo>
                <a:lnTo>
                  <a:pt x="1907" y="2645"/>
                </a:lnTo>
                <a:lnTo>
                  <a:pt x="1905" y="2647"/>
                </a:lnTo>
                <a:lnTo>
                  <a:pt x="1905" y="2648"/>
                </a:lnTo>
                <a:lnTo>
                  <a:pt x="1904" y="2654"/>
                </a:lnTo>
                <a:lnTo>
                  <a:pt x="1902" y="2654"/>
                </a:lnTo>
                <a:lnTo>
                  <a:pt x="1902" y="2657"/>
                </a:lnTo>
                <a:lnTo>
                  <a:pt x="1902" y="2659"/>
                </a:lnTo>
                <a:lnTo>
                  <a:pt x="1900" y="2660"/>
                </a:lnTo>
                <a:lnTo>
                  <a:pt x="1900" y="2662"/>
                </a:lnTo>
                <a:lnTo>
                  <a:pt x="1898" y="2664"/>
                </a:lnTo>
                <a:lnTo>
                  <a:pt x="1897" y="2669"/>
                </a:lnTo>
                <a:lnTo>
                  <a:pt x="1898" y="2669"/>
                </a:lnTo>
                <a:lnTo>
                  <a:pt x="1898" y="2671"/>
                </a:lnTo>
                <a:lnTo>
                  <a:pt x="1898" y="2672"/>
                </a:lnTo>
                <a:lnTo>
                  <a:pt x="1898" y="2671"/>
                </a:lnTo>
                <a:lnTo>
                  <a:pt x="1897" y="2672"/>
                </a:lnTo>
                <a:lnTo>
                  <a:pt x="1895" y="2674"/>
                </a:lnTo>
                <a:lnTo>
                  <a:pt x="1893" y="2679"/>
                </a:lnTo>
                <a:lnTo>
                  <a:pt x="1893" y="2682"/>
                </a:lnTo>
                <a:lnTo>
                  <a:pt x="1892" y="2691"/>
                </a:lnTo>
                <a:lnTo>
                  <a:pt x="1892" y="2694"/>
                </a:lnTo>
                <a:lnTo>
                  <a:pt x="1888" y="2696"/>
                </a:lnTo>
                <a:lnTo>
                  <a:pt x="1887" y="2700"/>
                </a:lnTo>
                <a:lnTo>
                  <a:pt x="1885" y="2701"/>
                </a:lnTo>
                <a:lnTo>
                  <a:pt x="1883" y="2703"/>
                </a:lnTo>
                <a:lnTo>
                  <a:pt x="1881" y="2701"/>
                </a:lnTo>
                <a:lnTo>
                  <a:pt x="1883" y="2701"/>
                </a:lnTo>
                <a:lnTo>
                  <a:pt x="1880" y="2701"/>
                </a:lnTo>
                <a:lnTo>
                  <a:pt x="1878" y="2706"/>
                </a:lnTo>
                <a:lnTo>
                  <a:pt x="1878" y="2708"/>
                </a:lnTo>
                <a:lnTo>
                  <a:pt x="1881" y="2713"/>
                </a:lnTo>
                <a:lnTo>
                  <a:pt x="1881" y="2718"/>
                </a:lnTo>
                <a:lnTo>
                  <a:pt x="1883" y="2735"/>
                </a:lnTo>
                <a:lnTo>
                  <a:pt x="1881" y="2751"/>
                </a:lnTo>
                <a:lnTo>
                  <a:pt x="1881" y="2754"/>
                </a:lnTo>
                <a:lnTo>
                  <a:pt x="1880" y="2754"/>
                </a:lnTo>
                <a:lnTo>
                  <a:pt x="1881" y="2751"/>
                </a:lnTo>
                <a:lnTo>
                  <a:pt x="1880" y="2752"/>
                </a:lnTo>
                <a:lnTo>
                  <a:pt x="1880" y="2757"/>
                </a:lnTo>
                <a:lnTo>
                  <a:pt x="1880" y="2764"/>
                </a:lnTo>
                <a:lnTo>
                  <a:pt x="1880" y="2776"/>
                </a:lnTo>
                <a:lnTo>
                  <a:pt x="1880" y="2781"/>
                </a:lnTo>
                <a:lnTo>
                  <a:pt x="1878" y="2786"/>
                </a:lnTo>
                <a:lnTo>
                  <a:pt x="1878" y="2793"/>
                </a:lnTo>
                <a:lnTo>
                  <a:pt x="1880" y="2803"/>
                </a:lnTo>
                <a:lnTo>
                  <a:pt x="1881" y="2808"/>
                </a:lnTo>
                <a:lnTo>
                  <a:pt x="1881" y="2813"/>
                </a:lnTo>
                <a:lnTo>
                  <a:pt x="1885" y="2820"/>
                </a:lnTo>
                <a:lnTo>
                  <a:pt x="1890" y="2827"/>
                </a:lnTo>
                <a:lnTo>
                  <a:pt x="1890" y="2829"/>
                </a:lnTo>
                <a:lnTo>
                  <a:pt x="1892" y="2832"/>
                </a:lnTo>
                <a:lnTo>
                  <a:pt x="1893" y="2837"/>
                </a:lnTo>
                <a:lnTo>
                  <a:pt x="1893" y="2839"/>
                </a:lnTo>
                <a:lnTo>
                  <a:pt x="1909" y="2851"/>
                </a:lnTo>
                <a:lnTo>
                  <a:pt x="1915" y="2859"/>
                </a:lnTo>
                <a:lnTo>
                  <a:pt x="1917" y="2865"/>
                </a:lnTo>
                <a:lnTo>
                  <a:pt x="1921" y="2868"/>
                </a:lnTo>
                <a:lnTo>
                  <a:pt x="1927" y="2880"/>
                </a:lnTo>
                <a:lnTo>
                  <a:pt x="1927" y="2887"/>
                </a:lnTo>
                <a:lnTo>
                  <a:pt x="1934" y="2897"/>
                </a:lnTo>
                <a:lnTo>
                  <a:pt x="1936" y="2900"/>
                </a:lnTo>
                <a:lnTo>
                  <a:pt x="1944" y="2914"/>
                </a:lnTo>
                <a:lnTo>
                  <a:pt x="1944" y="2919"/>
                </a:lnTo>
                <a:lnTo>
                  <a:pt x="1949" y="2922"/>
                </a:lnTo>
                <a:lnTo>
                  <a:pt x="1953" y="2926"/>
                </a:lnTo>
                <a:lnTo>
                  <a:pt x="1953" y="2927"/>
                </a:lnTo>
                <a:lnTo>
                  <a:pt x="1955" y="2931"/>
                </a:lnTo>
                <a:lnTo>
                  <a:pt x="1955" y="2938"/>
                </a:lnTo>
                <a:lnTo>
                  <a:pt x="1960" y="2946"/>
                </a:lnTo>
                <a:lnTo>
                  <a:pt x="1961" y="2950"/>
                </a:lnTo>
                <a:lnTo>
                  <a:pt x="1961" y="2955"/>
                </a:lnTo>
                <a:lnTo>
                  <a:pt x="1963" y="2960"/>
                </a:lnTo>
                <a:lnTo>
                  <a:pt x="1970" y="2968"/>
                </a:lnTo>
                <a:lnTo>
                  <a:pt x="1972" y="2972"/>
                </a:lnTo>
                <a:lnTo>
                  <a:pt x="1977" y="2978"/>
                </a:lnTo>
                <a:lnTo>
                  <a:pt x="1978" y="2982"/>
                </a:lnTo>
                <a:lnTo>
                  <a:pt x="1985" y="2992"/>
                </a:lnTo>
                <a:lnTo>
                  <a:pt x="1987" y="2995"/>
                </a:lnTo>
                <a:lnTo>
                  <a:pt x="1992" y="3002"/>
                </a:lnTo>
                <a:lnTo>
                  <a:pt x="1992" y="3004"/>
                </a:lnTo>
                <a:lnTo>
                  <a:pt x="1990" y="3006"/>
                </a:lnTo>
                <a:lnTo>
                  <a:pt x="1995" y="3009"/>
                </a:lnTo>
                <a:lnTo>
                  <a:pt x="2007" y="3023"/>
                </a:lnTo>
                <a:lnTo>
                  <a:pt x="2007" y="3024"/>
                </a:lnTo>
                <a:lnTo>
                  <a:pt x="2012" y="3031"/>
                </a:lnTo>
                <a:lnTo>
                  <a:pt x="2014" y="3035"/>
                </a:lnTo>
                <a:lnTo>
                  <a:pt x="2016" y="3040"/>
                </a:lnTo>
                <a:lnTo>
                  <a:pt x="2019" y="3045"/>
                </a:lnTo>
                <a:lnTo>
                  <a:pt x="2019" y="3047"/>
                </a:lnTo>
                <a:lnTo>
                  <a:pt x="2019" y="3050"/>
                </a:lnTo>
                <a:lnTo>
                  <a:pt x="2019" y="3055"/>
                </a:lnTo>
                <a:lnTo>
                  <a:pt x="2021" y="3057"/>
                </a:lnTo>
                <a:lnTo>
                  <a:pt x="2019" y="3062"/>
                </a:lnTo>
                <a:lnTo>
                  <a:pt x="2017" y="3065"/>
                </a:lnTo>
                <a:lnTo>
                  <a:pt x="2016" y="3069"/>
                </a:lnTo>
                <a:lnTo>
                  <a:pt x="2017" y="3065"/>
                </a:lnTo>
                <a:lnTo>
                  <a:pt x="2014" y="3065"/>
                </a:lnTo>
                <a:lnTo>
                  <a:pt x="2016" y="3060"/>
                </a:lnTo>
                <a:lnTo>
                  <a:pt x="2014" y="3062"/>
                </a:lnTo>
                <a:lnTo>
                  <a:pt x="2014" y="3064"/>
                </a:lnTo>
                <a:lnTo>
                  <a:pt x="2014" y="3065"/>
                </a:lnTo>
                <a:lnTo>
                  <a:pt x="2014" y="3072"/>
                </a:lnTo>
                <a:lnTo>
                  <a:pt x="2017" y="3084"/>
                </a:lnTo>
                <a:lnTo>
                  <a:pt x="2017" y="3087"/>
                </a:lnTo>
                <a:lnTo>
                  <a:pt x="2016" y="3087"/>
                </a:lnTo>
                <a:lnTo>
                  <a:pt x="2017" y="3086"/>
                </a:lnTo>
                <a:lnTo>
                  <a:pt x="2016" y="3086"/>
                </a:lnTo>
                <a:lnTo>
                  <a:pt x="2017" y="3086"/>
                </a:lnTo>
                <a:lnTo>
                  <a:pt x="2016" y="3086"/>
                </a:lnTo>
                <a:lnTo>
                  <a:pt x="2014" y="3087"/>
                </a:lnTo>
                <a:lnTo>
                  <a:pt x="2019" y="3099"/>
                </a:lnTo>
                <a:lnTo>
                  <a:pt x="2017" y="3106"/>
                </a:lnTo>
                <a:lnTo>
                  <a:pt x="2019" y="3113"/>
                </a:lnTo>
                <a:lnTo>
                  <a:pt x="2016" y="3116"/>
                </a:lnTo>
                <a:lnTo>
                  <a:pt x="2016" y="3120"/>
                </a:lnTo>
                <a:lnTo>
                  <a:pt x="2019" y="3130"/>
                </a:lnTo>
                <a:lnTo>
                  <a:pt x="2024" y="3140"/>
                </a:lnTo>
                <a:lnTo>
                  <a:pt x="2024" y="3142"/>
                </a:lnTo>
                <a:lnTo>
                  <a:pt x="2023" y="3145"/>
                </a:lnTo>
                <a:lnTo>
                  <a:pt x="2031" y="3157"/>
                </a:lnTo>
                <a:lnTo>
                  <a:pt x="2033" y="3161"/>
                </a:lnTo>
                <a:lnTo>
                  <a:pt x="2033" y="3164"/>
                </a:lnTo>
                <a:lnTo>
                  <a:pt x="2038" y="3172"/>
                </a:lnTo>
                <a:lnTo>
                  <a:pt x="2033" y="3184"/>
                </a:lnTo>
                <a:lnTo>
                  <a:pt x="2034" y="3188"/>
                </a:lnTo>
                <a:lnTo>
                  <a:pt x="2036" y="3189"/>
                </a:lnTo>
                <a:lnTo>
                  <a:pt x="2034" y="3193"/>
                </a:lnTo>
                <a:lnTo>
                  <a:pt x="2038" y="3196"/>
                </a:lnTo>
                <a:lnTo>
                  <a:pt x="2036" y="3200"/>
                </a:lnTo>
                <a:lnTo>
                  <a:pt x="2036" y="3205"/>
                </a:lnTo>
                <a:lnTo>
                  <a:pt x="2034" y="3206"/>
                </a:lnTo>
                <a:lnTo>
                  <a:pt x="2040" y="3212"/>
                </a:lnTo>
                <a:lnTo>
                  <a:pt x="2040" y="3215"/>
                </a:lnTo>
                <a:lnTo>
                  <a:pt x="2041" y="3218"/>
                </a:lnTo>
                <a:lnTo>
                  <a:pt x="2043" y="3223"/>
                </a:lnTo>
                <a:lnTo>
                  <a:pt x="2041" y="3225"/>
                </a:lnTo>
                <a:lnTo>
                  <a:pt x="2040" y="3227"/>
                </a:lnTo>
                <a:lnTo>
                  <a:pt x="2041" y="3229"/>
                </a:lnTo>
                <a:lnTo>
                  <a:pt x="2041" y="3230"/>
                </a:lnTo>
                <a:lnTo>
                  <a:pt x="2041" y="3235"/>
                </a:lnTo>
                <a:lnTo>
                  <a:pt x="2043" y="3237"/>
                </a:lnTo>
                <a:lnTo>
                  <a:pt x="2048" y="3239"/>
                </a:lnTo>
                <a:lnTo>
                  <a:pt x="2050" y="3242"/>
                </a:lnTo>
                <a:lnTo>
                  <a:pt x="2050" y="3244"/>
                </a:lnTo>
                <a:lnTo>
                  <a:pt x="2051" y="3249"/>
                </a:lnTo>
                <a:lnTo>
                  <a:pt x="2053" y="3249"/>
                </a:lnTo>
                <a:lnTo>
                  <a:pt x="2051" y="3252"/>
                </a:lnTo>
                <a:lnTo>
                  <a:pt x="2051" y="3251"/>
                </a:lnTo>
                <a:lnTo>
                  <a:pt x="2051" y="3254"/>
                </a:lnTo>
                <a:lnTo>
                  <a:pt x="2050" y="3251"/>
                </a:lnTo>
                <a:lnTo>
                  <a:pt x="2048" y="3252"/>
                </a:lnTo>
                <a:lnTo>
                  <a:pt x="2048" y="3251"/>
                </a:lnTo>
                <a:lnTo>
                  <a:pt x="2048" y="3256"/>
                </a:lnTo>
                <a:lnTo>
                  <a:pt x="2048" y="3257"/>
                </a:lnTo>
                <a:lnTo>
                  <a:pt x="2050" y="3256"/>
                </a:lnTo>
                <a:lnTo>
                  <a:pt x="2050" y="3259"/>
                </a:lnTo>
                <a:lnTo>
                  <a:pt x="2051" y="3263"/>
                </a:lnTo>
                <a:lnTo>
                  <a:pt x="2051" y="3264"/>
                </a:lnTo>
                <a:lnTo>
                  <a:pt x="2055" y="3266"/>
                </a:lnTo>
                <a:lnTo>
                  <a:pt x="2055" y="3273"/>
                </a:lnTo>
                <a:lnTo>
                  <a:pt x="2057" y="3274"/>
                </a:lnTo>
                <a:lnTo>
                  <a:pt x="2057" y="3276"/>
                </a:lnTo>
                <a:lnTo>
                  <a:pt x="2057" y="3278"/>
                </a:lnTo>
                <a:lnTo>
                  <a:pt x="2057" y="3280"/>
                </a:lnTo>
                <a:lnTo>
                  <a:pt x="2058" y="3286"/>
                </a:lnTo>
                <a:lnTo>
                  <a:pt x="2062" y="3290"/>
                </a:lnTo>
                <a:lnTo>
                  <a:pt x="2062" y="3291"/>
                </a:lnTo>
                <a:lnTo>
                  <a:pt x="2065" y="3295"/>
                </a:lnTo>
                <a:lnTo>
                  <a:pt x="2067" y="3298"/>
                </a:lnTo>
                <a:lnTo>
                  <a:pt x="2070" y="3303"/>
                </a:lnTo>
                <a:lnTo>
                  <a:pt x="2070" y="3305"/>
                </a:lnTo>
                <a:lnTo>
                  <a:pt x="2072" y="3308"/>
                </a:lnTo>
                <a:lnTo>
                  <a:pt x="2079" y="3315"/>
                </a:lnTo>
                <a:lnTo>
                  <a:pt x="2079" y="3319"/>
                </a:lnTo>
                <a:lnTo>
                  <a:pt x="2084" y="3326"/>
                </a:lnTo>
                <a:lnTo>
                  <a:pt x="2096" y="3334"/>
                </a:lnTo>
                <a:lnTo>
                  <a:pt x="2111" y="3349"/>
                </a:lnTo>
                <a:lnTo>
                  <a:pt x="2118" y="3353"/>
                </a:lnTo>
                <a:lnTo>
                  <a:pt x="2123" y="3358"/>
                </a:lnTo>
                <a:lnTo>
                  <a:pt x="2123" y="3360"/>
                </a:lnTo>
                <a:lnTo>
                  <a:pt x="2125" y="3365"/>
                </a:lnTo>
                <a:lnTo>
                  <a:pt x="2130" y="3368"/>
                </a:lnTo>
                <a:lnTo>
                  <a:pt x="2131" y="3373"/>
                </a:lnTo>
                <a:lnTo>
                  <a:pt x="2135" y="3377"/>
                </a:lnTo>
                <a:lnTo>
                  <a:pt x="2136" y="3382"/>
                </a:lnTo>
                <a:lnTo>
                  <a:pt x="2143" y="3394"/>
                </a:lnTo>
                <a:lnTo>
                  <a:pt x="2145" y="3399"/>
                </a:lnTo>
                <a:lnTo>
                  <a:pt x="2145" y="3400"/>
                </a:lnTo>
                <a:lnTo>
                  <a:pt x="2147" y="3402"/>
                </a:lnTo>
                <a:lnTo>
                  <a:pt x="2147" y="3405"/>
                </a:lnTo>
                <a:lnTo>
                  <a:pt x="2148" y="3412"/>
                </a:lnTo>
                <a:lnTo>
                  <a:pt x="2150" y="3419"/>
                </a:lnTo>
                <a:lnTo>
                  <a:pt x="2153" y="3421"/>
                </a:lnTo>
                <a:lnTo>
                  <a:pt x="2155" y="3429"/>
                </a:lnTo>
                <a:lnTo>
                  <a:pt x="2155" y="3431"/>
                </a:lnTo>
                <a:lnTo>
                  <a:pt x="2159" y="3439"/>
                </a:lnTo>
                <a:lnTo>
                  <a:pt x="2167" y="3451"/>
                </a:lnTo>
                <a:lnTo>
                  <a:pt x="2167" y="3453"/>
                </a:lnTo>
                <a:lnTo>
                  <a:pt x="2170" y="3458"/>
                </a:lnTo>
                <a:lnTo>
                  <a:pt x="2176" y="3468"/>
                </a:lnTo>
                <a:lnTo>
                  <a:pt x="2179" y="3472"/>
                </a:lnTo>
                <a:lnTo>
                  <a:pt x="2182" y="3479"/>
                </a:lnTo>
                <a:lnTo>
                  <a:pt x="2189" y="3485"/>
                </a:lnTo>
                <a:lnTo>
                  <a:pt x="2191" y="3491"/>
                </a:lnTo>
                <a:lnTo>
                  <a:pt x="2201" y="3501"/>
                </a:lnTo>
                <a:lnTo>
                  <a:pt x="2203" y="3506"/>
                </a:lnTo>
                <a:lnTo>
                  <a:pt x="2206" y="3511"/>
                </a:lnTo>
                <a:lnTo>
                  <a:pt x="2206" y="3514"/>
                </a:lnTo>
                <a:lnTo>
                  <a:pt x="2210" y="3518"/>
                </a:lnTo>
                <a:lnTo>
                  <a:pt x="2210" y="3519"/>
                </a:lnTo>
                <a:lnTo>
                  <a:pt x="2211" y="3526"/>
                </a:lnTo>
                <a:lnTo>
                  <a:pt x="2211" y="3530"/>
                </a:lnTo>
                <a:lnTo>
                  <a:pt x="2213" y="3538"/>
                </a:lnTo>
                <a:lnTo>
                  <a:pt x="2213" y="3540"/>
                </a:lnTo>
                <a:lnTo>
                  <a:pt x="2211" y="3540"/>
                </a:lnTo>
                <a:lnTo>
                  <a:pt x="2213" y="3547"/>
                </a:lnTo>
                <a:lnTo>
                  <a:pt x="2211" y="3553"/>
                </a:lnTo>
                <a:lnTo>
                  <a:pt x="2208" y="3557"/>
                </a:lnTo>
                <a:lnTo>
                  <a:pt x="2203" y="3562"/>
                </a:lnTo>
                <a:lnTo>
                  <a:pt x="2198" y="3564"/>
                </a:lnTo>
                <a:lnTo>
                  <a:pt x="2196" y="3560"/>
                </a:lnTo>
                <a:lnTo>
                  <a:pt x="2194" y="3560"/>
                </a:lnTo>
                <a:lnTo>
                  <a:pt x="2194" y="3559"/>
                </a:lnTo>
                <a:lnTo>
                  <a:pt x="2193" y="3560"/>
                </a:lnTo>
                <a:lnTo>
                  <a:pt x="2191" y="3559"/>
                </a:lnTo>
                <a:lnTo>
                  <a:pt x="2191" y="3560"/>
                </a:lnTo>
                <a:lnTo>
                  <a:pt x="2191" y="3564"/>
                </a:lnTo>
                <a:lnTo>
                  <a:pt x="2187" y="3565"/>
                </a:lnTo>
                <a:lnTo>
                  <a:pt x="2189" y="3567"/>
                </a:lnTo>
                <a:lnTo>
                  <a:pt x="2187" y="3569"/>
                </a:lnTo>
                <a:lnTo>
                  <a:pt x="2189" y="3570"/>
                </a:lnTo>
                <a:lnTo>
                  <a:pt x="2189" y="3572"/>
                </a:lnTo>
                <a:lnTo>
                  <a:pt x="2189" y="3574"/>
                </a:lnTo>
                <a:lnTo>
                  <a:pt x="2191" y="3574"/>
                </a:lnTo>
                <a:lnTo>
                  <a:pt x="2189" y="3576"/>
                </a:lnTo>
                <a:lnTo>
                  <a:pt x="2191" y="3576"/>
                </a:lnTo>
                <a:lnTo>
                  <a:pt x="2193" y="3576"/>
                </a:lnTo>
                <a:lnTo>
                  <a:pt x="2194" y="3576"/>
                </a:lnTo>
                <a:lnTo>
                  <a:pt x="2193" y="3576"/>
                </a:lnTo>
                <a:lnTo>
                  <a:pt x="2194" y="3574"/>
                </a:lnTo>
                <a:lnTo>
                  <a:pt x="2196" y="3574"/>
                </a:lnTo>
                <a:lnTo>
                  <a:pt x="2194" y="3576"/>
                </a:lnTo>
                <a:lnTo>
                  <a:pt x="2196" y="3574"/>
                </a:lnTo>
                <a:lnTo>
                  <a:pt x="2198" y="3576"/>
                </a:lnTo>
                <a:lnTo>
                  <a:pt x="2198" y="3579"/>
                </a:lnTo>
                <a:lnTo>
                  <a:pt x="2199" y="3581"/>
                </a:lnTo>
                <a:lnTo>
                  <a:pt x="2199" y="3582"/>
                </a:lnTo>
                <a:lnTo>
                  <a:pt x="2201" y="3582"/>
                </a:lnTo>
                <a:lnTo>
                  <a:pt x="2201" y="3584"/>
                </a:lnTo>
                <a:lnTo>
                  <a:pt x="2199" y="3584"/>
                </a:lnTo>
                <a:lnTo>
                  <a:pt x="2196" y="3581"/>
                </a:lnTo>
                <a:lnTo>
                  <a:pt x="2196" y="3579"/>
                </a:lnTo>
                <a:lnTo>
                  <a:pt x="2194" y="3579"/>
                </a:lnTo>
                <a:lnTo>
                  <a:pt x="2196" y="3579"/>
                </a:lnTo>
                <a:lnTo>
                  <a:pt x="2194" y="3577"/>
                </a:lnTo>
                <a:lnTo>
                  <a:pt x="2194" y="3579"/>
                </a:lnTo>
                <a:lnTo>
                  <a:pt x="2193" y="3579"/>
                </a:lnTo>
                <a:lnTo>
                  <a:pt x="2194" y="3579"/>
                </a:lnTo>
                <a:lnTo>
                  <a:pt x="2194" y="3581"/>
                </a:lnTo>
                <a:lnTo>
                  <a:pt x="2196" y="3582"/>
                </a:lnTo>
                <a:lnTo>
                  <a:pt x="2201" y="3586"/>
                </a:lnTo>
                <a:lnTo>
                  <a:pt x="2203" y="3591"/>
                </a:lnTo>
                <a:lnTo>
                  <a:pt x="2203" y="3593"/>
                </a:lnTo>
                <a:lnTo>
                  <a:pt x="2208" y="3594"/>
                </a:lnTo>
                <a:lnTo>
                  <a:pt x="2211" y="3598"/>
                </a:lnTo>
                <a:lnTo>
                  <a:pt x="2211" y="3599"/>
                </a:lnTo>
                <a:lnTo>
                  <a:pt x="2211" y="3603"/>
                </a:lnTo>
                <a:lnTo>
                  <a:pt x="2213" y="3603"/>
                </a:lnTo>
                <a:lnTo>
                  <a:pt x="2218" y="3610"/>
                </a:lnTo>
                <a:lnTo>
                  <a:pt x="2218" y="3611"/>
                </a:lnTo>
                <a:lnTo>
                  <a:pt x="2220" y="3616"/>
                </a:lnTo>
                <a:lnTo>
                  <a:pt x="2220" y="3618"/>
                </a:lnTo>
                <a:lnTo>
                  <a:pt x="2220" y="3620"/>
                </a:lnTo>
                <a:lnTo>
                  <a:pt x="2218" y="3620"/>
                </a:lnTo>
                <a:lnTo>
                  <a:pt x="2216" y="3620"/>
                </a:lnTo>
                <a:lnTo>
                  <a:pt x="2218" y="3620"/>
                </a:lnTo>
                <a:lnTo>
                  <a:pt x="2215" y="3620"/>
                </a:lnTo>
                <a:lnTo>
                  <a:pt x="2215" y="3623"/>
                </a:lnTo>
                <a:lnTo>
                  <a:pt x="2211" y="3627"/>
                </a:lnTo>
                <a:lnTo>
                  <a:pt x="2213" y="3628"/>
                </a:lnTo>
                <a:lnTo>
                  <a:pt x="2213" y="3627"/>
                </a:lnTo>
                <a:lnTo>
                  <a:pt x="2215" y="3628"/>
                </a:lnTo>
                <a:lnTo>
                  <a:pt x="2213" y="3632"/>
                </a:lnTo>
                <a:lnTo>
                  <a:pt x="2211" y="3632"/>
                </a:lnTo>
                <a:lnTo>
                  <a:pt x="2215" y="3635"/>
                </a:lnTo>
                <a:lnTo>
                  <a:pt x="2215" y="3639"/>
                </a:lnTo>
                <a:lnTo>
                  <a:pt x="2216" y="3640"/>
                </a:lnTo>
                <a:lnTo>
                  <a:pt x="2220" y="3642"/>
                </a:lnTo>
                <a:lnTo>
                  <a:pt x="2218" y="3640"/>
                </a:lnTo>
                <a:lnTo>
                  <a:pt x="2220" y="3637"/>
                </a:lnTo>
                <a:lnTo>
                  <a:pt x="2218" y="3635"/>
                </a:lnTo>
                <a:lnTo>
                  <a:pt x="2216" y="3633"/>
                </a:lnTo>
                <a:lnTo>
                  <a:pt x="2218" y="3632"/>
                </a:lnTo>
                <a:lnTo>
                  <a:pt x="2220" y="3630"/>
                </a:lnTo>
                <a:lnTo>
                  <a:pt x="2227" y="3628"/>
                </a:lnTo>
                <a:lnTo>
                  <a:pt x="2235" y="3628"/>
                </a:lnTo>
                <a:lnTo>
                  <a:pt x="2238" y="3632"/>
                </a:lnTo>
                <a:lnTo>
                  <a:pt x="2237" y="3633"/>
                </a:lnTo>
                <a:lnTo>
                  <a:pt x="2238" y="3637"/>
                </a:lnTo>
                <a:lnTo>
                  <a:pt x="2237" y="3640"/>
                </a:lnTo>
                <a:lnTo>
                  <a:pt x="2237" y="3642"/>
                </a:lnTo>
                <a:lnTo>
                  <a:pt x="2237" y="3644"/>
                </a:lnTo>
                <a:lnTo>
                  <a:pt x="2238" y="3644"/>
                </a:lnTo>
                <a:lnTo>
                  <a:pt x="2240" y="3644"/>
                </a:lnTo>
                <a:lnTo>
                  <a:pt x="2242" y="3642"/>
                </a:lnTo>
                <a:lnTo>
                  <a:pt x="2244" y="3644"/>
                </a:lnTo>
                <a:lnTo>
                  <a:pt x="2245" y="3642"/>
                </a:lnTo>
                <a:lnTo>
                  <a:pt x="2249" y="3642"/>
                </a:lnTo>
                <a:lnTo>
                  <a:pt x="2250" y="3644"/>
                </a:lnTo>
                <a:lnTo>
                  <a:pt x="2252" y="3645"/>
                </a:lnTo>
                <a:lnTo>
                  <a:pt x="2254" y="3645"/>
                </a:lnTo>
                <a:lnTo>
                  <a:pt x="2255" y="3645"/>
                </a:lnTo>
                <a:lnTo>
                  <a:pt x="2257" y="3647"/>
                </a:lnTo>
                <a:lnTo>
                  <a:pt x="2261" y="3645"/>
                </a:lnTo>
                <a:lnTo>
                  <a:pt x="2264" y="3647"/>
                </a:lnTo>
                <a:lnTo>
                  <a:pt x="2266" y="3652"/>
                </a:lnTo>
                <a:lnTo>
                  <a:pt x="2261" y="3657"/>
                </a:lnTo>
                <a:lnTo>
                  <a:pt x="2267" y="3656"/>
                </a:lnTo>
                <a:lnTo>
                  <a:pt x="2269" y="3657"/>
                </a:lnTo>
                <a:lnTo>
                  <a:pt x="2272" y="3659"/>
                </a:lnTo>
                <a:lnTo>
                  <a:pt x="2274" y="3661"/>
                </a:lnTo>
                <a:lnTo>
                  <a:pt x="2276" y="3661"/>
                </a:lnTo>
                <a:lnTo>
                  <a:pt x="2276" y="3662"/>
                </a:lnTo>
                <a:lnTo>
                  <a:pt x="2278" y="3662"/>
                </a:lnTo>
                <a:lnTo>
                  <a:pt x="2278" y="3664"/>
                </a:lnTo>
                <a:lnTo>
                  <a:pt x="2279" y="3664"/>
                </a:lnTo>
                <a:lnTo>
                  <a:pt x="2281" y="3662"/>
                </a:lnTo>
                <a:lnTo>
                  <a:pt x="2289" y="3664"/>
                </a:lnTo>
                <a:lnTo>
                  <a:pt x="2295" y="3666"/>
                </a:lnTo>
                <a:lnTo>
                  <a:pt x="2296" y="3667"/>
                </a:lnTo>
                <a:lnTo>
                  <a:pt x="2300" y="3666"/>
                </a:lnTo>
                <a:close/>
                <a:moveTo>
                  <a:pt x="1779" y="15"/>
                </a:moveTo>
                <a:lnTo>
                  <a:pt x="1781" y="15"/>
                </a:lnTo>
                <a:lnTo>
                  <a:pt x="1779" y="15"/>
                </a:lnTo>
                <a:close/>
                <a:moveTo>
                  <a:pt x="1830" y="19"/>
                </a:moveTo>
                <a:lnTo>
                  <a:pt x="1832" y="19"/>
                </a:lnTo>
                <a:lnTo>
                  <a:pt x="1832" y="20"/>
                </a:lnTo>
                <a:lnTo>
                  <a:pt x="1830" y="20"/>
                </a:lnTo>
                <a:lnTo>
                  <a:pt x="1830" y="19"/>
                </a:lnTo>
                <a:close/>
                <a:moveTo>
                  <a:pt x="1013" y="70"/>
                </a:moveTo>
                <a:lnTo>
                  <a:pt x="1013" y="71"/>
                </a:lnTo>
                <a:lnTo>
                  <a:pt x="1013" y="70"/>
                </a:lnTo>
                <a:close/>
                <a:moveTo>
                  <a:pt x="1842" y="87"/>
                </a:moveTo>
                <a:lnTo>
                  <a:pt x="1842" y="88"/>
                </a:lnTo>
                <a:lnTo>
                  <a:pt x="1842" y="87"/>
                </a:lnTo>
                <a:close/>
                <a:moveTo>
                  <a:pt x="1832" y="90"/>
                </a:moveTo>
                <a:lnTo>
                  <a:pt x="1832" y="92"/>
                </a:lnTo>
                <a:lnTo>
                  <a:pt x="1832" y="90"/>
                </a:lnTo>
                <a:close/>
                <a:moveTo>
                  <a:pt x="1853" y="143"/>
                </a:moveTo>
                <a:lnTo>
                  <a:pt x="1854" y="143"/>
                </a:lnTo>
                <a:lnTo>
                  <a:pt x="1856" y="141"/>
                </a:lnTo>
                <a:lnTo>
                  <a:pt x="1854" y="139"/>
                </a:lnTo>
                <a:lnTo>
                  <a:pt x="1856" y="139"/>
                </a:lnTo>
                <a:lnTo>
                  <a:pt x="1856" y="138"/>
                </a:lnTo>
                <a:lnTo>
                  <a:pt x="1854" y="138"/>
                </a:lnTo>
                <a:lnTo>
                  <a:pt x="1853" y="136"/>
                </a:lnTo>
                <a:lnTo>
                  <a:pt x="1854" y="139"/>
                </a:lnTo>
                <a:lnTo>
                  <a:pt x="1853" y="139"/>
                </a:lnTo>
                <a:lnTo>
                  <a:pt x="1853" y="141"/>
                </a:lnTo>
                <a:lnTo>
                  <a:pt x="1851" y="141"/>
                </a:lnTo>
                <a:lnTo>
                  <a:pt x="1849" y="139"/>
                </a:lnTo>
                <a:lnTo>
                  <a:pt x="1849" y="141"/>
                </a:lnTo>
                <a:lnTo>
                  <a:pt x="1847" y="143"/>
                </a:lnTo>
                <a:lnTo>
                  <a:pt x="1847" y="144"/>
                </a:lnTo>
                <a:lnTo>
                  <a:pt x="1853" y="143"/>
                </a:lnTo>
                <a:close/>
                <a:moveTo>
                  <a:pt x="1856" y="136"/>
                </a:moveTo>
                <a:lnTo>
                  <a:pt x="1858" y="136"/>
                </a:lnTo>
                <a:lnTo>
                  <a:pt x="1858" y="138"/>
                </a:lnTo>
                <a:lnTo>
                  <a:pt x="1856" y="138"/>
                </a:lnTo>
                <a:lnTo>
                  <a:pt x="1856" y="136"/>
                </a:lnTo>
                <a:close/>
                <a:moveTo>
                  <a:pt x="1856" y="139"/>
                </a:moveTo>
                <a:lnTo>
                  <a:pt x="1858" y="139"/>
                </a:lnTo>
                <a:lnTo>
                  <a:pt x="1858" y="141"/>
                </a:lnTo>
                <a:lnTo>
                  <a:pt x="1856" y="141"/>
                </a:lnTo>
                <a:lnTo>
                  <a:pt x="1856" y="139"/>
                </a:lnTo>
                <a:close/>
                <a:moveTo>
                  <a:pt x="1847" y="144"/>
                </a:moveTo>
                <a:lnTo>
                  <a:pt x="1846" y="144"/>
                </a:lnTo>
                <a:lnTo>
                  <a:pt x="1841" y="144"/>
                </a:lnTo>
                <a:lnTo>
                  <a:pt x="1839" y="146"/>
                </a:lnTo>
                <a:lnTo>
                  <a:pt x="1844" y="148"/>
                </a:lnTo>
                <a:lnTo>
                  <a:pt x="1847" y="144"/>
                </a:lnTo>
                <a:close/>
                <a:moveTo>
                  <a:pt x="1805" y="160"/>
                </a:moveTo>
                <a:lnTo>
                  <a:pt x="1807" y="160"/>
                </a:lnTo>
                <a:lnTo>
                  <a:pt x="1805" y="160"/>
                </a:lnTo>
                <a:close/>
                <a:moveTo>
                  <a:pt x="1836" y="196"/>
                </a:moveTo>
                <a:lnTo>
                  <a:pt x="1837" y="194"/>
                </a:lnTo>
                <a:lnTo>
                  <a:pt x="1839" y="192"/>
                </a:lnTo>
                <a:lnTo>
                  <a:pt x="1839" y="196"/>
                </a:lnTo>
                <a:lnTo>
                  <a:pt x="1841" y="190"/>
                </a:lnTo>
                <a:lnTo>
                  <a:pt x="1844" y="190"/>
                </a:lnTo>
                <a:lnTo>
                  <a:pt x="1844" y="187"/>
                </a:lnTo>
                <a:lnTo>
                  <a:pt x="1842" y="187"/>
                </a:lnTo>
                <a:lnTo>
                  <a:pt x="1836" y="184"/>
                </a:lnTo>
                <a:lnTo>
                  <a:pt x="1839" y="185"/>
                </a:lnTo>
                <a:lnTo>
                  <a:pt x="1830" y="184"/>
                </a:lnTo>
                <a:lnTo>
                  <a:pt x="1827" y="184"/>
                </a:lnTo>
                <a:lnTo>
                  <a:pt x="1829" y="189"/>
                </a:lnTo>
                <a:lnTo>
                  <a:pt x="1827" y="190"/>
                </a:lnTo>
                <a:lnTo>
                  <a:pt x="1827" y="192"/>
                </a:lnTo>
                <a:lnTo>
                  <a:pt x="1829" y="194"/>
                </a:lnTo>
                <a:lnTo>
                  <a:pt x="1830" y="194"/>
                </a:lnTo>
                <a:lnTo>
                  <a:pt x="1830" y="192"/>
                </a:lnTo>
                <a:lnTo>
                  <a:pt x="1832" y="192"/>
                </a:lnTo>
                <a:lnTo>
                  <a:pt x="1834" y="194"/>
                </a:lnTo>
                <a:lnTo>
                  <a:pt x="1834" y="196"/>
                </a:lnTo>
                <a:lnTo>
                  <a:pt x="1836" y="197"/>
                </a:lnTo>
                <a:lnTo>
                  <a:pt x="1836" y="196"/>
                </a:lnTo>
                <a:close/>
                <a:moveTo>
                  <a:pt x="1825" y="192"/>
                </a:moveTo>
                <a:lnTo>
                  <a:pt x="1827" y="192"/>
                </a:lnTo>
                <a:lnTo>
                  <a:pt x="1825" y="192"/>
                </a:lnTo>
                <a:close/>
                <a:moveTo>
                  <a:pt x="1841" y="194"/>
                </a:moveTo>
                <a:lnTo>
                  <a:pt x="1841" y="196"/>
                </a:lnTo>
                <a:lnTo>
                  <a:pt x="1841" y="194"/>
                </a:lnTo>
                <a:close/>
                <a:moveTo>
                  <a:pt x="1846" y="209"/>
                </a:moveTo>
                <a:lnTo>
                  <a:pt x="1847" y="209"/>
                </a:lnTo>
                <a:lnTo>
                  <a:pt x="1847" y="211"/>
                </a:lnTo>
                <a:lnTo>
                  <a:pt x="1846" y="211"/>
                </a:lnTo>
                <a:lnTo>
                  <a:pt x="1846" y="209"/>
                </a:lnTo>
                <a:close/>
                <a:moveTo>
                  <a:pt x="2959" y="320"/>
                </a:moveTo>
                <a:lnTo>
                  <a:pt x="2961" y="320"/>
                </a:lnTo>
                <a:lnTo>
                  <a:pt x="2969" y="320"/>
                </a:lnTo>
                <a:lnTo>
                  <a:pt x="2961" y="320"/>
                </a:lnTo>
                <a:lnTo>
                  <a:pt x="2959" y="320"/>
                </a:lnTo>
                <a:lnTo>
                  <a:pt x="2952" y="323"/>
                </a:lnTo>
                <a:lnTo>
                  <a:pt x="2959" y="320"/>
                </a:lnTo>
                <a:close/>
                <a:moveTo>
                  <a:pt x="2975" y="321"/>
                </a:moveTo>
                <a:lnTo>
                  <a:pt x="2969" y="320"/>
                </a:lnTo>
                <a:lnTo>
                  <a:pt x="2976" y="323"/>
                </a:lnTo>
                <a:lnTo>
                  <a:pt x="2975" y="321"/>
                </a:lnTo>
                <a:close/>
                <a:moveTo>
                  <a:pt x="2976" y="323"/>
                </a:moveTo>
                <a:lnTo>
                  <a:pt x="2978" y="323"/>
                </a:lnTo>
                <a:lnTo>
                  <a:pt x="2976" y="323"/>
                </a:lnTo>
                <a:close/>
                <a:moveTo>
                  <a:pt x="2978" y="323"/>
                </a:moveTo>
                <a:lnTo>
                  <a:pt x="2980" y="323"/>
                </a:lnTo>
                <a:lnTo>
                  <a:pt x="2978" y="323"/>
                </a:lnTo>
                <a:close/>
                <a:moveTo>
                  <a:pt x="2958" y="325"/>
                </a:moveTo>
                <a:lnTo>
                  <a:pt x="2959" y="325"/>
                </a:lnTo>
                <a:lnTo>
                  <a:pt x="2958" y="325"/>
                </a:lnTo>
                <a:close/>
                <a:moveTo>
                  <a:pt x="2990" y="493"/>
                </a:moveTo>
                <a:lnTo>
                  <a:pt x="2990" y="495"/>
                </a:lnTo>
                <a:lnTo>
                  <a:pt x="2990" y="493"/>
                </a:lnTo>
                <a:close/>
                <a:moveTo>
                  <a:pt x="2990" y="493"/>
                </a:moveTo>
                <a:lnTo>
                  <a:pt x="2990" y="495"/>
                </a:lnTo>
                <a:lnTo>
                  <a:pt x="2990" y="493"/>
                </a:lnTo>
                <a:close/>
                <a:moveTo>
                  <a:pt x="2990" y="493"/>
                </a:moveTo>
                <a:lnTo>
                  <a:pt x="2990" y="495"/>
                </a:lnTo>
                <a:lnTo>
                  <a:pt x="2990" y="493"/>
                </a:lnTo>
                <a:close/>
                <a:moveTo>
                  <a:pt x="2990" y="497"/>
                </a:moveTo>
                <a:lnTo>
                  <a:pt x="2990" y="498"/>
                </a:lnTo>
                <a:lnTo>
                  <a:pt x="2990" y="497"/>
                </a:lnTo>
                <a:close/>
                <a:moveTo>
                  <a:pt x="2990" y="498"/>
                </a:moveTo>
                <a:lnTo>
                  <a:pt x="2992" y="498"/>
                </a:lnTo>
                <a:lnTo>
                  <a:pt x="2992" y="500"/>
                </a:lnTo>
                <a:lnTo>
                  <a:pt x="2990" y="500"/>
                </a:lnTo>
                <a:lnTo>
                  <a:pt x="2990" y="498"/>
                </a:lnTo>
                <a:close/>
                <a:moveTo>
                  <a:pt x="2986" y="498"/>
                </a:moveTo>
                <a:lnTo>
                  <a:pt x="2988" y="498"/>
                </a:lnTo>
                <a:lnTo>
                  <a:pt x="2988" y="500"/>
                </a:lnTo>
                <a:lnTo>
                  <a:pt x="2986" y="500"/>
                </a:lnTo>
                <a:lnTo>
                  <a:pt x="2986" y="498"/>
                </a:lnTo>
                <a:close/>
                <a:moveTo>
                  <a:pt x="2995" y="498"/>
                </a:moveTo>
                <a:lnTo>
                  <a:pt x="2997" y="498"/>
                </a:lnTo>
                <a:lnTo>
                  <a:pt x="2997" y="500"/>
                </a:lnTo>
                <a:lnTo>
                  <a:pt x="2995" y="500"/>
                </a:lnTo>
                <a:lnTo>
                  <a:pt x="2995" y="498"/>
                </a:lnTo>
                <a:close/>
                <a:moveTo>
                  <a:pt x="2995" y="500"/>
                </a:moveTo>
                <a:lnTo>
                  <a:pt x="2997" y="500"/>
                </a:lnTo>
                <a:lnTo>
                  <a:pt x="2997" y="502"/>
                </a:lnTo>
                <a:lnTo>
                  <a:pt x="2995" y="502"/>
                </a:lnTo>
                <a:lnTo>
                  <a:pt x="2995" y="500"/>
                </a:lnTo>
                <a:close/>
                <a:moveTo>
                  <a:pt x="2995" y="505"/>
                </a:moveTo>
                <a:lnTo>
                  <a:pt x="2995" y="503"/>
                </a:lnTo>
                <a:lnTo>
                  <a:pt x="2993" y="502"/>
                </a:lnTo>
                <a:lnTo>
                  <a:pt x="2993" y="503"/>
                </a:lnTo>
                <a:lnTo>
                  <a:pt x="2995" y="505"/>
                </a:lnTo>
                <a:lnTo>
                  <a:pt x="2993" y="505"/>
                </a:lnTo>
                <a:lnTo>
                  <a:pt x="2995" y="505"/>
                </a:lnTo>
                <a:close/>
                <a:moveTo>
                  <a:pt x="3007" y="510"/>
                </a:moveTo>
                <a:lnTo>
                  <a:pt x="3007" y="509"/>
                </a:lnTo>
                <a:lnTo>
                  <a:pt x="3003" y="507"/>
                </a:lnTo>
                <a:lnTo>
                  <a:pt x="3002" y="507"/>
                </a:lnTo>
                <a:lnTo>
                  <a:pt x="3002" y="509"/>
                </a:lnTo>
                <a:lnTo>
                  <a:pt x="3005" y="509"/>
                </a:lnTo>
                <a:lnTo>
                  <a:pt x="3007" y="510"/>
                </a:lnTo>
                <a:close/>
                <a:moveTo>
                  <a:pt x="3000" y="520"/>
                </a:moveTo>
                <a:lnTo>
                  <a:pt x="3003" y="524"/>
                </a:lnTo>
                <a:lnTo>
                  <a:pt x="3000" y="520"/>
                </a:lnTo>
                <a:close/>
                <a:moveTo>
                  <a:pt x="2998" y="522"/>
                </a:moveTo>
                <a:lnTo>
                  <a:pt x="3000" y="522"/>
                </a:lnTo>
                <a:lnTo>
                  <a:pt x="3000" y="524"/>
                </a:lnTo>
                <a:lnTo>
                  <a:pt x="2998" y="524"/>
                </a:lnTo>
                <a:lnTo>
                  <a:pt x="2998" y="522"/>
                </a:lnTo>
                <a:close/>
                <a:moveTo>
                  <a:pt x="3003" y="522"/>
                </a:moveTo>
                <a:lnTo>
                  <a:pt x="3005" y="522"/>
                </a:lnTo>
                <a:lnTo>
                  <a:pt x="3005" y="524"/>
                </a:lnTo>
                <a:lnTo>
                  <a:pt x="3003" y="524"/>
                </a:lnTo>
                <a:lnTo>
                  <a:pt x="3003" y="522"/>
                </a:lnTo>
                <a:close/>
                <a:moveTo>
                  <a:pt x="3005" y="546"/>
                </a:moveTo>
                <a:lnTo>
                  <a:pt x="3003" y="544"/>
                </a:lnTo>
                <a:lnTo>
                  <a:pt x="3003" y="546"/>
                </a:lnTo>
                <a:lnTo>
                  <a:pt x="3005" y="548"/>
                </a:lnTo>
                <a:lnTo>
                  <a:pt x="3005" y="546"/>
                </a:lnTo>
                <a:close/>
                <a:moveTo>
                  <a:pt x="3065" y="651"/>
                </a:moveTo>
                <a:lnTo>
                  <a:pt x="3065" y="653"/>
                </a:lnTo>
                <a:lnTo>
                  <a:pt x="3065" y="651"/>
                </a:lnTo>
                <a:close/>
                <a:moveTo>
                  <a:pt x="3116" y="704"/>
                </a:moveTo>
                <a:lnTo>
                  <a:pt x="3117" y="704"/>
                </a:lnTo>
                <a:lnTo>
                  <a:pt x="3117" y="706"/>
                </a:lnTo>
                <a:lnTo>
                  <a:pt x="3116" y="706"/>
                </a:lnTo>
                <a:lnTo>
                  <a:pt x="3116" y="704"/>
                </a:lnTo>
                <a:close/>
                <a:moveTo>
                  <a:pt x="3092" y="740"/>
                </a:moveTo>
                <a:lnTo>
                  <a:pt x="3094" y="740"/>
                </a:lnTo>
                <a:lnTo>
                  <a:pt x="3094" y="742"/>
                </a:lnTo>
                <a:lnTo>
                  <a:pt x="3092" y="742"/>
                </a:lnTo>
                <a:lnTo>
                  <a:pt x="3092" y="740"/>
                </a:lnTo>
                <a:close/>
                <a:moveTo>
                  <a:pt x="3094" y="740"/>
                </a:moveTo>
                <a:lnTo>
                  <a:pt x="3095" y="740"/>
                </a:lnTo>
                <a:lnTo>
                  <a:pt x="3095" y="743"/>
                </a:lnTo>
                <a:lnTo>
                  <a:pt x="3094" y="743"/>
                </a:lnTo>
                <a:lnTo>
                  <a:pt x="3094" y="740"/>
                </a:lnTo>
                <a:close/>
                <a:moveTo>
                  <a:pt x="3092" y="740"/>
                </a:moveTo>
                <a:lnTo>
                  <a:pt x="3094" y="740"/>
                </a:lnTo>
                <a:lnTo>
                  <a:pt x="3094" y="742"/>
                </a:lnTo>
                <a:lnTo>
                  <a:pt x="3092" y="742"/>
                </a:lnTo>
                <a:lnTo>
                  <a:pt x="3092" y="740"/>
                </a:lnTo>
                <a:close/>
                <a:moveTo>
                  <a:pt x="3117" y="747"/>
                </a:moveTo>
                <a:lnTo>
                  <a:pt x="3119" y="747"/>
                </a:lnTo>
                <a:lnTo>
                  <a:pt x="3117" y="747"/>
                </a:lnTo>
                <a:close/>
                <a:moveTo>
                  <a:pt x="3139" y="772"/>
                </a:moveTo>
                <a:lnTo>
                  <a:pt x="3141" y="772"/>
                </a:lnTo>
                <a:lnTo>
                  <a:pt x="3141" y="774"/>
                </a:lnTo>
                <a:lnTo>
                  <a:pt x="3139" y="774"/>
                </a:lnTo>
                <a:lnTo>
                  <a:pt x="3139" y="772"/>
                </a:lnTo>
                <a:close/>
                <a:moveTo>
                  <a:pt x="3172" y="849"/>
                </a:moveTo>
                <a:lnTo>
                  <a:pt x="3172" y="845"/>
                </a:lnTo>
                <a:lnTo>
                  <a:pt x="3170" y="847"/>
                </a:lnTo>
                <a:lnTo>
                  <a:pt x="3170" y="850"/>
                </a:lnTo>
                <a:lnTo>
                  <a:pt x="3172" y="849"/>
                </a:lnTo>
                <a:close/>
                <a:moveTo>
                  <a:pt x="448" y="856"/>
                </a:moveTo>
                <a:lnTo>
                  <a:pt x="448" y="857"/>
                </a:lnTo>
                <a:lnTo>
                  <a:pt x="448" y="856"/>
                </a:lnTo>
                <a:close/>
                <a:moveTo>
                  <a:pt x="448" y="856"/>
                </a:moveTo>
                <a:lnTo>
                  <a:pt x="448" y="859"/>
                </a:lnTo>
                <a:lnTo>
                  <a:pt x="448" y="856"/>
                </a:lnTo>
                <a:close/>
                <a:moveTo>
                  <a:pt x="450" y="857"/>
                </a:moveTo>
                <a:lnTo>
                  <a:pt x="450" y="859"/>
                </a:lnTo>
                <a:lnTo>
                  <a:pt x="450" y="857"/>
                </a:lnTo>
                <a:close/>
                <a:moveTo>
                  <a:pt x="455" y="903"/>
                </a:moveTo>
                <a:lnTo>
                  <a:pt x="455" y="900"/>
                </a:lnTo>
                <a:lnTo>
                  <a:pt x="457" y="898"/>
                </a:lnTo>
                <a:lnTo>
                  <a:pt x="457" y="896"/>
                </a:lnTo>
                <a:lnTo>
                  <a:pt x="455" y="895"/>
                </a:lnTo>
                <a:lnTo>
                  <a:pt x="454" y="896"/>
                </a:lnTo>
                <a:lnTo>
                  <a:pt x="452" y="896"/>
                </a:lnTo>
                <a:lnTo>
                  <a:pt x="452" y="901"/>
                </a:lnTo>
                <a:lnTo>
                  <a:pt x="450" y="901"/>
                </a:lnTo>
                <a:lnTo>
                  <a:pt x="448" y="901"/>
                </a:lnTo>
                <a:lnTo>
                  <a:pt x="448" y="905"/>
                </a:lnTo>
                <a:lnTo>
                  <a:pt x="450" y="903"/>
                </a:lnTo>
                <a:lnTo>
                  <a:pt x="450" y="907"/>
                </a:lnTo>
                <a:lnTo>
                  <a:pt x="452" y="908"/>
                </a:lnTo>
                <a:lnTo>
                  <a:pt x="455" y="903"/>
                </a:lnTo>
                <a:close/>
                <a:moveTo>
                  <a:pt x="455" y="900"/>
                </a:moveTo>
                <a:lnTo>
                  <a:pt x="457" y="900"/>
                </a:lnTo>
                <a:lnTo>
                  <a:pt x="457" y="903"/>
                </a:lnTo>
                <a:lnTo>
                  <a:pt x="455" y="903"/>
                </a:lnTo>
                <a:lnTo>
                  <a:pt x="455" y="900"/>
                </a:lnTo>
                <a:close/>
                <a:moveTo>
                  <a:pt x="3216" y="947"/>
                </a:moveTo>
                <a:lnTo>
                  <a:pt x="3218" y="947"/>
                </a:lnTo>
                <a:lnTo>
                  <a:pt x="3216" y="947"/>
                </a:lnTo>
                <a:close/>
                <a:moveTo>
                  <a:pt x="3207" y="949"/>
                </a:moveTo>
                <a:lnTo>
                  <a:pt x="3209" y="949"/>
                </a:lnTo>
                <a:lnTo>
                  <a:pt x="3209" y="951"/>
                </a:lnTo>
                <a:lnTo>
                  <a:pt x="3207" y="951"/>
                </a:lnTo>
                <a:lnTo>
                  <a:pt x="3207" y="949"/>
                </a:lnTo>
                <a:close/>
                <a:moveTo>
                  <a:pt x="3233" y="951"/>
                </a:moveTo>
                <a:lnTo>
                  <a:pt x="3233" y="953"/>
                </a:lnTo>
                <a:lnTo>
                  <a:pt x="3233" y="951"/>
                </a:lnTo>
                <a:close/>
                <a:moveTo>
                  <a:pt x="3241" y="961"/>
                </a:moveTo>
                <a:lnTo>
                  <a:pt x="3241" y="963"/>
                </a:lnTo>
                <a:lnTo>
                  <a:pt x="3241" y="961"/>
                </a:lnTo>
                <a:close/>
                <a:moveTo>
                  <a:pt x="3223" y="975"/>
                </a:moveTo>
                <a:lnTo>
                  <a:pt x="3224" y="975"/>
                </a:lnTo>
                <a:lnTo>
                  <a:pt x="3224" y="976"/>
                </a:lnTo>
                <a:lnTo>
                  <a:pt x="3223" y="976"/>
                </a:lnTo>
                <a:lnTo>
                  <a:pt x="3223" y="975"/>
                </a:lnTo>
                <a:close/>
                <a:moveTo>
                  <a:pt x="3224" y="975"/>
                </a:moveTo>
                <a:lnTo>
                  <a:pt x="3226" y="975"/>
                </a:lnTo>
                <a:lnTo>
                  <a:pt x="3226" y="976"/>
                </a:lnTo>
                <a:lnTo>
                  <a:pt x="3224" y="976"/>
                </a:lnTo>
                <a:lnTo>
                  <a:pt x="3224" y="975"/>
                </a:lnTo>
                <a:close/>
                <a:moveTo>
                  <a:pt x="3224" y="976"/>
                </a:moveTo>
                <a:lnTo>
                  <a:pt x="3228" y="976"/>
                </a:lnTo>
                <a:lnTo>
                  <a:pt x="3228" y="978"/>
                </a:lnTo>
                <a:lnTo>
                  <a:pt x="3224" y="978"/>
                </a:lnTo>
                <a:lnTo>
                  <a:pt x="3224" y="976"/>
                </a:lnTo>
                <a:close/>
                <a:moveTo>
                  <a:pt x="3226" y="978"/>
                </a:moveTo>
                <a:lnTo>
                  <a:pt x="3228" y="978"/>
                </a:lnTo>
                <a:lnTo>
                  <a:pt x="3226" y="978"/>
                </a:lnTo>
                <a:close/>
                <a:moveTo>
                  <a:pt x="3223" y="978"/>
                </a:moveTo>
                <a:lnTo>
                  <a:pt x="3226" y="978"/>
                </a:lnTo>
                <a:lnTo>
                  <a:pt x="3223" y="978"/>
                </a:lnTo>
                <a:close/>
                <a:moveTo>
                  <a:pt x="3231" y="981"/>
                </a:moveTo>
                <a:lnTo>
                  <a:pt x="3231" y="980"/>
                </a:lnTo>
                <a:lnTo>
                  <a:pt x="3230" y="980"/>
                </a:lnTo>
                <a:lnTo>
                  <a:pt x="3230" y="981"/>
                </a:lnTo>
                <a:lnTo>
                  <a:pt x="3231" y="981"/>
                </a:lnTo>
                <a:lnTo>
                  <a:pt x="3233" y="983"/>
                </a:lnTo>
                <a:lnTo>
                  <a:pt x="3231" y="981"/>
                </a:lnTo>
                <a:close/>
                <a:moveTo>
                  <a:pt x="8" y="1044"/>
                </a:moveTo>
                <a:lnTo>
                  <a:pt x="13" y="1039"/>
                </a:lnTo>
                <a:lnTo>
                  <a:pt x="15" y="1039"/>
                </a:lnTo>
                <a:lnTo>
                  <a:pt x="18" y="1038"/>
                </a:lnTo>
                <a:lnTo>
                  <a:pt x="20" y="1034"/>
                </a:lnTo>
                <a:lnTo>
                  <a:pt x="18" y="1034"/>
                </a:lnTo>
                <a:lnTo>
                  <a:pt x="17" y="1031"/>
                </a:lnTo>
                <a:lnTo>
                  <a:pt x="13" y="1029"/>
                </a:lnTo>
                <a:lnTo>
                  <a:pt x="8" y="1032"/>
                </a:lnTo>
                <a:lnTo>
                  <a:pt x="5" y="1034"/>
                </a:lnTo>
                <a:lnTo>
                  <a:pt x="1" y="1036"/>
                </a:lnTo>
                <a:lnTo>
                  <a:pt x="0" y="1038"/>
                </a:lnTo>
                <a:lnTo>
                  <a:pt x="1" y="1039"/>
                </a:lnTo>
                <a:lnTo>
                  <a:pt x="1" y="1043"/>
                </a:lnTo>
                <a:lnTo>
                  <a:pt x="3" y="1044"/>
                </a:lnTo>
                <a:lnTo>
                  <a:pt x="5" y="1044"/>
                </a:lnTo>
                <a:lnTo>
                  <a:pt x="8" y="1044"/>
                </a:lnTo>
                <a:close/>
                <a:moveTo>
                  <a:pt x="25" y="1049"/>
                </a:moveTo>
                <a:lnTo>
                  <a:pt x="25" y="1048"/>
                </a:lnTo>
                <a:lnTo>
                  <a:pt x="22" y="1046"/>
                </a:lnTo>
                <a:lnTo>
                  <a:pt x="23" y="1044"/>
                </a:lnTo>
                <a:lnTo>
                  <a:pt x="22" y="1044"/>
                </a:lnTo>
                <a:lnTo>
                  <a:pt x="20" y="1044"/>
                </a:lnTo>
                <a:lnTo>
                  <a:pt x="18" y="1044"/>
                </a:lnTo>
                <a:lnTo>
                  <a:pt x="18" y="1046"/>
                </a:lnTo>
                <a:lnTo>
                  <a:pt x="15" y="1046"/>
                </a:lnTo>
                <a:lnTo>
                  <a:pt x="13" y="1049"/>
                </a:lnTo>
                <a:lnTo>
                  <a:pt x="18" y="1051"/>
                </a:lnTo>
                <a:lnTo>
                  <a:pt x="25" y="1049"/>
                </a:lnTo>
                <a:close/>
                <a:moveTo>
                  <a:pt x="124" y="1060"/>
                </a:moveTo>
                <a:lnTo>
                  <a:pt x="125" y="1061"/>
                </a:lnTo>
                <a:lnTo>
                  <a:pt x="124" y="1058"/>
                </a:lnTo>
                <a:lnTo>
                  <a:pt x="125" y="1056"/>
                </a:lnTo>
                <a:lnTo>
                  <a:pt x="124" y="1053"/>
                </a:lnTo>
                <a:lnTo>
                  <a:pt x="125" y="1051"/>
                </a:lnTo>
                <a:lnTo>
                  <a:pt x="124" y="1049"/>
                </a:lnTo>
                <a:lnTo>
                  <a:pt x="125" y="1048"/>
                </a:lnTo>
                <a:lnTo>
                  <a:pt x="124" y="1048"/>
                </a:lnTo>
                <a:lnTo>
                  <a:pt x="120" y="1049"/>
                </a:lnTo>
                <a:lnTo>
                  <a:pt x="119" y="1051"/>
                </a:lnTo>
                <a:lnTo>
                  <a:pt x="120" y="1053"/>
                </a:lnTo>
                <a:lnTo>
                  <a:pt x="120" y="1055"/>
                </a:lnTo>
                <a:lnTo>
                  <a:pt x="122" y="1056"/>
                </a:lnTo>
                <a:lnTo>
                  <a:pt x="122" y="1058"/>
                </a:lnTo>
                <a:lnTo>
                  <a:pt x="124" y="1061"/>
                </a:lnTo>
                <a:lnTo>
                  <a:pt x="124" y="1060"/>
                </a:lnTo>
                <a:close/>
                <a:moveTo>
                  <a:pt x="34" y="1053"/>
                </a:moveTo>
                <a:lnTo>
                  <a:pt x="32" y="1053"/>
                </a:lnTo>
                <a:lnTo>
                  <a:pt x="30" y="1051"/>
                </a:lnTo>
                <a:lnTo>
                  <a:pt x="29" y="1049"/>
                </a:lnTo>
                <a:lnTo>
                  <a:pt x="29" y="1051"/>
                </a:lnTo>
                <a:lnTo>
                  <a:pt x="30" y="1053"/>
                </a:lnTo>
                <a:lnTo>
                  <a:pt x="34" y="1053"/>
                </a:lnTo>
                <a:close/>
                <a:moveTo>
                  <a:pt x="54" y="1063"/>
                </a:moveTo>
                <a:lnTo>
                  <a:pt x="57" y="1061"/>
                </a:lnTo>
                <a:lnTo>
                  <a:pt x="59" y="1061"/>
                </a:lnTo>
                <a:lnTo>
                  <a:pt x="63" y="1063"/>
                </a:lnTo>
                <a:lnTo>
                  <a:pt x="68" y="1063"/>
                </a:lnTo>
                <a:lnTo>
                  <a:pt x="68" y="1061"/>
                </a:lnTo>
                <a:lnTo>
                  <a:pt x="66" y="1060"/>
                </a:lnTo>
                <a:lnTo>
                  <a:pt x="61" y="1060"/>
                </a:lnTo>
                <a:lnTo>
                  <a:pt x="57" y="1058"/>
                </a:lnTo>
                <a:lnTo>
                  <a:pt x="54" y="1058"/>
                </a:lnTo>
                <a:lnTo>
                  <a:pt x="51" y="1056"/>
                </a:lnTo>
                <a:lnTo>
                  <a:pt x="47" y="1058"/>
                </a:lnTo>
                <a:lnTo>
                  <a:pt x="47" y="1060"/>
                </a:lnTo>
                <a:lnTo>
                  <a:pt x="51" y="1061"/>
                </a:lnTo>
                <a:lnTo>
                  <a:pt x="52" y="1066"/>
                </a:lnTo>
                <a:lnTo>
                  <a:pt x="54" y="1063"/>
                </a:lnTo>
                <a:close/>
                <a:moveTo>
                  <a:pt x="34" y="1056"/>
                </a:moveTo>
                <a:lnTo>
                  <a:pt x="35" y="1056"/>
                </a:lnTo>
                <a:lnTo>
                  <a:pt x="35" y="1058"/>
                </a:lnTo>
                <a:lnTo>
                  <a:pt x="34" y="1058"/>
                </a:lnTo>
                <a:lnTo>
                  <a:pt x="34" y="1056"/>
                </a:lnTo>
                <a:close/>
                <a:moveTo>
                  <a:pt x="37" y="1060"/>
                </a:moveTo>
                <a:lnTo>
                  <a:pt x="39" y="1060"/>
                </a:lnTo>
                <a:lnTo>
                  <a:pt x="37" y="1060"/>
                </a:lnTo>
                <a:close/>
                <a:moveTo>
                  <a:pt x="3316" y="1065"/>
                </a:moveTo>
                <a:lnTo>
                  <a:pt x="3320" y="1065"/>
                </a:lnTo>
                <a:lnTo>
                  <a:pt x="3318" y="1063"/>
                </a:lnTo>
                <a:lnTo>
                  <a:pt x="3316" y="1065"/>
                </a:lnTo>
                <a:lnTo>
                  <a:pt x="3316" y="1066"/>
                </a:lnTo>
                <a:lnTo>
                  <a:pt x="3316" y="1065"/>
                </a:lnTo>
                <a:close/>
                <a:moveTo>
                  <a:pt x="3286" y="1073"/>
                </a:moveTo>
                <a:lnTo>
                  <a:pt x="3289" y="1073"/>
                </a:lnTo>
                <a:lnTo>
                  <a:pt x="3286" y="1073"/>
                </a:lnTo>
                <a:close/>
                <a:moveTo>
                  <a:pt x="3304" y="1075"/>
                </a:moveTo>
                <a:lnTo>
                  <a:pt x="3306" y="1075"/>
                </a:lnTo>
                <a:lnTo>
                  <a:pt x="3304" y="1073"/>
                </a:lnTo>
                <a:lnTo>
                  <a:pt x="3303" y="1073"/>
                </a:lnTo>
                <a:lnTo>
                  <a:pt x="3304" y="1075"/>
                </a:lnTo>
                <a:lnTo>
                  <a:pt x="3304" y="1077"/>
                </a:lnTo>
                <a:lnTo>
                  <a:pt x="3304" y="1075"/>
                </a:lnTo>
                <a:close/>
                <a:moveTo>
                  <a:pt x="3320" y="1073"/>
                </a:moveTo>
                <a:lnTo>
                  <a:pt x="3321" y="1073"/>
                </a:lnTo>
                <a:lnTo>
                  <a:pt x="3321" y="1075"/>
                </a:lnTo>
                <a:lnTo>
                  <a:pt x="3320" y="1075"/>
                </a:lnTo>
                <a:lnTo>
                  <a:pt x="3320" y="1073"/>
                </a:lnTo>
                <a:close/>
                <a:moveTo>
                  <a:pt x="3299" y="1073"/>
                </a:moveTo>
                <a:lnTo>
                  <a:pt x="3301" y="1073"/>
                </a:lnTo>
                <a:lnTo>
                  <a:pt x="3301" y="1075"/>
                </a:lnTo>
                <a:lnTo>
                  <a:pt x="3299" y="1075"/>
                </a:lnTo>
                <a:lnTo>
                  <a:pt x="3299" y="1073"/>
                </a:lnTo>
                <a:close/>
                <a:moveTo>
                  <a:pt x="3320" y="1077"/>
                </a:moveTo>
                <a:lnTo>
                  <a:pt x="3321" y="1077"/>
                </a:lnTo>
                <a:lnTo>
                  <a:pt x="3321" y="1078"/>
                </a:lnTo>
                <a:lnTo>
                  <a:pt x="3320" y="1078"/>
                </a:lnTo>
                <a:lnTo>
                  <a:pt x="3320" y="1077"/>
                </a:lnTo>
                <a:close/>
                <a:moveTo>
                  <a:pt x="131" y="1092"/>
                </a:moveTo>
                <a:lnTo>
                  <a:pt x="136" y="1089"/>
                </a:lnTo>
                <a:lnTo>
                  <a:pt x="136" y="1087"/>
                </a:lnTo>
                <a:lnTo>
                  <a:pt x="136" y="1083"/>
                </a:lnTo>
                <a:lnTo>
                  <a:pt x="134" y="1080"/>
                </a:lnTo>
                <a:lnTo>
                  <a:pt x="131" y="1078"/>
                </a:lnTo>
                <a:lnTo>
                  <a:pt x="129" y="1080"/>
                </a:lnTo>
                <a:lnTo>
                  <a:pt x="125" y="1080"/>
                </a:lnTo>
                <a:lnTo>
                  <a:pt x="124" y="1078"/>
                </a:lnTo>
                <a:lnTo>
                  <a:pt x="124" y="1082"/>
                </a:lnTo>
                <a:lnTo>
                  <a:pt x="124" y="1085"/>
                </a:lnTo>
                <a:lnTo>
                  <a:pt x="122" y="1087"/>
                </a:lnTo>
                <a:lnTo>
                  <a:pt x="120" y="1090"/>
                </a:lnTo>
                <a:lnTo>
                  <a:pt x="125" y="1092"/>
                </a:lnTo>
                <a:lnTo>
                  <a:pt x="129" y="1092"/>
                </a:lnTo>
                <a:lnTo>
                  <a:pt x="131" y="1092"/>
                </a:lnTo>
                <a:close/>
                <a:moveTo>
                  <a:pt x="3309" y="1080"/>
                </a:moveTo>
                <a:lnTo>
                  <a:pt x="3311" y="1080"/>
                </a:lnTo>
                <a:lnTo>
                  <a:pt x="3309" y="1080"/>
                </a:lnTo>
                <a:close/>
                <a:moveTo>
                  <a:pt x="3313" y="1080"/>
                </a:moveTo>
                <a:lnTo>
                  <a:pt x="3313" y="1082"/>
                </a:lnTo>
                <a:lnTo>
                  <a:pt x="3313" y="1080"/>
                </a:lnTo>
                <a:close/>
                <a:moveTo>
                  <a:pt x="3318" y="1085"/>
                </a:moveTo>
                <a:lnTo>
                  <a:pt x="3318" y="1083"/>
                </a:lnTo>
                <a:lnTo>
                  <a:pt x="3320" y="1083"/>
                </a:lnTo>
                <a:lnTo>
                  <a:pt x="3318" y="1082"/>
                </a:lnTo>
                <a:lnTo>
                  <a:pt x="3318" y="1083"/>
                </a:lnTo>
                <a:lnTo>
                  <a:pt x="3316" y="1085"/>
                </a:lnTo>
                <a:lnTo>
                  <a:pt x="3316" y="1087"/>
                </a:lnTo>
                <a:lnTo>
                  <a:pt x="3318" y="1085"/>
                </a:lnTo>
                <a:close/>
                <a:moveTo>
                  <a:pt x="122" y="1082"/>
                </a:moveTo>
                <a:lnTo>
                  <a:pt x="124" y="1082"/>
                </a:lnTo>
                <a:lnTo>
                  <a:pt x="122" y="1082"/>
                </a:lnTo>
                <a:close/>
                <a:moveTo>
                  <a:pt x="3284" y="1089"/>
                </a:moveTo>
                <a:lnTo>
                  <a:pt x="3284" y="1087"/>
                </a:lnTo>
                <a:lnTo>
                  <a:pt x="3282" y="1083"/>
                </a:lnTo>
                <a:lnTo>
                  <a:pt x="3281" y="1083"/>
                </a:lnTo>
                <a:lnTo>
                  <a:pt x="3282" y="1085"/>
                </a:lnTo>
                <a:lnTo>
                  <a:pt x="3282" y="1089"/>
                </a:lnTo>
                <a:lnTo>
                  <a:pt x="3284" y="1089"/>
                </a:lnTo>
                <a:close/>
                <a:moveTo>
                  <a:pt x="3313" y="1090"/>
                </a:moveTo>
                <a:lnTo>
                  <a:pt x="3313" y="1089"/>
                </a:lnTo>
                <a:lnTo>
                  <a:pt x="3315" y="1089"/>
                </a:lnTo>
                <a:lnTo>
                  <a:pt x="3316" y="1089"/>
                </a:lnTo>
                <a:lnTo>
                  <a:pt x="3316" y="1087"/>
                </a:lnTo>
                <a:lnTo>
                  <a:pt x="3313" y="1087"/>
                </a:lnTo>
                <a:lnTo>
                  <a:pt x="3311" y="1085"/>
                </a:lnTo>
                <a:lnTo>
                  <a:pt x="3311" y="1089"/>
                </a:lnTo>
                <a:lnTo>
                  <a:pt x="3309" y="1089"/>
                </a:lnTo>
                <a:lnTo>
                  <a:pt x="3309" y="1090"/>
                </a:lnTo>
                <a:lnTo>
                  <a:pt x="3311" y="1090"/>
                </a:lnTo>
                <a:lnTo>
                  <a:pt x="3313" y="1092"/>
                </a:lnTo>
                <a:lnTo>
                  <a:pt x="3316" y="1092"/>
                </a:lnTo>
                <a:lnTo>
                  <a:pt x="3313" y="1090"/>
                </a:lnTo>
                <a:close/>
                <a:moveTo>
                  <a:pt x="3316" y="1087"/>
                </a:moveTo>
                <a:lnTo>
                  <a:pt x="3320" y="1087"/>
                </a:lnTo>
                <a:lnTo>
                  <a:pt x="3320" y="1090"/>
                </a:lnTo>
                <a:lnTo>
                  <a:pt x="3316" y="1090"/>
                </a:lnTo>
                <a:lnTo>
                  <a:pt x="3316" y="1087"/>
                </a:lnTo>
                <a:close/>
                <a:moveTo>
                  <a:pt x="3308" y="1087"/>
                </a:moveTo>
                <a:lnTo>
                  <a:pt x="3308" y="1089"/>
                </a:lnTo>
                <a:lnTo>
                  <a:pt x="3308" y="1087"/>
                </a:lnTo>
                <a:close/>
                <a:moveTo>
                  <a:pt x="3323" y="1090"/>
                </a:moveTo>
                <a:lnTo>
                  <a:pt x="3325" y="1090"/>
                </a:lnTo>
                <a:lnTo>
                  <a:pt x="3325" y="1092"/>
                </a:lnTo>
                <a:lnTo>
                  <a:pt x="3323" y="1092"/>
                </a:lnTo>
                <a:lnTo>
                  <a:pt x="3323" y="1090"/>
                </a:lnTo>
                <a:close/>
                <a:moveTo>
                  <a:pt x="3316" y="1092"/>
                </a:moveTo>
                <a:lnTo>
                  <a:pt x="3318" y="1092"/>
                </a:lnTo>
                <a:lnTo>
                  <a:pt x="3318" y="1094"/>
                </a:lnTo>
                <a:lnTo>
                  <a:pt x="3316" y="1094"/>
                </a:lnTo>
                <a:lnTo>
                  <a:pt x="3316" y="1092"/>
                </a:lnTo>
                <a:close/>
                <a:moveTo>
                  <a:pt x="3311" y="1092"/>
                </a:moveTo>
                <a:lnTo>
                  <a:pt x="3313" y="1092"/>
                </a:lnTo>
                <a:lnTo>
                  <a:pt x="3313" y="1094"/>
                </a:lnTo>
                <a:lnTo>
                  <a:pt x="3311" y="1094"/>
                </a:lnTo>
                <a:lnTo>
                  <a:pt x="3311" y="1092"/>
                </a:lnTo>
                <a:close/>
                <a:moveTo>
                  <a:pt x="3289" y="1092"/>
                </a:moveTo>
                <a:lnTo>
                  <a:pt x="3289" y="1094"/>
                </a:lnTo>
                <a:lnTo>
                  <a:pt x="3289" y="1092"/>
                </a:lnTo>
                <a:close/>
                <a:moveTo>
                  <a:pt x="3321" y="1094"/>
                </a:moveTo>
                <a:lnTo>
                  <a:pt x="3323" y="1094"/>
                </a:lnTo>
                <a:lnTo>
                  <a:pt x="3323" y="1095"/>
                </a:lnTo>
                <a:lnTo>
                  <a:pt x="3321" y="1095"/>
                </a:lnTo>
                <a:lnTo>
                  <a:pt x="3321" y="1094"/>
                </a:lnTo>
                <a:close/>
                <a:moveTo>
                  <a:pt x="3289" y="1094"/>
                </a:moveTo>
                <a:lnTo>
                  <a:pt x="3292" y="1094"/>
                </a:lnTo>
                <a:lnTo>
                  <a:pt x="3292" y="1095"/>
                </a:lnTo>
                <a:lnTo>
                  <a:pt x="3289" y="1095"/>
                </a:lnTo>
                <a:lnTo>
                  <a:pt x="3289" y="1094"/>
                </a:lnTo>
                <a:close/>
                <a:moveTo>
                  <a:pt x="3318" y="1095"/>
                </a:moveTo>
                <a:lnTo>
                  <a:pt x="3320" y="1095"/>
                </a:lnTo>
                <a:lnTo>
                  <a:pt x="3318" y="1095"/>
                </a:lnTo>
                <a:close/>
                <a:moveTo>
                  <a:pt x="3326" y="1095"/>
                </a:moveTo>
                <a:lnTo>
                  <a:pt x="3328" y="1095"/>
                </a:lnTo>
                <a:lnTo>
                  <a:pt x="3328" y="1097"/>
                </a:lnTo>
                <a:lnTo>
                  <a:pt x="3326" y="1097"/>
                </a:lnTo>
                <a:lnTo>
                  <a:pt x="3326" y="1095"/>
                </a:lnTo>
                <a:close/>
                <a:moveTo>
                  <a:pt x="3313" y="1095"/>
                </a:moveTo>
                <a:lnTo>
                  <a:pt x="3315" y="1095"/>
                </a:lnTo>
                <a:lnTo>
                  <a:pt x="3315" y="1097"/>
                </a:lnTo>
                <a:lnTo>
                  <a:pt x="3313" y="1097"/>
                </a:lnTo>
                <a:lnTo>
                  <a:pt x="3313" y="1095"/>
                </a:lnTo>
                <a:close/>
                <a:moveTo>
                  <a:pt x="3338" y="1095"/>
                </a:moveTo>
                <a:lnTo>
                  <a:pt x="3340" y="1095"/>
                </a:lnTo>
                <a:lnTo>
                  <a:pt x="3340" y="1097"/>
                </a:lnTo>
                <a:lnTo>
                  <a:pt x="3338" y="1097"/>
                </a:lnTo>
                <a:lnTo>
                  <a:pt x="3338" y="1095"/>
                </a:lnTo>
                <a:close/>
                <a:moveTo>
                  <a:pt x="3330" y="1109"/>
                </a:moveTo>
                <a:lnTo>
                  <a:pt x="3328" y="1111"/>
                </a:lnTo>
                <a:lnTo>
                  <a:pt x="3328" y="1109"/>
                </a:lnTo>
                <a:lnTo>
                  <a:pt x="3326" y="1109"/>
                </a:lnTo>
                <a:lnTo>
                  <a:pt x="3325" y="1106"/>
                </a:lnTo>
                <a:lnTo>
                  <a:pt x="3323" y="1106"/>
                </a:lnTo>
                <a:lnTo>
                  <a:pt x="3321" y="1107"/>
                </a:lnTo>
                <a:lnTo>
                  <a:pt x="3320" y="1107"/>
                </a:lnTo>
                <a:lnTo>
                  <a:pt x="3325" y="1109"/>
                </a:lnTo>
                <a:lnTo>
                  <a:pt x="3323" y="1109"/>
                </a:lnTo>
                <a:lnTo>
                  <a:pt x="3321" y="1111"/>
                </a:lnTo>
                <a:lnTo>
                  <a:pt x="3318" y="1109"/>
                </a:lnTo>
                <a:lnTo>
                  <a:pt x="3316" y="1106"/>
                </a:lnTo>
                <a:lnTo>
                  <a:pt x="3316" y="1100"/>
                </a:lnTo>
                <a:lnTo>
                  <a:pt x="3315" y="1100"/>
                </a:lnTo>
                <a:lnTo>
                  <a:pt x="3316" y="1102"/>
                </a:lnTo>
                <a:lnTo>
                  <a:pt x="3315" y="1102"/>
                </a:lnTo>
                <a:lnTo>
                  <a:pt x="3315" y="1100"/>
                </a:lnTo>
                <a:lnTo>
                  <a:pt x="3313" y="1099"/>
                </a:lnTo>
                <a:lnTo>
                  <a:pt x="3311" y="1097"/>
                </a:lnTo>
                <a:lnTo>
                  <a:pt x="3308" y="1097"/>
                </a:lnTo>
                <a:lnTo>
                  <a:pt x="3309" y="1097"/>
                </a:lnTo>
                <a:lnTo>
                  <a:pt x="3309" y="1099"/>
                </a:lnTo>
                <a:lnTo>
                  <a:pt x="3311" y="1099"/>
                </a:lnTo>
                <a:lnTo>
                  <a:pt x="3311" y="1100"/>
                </a:lnTo>
                <a:lnTo>
                  <a:pt x="3309" y="1099"/>
                </a:lnTo>
                <a:lnTo>
                  <a:pt x="3309" y="1100"/>
                </a:lnTo>
                <a:lnTo>
                  <a:pt x="3309" y="1102"/>
                </a:lnTo>
                <a:lnTo>
                  <a:pt x="3306" y="1102"/>
                </a:lnTo>
                <a:lnTo>
                  <a:pt x="3306" y="1104"/>
                </a:lnTo>
                <a:lnTo>
                  <a:pt x="3308" y="1106"/>
                </a:lnTo>
                <a:lnTo>
                  <a:pt x="3308" y="1104"/>
                </a:lnTo>
                <a:lnTo>
                  <a:pt x="3309" y="1104"/>
                </a:lnTo>
                <a:lnTo>
                  <a:pt x="3313" y="1107"/>
                </a:lnTo>
                <a:lnTo>
                  <a:pt x="3313" y="1109"/>
                </a:lnTo>
                <a:lnTo>
                  <a:pt x="3311" y="1109"/>
                </a:lnTo>
                <a:lnTo>
                  <a:pt x="3309" y="1109"/>
                </a:lnTo>
                <a:lnTo>
                  <a:pt x="3309" y="1107"/>
                </a:lnTo>
                <a:lnTo>
                  <a:pt x="3309" y="1109"/>
                </a:lnTo>
                <a:lnTo>
                  <a:pt x="3308" y="1107"/>
                </a:lnTo>
                <a:lnTo>
                  <a:pt x="3306" y="1106"/>
                </a:lnTo>
                <a:lnTo>
                  <a:pt x="3308" y="1109"/>
                </a:lnTo>
                <a:lnTo>
                  <a:pt x="3308" y="1111"/>
                </a:lnTo>
                <a:lnTo>
                  <a:pt x="3311" y="1111"/>
                </a:lnTo>
                <a:lnTo>
                  <a:pt x="3313" y="1112"/>
                </a:lnTo>
                <a:lnTo>
                  <a:pt x="3315" y="1112"/>
                </a:lnTo>
                <a:lnTo>
                  <a:pt x="3316" y="1111"/>
                </a:lnTo>
                <a:lnTo>
                  <a:pt x="3318" y="1112"/>
                </a:lnTo>
                <a:lnTo>
                  <a:pt x="3321" y="1112"/>
                </a:lnTo>
                <a:lnTo>
                  <a:pt x="3325" y="1112"/>
                </a:lnTo>
                <a:lnTo>
                  <a:pt x="3328" y="1112"/>
                </a:lnTo>
                <a:lnTo>
                  <a:pt x="3332" y="1112"/>
                </a:lnTo>
                <a:lnTo>
                  <a:pt x="3330" y="1109"/>
                </a:lnTo>
                <a:close/>
                <a:moveTo>
                  <a:pt x="3315" y="1097"/>
                </a:moveTo>
                <a:lnTo>
                  <a:pt x="3316" y="1097"/>
                </a:lnTo>
                <a:lnTo>
                  <a:pt x="3316" y="1099"/>
                </a:lnTo>
                <a:lnTo>
                  <a:pt x="3315" y="1099"/>
                </a:lnTo>
                <a:lnTo>
                  <a:pt x="3315" y="1097"/>
                </a:lnTo>
                <a:close/>
                <a:moveTo>
                  <a:pt x="3335" y="1097"/>
                </a:moveTo>
                <a:lnTo>
                  <a:pt x="3335" y="1099"/>
                </a:lnTo>
                <a:lnTo>
                  <a:pt x="3335" y="1097"/>
                </a:lnTo>
                <a:close/>
                <a:moveTo>
                  <a:pt x="3338" y="1099"/>
                </a:moveTo>
                <a:lnTo>
                  <a:pt x="3338" y="1100"/>
                </a:lnTo>
                <a:lnTo>
                  <a:pt x="3338" y="1099"/>
                </a:lnTo>
                <a:close/>
                <a:moveTo>
                  <a:pt x="3328" y="1099"/>
                </a:moveTo>
                <a:lnTo>
                  <a:pt x="3328" y="1100"/>
                </a:lnTo>
                <a:lnTo>
                  <a:pt x="3328" y="1099"/>
                </a:lnTo>
                <a:close/>
                <a:moveTo>
                  <a:pt x="3323" y="1100"/>
                </a:moveTo>
                <a:lnTo>
                  <a:pt x="3325" y="1100"/>
                </a:lnTo>
                <a:lnTo>
                  <a:pt x="3323" y="1100"/>
                </a:lnTo>
                <a:close/>
                <a:moveTo>
                  <a:pt x="3343" y="1100"/>
                </a:moveTo>
                <a:lnTo>
                  <a:pt x="3345" y="1100"/>
                </a:lnTo>
                <a:lnTo>
                  <a:pt x="3345" y="1102"/>
                </a:lnTo>
                <a:lnTo>
                  <a:pt x="3343" y="1102"/>
                </a:lnTo>
                <a:lnTo>
                  <a:pt x="3343" y="1100"/>
                </a:lnTo>
                <a:close/>
                <a:moveTo>
                  <a:pt x="3333" y="1104"/>
                </a:moveTo>
                <a:lnTo>
                  <a:pt x="3335" y="1104"/>
                </a:lnTo>
                <a:lnTo>
                  <a:pt x="3333" y="1104"/>
                </a:lnTo>
                <a:close/>
                <a:moveTo>
                  <a:pt x="3347" y="1104"/>
                </a:moveTo>
                <a:lnTo>
                  <a:pt x="3349" y="1104"/>
                </a:lnTo>
                <a:lnTo>
                  <a:pt x="3347" y="1104"/>
                </a:lnTo>
                <a:close/>
                <a:moveTo>
                  <a:pt x="3320" y="1107"/>
                </a:moveTo>
                <a:lnTo>
                  <a:pt x="3320" y="1104"/>
                </a:lnTo>
                <a:lnTo>
                  <a:pt x="3318" y="1104"/>
                </a:lnTo>
                <a:lnTo>
                  <a:pt x="3320" y="1106"/>
                </a:lnTo>
                <a:lnTo>
                  <a:pt x="3318" y="1107"/>
                </a:lnTo>
                <a:lnTo>
                  <a:pt x="3320" y="1107"/>
                </a:lnTo>
                <a:close/>
                <a:moveTo>
                  <a:pt x="3306" y="1104"/>
                </a:moveTo>
                <a:lnTo>
                  <a:pt x="3308" y="1104"/>
                </a:lnTo>
                <a:lnTo>
                  <a:pt x="3308" y="1106"/>
                </a:lnTo>
                <a:lnTo>
                  <a:pt x="3306" y="1106"/>
                </a:lnTo>
                <a:lnTo>
                  <a:pt x="3306" y="1104"/>
                </a:lnTo>
                <a:close/>
                <a:moveTo>
                  <a:pt x="3342" y="1104"/>
                </a:moveTo>
                <a:lnTo>
                  <a:pt x="3342" y="1106"/>
                </a:lnTo>
                <a:lnTo>
                  <a:pt x="3342" y="1104"/>
                </a:lnTo>
                <a:close/>
                <a:moveTo>
                  <a:pt x="3304" y="1106"/>
                </a:moveTo>
                <a:lnTo>
                  <a:pt x="3306" y="1106"/>
                </a:lnTo>
                <a:lnTo>
                  <a:pt x="3304" y="1106"/>
                </a:lnTo>
                <a:close/>
                <a:moveTo>
                  <a:pt x="3345" y="1107"/>
                </a:moveTo>
                <a:lnTo>
                  <a:pt x="3347" y="1107"/>
                </a:lnTo>
                <a:lnTo>
                  <a:pt x="3347" y="1109"/>
                </a:lnTo>
                <a:lnTo>
                  <a:pt x="3345" y="1109"/>
                </a:lnTo>
                <a:lnTo>
                  <a:pt x="3345" y="1107"/>
                </a:lnTo>
                <a:close/>
                <a:moveTo>
                  <a:pt x="3349" y="1109"/>
                </a:moveTo>
                <a:lnTo>
                  <a:pt x="3350" y="1109"/>
                </a:lnTo>
                <a:lnTo>
                  <a:pt x="3349" y="1109"/>
                </a:lnTo>
                <a:close/>
                <a:moveTo>
                  <a:pt x="3349" y="1112"/>
                </a:moveTo>
                <a:lnTo>
                  <a:pt x="3350" y="1112"/>
                </a:lnTo>
                <a:lnTo>
                  <a:pt x="3349" y="1112"/>
                </a:lnTo>
                <a:close/>
                <a:moveTo>
                  <a:pt x="3308" y="1114"/>
                </a:moveTo>
                <a:lnTo>
                  <a:pt x="3309" y="1114"/>
                </a:lnTo>
                <a:lnTo>
                  <a:pt x="3308" y="1114"/>
                </a:lnTo>
                <a:close/>
                <a:moveTo>
                  <a:pt x="3349" y="1114"/>
                </a:moveTo>
                <a:lnTo>
                  <a:pt x="3352" y="1114"/>
                </a:lnTo>
                <a:lnTo>
                  <a:pt x="3352" y="1118"/>
                </a:lnTo>
                <a:lnTo>
                  <a:pt x="3349" y="1118"/>
                </a:lnTo>
                <a:lnTo>
                  <a:pt x="3349" y="1114"/>
                </a:lnTo>
                <a:close/>
                <a:moveTo>
                  <a:pt x="3352" y="1116"/>
                </a:moveTo>
                <a:lnTo>
                  <a:pt x="3354" y="1116"/>
                </a:lnTo>
                <a:lnTo>
                  <a:pt x="3354" y="1118"/>
                </a:lnTo>
                <a:lnTo>
                  <a:pt x="3352" y="1118"/>
                </a:lnTo>
                <a:lnTo>
                  <a:pt x="3352" y="1116"/>
                </a:lnTo>
                <a:close/>
                <a:moveTo>
                  <a:pt x="3304" y="1116"/>
                </a:moveTo>
                <a:lnTo>
                  <a:pt x="3304" y="1118"/>
                </a:lnTo>
                <a:lnTo>
                  <a:pt x="3304" y="1116"/>
                </a:lnTo>
                <a:close/>
                <a:moveTo>
                  <a:pt x="3299" y="1116"/>
                </a:moveTo>
                <a:lnTo>
                  <a:pt x="3301" y="1116"/>
                </a:lnTo>
                <a:lnTo>
                  <a:pt x="3301" y="1118"/>
                </a:lnTo>
                <a:lnTo>
                  <a:pt x="3299" y="1118"/>
                </a:lnTo>
                <a:lnTo>
                  <a:pt x="3299" y="1116"/>
                </a:lnTo>
                <a:close/>
                <a:moveTo>
                  <a:pt x="3326" y="1116"/>
                </a:moveTo>
                <a:lnTo>
                  <a:pt x="3330" y="1116"/>
                </a:lnTo>
                <a:lnTo>
                  <a:pt x="3330" y="1118"/>
                </a:lnTo>
                <a:lnTo>
                  <a:pt x="3326" y="1118"/>
                </a:lnTo>
                <a:lnTo>
                  <a:pt x="3326" y="1116"/>
                </a:lnTo>
                <a:close/>
                <a:moveTo>
                  <a:pt x="3347" y="1116"/>
                </a:moveTo>
                <a:lnTo>
                  <a:pt x="3349" y="1116"/>
                </a:lnTo>
                <a:lnTo>
                  <a:pt x="3349" y="1118"/>
                </a:lnTo>
                <a:lnTo>
                  <a:pt x="3347" y="1118"/>
                </a:lnTo>
                <a:lnTo>
                  <a:pt x="3347" y="1116"/>
                </a:lnTo>
                <a:close/>
                <a:moveTo>
                  <a:pt x="3296" y="1116"/>
                </a:moveTo>
                <a:lnTo>
                  <a:pt x="3296" y="1118"/>
                </a:lnTo>
                <a:lnTo>
                  <a:pt x="3298" y="1119"/>
                </a:lnTo>
                <a:lnTo>
                  <a:pt x="3296" y="1116"/>
                </a:lnTo>
                <a:close/>
                <a:moveTo>
                  <a:pt x="115" y="1133"/>
                </a:moveTo>
                <a:lnTo>
                  <a:pt x="115" y="1131"/>
                </a:lnTo>
                <a:lnTo>
                  <a:pt x="114" y="1126"/>
                </a:lnTo>
                <a:lnTo>
                  <a:pt x="112" y="1126"/>
                </a:lnTo>
                <a:lnTo>
                  <a:pt x="112" y="1124"/>
                </a:lnTo>
                <a:lnTo>
                  <a:pt x="110" y="1124"/>
                </a:lnTo>
                <a:lnTo>
                  <a:pt x="110" y="1126"/>
                </a:lnTo>
                <a:lnTo>
                  <a:pt x="108" y="1126"/>
                </a:lnTo>
                <a:lnTo>
                  <a:pt x="107" y="1128"/>
                </a:lnTo>
                <a:lnTo>
                  <a:pt x="108" y="1129"/>
                </a:lnTo>
                <a:lnTo>
                  <a:pt x="107" y="1133"/>
                </a:lnTo>
                <a:lnTo>
                  <a:pt x="108" y="1135"/>
                </a:lnTo>
                <a:lnTo>
                  <a:pt x="112" y="1136"/>
                </a:lnTo>
                <a:lnTo>
                  <a:pt x="115" y="1133"/>
                </a:lnTo>
                <a:close/>
                <a:moveTo>
                  <a:pt x="93" y="1146"/>
                </a:moveTo>
                <a:lnTo>
                  <a:pt x="95" y="1146"/>
                </a:lnTo>
                <a:lnTo>
                  <a:pt x="97" y="1143"/>
                </a:lnTo>
                <a:lnTo>
                  <a:pt x="97" y="1141"/>
                </a:lnTo>
                <a:lnTo>
                  <a:pt x="97" y="1140"/>
                </a:lnTo>
                <a:lnTo>
                  <a:pt x="95" y="1138"/>
                </a:lnTo>
                <a:lnTo>
                  <a:pt x="93" y="1135"/>
                </a:lnTo>
                <a:lnTo>
                  <a:pt x="91" y="1135"/>
                </a:lnTo>
                <a:lnTo>
                  <a:pt x="90" y="1133"/>
                </a:lnTo>
                <a:lnTo>
                  <a:pt x="88" y="1129"/>
                </a:lnTo>
                <a:lnTo>
                  <a:pt x="85" y="1128"/>
                </a:lnTo>
                <a:lnTo>
                  <a:pt x="85" y="1126"/>
                </a:lnTo>
                <a:lnTo>
                  <a:pt x="85" y="1124"/>
                </a:lnTo>
                <a:lnTo>
                  <a:pt x="81" y="1124"/>
                </a:lnTo>
                <a:lnTo>
                  <a:pt x="81" y="1126"/>
                </a:lnTo>
                <a:lnTo>
                  <a:pt x="80" y="1126"/>
                </a:lnTo>
                <a:lnTo>
                  <a:pt x="81" y="1129"/>
                </a:lnTo>
                <a:lnTo>
                  <a:pt x="80" y="1133"/>
                </a:lnTo>
                <a:lnTo>
                  <a:pt x="81" y="1135"/>
                </a:lnTo>
                <a:lnTo>
                  <a:pt x="80" y="1138"/>
                </a:lnTo>
                <a:lnTo>
                  <a:pt x="83" y="1141"/>
                </a:lnTo>
                <a:lnTo>
                  <a:pt x="88" y="1146"/>
                </a:lnTo>
                <a:lnTo>
                  <a:pt x="93" y="1146"/>
                </a:lnTo>
                <a:close/>
                <a:moveTo>
                  <a:pt x="3321" y="1129"/>
                </a:moveTo>
                <a:lnTo>
                  <a:pt x="3323" y="1129"/>
                </a:lnTo>
                <a:lnTo>
                  <a:pt x="3323" y="1131"/>
                </a:lnTo>
                <a:lnTo>
                  <a:pt x="3321" y="1131"/>
                </a:lnTo>
                <a:lnTo>
                  <a:pt x="3321" y="1129"/>
                </a:lnTo>
                <a:close/>
                <a:moveTo>
                  <a:pt x="3315" y="1129"/>
                </a:moveTo>
                <a:lnTo>
                  <a:pt x="3316" y="1129"/>
                </a:lnTo>
                <a:lnTo>
                  <a:pt x="3315" y="1129"/>
                </a:lnTo>
                <a:close/>
                <a:moveTo>
                  <a:pt x="3313" y="1129"/>
                </a:moveTo>
                <a:lnTo>
                  <a:pt x="3315" y="1129"/>
                </a:lnTo>
                <a:lnTo>
                  <a:pt x="3313" y="1129"/>
                </a:lnTo>
                <a:close/>
                <a:moveTo>
                  <a:pt x="3323" y="1135"/>
                </a:moveTo>
                <a:lnTo>
                  <a:pt x="3323" y="1133"/>
                </a:lnTo>
                <a:lnTo>
                  <a:pt x="3325" y="1131"/>
                </a:lnTo>
                <a:lnTo>
                  <a:pt x="3321" y="1133"/>
                </a:lnTo>
                <a:lnTo>
                  <a:pt x="3321" y="1135"/>
                </a:lnTo>
                <a:lnTo>
                  <a:pt x="3323" y="1136"/>
                </a:lnTo>
                <a:lnTo>
                  <a:pt x="3323" y="1135"/>
                </a:lnTo>
                <a:close/>
                <a:moveTo>
                  <a:pt x="3318" y="1131"/>
                </a:moveTo>
                <a:lnTo>
                  <a:pt x="3318" y="1133"/>
                </a:lnTo>
                <a:lnTo>
                  <a:pt x="3318" y="1131"/>
                </a:lnTo>
                <a:close/>
                <a:moveTo>
                  <a:pt x="3316" y="1133"/>
                </a:moveTo>
                <a:lnTo>
                  <a:pt x="3316" y="1135"/>
                </a:lnTo>
                <a:lnTo>
                  <a:pt x="3316" y="1133"/>
                </a:lnTo>
                <a:close/>
                <a:moveTo>
                  <a:pt x="3325" y="1135"/>
                </a:moveTo>
                <a:lnTo>
                  <a:pt x="3326" y="1135"/>
                </a:lnTo>
                <a:lnTo>
                  <a:pt x="3326" y="1136"/>
                </a:lnTo>
                <a:lnTo>
                  <a:pt x="3325" y="1136"/>
                </a:lnTo>
                <a:lnTo>
                  <a:pt x="3325" y="1135"/>
                </a:lnTo>
                <a:close/>
                <a:moveTo>
                  <a:pt x="3323" y="1136"/>
                </a:moveTo>
                <a:lnTo>
                  <a:pt x="3323" y="1138"/>
                </a:lnTo>
                <a:lnTo>
                  <a:pt x="3323" y="1136"/>
                </a:lnTo>
                <a:close/>
                <a:moveTo>
                  <a:pt x="3325" y="1136"/>
                </a:moveTo>
                <a:lnTo>
                  <a:pt x="3326" y="1136"/>
                </a:lnTo>
                <a:lnTo>
                  <a:pt x="3326" y="1138"/>
                </a:lnTo>
                <a:lnTo>
                  <a:pt x="3325" y="1138"/>
                </a:lnTo>
                <a:lnTo>
                  <a:pt x="3325" y="1136"/>
                </a:lnTo>
                <a:close/>
                <a:moveTo>
                  <a:pt x="3333" y="1138"/>
                </a:moveTo>
                <a:lnTo>
                  <a:pt x="3335" y="1138"/>
                </a:lnTo>
                <a:lnTo>
                  <a:pt x="3333" y="1138"/>
                </a:lnTo>
                <a:close/>
                <a:moveTo>
                  <a:pt x="3325" y="1143"/>
                </a:moveTo>
                <a:lnTo>
                  <a:pt x="3326" y="1141"/>
                </a:lnTo>
                <a:lnTo>
                  <a:pt x="3326" y="1138"/>
                </a:lnTo>
                <a:lnTo>
                  <a:pt x="3325" y="1138"/>
                </a:lnTo>
                <a:lnTo>
                  <a:pt x="3323" y="1141"/>
                </a:lnTo>
                <a:lnTo>
                  <a:pt x="3323" y="1143"/>
                </a:lnTo>
                <a:lnTo>
                  <a:pt x="3325" y="1143"/>
                </a:lnTo>
                <a:close/>
                <a:moveTo>
                  <a:pt x="52" y="1150"/>
                </a:moveTo>
                <a:lnTo>
                  <a:pt x="54" y="1148"/>
                </a:lnTo>
                <a:lnTo>
                  <a:pt x="54" y="1141"/>
                </a:lnTo>
                <a:lnTo>
                  <a:pt x="52" y="1140"/>
                </a:lnTo>
                <a:lnTo>
                  <a:pt x="49" y="1140"/>
                </a:lnTo>
                <a:lnTo>
                  <a:pt x="44" y="1141"/>
                </a:lnTo>
                <a:lnTo>
                  <a:pt x="42" y="1145"/>
                </a:lnTo>
                <a:lnTo>
                  <a:pt x="44" y="1148"/>
                </a:lnTo>
                <a:lnTo>
                  <a:pt x="49" y="1152"/>
                </a:lnTo>
                <a:lnTo>
                  <a:pt x="52" y="1150"/>
                </a:lnTo>
                <a:close/>
                <a:moveTo>
                  <a:pt x="3330" y="1140"/>
                </a:moveTo>
                <a:lnTo>
                  <a:pt x="3332" y="1140"/>
                </a:lnTo>
                <a:lnTo>
                  <a:pt x="3330" y="1140"/>
                </a:lnTo>
                <a:close/>
                <a:moveTo>
                  <a:pt x="35" y="1143"/>
                </a:moveTo>
                <a:lnTo>
                  <a:pt x="37" y="1143"/>
                </a:lnTo>
                <a:lnTo>
                  <a:pt x="35" y="1143"/>
                </a:lnTo>
                <a:close/>
                <a:moveTo>
                  <a:pt x="3338" y="1143"/>
                </a:moveTo>
                <a:lnTo>
                  <a:pt x="3340" y="1143"/>
                </a:lnTo>
                <a:lnTo>
                  <a:pt x="3338" y="1143"/>
                </a:lnTo>
                <a:close/>
                <a:moveTo>
                  <a:pt x="35" y="1150"/>
                </a:moveTo>
                <a:lnTo>
                  <a:pt x="34" y="1146"/>
                </a:lnTo>
                <a:lnTo>
                  <a:pt x="32" y="1146"/>
                </a:lnTo>
                <a:lnTo>
                  <a:pt x="32" y="1148"/>
                </a:lnTo>
                <a:lnTo>
                  <a:pt x="30" y="1148"/>
                </a:lnTo>
                <a:lnTo>
                  <a:pt x="30" y="1150"/>
                </a:lnTo>
                <a:lnTo>
                  <a:pt x="34" y="1152"/>
                </a:lnTo>
                <a:lnTo>
                  <a:pt x="35" y="1150"/>
                </a:lnTo>
                <a:close/>
                <a:moveTo>
                  <a:pt x="3347" y="1148"/>
                </a:moveTo>
                <a:lnTo>
                  <a:pt x="3349" y="1148"/>
                </a:lnTo>
                <a:lnTo>
                  <a:pt x="3349" y="1150"/>
                </a:lnTo>
                <a:lnTo>
                  <a:pt x="3347" y="1150"/>
                </a:lnTo>
                <a:lnTo>
                  <a:pt x="3347" y="1148"/>
                </a:lnTo>
                <a:close/>
                <a:moveTo>
                  <a:pt x="3354" y="1153"/>
                </a:moveTo>
                <a:lnTo>
                  <a:pt x="3355" y="1153"/>
                </a:lnTo>
                <a:lnTo>
                  <a:pt x="3355" y="1155"/>
                </a:lnTo>
                <a:lnTo>
                  <a:pt x="3354" y="1155"/>
                </a:lnTo>
                <a:lnTo>
                  <a:pt x="3354" y="1153"/>
                </a:lnTo>
                <a:close/>
                <a:moveTo>
                  <a:pt x="448" y="1194"/>
                </a:moveTo>
                <a:lnTo>
                  <a:pt x="447" y="1192"/>
                </a:lnTo>
                <a:lnTo>
                  <a:pt x="447" y="1196"/>
                </a:lnTo>
                <a:lnTo>
                  <a:pt x="448" y="1197"/>
                </a:lnTo>
                <a:lnTo>
                  <a:pt x="448" y="1194"/>
                </a:lnTo>
                <a:close/>
                <a:moveTo>
                  <a:pt x="445" y="1199"/>
                </a:moveTo>
                <a:lnTo>
                  <a:pt x="447" y="1197"/>
                </a:lnTo>
                <a:lnTo>
                  <a:pt x="447" y="1196"/>
                </a:lnTo>
                <a:lnTo>
                  <a:pt x="447" y="1192"/>
                </a:lnTo>
                <a:lnTo>
                  <a:pt x="445" y="1192"/>
                </a:lnTo>
                <a:lnTo>
                  <a:pt x="443" y="1192"/>
                </a:lnTo>
                <a:lnTo>
                  <a:pt x="442" y="1194"/>
                </a:lnTo>
                <a:lnTo>
                  <a:pt x="438" y="1192"/>
                </a:lnTo>
                <a:lnTo>
                  <a:pt x="437" y="1194"/>
                </a:lnTo>
                <a:lnTo>
                  <a:pt x="437" y="1197"/>
                </a:lnTo>
                <a:lnTo>
                  <a:pt x="438" y="1197"/>
                </a:lnTo>
                <a:lnTo>
                  <a:pt x="438" y="1199"/>
                </a:lnTo>
                <a:lnTo>
                  <a:pt x="440" y="1199"/>
                </a:lnTo>
                <a:lnTo>
                  <a:pt x="442" y="1201"/>
                </a:lnTo>
                <a:lnTo>
                  <a:pt x="445" y="1199"/>
                </a:lnTo>
                <a:close/>
                <a:moveTo>
                  <a:pt x="445" y="1197"/>
                </a:moveTo>
                <a:lnTo>
                  <a:pt x="448" y="1197"/>
                </a:lnTo>
                <a:lnTo>
                  <a:pt x="448" y="1199"/>
                </a:lnTo>
                <a:lnTo>
                  <a:pt x="445" y="1199"/>
                </a:lnTo>
                <a:lnTo>
                  <a:pt x="445" y="1197"/>
                </a:lnTo>
                <a:close/>
                <a:moveTo>
                  <a:pt x="440" y="1203"/>
                </a:moveTo>
                <a:lnTo>
                  <a:pt x="440" y="1201"/>
                </a:lnTo>
                <a:lnTo>
                  <a:pt x="440" y="1199"/>
                </a:lnTo>
                <a:lnTo>
                  <a:pt x="438" y="1199"/>
                </a:lnTo>
                <a:lnTo>
                  <a:pt x="438" y="1197"/>
                </a:lnTo>
                <a:lnTo>
                  <a:pt x="437" y="1197"/>
                </a:lnTo>
                <a:lnTo>
                  <a:pt x="437" y="1199"/>
                </a:lnTo>
                <a:lnTo>
                  <a:pt x="437" y="1201"/>
                </a:lnTo>
                <a:lnTo>
                  <a:pt x="437" y="1199"/>
                </a:lnTo>
                <a:lnTo>
                  <a:pt x="438" y="1203"/>
                </a:lnTo>
                <a:lnTo>
                  <a:pt x="440" y="1203"/>
                </a:lnTo>
                <a:close/>
                <a:moveTo>
                  <a:pt x="3410" y="1197"/>
                </a:moveTo>
                <a:lnTo>
                  <a:pt x="3410" y="1199"/>
                </a:lnTo>
                <a:lnTo>
                  <a:pt x="3410" y="1197"/>
                </a:lnTo>
                <a:close/>
                <a:moveTo>
                  <a:pt x="435" y="1201"/>
                </a:moveTo>
                <a:lnTo>
                  <a:pt x="435" y="1197"/>
                </a:lnTo>
                <a:lnTo>
                  <a:pt x="435" y="1203"/>
                </a:lnTo>
                <a:lnTo>
                  <a:pt x="435" y="1201"/>
                </a:lnTo>
                <a:close/>
                <a:moveTo>
                  <a:pt x="3408" y="1197"/>
                </a:moveTo>
                <a:lnTo>
                  <a:pt x="3408" y="1199"/>
                </a:lnTo>
                <a:lnTo>
                  <a:pt x="3408" y="1197"/>
                </a:lnTo>
                <a:close/>
                <a:moveTo>
                  <a:pt x="445" y="1209"/>
                </a:moveTo>
                <a:lnTo>
                  <a:pt x="447" y="1209"/>
                </a:lnTo>
                <a:lnTo>
                  <a:pt x="448" y="1206"/>
                </a:lnTo>
                <a:lnTo>
                  <a:pt x="448" y="1204"/>
                </a:lnTo>
                <a:lnTo>
                  <a:pt x="448" y="1203"/>
                </a:lnTo>
                <a:lnTo>
                  <a:pt x="448" y="1201"/>
                </a:lnTo>
                <a:lnTo>
                  <a:pt x="448" y="1199"/>
                </a:lnTo>
                <a:lnTo>
                  <a:pt x="445" y="1201"/>
                </a:lnTo>
                <a:lnTo>
                  <a:pt x="442" y="1204"/>
                </a:lnTo>
                <a:lnTo>
                  <a:pt x="442" y="1208"/>
                </a:lnTo>
                <a:lnTo>
                  <a:pt x="443" y="1209"/>
                </a:lnTo>
                <a:lnTo>
                  <a:pt x="445" y="1209"/>
                </a:lnTo>
                <a:close/>
                <a:moveTo>
                  <a:pt x="440" y="1199"/>
                </a:moveTo>
                <a:lnTo>
                  <a:pt x="440" y="1203"/>
                </a:lnTo>
                <a:lnTo>
                  <a:pt x="440" y="1199"/>
                </a:lnTo>
                <a:close/>
                <a:moveTo>
                  <a:pt x="440" y="1201"/>
                </a:moveTo>
                <a:lnTo>
                  <a:pt x="442" y="1201"/>
                </a:lnTo>
                <a:lnTo>
                  <a:pt x="442" y="1203"/>
                </a:lnTo>
                <a:lnTo>
                  <a:pt x="440" y="1203"/>
                </a:lnTo>
                <a:lnTo>
                  <a:pt x="440" y="1201"/>
                </a:lnTo>
                <a:close/>
                <a:moveTo>
                  <a:pt x="442" y="1201"/>
                </a:moveTo>
                <a:lnTo>
                  <a:pt x="443" y="1201"/>
                </a:lnTo>
                <a:lnTo>
                  <a:pt x="443" y="1203"/>
                </a:lnTo>
                <a:lnTo>
                  <a:pt x="442" y="1203"/>
                </a:lnTo>
                <a:lnTo>
                  <a:pt x="442" y="1201"/>
                </a:lnTo>
                <a:close/>
                <a:moveTo>
                  <a:pt x="440" y="1201"/>
                </a:moveTo>
                <a:lnTo>
                  <a:pt x="442" y="1201"/>
                </a:lnTo>
                <a:lnTo>
                  <a:pt x="442" y="1203"/>
                </a:lnTo>
                <a:lnTo>
                  <a:pt x="440" y="1203"/>
                </a:lnTo>
                <a:lnTo>
                  <a:pt x="440" y="1201"/>
                </a:lnTo>
                <a:close/>
                <a:moveTo>
                  <a:pt x="447" y="1208"/>
                </a:moveTo>
                <a:lnTo>
                  <a:pt x="448" y="1208"/>
                </a:lnTo>
                <a:lnTo>
                  <a:pt x="447" y="1208"/>
                </a:lnTo>
                <a:close/>
                <a:moveTo>
                  <a:pt x="442" y="1208"/>
                </a:moveTo>
                <a:lnTo>
                  <a:pt x="442" y="1209"/>
                </a:lnTo>
                <a:lnTo>
                  <a:pt x="442" y="1208"/>
                </a:lnTo>
                <a:close/>
                <a:moveTo>
                  <a:pt x="440" y="1209"/>
                </a:moveTo>
                <a:lnTo>
                  <a:pt x="442" y="1209"/>
                </a:lnTo>
                <a:lnTo>
                  <a:pt x="442" y="1211"/>
                </a:lnTo>
                <a:lnTo>
                  <a:pt x="440" y="1211"/>
                </a:lnTo>
                <a:lnTo>
                  <a:pt x="440" y="1209"/>
                </a:lnTo>
                <a:close/>
                <a:moveTo>
                  <a:pt x="3439" y="1231"/>
                </a:moveTo>
                <a:lnTo>
                  <a:pt x="3440" y="1231"/>
                </a:lnTo>
                <a:lnTo>
                  <a:pt x="3440" y="1233"/>
                </a:lnTo>
                <a:lnTo>
                  <a:pt x="3439" y="1233"/>
                </a:lnTo>
                <a:lnTo>
                  <a:pt x="3439" y="1231"/>
                </a:lnTo>
                <a:close/>
                <a:moveTo>
                  <a:pt x="3454" y="1240"/>
                </a:moveTo>
                <a:lnTo>
                  <a:pt x="3456" y="1240"/>
                </a:lnTo>
                <a:lnTo>
                  <a:pt x="3456" y="1242"/>
                </a:lnTo>
                <a:lnTo>
                  <a:pt x="3454" y="1242"/>
                </a:lnTo>
                <a:lnTo>
                  <a:pt x="3454" y="1240"/>
                </a:lnTo>
                <a:close/>
                <a:moveTo>
                  <a:pt x="3457" y="1243"/>
                </a:moveTo>
                <a:lnTo>
                  <a:pt x="3459" y="1243"/>
                </a:lnTo>
                <a:lnTo>
                  <a:pt x="3457" y="1243"/>
                </a:lnTo>
                <a:close/>
                <a:moveTo>
                  <a:pt x="3452" y="1243"/>
                </a:moveTo>
                <a:lnTo>
                  <a:pt x="3454" y="1243"/>
                </a:lnTo>
                <a:lnTo>
                  <a:pt x="3454" y="1245"/>
                </a:lnTo>
                <a:lnTo>
                  <a:pt x="3452" y="1245"/>
                </a:lnTo>
                <a:lnTo>
                  <a:pt x="3452" y="1243"/>
                </a:lnTo>
                <a:close/>
                <a:moveTo>
                  <a:pt x="3456" y="1243"/>
                </a:moveTo>
                <a:lnTo>
                  <a:pt x="3456" y="1245"/>
                </a:lnTo>
                <a:lnTo>
                  <a:pt x="3456" y="1243"/>
                </a:lnTo>
                <a:close/>
                <a:moveTo>
                  <a:pt x="3459" y="1247"/>
                </a:moveTo>
                <a:lnTo>
                  <a:pt x="3457" y="1245"/>
                </a:lnTo>
                <a:lnTo>
                  <a:pt x="3456" y="1245"/>
                </a:lnTo>
                <a:lnTo>
                  <a:pt x="3457" y="1247"/>
                </a:lnTo>
                <a:lnTo>
                  <a:pt x="3457" y="1248"/>
                </a:lnTo>
                <a:lnTo>
                  <a:pt x="3459" y="1250"/>
                </a:lnTo>
                <a:lnTo>
                  <a:pt x="3459" y="1247"/>
                </a:lnTo>
                <a:close/>
                <a:moveTo>
                  <a:pt x="3451" y="1245"/>
                </a:moveTo>
                <a:lnTo>
                  <a:pt x="3452" y="1245"/>
                </a:lnTo>
                <a:lnTo>
                  <a:pt x="3451" y="1245"/>
                </a:lnTo>
                <a:close/>
                <a:moveTo>
                  <a:pt x="442" y="1245"/>
                </a:moveTo>
                <a:lnTo>
                  <a:pt x="443" y="1245"/>
                </a:lnTo>
                <a:lnTo>
                  <a:pt x="443" y="1247"/>
                </a:lnTo>
                <a:lnTo>
                  <a:pt x="442" y="1247"/>
                </a:lnTo>
                <a:lnTo>
                  <a:pt x="442" y="1245"/>
                </a:lnTo>
                <a:close/>
                <a:moveTo>
                  <a:pt x="445" y="1248"/>
                </a:moveTo>
                <a:lnTo>
                  <a:pt x="443" y="1247"/>
                </a:lnTo>
                <a:lnTo>
                  <a:pt x="442" y="1247"/>
                </a:lnTo>
                <a:lnTo>
                  <a:pt x="442" y="1245"/>
                </a:lnTo>
                <a:lnTo>
                  <a:pt x="440" y="1247"/>
                </a:lnTo>
                <a:lnTo>
                  <a:pt x="442" y="1248"/>
                </a:lnTo>
                <a:lnTo>
                  <a:pt x="440" y="1248"/>
                </a:lnTo>
                <a:lnTo>
                  <a:pt x="442" y="1248"/>
                </a:lnTo>
                <a:lnTo>
                  <a:pt x="443" y="1250"/>
                </a:lnTo>
                <a:lnTo>
                  <a:pt x="442" y="1250"/>
                </a:lnTo>
                <a:lnTo>
                  <a:pt x="442" y="1252"/>
                </a:lnTo>
                <a:lnTo>
                  <a:pt x="443" y="1254"/>
                </a:lnTo>
                <a:lnTo>
                  <a:pt x="445" y="1248"/>
                </a:lnTo>
                <a:close/>
                <a:moveTo>
                  <a:pt x="3459" y="1247"/>
                </a:moveTo>
                <a:lnTo>
                  <a:pt x="3461" y="1247"/>
                </a:lnTo>
                <a:lnTo>
                  <a:pt x="3461" y="1248"/>
                </a:lnTo>
                <a:lnTo>
                  <a:pt x="3459" y="1248"/>
                </a:lnTo>
                <a:lnTo>
                  <a:pt x="3459" y="1247"/>
                </a:lnTo>
                <a:close/>
                <a:moveTo>
                  <a:pt x="3456" y="1248"/>
                </a:moveTo>
                <a:lnTo>
                  <a:pt x="3456" y="1250"/>
                </a:lnTo>
                <a:lnTo>
                  <a:pt x="3456" y="1248"/>
                </a:lnTo>
                <a:close/>
                <a:moveTo>
                  <a:pt x="3454" y="1248"/>
                </a:moveTo>
                <a:lnTo>
                  <a:pt x="3454" y="1250"/>
                </a:lnTo>
                <a:lnTo>
                  <a:pt x="3454" y="1248"/>
                </a:lnTo>
                <a:close/>
                <a:moveTo>
                  <a:pt x="3451" y="1248"/>
                </a:moveTo>
                <a:lnTo>
                  <a:pt x="3452" y="1248"/>
                </a:lnTo>
                <a:lnTo>
                  <a:pt x="3452" y="1250"/>
                </a:lnTo>
                <a:lnTo>
                  <a:pt x="3451" y="1250"/>
                </a:lnTo>
                <a:lnTo>
                  <a:pt x="3451" y="1248"/>
                </a:lnTo>
                <a:close/>
                <a:moveTo>
                  <a:pt x="3456" y="1250"/>
                </a:moveTo>
                <a:lnTo>
                  <a:pt x="3457" y="1250"/>
                </a:lnTo>
                <a:lnTo>
                  <a:pt x="3456" y="1250"/>
                </a:lnTo>
                <a:close/>
                <a:moveTo>
                  <a:pt x="3457" y="1250"/>
                </a:moveTo>
                <a:lnTo>
                  <a:pt x="3459" y="1250"/>
                </a:lnTo>
                <a:lnTo>
                  <a:pt x="3459" y="1252"/>
                </a:lnTo>
                <a:lnTo>
                  <a:pt x="3457" y="1252"/>
                </a:lnTo>
                <a:lnTo>
                  <a:pt x="3457" y="1250"/>
                </a:lnTo>
                <a:close/>
                <a:moveTo>
                  <a:pt x="440" y="1255"/>
                </a:moveTo>
                <a:lnTo>
                  <a:pt x="442" y="1257"/>
                </a:lnTo>
                <a:lnTo>
                  <a:pt x="443" y="1255"/>
                </a:lnTo>
                <a:lnTo>
                  <a:pt x="443" y="1254"/>
                </a:lnTo>
                <a:lnTo>
                  <a:pt x="442" y="1254"/>
                </a:lnTo>
                <a:lnTo>
                  <a:pt x="440" y="1254"/>
                </a:lnTo>
                <a:lnTo>
                  <a:pt x="438" y="1255"/>
                </a:lnTo>
                <a:lnTo>
                  <a:pt x="438" y="1257"/>
                </a:lnTo>
                <a:lnTo>
                  <a:pt x="440" y="1257"/>
                </a:lnTo>
                <a:lnTo>
                  <a:pt x="440" y="1255"/>
                </a:lnTo>
                <a:close/>
                <a:moveTo>
                  <a:pt x="443" y="1260"/>
                </a:moveTo>
                <a:lnTo>
                  <a:pt x="445" y="1259"/>
                </a:lnTo>
                <a:lnTo>
                  <a:pt x="445" y="1257"/>
                </a:lnTo>
                <a:lnTo>
                  <a:pt x="445" y="1255"/>
                </a:lnTo>
                <a:lnTo>
                  <a:pt x="443" y="1255"/>
                </a:lnTo>
                <a:lnTo>
                  <a:pt x="442" y="1257"/>
                </a:lnTo>
                <a:lnTo>
                  <a:pt x="442" y="1260"/>
                </a:lnTo>
                <a:lnTo>
                  <a:pt x="443" y="1260"/>
                </a:lnTo>
                <a:close/>
                <a:moveTo>
                  <a:pt x="442" y="1262"/>
                </a:moveTo>
                <a:lnTo>
                  <a:pt x="440" y="1255"/>
                </a:lnTo>
                <a:lnTo>
                  <a:pt x="440" y="1257"/>
                </a:lnTo>
                <a:lnTo>
                  <a:pt x="437" y="1255"/>
                </a:lnTo>
                <a:lnTo>
                  <a:pt x="435" y="1257"/>
                </a:lnTo>
                <a:lnTo>
                  <a:pt x="433" y="1260"/>
                </a:lnTo>
                <a:lnTo>
                  <a:pt x="435" y="1264"/>
                </a:lnTo>
                <a:lnTo>
                  <a:pt x="437" y="1264"/>
                </a:lnTo>
                <a:lnTo>
                  <a:pt x="442" y="1262"/>
                </a:lnTo>
                <a:close/>
                <a:moveTo>
                  <a:pt x="445" y="1257"/>
                </a:moveTo>
                <a:lnTo>
                  <a:pt x="447" y="1257"/>
                </a:lnTo>
                <a:lnTo>
                  <a:pt x="447" y="1259"/>
                </a:lnTo>
                <a:lnTo>
                  <a:pt x="445" y="1259"/>
                </a:lnTo>
                <a:lnTo>
                  <a:pt x="445" y="1257"/>
                </a:lnTo>
                <a:close/>
                <a:moveTo>
                  <a:pt x="437" y="1266"/>
                </a:moveTo>
                <a:lnTo>
                  <a:pt x="440" y="1266"/>
                </a:lnTo>
                <a:lnTo>
                  <a:pt x="440" y="1267"/>
                </a:lnTo>
                <a:lnTo>
                  <a:pt x="437" y="1267"/>
                </a:lnTo>
                <a:lnTo>
                  <a:pt x="437" y="1266"/>
                </a:lnTo>
                <a:close/>
                <a:moveTo>
                  <a:pt x="437" y="1269"/>
                </a:moveTo>
                <a:lnTo>
                  <a:pt x="438" y="1269"/>
                </a:lnTo>
                <a:lnTo>
                  <a:pt x="438" y="1271"/>
                </a:lnTo>
                <a:lnTo>
                  <a:pt x="437" y="1271"/>
                </a:lnTo>
                <a:lnTo>
                  <a:pt x="437" y="1269"/>
                </a:lnTo>
                <a:close/>
                <a:moveTo>
                  <a:pt x="438" y="1271"/>
                </a:moveTo>
                <a:lnTo>
                  <a:pt x="440" y="1271"/>
                </a:lnTo>
                <a:lnTo>
                  <a:pt x="438" y="1271"/>
                </a:lnTo>
                <a:close/>
                <a:moveTo>
                  <a:pt x="482" y="1293"/>
                </a:moveTo>
                <a:lnTo>
                  <a:pt x="479" y="1294"/>
                </a:lnTo>
                <a:lnTo>
                  <a:pt x="479" y="1296"/>
                </a:lnTo>
                <a:lnTo>
                  <a:pt x="482" y="1293"/>
                </a:lnTo>
                <a:close/>
                <a:moveTo>
                  <a:pt x="465" y="1300"/>
                </a:moveTo>
                <a:lnTo>
                  <a:pt x="462" y="1298"/>
                </a:lnTo>
                <a:lnTo>
                  <a:pt x="459" y="1294"/>
                </a:lnTo>
                <a:lnTo>
                  <a:pt x="459" y="1298"/>
                </a:lnTo>
                <a:lnTo>
                  <a:pt x="457" y="1300"/>
                </a:lnTo>
                <a:lnTo>
                  <a:pt x="457" y="1301"/>
                </a:lnTo>
                <a:lnTo>
                  <a:pt x="462" y="1301"/>
                </a:lnTo>
                <a:lnTo>
                  <a:pt x="465" y="1300"/>
                </a:lnTo>
                <a:close/>
                <a:moveTo>
                  <a:pt x="472" y="1298"/>
                </a:moveTo>
                <a:lnTo>
                  <a:pt x="476" y="1298"/>
                </a:lnTo>
                <a:lnTo>
                  <a:pt x="476" y="1300"/>
                </a:lnTo>
                <a:lnTo>
                  <a:pt x="472" y="1300"/>
                </a:lnTo>
                <a:lnTo>
                  <a:pt x="472" y="1298"/>
                </a:lnTo>
                <a:close/>
                <a:moveTo>
                  <a:pt x="472" y="1306"/>
                </a:moveTo>
                <a:lnTo>
                  <a:pt x="474" y="1300"/>
                </a:lnTo>
                <a:lnTo>
                  <a:pt x="472" y="1300"/>
                </a:lnTo>
                <a:lnTo>
                  <a:pt x="469" y="1300"/>
                </a:lnTo>
                <a:lnTo>
                  <a:pt x="465" y="1300"/>
                </a:lnTo>
                <a:lnTo>
                  <a:pt x="465" y="1303"/>
                </a:lnTo>
                <a:lnTo>
                  <a:pt x="469" y="1305"/>
                </a:lnTo>
                <a:lnTo>
                  <a:pt x="469" y="1306"/>
                </a:lnTo>
                <a:lnTo>
                  <a:pt x="472" y="1306"/>
                </a:lnTo>
                <a:close/>
                <a:moveTo>
                  <a:pt x="503" y="1300"/>
                </a:moveTo>
                <a:lnTo>
                  <a:pt x="505" y="1300"/>
                </a:lnTo>
                <a:lnTo>
                  <a:pt x="505" y="1301"/>
                </a:lnTo>
                <a:lnTo>
                  <a:pt x="503" y="1301"/>
                </a:lnTo>
                <a:lnTo>
                  <a:pt x="503" y="1300"/>
                </a:lnTo>
                <a:close/>
                <a:moveTo>
                  <a:pt x="501" y="1300"/>
                </a:moveTo>
                <a:lnTo>
                  <a:pt x="503" y="1300"/>
                </a:lnTo>
                <a:lnTo>
                  <a:pt x="503" y="1301"/>
                </a:lnTo>
                <a:lnTo>
                  <a:pt x="501" y="1301"/>
                </a:lnTo>
                <a:lnTo>
                  <a:pt x="501" y="1300"/>
                </a:lnTo>
                <a:close/>
                <a:moveTo>
                  <a:pt x="474" y="1301"/>
                </a:moveTo>
                <a:lnTo>
                  <a:pt x="474" y="1303"/>
                </a:lnTo>
                <a:lnTo>
                  <a:pt x="474" y="1301"/>
                </a:lnTo>
                <a:close/>
                <a:moveTo>
                  <a:pt x="479" y="1306"/>
                </a:moveTo>
                <a:lnTo>
                  <a:pt x="481" y="1306"/>
                </a:lnTo>
                <a:lnTo>
                  <a:pt x="479" y="1306"/>
                </a:lnTo>
                <a:close/>
                <a:moveTo>
                  <a:pt x="3471" y="1306"/>
                </a:moveTo>
                <a:lnTo>
                  <a:pt x="3473" y="1306"/>
                </a:lnTo>
                <a:lnTo>
                  <a:pt x="3473" y="1308"/>
                </a:lnTo>
                <a:lnTo>
                  <a:pt x="3471" y="1308"/>
                </a:lnTo>
                <a:lnTo>
                  <a:pt x="3471" y="1306"/>
                </a:lnTo>
                <a:close/>
                <a:moveTo>
                  <a:pt x="498" y="1318"/>
                </a:moveTo>
                <a:lnTo>
                  <a:pt x="496" y="1318"/>
                </a:lnTo>
                <a:lnTo>
                  <a:pt x="496" y="1317"/>
                </a:lnTo>
                <a:lnTo>
                  <a:pt x="498" y="1317"/>
                </a:lnTo>
                <a:lnTo>
                  <a:pt x="499" y="1315"/>
                </a:lnTo>
                <a:lnTo>
                  <a:pt x="499" y="1317"/>
                </a:lnTo>
                <a:lnTo>
                  <a:pt x="501" y="1317"/>
                </a:lnTo>
                <a:lnTo>
                  <a:pt x="499" y="1315"/>
                </a:lnTo>
                <a:lnTo>
                  <a:pt x="499" y="1313"/>
                </a:lnTo>
                <a:lnTo>
                  <a:pt x="501" y="1311"/>
                </a:lnTo>
                <a:lnTo>
                  <a:pt x="498" y="1313"/>
                </a:lnTo>
                <a:lnTo>
                  <a:pt x="496" y="1315"/>
                </a:lnTo>
                <a:lnTo>
                  <a:pt x="494" y="1315"/>
                </a:lnTo>
                <a:lnTo>
                  <a:pt x="493" y="1317"/>
                </a:lnTo>
                <a:lnTo>
                  <a:pt x="493" y="1318"/>
                </a:lnTo>
                <a:lnTo>
                  <a:pt x="496" y="1318"/>
                </a:lnTo>
                <a:lnTo>
                  <a:pt x="498" y="1318"/>
                </a:lnTo>
                <a:close/>
                <a:moveTo>
                  <a:pt x="479" y="1317"/>
                </a:moveTo>
                <a:lnTo>
                  <a:pt x="477" y="1315"/>
                </a:lnTo>
                <a:lnTo>
                  <a:pt x="476" y="1313"/>
                </a:lnTo>
                <a:lnTo>
                  <a:pt x="474" y="1315"/>
                </a:lnTo>
                <a:lnTo>
                  <a:pt x="476" y="1315"/>
                </a:lnTo>
                <a:lnTo>
                  <a:pt x="476" y="1317"/>
                </a:lnTo>
                <a:lnTo>
                  <a:pt x="477" y="1318"/>
                </a:lnTo>
                <a:lnTo>
                  <a:pt x="479" y="1317"/>
                </a:lnTo>
                <a:close/>
                <a:moveTo>
                  <a:pt x="460" y="1320"/>
                </a:moveTo>
                <a:lnTo>
                  <a:pt x="462" y="1317"/>
                </a:lnTo>
                <a:lnTo>
                  <a:pt x="460" y="1315"/>
                </a:lnTo>
                <a:lnTo>
                  <a:pt x="459" y="1315"/>
                </a:lnTo>
                <a:lnTo>
                  <a:pt x="457" y="1317"/>
                </a:lnTo>
                <a:lnTo>
                  <a:pt x="454" y="1317"/>
                </a:lnTo>
                <a:lnTo>
                  <a:pt x="452" y="1318"/>
                </a:lnTo>
                <a:lnTo>
                  <a:pt x="454" y="1320"/>
                </a:lnTo>
                <a:lnTo>
                  <a:pt x="457" y="1318"/>
                </a:lnTo>
                <a:lnTo>
                  <a:pt x="459" y="1320"/>
                </a:lnTo>
                <a:lnTo>
                  <a:pt x="460" y="1320"/>
                </a:lnTo>
                <a:close/>
                <a:moveTo>
                  <a:pt x="476" y="1317"/>
                </a:moveTo>
                <a:lnTo>
                  <a:pt x="474" y="1315"/>
                </a:lnTo>
                <a:lnTo>
                  <a:pt x="472" y="1317"/>
                </a:lnTo>
                <a:lnTo>
                  <a:pt x="474" y="1318"/>
                </a:lnTo>
                <a:lnTo>
                  <a:pt x="476" y="1317"/>
                </a:lnTo>
                <a:close/>
                <a:moveTo>
                  <a:pt x="476" y="1317"/>
                </a:moveTo>
                <a:lnTo>
                  <a:pt x="477" y="1317"/>
                </a:lnTo>
                <a:lnTo>
                  <a:pt x="477" y="1318"/>
                </a:lnTo>
                <a:lnTo>
                  <a:pt x="476" y="1318"/>
                </a:lnTo>
                <a:lnTo>
                  <a:pt x="476" y="1317"/>
                </a:lnTo>
                <a:close/>
                <a:moveTo>
                  <a:pt x="462" y="1322"/>
                </a:moveTo>
                <a:lnTo>
                  <a:pt x="465" y="1318"/>
                </a:lnTo>
                <a:lnTo>
                  <a:pt x="465" y="1317"/>
                </a:lnTo>
                <a:lnTo>
                  <a:pt x="462" y="1318"/>
                </a:lnTo>
                <a:lnTo>
                  <a:pt x="460" y="1320"/>
                </a:lnTo>
                <a:lnTo>
                  <a:pt x="459" y="1322"/>
                </a:lnTo>
                <a:lnTo>
                  <a:pt x="462" y="1322"/>
                </a:lnTo>
                <a:close/>
                <a:moveTo>
                  <a:pt x="476" y="1322"/>
                </a:moveTo>
                <a:lnTo>
                  <a:pt x="479" y="1322"/>
                </a:lnTo>
                <a:lnTo>
                  <a:pt x="477" y="1318"/>
                </a:lnTo>
                <a:lnTo>
                  <a:pt x="476" y="1318"/>
                </a:lnTo>
                <a:lnTo>
                  <a:pt x="474" y="1318"/>
                </a:lnTo>
                <a:lnTo>
                  <a:pt x="472" y="1318"/>
                </a:lnTo>
                <a:lnTo>
                  <a:pt x="469" y="1322"/>
                </a:lnTo>
                <a:lnTo>
                  <a:pt x="472" y="1323"/>
                </a:lnTo>
                <a:lnTo>
                  <a:pt x="474" y="1322"/>
                </a:lnTo>
                <a:lnTo>
                  <a:pt x="476" y="1322"/>
                </a:lnTo>
                <a:lnTo>
                  <a:pt x="476" y="1323"/>
                </a:lnTo>
                <a:lnTo>
                  <a:pt x="476" y="1322"/>
                </a:lnTo>
                <a:close/>
                <a:moveTo>
                  <a:pt x="3485" y="1318"/>
                </a:moveTo>
                <a:lnTo>
                  <a:pt x="3485" y="1320"/>
                </a:lnTo>
                <a:lnTo>
                  <a:pt x="3485" y="1318"/>
                </a:lnTo>
                <a:close/>
                <a:moveTo>
                  <a:pt x="489" y="1322"/>
                </a:moveTo>
                <a:lnTo>
                  <a:pt x="491" y="1322"/>
                </a:lnTo>
                <a:lnTo>
                  <a:pt x="491" y="1320"/>
                </a:lnTo>
                <a:lnTo>
                  <a:pt x="491" y="1318"/>
                </a:lnTo>
                <a:lnTo>
                  <a:pt x="489" y="1318"/>
                </a:lnTo>
                <a:lnTo>
                  <a:pt x="489" y="1320"/>
                </a:lnTo>
                <a:lnTo>
                  <a:pt x="488" y="1322"/>
                </a:lnTo>
                <a:lnTo>
                  <a:pt x="489" y="1322"/>
                </a:lnTo>
                <a:close/>
                <a:moveTo>
                  <a:pt x="3485" y="1322"/>
                </a:moveTo>
                <a:lnTo>
                  <a:pt x="3485" y="1323"/>
                </a:lnTo>
                <a:lnTo>
                  <a:pt x="3485" y="1322"/>
                </a:lnTo>
                <a:close/>
                <a:moveTo>
                  <a:pt x="459" y="1322"/>
                </a:moveTo>
                <a:lnTo>
                  <a:pt x="459" y="1323"/>
                </a:lnTo>
                <a:lnTo>
                  <a:pt x="459" y="1322"/>
                </a:lnTo>
                <a:close/>
                <a:moveTo>
                  <a:pt x="469" y="1325"/>
                </a:moveTo>
                <a:lnTo>
                  <a:pt x="469" y="1323"/>
                </a:lnTo>
                <a:lnTo>
                  <a:pt x="471" y="1323"/>
                </a:lnTo>
                <a:lnTo>
                  <a:pt x="469" y="1323"/>
                </a:lnTo>
                <a:lnTo>
                  <a:pt x="465" y="1323"/>
                </a:lnTo>
                <a:lnTo>
                  <a:pt x="465" y="1325"/>
                </a:lnTo>
                <a:lnTo>
                  <a:pt x="467" y="1325"/>
                </a:lnTo>
                <a:lnTo>
                  <a:pt x="469" y="1325"/>
                </a:lnTo>
                <a:close/>
                <a:moveTo>
                  <a:pt x="472" y="1325"/>
                </a:moveTo>
                <a:lnTo>
                  <a:pt x="474" y="1325"/>
                </a:lnTo>
                <a:lnTo>
                  <a:pt x="472" y="1325"/>
                </a:lnTo>
                <a:close/>
                <a:moveTo>
                  <a:pt x="479" y="1325"/>
                </a:moveTo>
                <a:lnTo>
                  <a:pt x="482" y="1325"/>
                </a:lnTo>
                <a:lnTo>
                  <a:pt x="482" y="1328"/>
                </a:lnTo>
                <a:lnTo>
                  <a:pt x="479" y="1328"/>
                </a:lnTo>
                <a:lnTo>
                  <a:pt x="479" y="1325"/>
                </a:lnTo>
                <a:close/>
                <a:moveTo>
                  <a:pt x="484" y="1327"/>
                </a:moveTo>
                <a:lnTo>
                  <a:pt x="484" y="1325"/>
                </a:lnTo>
                <a:lnTo>
                  <a:pt x="482" y="1327"/>
                </a:lnTo>
                <a:lnTo>
                  <a:pt x="482" y="1328"/>
                </a:lnTo>
                <a:lnTo>
                  <a:pt x="484" y="1328"/>
                </a:lnTo>
                <a:lnTo>
                  <a:pt x="484" y="1327"/>
                </a:lnTo>
                <a:close/>
                <a:moveTo>
                  <a:pt x="471" y="1327"/>
                </a:moveTo>
                <a:lnTo>
                  <a:pt x="472" y="1328"/>
                </a:lnTo>
                <a:lnTo>
                  <a:pt x="471" y="1328"/>
                </a:lnTo>
                <a:lnTo>
                  <a:pt x="472" y="1328"/>
                </a:lnTo>
                <a:lnTo>
                  <a:pt x="472" y="1327"/>
                </a:lnTo>
                <a:lnTo>
                  <a:pt x="469" y="1327"/>
                </a:lnTo>
                <a:lnTo>
                  <a:pt x="467" y="1327"/>
                </a:lnTo>
                <a:lnTo>
                  <a:pt x="467" y="1328"/>
                </a:lnTo>
                <a:lnTo>
                  <a:pt x="469" y="1330"/>
                </a:lnTo>
                <a:lnTo>
                  <a:pt x="471" y="1327"/>
                </a:lnTo>
                <a:close/>
                <a:moveTo>
                  <a:pt x="464" y="1327"/>
                </a:moveTo>
                <a:lnTo>
                  <a:pt x="465" y="1327"/>
                </a:lnTo>
                <a:lnTo>
                  <a:pt x="464" y="1327"/>
                </a:lnTo>
                <a:close/>
                <a:moveTo>
                  <a:pt x="488" y="1327"/>
                </a:moveTo>
                <a:lnTo>
                  <a:pt x="489" y="1327"/>
                </a:lnTo>
                <a:lnTo>
                  <a:pt x="489" y="1328"/>
                </a:lnTo>
                <a:lnTo>
                  <a:pt x="488" y="1328"/>
                </a:lnTo>
                <a:lnTo>
                  <a:pt x="488" y="1327"/>
                </a:lnTo>
                <a:close/>
                <a:moveTo>
                  <a:pt x="454" y="1330"/>
                </a:moveTo>
                <a:lnTo>
                  <a:pt x="450" y="1328"/>
                </a:lnTo>
                <a:lnTo>
                  <a:pt x="448" y="1330"/>
                </a:lnTo>
                <a:lnTo>
                  <a:pt x="454" y="1330"/>
                </a:lnTo>
                <a:close/>
                <a:moveTo>
                  <a:pt x="464" y="1334"/>
                </a:moveTo>
                <a:lnTo>
                  <a:pt x="465" y="1332"/>
                </a:lnTo>
                <a:lnTo>
                  <a:pt x="465" y="1330"/>
                </a:lnTo>
                <a:lnTo>
                  <a:pt x="464" y="1328"/>
                </a:lnTo>
                <a:lnTo>
                  <a:pt x="464" y="1330"/>
                </a:lnTo>
                <a:lnTo>
                  <a:pt x="464" y="1328"/>
                </a:lnTo>
                <a:lnTo>
                  <a:pt x="462" y="1328"/>
                </a:lnTo>
                <a:lnTo>
                  <a:pt x="462" y="1330"/>
                </a:lnTo>
                <a:lnTo>
                  <a:pt x="460" y="1330"/>
                </a:lnTo>
                <a:lnTo>
                  <a:pt x="459" y="1332"/>
                </a:lnTo>
                <a:lnTo>
                  <a:pt x="460" y="1334"/>
                </a:lnTo>
                <a:lnTo>
                  <a:pt x="464" y="1334"/>
                </a:lnTo>
                <a:close/>
                <a:moveTo>
                  <a:pt x="482" y="1334"/>
                </a:moveTo>
                <a:lnTo>
                  <a:pt x="482" y="1332"/>
                </a:lnTo>
                <a:lnTo>
                  <a:pt x="481" y="1332"/>
                </a:lnTo>
                <a:lnTo>
                  <a:pt x="482" y="1332"/>
                </a:lnTo>
                <a:lnTo>
                  <a:pt x="481" y="1330"/>
                </a:lnTo>
                <a:lnTo>
                  <a:pt x="482" y="1330"/>
                </a:lnTo>
                <a:lnTo>
                  <a:pt x="482" y="1328"/>
                </a:lnTo>
                <a:lnTo>
                  <a:pt x="481" y="1328"/>
                </a:lnTo>
                <a:lnTo>
                  <a:pt x="479" y="1334"/>
                </a:lnTo>
                <a:lnTo>
                  <a:pt x="481" y="1334"/>
                </a:lnTo>
                <a:lnTo>
                  <a:pt x="482" y="1334"/>
                </a:lnTo>
                <a:close/>
                <a:moveTo>
                  <a:pt x="488" y="1335"/>
                </a:moveTo>
                <a:lnTo>
                  <a:pt x="488" y="1334"/>
                </a:lnTo>
                <a:lnTo>
                  <a:pt x="488" y="1332"/>
                </a:lnTo>
                <a:lnTo>
                  <a:pt x="489" y="1334"/>
                </a:lnTo>
                <a:lnTo>
                  <a:pt x="489" y="1332"/>
                </a:lnTo>
                <a:lnTo>
                  <a:pt x="491" y="1332"/>
                </a:lnTo>
                <a:lnTo>
                  <a:pt x="491" y="1328"/>
                </a:lnTo>
                <a:lnTo>
                  <a:pt x="488" y="1328"/>
                </a:lnTo>
                <a:lnTo>
                  <a:pt x="488" y="1330"/>
                </a:lnTo>
                <a:lnTo>
                  <a:pt x="486" y="1330"/>
                </a:lnTo>
                <a:lnTo>
                  <a:pt x="486" y="1332"/>
                </a:lnTo>
                <a:lnTo>
                  <a:pt x="484" y="1332"/>
                </a:lnTo>
                <a:lnTo>
                  <a:pt x="486" y="1334"/>
                </a:lnTo>
                <a:lnTo>
                  <a:pt x="484" y="1334"/>
                </a:lnTo>
                <a:lnTo>
                  <a:pt x="486" y="1335"/>
                </a:lnTo>
                <a:lnTo>
                  <a:pt x="488" y="1335"/>
                </a:lnTo>
                <a:close/>
                <a:moveTo>
                  <a:pt x="454" y="1328"/>
                </a:moveTo>
                <a:lnTo>
                  <a:pt x="455" y="1328"/>
                </a:lnTo>
                <a:lnTo>
                  <a:pt x="455" y="1330"/>
                </a:lnTo>
                <a:lnTo>
                  <a:pt x="454" y="1330"/>
                </a:lnTo>
                <a:lnTo>
                  <a:pt x="454" y="1328"/>
                </a:lnTo>
                <a:close/>
                <a:moveTo>
                  <a:pt x="488" y="1328"/>
                </a:moveTo>
                <a:lnTo>
                  <a:pt x="488" y="1330"/>
                </a:lnTo>
                <a:lnTo>
                  <a:pt x="488" y="1328"/>
                </a:lnTo>
                <a:close/>
                <a:moveTo>
                  <a:pt x="505" y="1332"/>
                </a:moveTo>
                <a:lnTo>
                  <a:pt x="508" y="1332"/>
                </a:lnTo>
                <a:lnTo>
                  <a:pt x="508" y="1330"/>
                </a:lnTo>
                <a:lnTo>
                  <a:pt x="506" y="1330"/>
                </a:lnTo>
                <a:lnTo>
                  <a:pt x="505" y="1332"/>
                </a:lnTo>
                <a:lnTo>
                  <a:pt x="503" y="1332"/>
                </a:lnTo>
                <a:lnTo>
                  <a:pt x="505" y="1332"/>
                </a:lnTo>
                <a:close/>
                <a:moveTo>
                  <a:pt x="3675" y="1332"/>
                </a:moveTo>
                <a:lnTo>
                  <a:pt x="3677" y="1332"/>
                </a:lnTo>
                <a:lnTo>
                  <a:pt x="3677" y="1334"/>
                </a:lnTo>
                <a:lnTo>
                  <a:pt x="3675" y="1334"/>
                </a:lnTo>
                <a:lnTo>
                  <a:pt x="3675" y="1332"/>
                </a:lnTo>
                <a:close/>
                <a:moveTo>
                  <a:pt x="467" y="1342"/>
                </a:moveTo>
                <a:lnTo>
                  <a:pt x="471" y="1342"/>
                </a:lnTo>
                <a:lnTo>
                  <a:pt x="471" y="1340"/>
                </a:lnTo>
                <a:lnTo>
                  <a:pt x="472" y="1340"/>
                </a:lnTo>
                <a:lnTo>
                  <a:pt x="471" y="1339"/>
                </a:lnTo>
                <a:lnTo>
                  <a:pt x="472" y="1339"/>
                </a:lnTo>
                <a:lnTo>
                  <a:pt x="471" y="1337"/>
                </a:lnTo>
                <a:lnTo>
                  <a:pt x="471" y="1335"/>
                </a:lnTo>
                <a:lnTo>
                  <a:pt x="467" y="1334"/>
                </a:lnTo>
                <a:lnTo>
                  <a:pt x="467" y="1335"/>
                </a:lnTo>
                <a:lnTo>
                  <a:pt x="465" y="1335"/>
                </a:lnTo>
                <a:lnTo>
                  <a:pt x="464" y="1339"/>
                </a:lnTo>
                <a:lnTo>
                  <a:pt x="462" y="1339"/>
                </a:lnTo>
                <a:lnTo>
                  <a:pt x="464" y="1337"/>
                </a:lnTo>
                <a:lnTo>
                  <a:pt x="462" y="1339"/>
                </a:lnTo>
                <a:lnTo>
                  <a:pt x="460" y="1340"/>
                </a:lnTo>
                <a:lnTo>
                  <a:pt x="465" y="1342"/>
                </a:lnTo>
                <a:lnTo>
                  <a:pt x="467" y="1342"/>
                </a:lnTo>
                <a:close/>
                <a:moveTo>
                  <a:pt x="474" y="1340"/>
                </a:moveTo>
                <a:lnTo>
                  <a:pt x="476" y="1339"/>
                </a:lnTo>
                <a:lnTo>
                  <a:pt x="474" y="1335"/>
                </a:lnTo>
                <a:lnTo>
                  <a:pt x="474" y="1334"/>
                </a:lnTo>
                <a:lnTo>
                  <a:pt x="472" y="1335"/>
                </a:lnTo>
                <a:lnTo>
                  <a:pt x="472" y="1334"/>
                </a:lnTo>
                <a:lnTo>
                  <a:pt x="471" y="1337"/>
                </a:lnTo>
                <a:lnTo>
                  <a:pt x="472" y="1339"/>
                </a:lnTo>
                <a:lnTo>
                  <a:pt x="472" y="1337"/>
                </a:lnTo>
                <a:lnTo>
                  <a:pt x="472" y="1339"/>
                </a:lnTo>
                <a:lnTo>
                  <a:pt x="472" y="1340"/>
                </a:lnTo>
                <a:lnTo>
                  <a:pt x="474" y="1340"/>
                </a:lnTo>
                <a:close/>
                <a:moveTo>
                  <a:pt x="479" y="1340"/>
                </a:moveTo>
                <a:lnTo>
                  <a:pt x="479" y="1335"/>
                </a:lnTo>
                <a:lnTo>
                  <a:pt x="476" y="1334"/>
                </a:lnTo>
                <a:lnTo>
                  <a:pt x="476" y="1335"/>
                </a:lnTo>
                <a:lnTo>
                  <a:pt x="474" y="1335"/>
                </a:lnTo>
                <a:lnTo>
                  <a:pt x="476" y="1337"/>
                </a:lnTo>
                <a:lnTo>
                  <a:pt x="477" y="1337"/>
                </a:lnTo>
                <a:lnTo>
                  <a:pt x="474" y="1340"/>
                </a:lnTo>
                <a:lnTo>
                  <a:pt x="477" y="1339"/>
                </a:lnTo>
                <a:lnTo>
                  <a:pt x="474" y="1342"/>
                </a:lnTo>
                <a:lnTo>
                  <a:pt x="479" y="1342"/>
                </a:lnTo>
                <a:lnTo>
                  <a:pt x="479" y="1340"/>
                </a:lnTo>
                <a:close/>
                <a:moveTo>
                  <a:pt x="513" y="1337"/>
                </a:moveTo>
                <a:lnTo>
                  <a:pt x="515" y="1337"/>
                </a:lnTo>
                <a:lnTo>
                  <a:pt x="513" y="1337"/>
                </a:lnTo>
                <a:close/>
                <a:moveTo>
                  <a:pt x="491" y="1342"/>
                </a:moveTo>
                <a:lnTo>
                  <a:pt x="493" y="1342"/>
                </a:lnTo>
                <a:lnTo>
                  <a:pt x="491" y="1342"/>
                </a:lnTo>
                <a:close/>
                <a:moveTo>
                  <a:pt x="476" y="1342"/>
                </a:moveTo>
                <a:lnTo>
                  <a:pt x="472" y="1342"/>
                </a:lnTo>
                <a:lnTo>
                  <a:pt x="476" y="1342"/>
                </a:lnTo>
                <a:close/>
                <a:moveTo>
                  <a:pt x="488" y="1342"/>
                </a:moveTo>
                <a:lnTo>
                  <a:pt x="489" y="1342"/>
                </a:lnTo>
                <a:lnTo>
                  <a:pt x="489" y="1344"/>
                </a:lnTo>
                <a:lnTo>
                  <a:pt x="488" y="1344"/>
                </a:lnTo>
                <a:lnTo>
                  <a:pt x="488" y="1342"/>
                </a:lnTo>
                <a:close/>
                <a:moveTo>
                  <a:pt x="533" y="1344"/>
                </a:moveTo>
                <a:lnTo>
                  <a:pt x="535" y="1344"/>
                </a:lnTo>
                <a:lnTo>
                  <a:pt x="535" y="1345"/>
                </a:lnTo>
                <a:lnTo>
                  <a:pt x="533" y="1345"/>
                </a:lnTo>
                <a:lnTo>
                  <a:pt x="533" y="1344"/>
                </a:lnTo>
                <a:close/>
                <a:moveTo>
                  <a:pt x="489" y="1344"/>
                </a:moveTo>
                <a:lnTo>
                  <a:pt x="491" y="1344"/>
                </a:lnTo>
                <a:lnTo>
                  <a:pt x="491" y="1345"/>
                </a:lnTo>
                <a:lnTo>
                  <a:pt x="489" y="1345"/>
                </a:lnTo>
                <a:lnTo>
                  <a:pt x="489" y="1344"/>
                </a:lnTo>
                <a:close/>
                <a:moveTo>
                  <a:pt x="527" y="1354"/>
                </a:moveTo>
                <a:lnTo>
                  <a:pt x="525" y="1352"/>
                </a:lnTo>
                <a:lnTo>
                  <a:pt x="523" y="1352"/>
                </a:lnTo>
                <a:lnTo>
                  <a:pt x="525" y="1352"/>
                </a:lnTo>
                <a:lnTo>
                  <a:pt x="527" y="1352"/>
                </a:lnTo>
                <a:lnTo>
                  <a:pt x="525" y="1351"/>
                </a:lnTo>
                <a:lnTo>
                  <a:pt x="527" y="1351"/>
                </a:lnTo>
                <a:lnTo>
                  <a:pt x="530" y="1347"/>
                </a:lnTo>
                <a:lnTo>
                  <a:pt x="527" y="1345"/>
                </a:lnTo>
                <a:lnTo>
                  <a:pt x="523" y="1347"/>
                </a:lnTo>
                <a:lnTo>
                  <a:pt x="520" y="1351"/>
                </a:lnTo>
                <a:lnTo>
                  <a:pt x="523" y="1356"/>
                </a:lnTo>
                <a:lnTo>
                  <a:pt x="527" y="1356"/>
                </a:lnTo>
                <a:lnTo>
                  <a:pt x="527" y="1354"/>
                </a:lnTo>
                <a:close/>
                <a:moveTo>
                  <a:pt x="528" y="1345"/>
                </a:moveTo>
                <a:lnTo>
                  <a:pt x="530" y="1345"/>
                </a:lnTo>
                <a:lnTo>
                  <a:pt x="530" y="1347"/>
                </a:lnTo>
                <a:lnTo>
                  <a:pt x="528" y="1347"/>
                </a:lnTo>
                <a:lnTo>
                  <a:pt x="528" y="1345"/>
                </a:lnTo>
                <a:close/>
                <a:moveTo>
                  <a:pt x="530" y="1347"/>
                </a:moveTo>
                <a:lnTo>
                  <a:pt x="532" y="1347"/>
                </a:lnTo>
                <a:lnTo>
                  <a:pt x="532" y="1349"/>
                </a:lnTo>
                <a:lnTo>
                  <a:pt x="530" y="1349"/>
                </a:lnTo>
                <a:lnTo>
                  <a:pt x="530" y="1347"/>
                </a:lnTo>
                <a:close/>
                <a:moveTo>
                  <a:pt x="530" y="1354"/>
                </a:moveTo>
                <a:lnTo>
                  <a:pt x="530" y="1352"/>
                </a:lnTo>
                <a:lnTo>
                  <a:pt x="530" y="1351"/>
                </a:lnTo>
                <a:lnTo>
                  <a:pt x="530" y="1349"/>
                </a:lnTo>
                <a:lnTo>
                  <a:pt x="527" y="1351"/>
                </a:lnTo>
                <a:lnTo>
                  <a:pt x="528" y="1354"/>
                </a:lnTo>
                <a:lnTo>
                  <a:pt x="530" y="1354"/>
                </a:lnTo>
                <a:close/>
                <a:moveTo>
                  <a:pt x="530" y="1349"/>
                </a:moveTo>
                <a:lnTo>
                  <a:pt x="530" y="1352"/>
                </a:lnTo>
                <a:lnTo>
                  <a:pt x="530" y="1349"/>
                </a:lnTo>
                <a:close/>
                <a:moveTo>
                  <a:pt x="544" y="1361"/>
                </a:moveTo>
                <a:lnTo>
                  <a:pt x="545" y="1354"/>
                </a:lnTo>
                <a:lnTo>
                  <a:pt x="544" y="1354"/>
                </a:lnTo>
                <a:lnTo>
                  <a:pt x="542" y="1354"/>
                </a:lnTo>
                <a:lnTo>
                  <a:pt x="540" y="1356"/>
                </a:lnTo>
                <a:lnTo>
                  <a:pt x="539" y="1359"/>
                </a:lnTo>
                <a:lnTo>
                  <a:pt x="539" y="1361"/>
                </a:lnTo>
                <a:lnTo>
                  <a:pt x="540" y="1359"/>
                </a:lnTo>
                <a:lnTo>
                  <a:pt x="539" y="1361"/>
                </a:lnTo>
                <a:lnTo>
                  <a:pt x="540" y="1362"/>
                </a:lnTo>
                <a:lnTo>
                  <a:pt x="544" y="1361"/>
                </a:lnTo>
                <a:close/>
                <a:moveTo>
                  <a:pt x="567" y="1385"/>
                </a:moveTo>
                <a:lnTo>
                  <a:pt x="571" y="1385"/>
                </a:lnTo>
                <a:lnTo>
                  <a:pt x="571" y="1388"/>
                </a:lnTo>
                <a:lnTo>
                  <a:pt x="567" y="1388"/>
                </a:lnTo>
                <a:lnTo>
                  <a:pt x="567" y="1385"/>
                </a:lnTo>
                <a:close/>
                <a:moveTo>
                  <a:pt x="571" y="1391"/>
                </a:moveTo>
                <a:lnTo>
                  <a:pt x="571" y="1390"/>
                </a:lnTo>
                <a:lnTo>
                  <a:pt x="571" y="1391"/>
                </a:lnTo>
                <a:lnTo>
                  <a:pt x="571" y="1386"/>
                </a:lnTo>
                <a:lnTo>
                  <a:pt x="571" y="1388"/>
                </a:lnTo>
                <a:lnTo>
                  <a:pt x="569" y="1388"/>
                </a:lnTo>
                <a:lnTo>
                  <a:pt x="569" y="1386"/>
                </a:lnTo>
                <a:lnTo>
                  <a:pt x="566" y="1390"/>
                </a:lnTo>
                <a:lnTo>
                  <a:pt x="567" y="1390"/>
                </a:lnTo>
                <a:lnTo>
                  <a:pt x="566" y="1390"/>
                </a:lnTo>
                <a:lnTo>
                  <a:pt x="567" y="1391"/>
                </a:lnTo>
                <a:lnTo>
                  <a:pt x="571" y="1391"/>
                </a:lnTo>
                <a:close/>
                <a:moveTo>
                  <a:pt x="571" y="1388"/>
                </a:moveTo>
                <a:lnTo>
                  <a:pt x="573" y="1388"/>
                </a:lnTo>
                <a:lnTo>
                  <a:pt x="573" y="1390"/>
                </a:lnTo>
                <a:lnTo>
                  <a:pt x="571" y="1390"/>
                </a:lnTo>
                <a:lnTo>
                  <a:pt x="571" y="1388"/>
                </a:lnTo>
                <a:close/>
                <a:moveTo>
                  <a:pt x="574" y="1393"/>
                </a:moveTo>
                <a:lnTo>
                  <a:pt x="574" y="1391"/>
                </a:lnTo>
                <a:lnTo>
                  <a:pt x="574" y="1393"/>
                </a:lnTo>
                <a:lnTo>
                  <a:pt x="574" y="1391"/>
                </a:lnTo>
                <a:lnTo>
                  <a:pt x="573" y="1391"/>
                </a:lnTo>
                <a:lnTo>
                  <a:pt x="571" y="1393"/>
                </a:lnTo>
                <a:lnTo>
                  <a:pt x="574" y="1395"/>
                </a:lnTo>
                <a:lnTo>
                  <a:pt x="574" y="1393"/>
                </a:lnTo>
                <a:close/>
                <a:moveTo>
                  <a:pt x="591" y="1398"/>
                </a:moveTo>
                <a:lnTo>
                  <a:pt x="591" y="1400"/>
                </a:lnTo>
                <a:lnTo>
                  <a:pt x="591" y="1398"/>
                </a:lnTo>
                <a:close/>
                <a:moveTo>
                  <a:pt x="586" y="1405"/>
                </a:moveTo>
                <a:lnTo>
                  <a:pt x="590" y="1402"/>
                </a:lnTo>
                <a:lnTo>
                  <a:pt x="584" y="1403"/>
                </a:lnTo>
                <a:lnTo>
                  <a:pt x="584" y="1405"/>
                </a:lnTo>
                <a:lnTo>
                  <a:pt x="586" y="1405"/>
                </a:lnTo>
                <a:close/>
                <a:moveTo>
                  <a:pt x="593" y="1405"/>
                </a:moveTo>
                <a:lnTo>
                  <a:pt x="591" y="1403"/>
                </a:lnTo>
                <a:lnTo>
                  <a:pt x="591" y="1405"/>
                </a:lnTo>
                <a:lnTo>
                  <a:pt x="591" y="1403"/>
                </a:lnTo>
                <a:lnTo>
                  <a:pt x="590" y="1405"/>
                </a:lnTo>
                <a:lnTo>
                  <a:pt x="590" y="1403"/>
                </a:lnTo>
                <a:lnTo>
                  <a:pt x="588" y="1403"/>
                </a:lnTo>
                <a:lnTo>
                  <a:pt x="588" y="1405"/>
                </a:lnTo>
                <a:lnTo>
                  <a:pt x="588" y="1407"/>
                </a:lnTo>
                <a:lnTo>
                  <a:pt x="590" y="1408"/>
                </a:lnTo>
                <a:lnTo>
                  <a:pt x="593" y="1405"/>
                </a:lnTo>
                <a:close/>
                <a:moveTo>
                  <a:pt x="583" y="1419"/>
                </a:moveTo>
                <a:lnTo>
                  <a:pt x="586" y="1419"/>
                </a:lnTo>
                <a:lnTo>
                  <a:pt x="586" y="1422"/>
                </a:lnTo>
                <a:lnTo>
                  <a:pt x="583" y="1422"/>
                </a:lnTo>
                <a:lnTo>
                  <a:pt x="583" y="1419"/>
                </a:lnTo>
                <a:close/>
                <a:moveTo>
                  <a:pt x="586" y="1420"/>
                </a:moveTo>
                <a:lnTo>
                  <a:pt x="588" y="1420"/>
                </a:lnTo>
                <a:lnTo>
                  <a:pt x="588" y="1424"/>
                </a:lnTo>
                <a:lnTo>
                  <a:pt x="586" y="1424"/>
                </a:lnTo>
                <a:lnTo>
                  <a:pt x="586" y="1420"/>
                </a:lnTo>
                <a:close/>
                <a:moveTo>
                  <a:pt x="584" y="1422"/>
                </a:moveTo>
                <a:lnTo>
                  <a:pt x="586" y="1422"/>
                </a:lnTo>
                <a:lnTo>
                  <a:pt x="584" y="1422"/>
                </a:lnTo>
                <a:close/>
                <a:moveTo>
                  <a:pt x="603" y="1432"/>
                </a:moveTo>
                <a:lnTo>
                  <a:pt x="605" y="1432"/>
                </a:lnTo>
                <a:lnTo>
                  <a:pt x="603" y="1432"/>
                </a:lnTo>
                <a:close/>
                <a:moveTo>
                  <a:pt x="618" y="1449"/>
                </a:moveTo>
                <a:lnTo>
                  <a:pt x="620" y="1449"/>
                </a:lnTo>
                <a:lnTo>
                  <a:pt x="620" y="1451"/>
                </a:lnTo>
                <a:lnTo>
                  <a:pt x="618" y="1451"/>
                </a:lnTo>
                <a:lnTo>
                  <a:pt x="618" y="1449"/>
                </a:lnTo>
                <a:close/>
                <a:moveTo>
                  <a:pt x="613" y="1449"/>
                </a:moveTo>
                <a:lnTo>
                  <a:pt x="615" y="1449"/>
                </a:lnTo>
                <a:lnTo>
                  <a:pt x="615" y="1451"/>
                </a:lnTo>
                <a:lnTo>
                  <a:pt x="613" y="1451"/>
                </a:lnTo>
                <a:lnTo>
                  <a:pt x="613" y="1449"/>
                </a:lnTo>
                <a:close/>
                <a:moveTo>
                  <a:pt x="617" y="1451"/>
                </a:moveTo>
                <a:lnTo>
                  <a:pt x="618" y="1451"/>
                </a:lnTo>
                <a:lnTo>
                  <a:pt x="618" y="1453"/>
                </a:lnTo>
                <a:lnTo>
                  <a:pt x="617" y="1453"/>
                </a:lnTo>
                <a:lnTo>
                  <a:pt x="617" y="1451"/>
                </a:lnTo>
                <a:close/>
                <a:moveTo>
                  <a:pt x="620" y="1453"/>
                </a:moveTo>
                <a:lnTo>
                  <a:pt x="620" y="1454"/>
                </a:lnTo>
                <a:lnTo>
                  <a:pt x="620" y="1453"/>
                </a:lnTo>
                <a:close/>
                <a:moveTo>
                  <a:pt x="620" y="1453"/>
                </a:moveTo>
                <a:lnTo>
                  <a:pt x="622" y="1453"/>
                </a:lnTo>
                <a:lnTo>
                  <a:pt x="622" y="1454"/>
                </a:lnTo>
                <a:lnTo>
                  <a:pt x="620" y="1454"/>
                </a:lnTo>
                <a:lnTo>
                  <a:pt x="620" y="1453"/>
                </a:lnTo>
                <a:close/>
                <a:moveTo>
                  <a:pt x="618" y="1466"/>
                </a:moveTo>
                <a:lnTo>
                  <a:pt x="620" y="1466"/>
                </a:lnTo>
                <a:lnTo>
                  <a:pt x="620" y="1468"/>
                </a:lnTo>
                <a:lnTo>
                  <a:pt x="618" y="1468"/>
                </a:lnTo>
                <a:lnTo>
                  <a:pt x="618" y="1466"/>
                </a:lnTo>
                <a:close/>
                <a:moveTo>
                  <a:pt x="625" y="1466"/>
                </a:moveTo>
                <a:lnTo>
                  <a:pt x="627" y="1466"/>
                </a:lnTo>
                <a:lnTo>
                  <a:pt x="627" y="1468"/>
                </a:lnTo>
                <a:lnTo>
                  <a:pt x="625" y="1468"/>
                </a:lnTo>
                <a:lnTo>
                  <a:pt x="625" y="1466"/>
                </a:lnTo>
                <a:close/>
                <a:moveTo>
                  <a:pt x="622" y="1468"/>
                </a:moveTo>
                <a:lnTo>
                  <a:pt x="622" y="1470"/>
                </a:lnTo>
                <a:lnTo>
                  <a:pt x="622" y="1468"/>
                </a:lnTo>
                <a:close/>
                <a:moveTo>
                  <a:pt x="627" y="1468"/>
                </a:moveTo>
                <a:lnTo>
                  <a:pt x="629" y="1468"/>
                </a:lnTo>
                <a:lnTo>
                  <a:pt x="629" y="1470"/>
                </a:lnTo>
                <a:lnTo>
                  <a:pt x="627" y="1470"/>
                </a:lnTo>
                <a:lnTo>
                  <a:pt x="627" y="1468"/>
                </a:lnTo>
                <a:close/>
                <a:moveTo>
                  <a:pt x="613" y="1488"/>
                </a:moveTo>
                <a:lnTo>
                  <a:pt x="617" y="1488"/>
                </a:lnTo>
                <a:lnTo>
                  <a:pt x="617" y="1492"/>
                </a:lnTo>
                <a:lnTo>
                  <a:pt x="613" y="1492"/>
                </a:lnTo>
                <a:lnTo>
                  <a:pt x="613" y="1488"/>
                </a:lnTo>
                <a:close/>
                <a:moveTo>
                  <a:pt x="649" y="1510"/>
                </a:moveTo>
                <a:lnTo>
                  <a:pt x="651" y="1510"/>
                </a:lnTo>
                <a:lnTo>
                  <a:pt x="651" y="1512"/>
                </a:lnTo>
                <a:lnTo>
                  <a:pt x="649" y="1512"/>
                </a:lnTo>
                <a:lnTo>
                  <a:pt x="649" y="1510"/>
                </a:lnTo>
                <a:close/>
                <a:moveTo>
                  <a:pt x="622" y="1514"/>
                </a:moveTo>
                <a:lnTo>
                  <a:pt x="624" y="1514"/>
                </a:lnTo>
                <a:lnTo>
                  <a:pt x="624" y="1516"/>
                </a:lnTo>
                <a:lnTo>
                  <a:pt x="622" y="1516"/>
                </a:lnTo>
                <a:lnTo>
                  <a:pt x="622" y="1514"/>
                </a:lnTo>
                <a:close/>
                <a:moveTo>
                  <a:pt x="647" y="1514"/>
                </a:moveTo>
                <a:lnTo>
                  <a:pt x="649" y="1514"/>
                </a:lnTo>
                <a:lnTo>
                  <a:pt x="649" y="1516"/>
                </a:lnTo>
                <a:lnTo>
                  <a:pt x="647" y="1516"/>
                </a:lnTo>
                <a:lnTo>
                  <a:pt x="647" y="1514"/>
                </a:lnTo>
                <a:close/>
                <a:moveTo>
                  <a:pt x="649" y="1527"/>
                </a:moveTo>
                <a:lnTo>
                  <a:pt x="649" y="1522"/>
                </a:lnTo>
                <a:lnTo>
                  <a:pt x="651" y="1522"/>
                </a:lnTo>
                <a:lnTo>
                  <a:pt x="651" y="1519"/>
                </a:lnTo>
                <a:lnTo>
                  <a:pt x="647" y="1519"/>
                </a:lnTo>
                <a:lnTo>
                  <a:pt x="646" y="1517"/>
                </a:lnTo>
                <a:lnTo>
                  <a:pt x="646" y="1516"/>
                </a:lnTo>
                <a:lnTo>
                  <a:pt x="647" y="1516"/>
                </a:lnTo>
                <a:lnTo>
                  <a:pt x="646" y="1514"/>
                </a:lnTo>
                <a:lnTo>
                  <a:pt x="641" y="1514"/>
                </a:lnTo>
                <a:lnTo>
                  <a:pt x="639" y="1516"/>
                </a:lnTo>
                <a:lnTo>
                  <a:pt x="635" y="1516"/>
                </a:lnTo>
                <a:lnTo>
                  <a:pt x="634" y="1516"/>
                </a:lnTo>
                <a:lnTo>
                  <a:pt x="632" y="1516"/>
                </a:lnTo>
                <a:lnTo>
                  <a:pt x="630" y="1517"/>
                </a:lnTo>
                <a:lnTo>
                  <a:pt x="627" y="1517"/>
                </a:lnTo>
                <a:lnTo>
                  <a:pt x="644" y="1522"/>
                </a:lnTo>
                <a:lnTo>
                  <a:pt x="647" y="1524"/>
                </a:lnTo>
                <a:lnTo>
                  <a:pt x="647" y="1527"/>
                </a:lnTo>
                <a:lnTo>
                  <a:pt x="649" y="1527"/>
                </a:lnTo>
                <a:close/>
                <a:moveTo>
                  <a:pt x="651" y="1516"/>
                </a:moveTo>
                <a:lnTo>
                  <a:pt x="652" y="1516"/>
                </a:lnTo>
                <a:lnTo>
                  <a:pt x="651" y="1516"/>
                </a:lnTo>
                <a:close/>
                <a:moveTo>
                  <a:pt x="649" y="1519"/>
                </a:moveTo>
                <a:lnTo>
                  <a:pt x="651" y="1519"/>
                </a:lnTo>
                <a:lnTo>
                  <a:pt x="651" y="1517"/>
                </a:lnTo>
                <a:lnTo>
                  <a:pt x="647" y="1516"/>
                </a:lnTo>
                <a:lnTo>
                  <a:pt x="646" y="1517"/>
                </a:lnTo>
                <a:lnTo>
                  <a:pt x="647" y="1519"/>
                </a:lnTo>
                <a:lnTo>
                  <a:pt x="649" y="1519"/>
                </a:lnTo>
                <a:close/>
                <a:moveTo>
                  <a:pt x="625" y="1517"/>
                </a:moveTo>
                <a:lnTo>
                  <a:pt x="627" y="1517"/>
                </a:lnTo>
                <a:lnTo>
                  <a:pt x="625" y="1517"/>
                </a:lnTo>
                <a:close/>
                <a:moveTo>
                  <a:pt x="652" y="1519"/>
                </a:moveTo>
                <a:lnTo>
                  <a:pt x="652" y="1521"/>
                </a:lnTo>
                <a:lnTo>
                  <a:pt x="652" y="1519"/>
                </a:lnTo>
                <a:close/>
                <a:moveTo>
                  <a:pt x="651" y="1524"/>
                </a:moveTo>
                <a:lnTo>
                  <a:pt x="652" y="1524"/>
                </a:lnTo>
                <a:lnTo>
                  <a:pt x="652" y="1526"/>
                </a:lnTo>
                <a:lnTo>
                  <a:pt x="651" y="1526"/>
                </a:lnTo>
                <a:lnTo>
                  <a:pt x="651" y="1524"/>
                </a:lnTo>
                <a:close/>
                <a:moveTo>
                  <a:pt x="654" y="1526"/>
                </a:moveTo>
                <a:lnTo>
                  <a:pt x="658" y="1526"/>
                </a:lnTo>
                <a:lnTo>
                  <a:pt x="658" y="1527"/>
                </a:lnTo>
                <a:lnTo>
                  <a:pt x="654" y="1527"/>
                </a:lnTo>
                <a:lnTo>
                  <a:pt x="654" y="1526"/>
                </a:lnTo>
                <a:close/>
                <a:moveTo>
                  <a:pt x="697" y="1548"/>
                </a:moveTo>
                <a:lnTo>
                  <a:pt x="698" y="1548"/>
                </a:lnTo>
                <a:lnTo>
                  <a:pt x="697" y="1548"/>
                </a:lnTo>
                <a:close/>
                <a:moveTo>
                  <a:pt x="1562" y="1628"/>
                </a:moveTo>
                <a:lnTo>
                  <a:pt x="1564" y="1628"/>
                </a:lnTo>
                <a:lnTo>
                  <a:pt x="1562" y="1628"/>
                </a:lnTo>
                <a:close/>
                <a:moveTo>
                  <a:pt x="1562" y="1628"/>
                </a:moveTo>
                <a:lnTo>
                  <a:pt x="1564" y="1628"/>
                </a:lnTo>
                <a:lnTo>
                  <a:pt x="1564" y="1630"/>
                </a:lnTo>
                <a:lnTo>
                  <a:pt x="1562" y="1630"/>
                </a:lnTo>
                <a:lnTo>
                  <a:pt x="1562" y="1628"/>
                </a:lnTo>
                <a:close/>
                <a:moveTo>
                  <a:pt x="1560" y="1630"/>
                </a:moveTo>
                <a:lnTo>
                  <a:pt x="1564" y="1630"/>
                </a:lnTo>
                <a:lnTo>
                  <a:pt x="1560" y="1630"/>
                </a:lnTo>
                <a:close/>
                <a:moveTo>
                  <a:pt x="1695" y="1643"/>
                </a:moveTo>
                <a:lnTo>
                  <a:pt x="1695" y="1645"/>
                </a:lnTo>
                <a:lnTo>
                  <a:pt x="1696" y="1647"/>
                </a:lnTo>
                <a:lnTo>
                  <a:pt x="1695" y="1643"/>
                </a:lnTo>
                <a:close/>
                <a:moveTo>
                  <a:pt x="1701" y="1652"/>
                </a:moveTo>
                <a:lnTo>
                  <a:pt x="1698" y="1650"/>
                </a:lnTo>
                <a:lnTo>
                  <a:pt x="1696" y="1648"/>
                </a:lnTo>
                <a:lnTo>
                  <a:pt x="1696" y="1647"/>
                </a:lnTo>
                <a:lnTo>
                  <a:pt x="1695" y="1645"/>
                </a:lnTo>
                <a:lnTo>
                  <a:pt x="1696" y="1650"/>
                </a:lnTo>
                <a:lnTo>
                  <a:pt x="1698" y="1652"/>
                </a:lnTo>
                <a:lnTo>
                  <a:pt x="1698" y="1650"/>
                </a:lnTo>
                <a:lnTo>
                  <a:pt x="1698" y="1652"/>
                </a:lnTo>
                <a:lnTo>
                  <a:pt x="1700" y="1653"/>
                </a:lnTo>
                <a:lnTo>
                  <a:pt x="1701" y="1655"/>
                </a:lnTo>
                <a:lnTo>
                  <a:pt x="1703" y="1657"/>
                </a:lnTo>
                <a:lnTo>
                  <a:pt x="1701" y="1652"/>
                </a:lnTo>
                <a:close/>
                <a:moveTo>
                  <a:pt x="1701" y="1650"/>
                </a:moveTo>
                <a:lnTo>
                  <a:pt x="1700" y="1648"/>
                </a:lnTo>
                <a:lnTo>
                  <a:pt x="1698" y="1647"/>
                </a:lnTo>
                <a:lnTo>
                  <a:pt x="1696" y="1645"/>
                </a:lnTo>
                <a:lnTo>
                  <a:pt x="1696" y="1647"/>
                </a:lnTo>
                <a:lnTo>
                  <a:pt x="1696" y="1648"/>
                </a:lnTo>
                <a:lnTo>
                  <a:pt x="1701" y="1652"/>
                </a:lnTo>
                <a:lnTo>
                  <a:pt x="1701" y="1650"/>
                </a:lnTo>
                <a:close/>
                <a:moveTo>
                  <a:pt x="1700" y="1650"/>
                </a:moveTo>
                <a:lnTo>
                  <a:pt x="1700" y="1652"/>
                </a:lnTo>
                <a:lnTo>
                  <a:pt x="1700" y="1650"/>
                </a:lnTo>
                <a:close/>
                <a:moveTo>
                  <a:pt x="1698" y="1652"/>
                </a:moveTo>
                <a:lnTo>
                  <a:pt x="1700" y="1652"/>
                </a:lnTo>
                <a:lnTo>
                  <a:pt x="1700" y="1655"/>
                </a:lnTo>
                <a:lnTo>
                  <a:pt x="1698" y="1655"/>
                </a:lnTo>
                <a:lnTo>
                  <a:pt x="1698" y="1652"/>
                </a:lnTo>
                <a:close/>
                <a:moveTo>
                  <a:pt x="1698" y="1652"/>
                </a:moveTo>
                <a:lnTo>
                  <a:pt x="1698" y="1653"/>
                </a:lnTo>
                <a:lnTo>
                  <a:pt x="1701" y="1657"/>
                </a:lnTo>
                <a:lnTo>
                  <a:pt x="1698" y="1652"/>
                </a:lnTo>
                <a:close/>
                <a:moveTo>
                  <a:pt x="1700" y="1653"/>
                </a:moveTo>
                <a:lnTo>
                  <a:pt x="1700" y="1655"/>
                </a:lnTo>
                <a:lnTo>
                  <a:pt x="1700" y="1653"/>
                </a:lnTo>
                <a:close/>
                <a:moveTo>
                  <a:pt x="1703" y="1655"/>
                </a:moveTo>
                <a:lnTo>
                  <a:pt x="1705" y="1655"/>
                </a:lnTo>
                <a:lnTo>
                  <a:pt x="1705" y="1657"/>
                </a:lnTo>
                <a:lnTo>
                  <a:pt x="1703" y="1657"/>
                </a:lnTo>
                <a:lnTo>
                  <a:pt x="1703" y="1655"/>
                </a:lnTo>
                <a:close/>
                <a:moveTo>
                  <a:pt x="1701" y="1655"/>
                </a:moveTo>
                <a:lnTo>
                  <a:pt x="1703" y="1655"/>
                </a:lnTo>
                <a:lnTo>
                  <a:pt x="1703" y="1657"/>
                </a:lnTo>
                <a:lnTo>
                  <a:pt x="1701" y="1657"/>
                </a:lnTo>
                <a:lnTo>
                  <a:pt x="1701" y="1655"/>
                </a:lnTo>
                <a:close/>
                <a:moveTo>
                  <a:pt x="1703" y="1657"/>
                </a:moveTo>
                <a:lnTo>
                  <a:pt x="1705" y="1657"/>
                </a:lnTo>
                <a:lnTo>
                  <a:pt x="1705" y="1658"/>
                </a:lnTo>
                <a:lnTo>
                  <a:pt x="1703" y="1658"/>
                </a:lnTo>
                <a:lnTo>
                  <a:pt x="1703" y="1657"/>
                </a:lnTo>
                <a:close/>
                <a:moveTo>
                  <a:pt x="1717" y="1657"/>
                </a:moveTo>
                <a:lnTo>
                  <a:pt x="1718" y="1657"/>
                </a:lnTo>
                <a:lnTo>
                  <a:pt x="1718" y="1658"/>
                </a:lnTo>
                <a:lnTo>
                  <a:pt x="1717" y="1658"/>
                </a:lnTo>
                <a:lnTo>
                  <a:pt x="1717" y="1657"/>
                </a:lnTo>
                <a:close/>
                <a:moveTo>
                  <a:pt x="1718" y="1657"/>
                </a:moveTo>
                <a:lnTo>
                  <a:pt x="1718" y="1658"/>
                </a:lnTo>
                <a:lnTo>
                  <a:pt x="1718" y="1657"/>
                </a:lnTo>
                <a:close/>
                <a:moveTo>
                  <a:pt x="1717" y="1658"/>
                </a:moveTo>
                <a:lnTo>
                  <a:pt x="1718" y="1658"/>
                </a:lnTo>
                <a:lnTo>
                  <a:pt x="1718" y="1660"/>
                </a:lnTo>
                <a:lnTo>
                  <a:pt x="1717" y="1660"/>
                </a:lnTo>
                <a:lnTo>
                  <a:pt x="1717" y="1658"/>
                </a:lnTo>
                <a:close/>
                <a:moveTo>
                  <a:pt x="1717" y="1660"/>
                </a:moveTo>
                <a:lnTo>
                  <a:pt x="1717" y="1662"/>
                </a:lnTo>
                <a:lnTo>
                  <a:pt x="1717" y="1660"/>
                </a:lnTo>
                <a:close/>
                <a:moveTo>
                  <a:pt x="1642" y="1660"/>
                </a:moveTo>
                <a:lnTo>
                  <a:pt x="1642" y="1662"/>
                </a:lnTo>
                <a:lnTo>
                  <a:pt x="1642" y="1660"/>
                </a:lnTo>
                <a:close/>
                <a:moveTo>
                  <a:pt x="1720" y="1660"/>
                </a:moveTo>
                <a:lnTo>
                  <a:pt x="1722" y="1660"/>
                </a:lnTo>
                <a:lnTo>
                  <a:pt x="1722" y="1664"/>
                </a:lnTo>
                <a:lnTo>
                  <a:pt x="1720" y="1664"/>
                </a:lnTo>
                <a:lnTo>
                  <a:pt x="1720" y="1660"/>
                </a:lnTo>
                <a:close/>
                <a:moveTo>
                  <a:pt x="1717" y="1662"/>
                </a:moveTo>
                <a:lnTo>
                  <a:pt x="1718" y="1662"/>
                </a:lnTo>
                <a:lnTo>
                  <a:pt x="1718" y="1664"/>
                </a:lnTo>
                <a:lnTo>
                  <a:pt x="1717" y="1664"/>
                </a:lnTo>
                <a:lnTo>
                  <a:pt x="1717" y="1662"/>
                </a:lnTo>
                <a:close/>
                <a:moveTo>
                  <a:pt x="1720" y="1667"/>
                </a:moveTo>
                <a:lnTo>
                  <a:pt x="1720" y="1665"/>
                </a:lnTo>
                <a:lnTo>
                  <a:pt x="1722" y="1664"/>
                </a:lnTo>
                <a:lnTo>
                  <a:pt x="1720" y="1662"/>
                </a:lnTo>
                <a:lnTo>
                  <a:pt x="1720" y="1664"/>
                </a:lnTo>
                <a:lnTo>
                  <a:pt x="1720" y="1662"/>
                </a:lnTo>
                <a:lnTo>
                  <a:pt x="1718" y="1662"/>
                </a:lnTo>
                <a:lnTo>
                  <a:pt x="1718" y="1664"/>
                </a:lnTo>
                <a:lnTo>
                  <a:pt x="1717" y="1664"/>
                </a:lnTo>
                <a:lnTo>
                  <a:pt x="1718" y="1665"/>
                </a:lnTo>
                <a:lnTo>
                  <a:pt x="1718" y="1667"/>
                </a:lnTo>
                <a:lnTo>
                  <a:pt x="1720" y="1667"/>
                </a:lnTo>
                <a:close/>
                <a:moveTo>
                  <a:pt x="1640" y="1662"/>
                </a:moveTo>
                <a:lnTo>
                  <a:pt x="1642" y="1662"/>
                </a:lnTo>
                <a:lnTo>
                  <a:pt x="1642" y="1664"/>
                </a:lnTo>
                <a:lnTo>
                  <a:pt x="1640" y="1664"/>
                </a:lnTo>
                <a:lnTo>
                  <a:pt x="1640" y="1662"/>
                </a:lnTo>
                <a:close/>
                <a:moveTo>
                  <a:pt x="1645" y="1670"/>
                </a:moveTo>
                <a:lnTo>
                  <a:pt x="1644" y="1667"/>
                </a:lnTo>
                <a:lnTo>
                  <a:pt x="1644" y="1665"/>
                </a:lnTo>
                <a:lnTo>
                  <a:pt x="1642" y="1664"/>
                </a:lnTo>
                <a:lnTo>
                  <a:pt x="1640" y="1664"/>
                </a:lnTo>
                <a:lnTo>
                  <a:pt x="1638" y="1664"/>
                </a:lnTo>
                <a:lnTo>
                  <a:pt x="1640" y="1667"/>
                </a:lnTo>
                <a:lnTo>
                  <a:pt x="1642" y="1667"/>
                </a:lnTo>
                <a:lnTo>
                  <a:pt x="1642" y="1670"/>
                </a:lnTo>
                <a:lnTo>
                  <a:pt x="1642" y="1669"/>
                </a:lnTo>
                <a:lnTo>
                  <a:pt x="1644" y="1669"/>
                </a:lnTo>
                <a:lnTo>
                  <a:pt x="1644" y="1670"/>
                </a:lnTo>
                <a:lnTo>
                  <a:pt x="1645" y="1670"/>
                </a:lnTo>
                <a:close/>
                <a:moveTo>
                  <a:pt x="1715" y="1664"/>
                </a:moveTo>
                <a:lnTo>
                  <a:pt x="1717" y="1664"/>
                </a:lnTo>
                <a:lnTo>
                  <a:pt x="1717" y="1665"/>
                </a:lnTo>
                <a:lnTo>
                  <a:pt x="1715" y="1665"/>
                </a:lnTo>
                <a:lnTo>
                  <a:pt x="1715" y="1664"/>
                </a:lnTo>
                <a:close/>
                <a:moveTo>
                  <a:pt x="1638" y="1664"/>
                </a:moveTo>
                <a:lnTo>
                  <a:pt x="1640" y="1664"/>
                </a:lnTo>
                <a:lnTo>
                  <a:pt x="1640" y="1665"/>
                </a:lnTo>
                <a:lnTo>
                  <a:pt x="1638" y="1665"/>
                </a:lnTo>
                <a:lnTo>
                  <a:pt x="1638" y="1664"/>
                </a:lnTo>
                <a:close/>
                <a:moveTo>
                  <a:pt x="1717" y="1664"/>
                </a:moveTo>
                <a:lnTo>
                  <a:pt x="1718" y="1664"/>
                </a:lnTo>
                <a:lnTo>
                  <a:pt x="1718" y="1667"/>
                </a:lnTo>
                <a:lnTo>
                  <a:pt x="1717" y="1667"/>
                </a:lnTo>
                <a:lnTo>
                  <a:pt x="1717" y="1664"/>
                </a:lnTo>
                <a:close/>
                <a:moveTo>
                  <a:pt x="1722" y="1667"/>
                </a:moveTo>
                <a:lnTo>
                  <a:pt x="1722" y="1664"/>
                </a:lnTo>
                <a:lnTo>
                  <a:pt x="1720" y="1667"/>
                </a:lnTo>
                <a:lnTo>
                  <a:pt x="1722" y="1669"/>
                </a:lnTo>
                <a:lnTo>
                  <a:pt x="1722" y="1670"/>
                </a:lnTo>
                <a:lnTo>
                  <a:pt x="1723" y="1672"/>
                </a:lnTo>
                <a:lnTo>
                  <a:pt x="1722" y="1667"/>
                </a:lnTo>
                <a:close/>
                <a:moveTo>
                  <a:pt x="1637" y="1665"/>
                </a:moveTo>
                <a:lnTo>
                  <a:pt x="1638" y="1665"/>
                </a:lnTo>
                <a:lnTo>
                  <a:pt x="1638" y="1667"/>
                </a:lnTo>
                <a:lnTo>
                  <a:pt x="1637" y="1667"/>
                </a:lnTo>
                <a:lnTo>
                  <a:pt x="1637" y="1665"/>
                </a:lnTo>
                <a:close/>
                <a:moveTo>
                  <a:pt x="1732" y="1669"/>
                </a:moveTo>
                <a:lnTo>
                  <a:pt x="1730" y="1667"/>
                </a:lnTo>
                <a:lnTo>
                  <a:pt x="1730" y="1665"/>
                </a:lnTo>
                <a:lnTo>
                  <a:pt x="1729" y="1665"/>
                </a:lnTo>
                <a:lnTo>
                  <a:pt x="1729" y="1667"/>
                </a:lnTo>
                <a:lnTo>
                  <a:pt x="1732" y="1672"/>
                </a:lnTo>
                <a:lnTo>
                  <a:pt x="1732" y="1669"/>
                </a:lnTo>
                <a:close/>
                <a:moveTo>
                  <a:pt x="1718" y="1667"/>
                </a:moveTo>
                <a:lnTo>
                  <a:pt x="1717" y="1667"/>
                </a:lnTo>
                <a:lnTo>
                  <a:pt x="1717" y="1665"/>
                </a:lnTo>
                <a:lnTo>
                  <a:pt x="1715" y="1665"/>
                </a:lnTo>
                <a:lnTo>
                  <a:pt x="1715" y="1669"/>
                </a:lnTo>
                <a:lnTo>
                  <a:pt x="1718" y="1667"/>
                </a:lnTo>
                <a:close/>
                <a:moveTo>
                  <a:pt x="1647" y="1669"/>
                </a:moveTo>
                <a:lnTo>
                  <a:pt x="1645" y="1667"/>
                </a:lnTo>
                <a:lnTo>
                  <a:pt x="1644" y="1665"/>
                </a:lnTo>
                <a:lnTo>
                  <a:pt x="1645" y="1667"/>
                </a:lnTo>
                <a:lnTo>
                  <a:pt x="1645" y="1670"/>
                </a:lnTo>
                <a:lnTo>
                  <a:pt x="1647" y="1670"/>
                </a:lnTo>
                <a:lnTo>
                  <a:pt x="1647" y="1669"/>
                </a:lnTo>
                <a:close/>
                <a:moveTo>
                  <a:pt x="1642" y="1667"/>
                </a:moveTo>
                <a:lnTo>
                  <a:pt x="1640" y="1667"/>
                </a:lnTo>
                <a:lnTo>
                  <a:pt x="1640" y="1665"/>
                </a:lnTo>
                <a:lnTo>
                  <a:pt x="1638" y="1665"/>
                </a:lnTo>
                <a:lnTo>
                  <a:pt x="1640" y="1667"/>
                </a:lnTo>
                <a:lnTo>
                  <a:pt x="1638" y="1667"/>
                </a:lnTo>
                <a:lnTo>
                  <a:pt x="1638" y="1669"/>
                </a:lnTo>
                <a:lnTo>
                  <a:pt x="1640" y="1669"/>
                </a:lnTo>
                <a:lnTo>
                  <a:pt x="1642" y="1670"/>
                </a:lnTo>
                <a:lnTo>
                  <a:pt x="1642" y="1667"/>
                </a:lnTo>
                <a:close/>
                <a:moveTo>
                  <a:pt x="1705" y="1667"/>
                </a:moveTo>
                <a:lnTo>
                  <a:pt x="1706" y="1667"/>
                </a:lnTo>
                <a:lnTo>
                  <a:pt x="1706" y="1669"/>
                </a:lnTo>
                <a:lnTo>
                  <a:pt x="1705" y="1669"/>
                </a:lnTo>
                <a:lnTo>
                  <a:pt x="1705" y="1667"/>
                </a:lnTo>
                <a:close/>
                <a:moveTo>
                  <a:pt x="1722" y="1672"/>
                </a:moveTo>
                <a:lnTo>
                  <a:pt x="1722" y="1670"/>
                </a:lnTo>
                <a:lnTo>
                  <a:pt x="1720" y="1667"/>
                </a:lnTo>
                <a:lnTo>
                  <a:pt x="1718" y="1667"/>
                </a:lnTo>
                <a:lnTo>
                  <a:pt x="1718" y="1669"/>
                </a:lnTo>
                <a:lnTo>
                  <a:pt x="1717" y="1670"/>
                </a:lnTo>
                <a:lnTo>
                  <a:pt x="1718" y="1670"/>
                </a:lnTo>
                <a:lnTo>
                  <a:pt x="1717" y="1670"/>
                </a:lnTo>
                <a:lnTo>
                  <a:pt x="1718" y="1674"/>
                </a:lnTo>
                <a:lnTo>
                  <a:pt x="1722" y="1674"/>
                </a:lnTo>
                <a:lnTo>
                  <a:pt x="1722" y="1672"/>
                </a:lnTo>
                <a:close/>
                <a:moveTo>
                  <a:pt x="1645" y="1667"/>
                </a:moveTo>
                <a:lnTo>
                  <a:pt x="1645" y="1669"/>
                </a:lnTo>
                <a:lnTo>
                  <a:pt x="1645" y="1667"/>
                </a:lnTo>
                <a:close/>
                <a:moveTo>
                  <a:pt x="1717" y="1667"/>
                </a:moveTo>
                <a:lnTo>
                  <a:pt x="1718" y="1667"/>
                </a:lnTo>
                <a:lnTo>
                  <a:pt x="1718" y="1669"/>
                </a:lnTo>
                <a:lnTo>
                  <a:pt x="1717" y="1669"/>
                </a:lnTo>
                <a:lnTo>
                  <a:pt x="1717" y="1667"/>
                </a:lnTo>
                <a:close/>
                <a:moveTo>
                  <a:pt x="1638" y="1679"/>
                </a:moveTo>
                <a:lnTo>
                  <a:pt x="1640" y="1679"/>
                </a:lnTo>
                <a:lnTo>
                  <a:pt x="1638" y="1677"/>
                </a:lnTo>
                <a:lnTo>
                  <a:pt x="1637" y="1672"/>
                </a:lnTo>
                <a:lnTo>
                  <a:pt x="1633" y="1670"/>
                </a:lnTo>
                <a:lnTo>
                  <a:pt x="1635" y="1669"/>
                </a:lnTo>
                <a:lnTo>
                  <a:pt x="1633" y="1669"/>
                </a:lnTo>
                <a:lnTo>
                  <a:pt x="1632" y="1669"/>
                </a:lnTo>
                <a:lnTo>
                  <a:pt x="1630" y="1669"/>
                </a:lnTo>
                <a:lnTo>
                  <a:pt x="1628" y="1670"/>
                </a:lnTo>
                <a:lnTo>
                  <a:pt x="1630" y="1675"/>
                </a:lnTo>
                <a:lnTo>
                  <a:pt x="1632" y="1675"/>
                </a:lnTo>
                <a:lnTo>
                  <a:pt x="1632" y="1677"/>
                </a:lnTo>
                <a:lnTo>
                  <a:pt x="1633" y="1675"/>
                </a:lnTo>
                <a:lnTo>
                  <a:pt x="1633" y="1674"/>
                </a:lnTo>
                <a:lnTo>
                  <a:pt x="1633" y="1675"/>
                </a:lnTo>
                <a:lnTo>
                  <a:pt x="1635" y="1677"/>
                </a:lnTo>
                <a:lnTo>
                  <a:pt x="1637" y="1679"/>
                </a:lnTo>
                <a:lnTo>
                  <a:pt x="1638" y="1681"/>
                </a:lnTo>
                <a:lnTo>
                  <a:pt x="1638" y="1679"/>
                </a:lnTo>
                <a:close/>
                <a:moveTo>
                  <a:pt x="1642" y="1677"/>
                </a:moveTo>
                <a:lnTo>
                  <a:pt x="1642" y="1674"/>
                </a:lnTo>
                <a:lnTo>
                  <a:pt x="1640" y="1670"/>
                </a:lnTo>
                <a:lnTo>
                  <a:pt x="1638" y="1669"/>
                </a:lnTo>
                <a:lnTo>
                  <a:pt x="1640" y="1677"/>
                </a:lnTo>
                <a:lnTo>
                  <a:pt x="1642" y="1677"/>
                </a:lnTo>
                <a:close/>
                <a:moveTo>
                  <a:pt x="1637" y="1669"/>
                </a:moveTo>
                <a:lnTo>
                  <a:pt x="1635" y="1669"/>
                </a:lnTo>
                <a:lnTo>
                  <a:pt x="1635" y="1670"/>
                </a:lnTo>
                <a:lnTo>
                  <a:pt x="1637" y="1670"/>
                </a:lnTo>
                <a:lnTo>
                  <a:pt x="1637" y="1674"/>
                </a:lnTo>
                <a:lnTo>
                  <a:pt x="1637" y="1669"/>
                </a:lnTo>
                <a:close/>
                <a:moveTo>
                  <a:pt x="1652" y="1669"/>
                </a:moveTo>
                <a:lnTo>
                  <a:pt x="1654" y="1669"/>
                </a:lnTo>
                <a:lnTo>
                  <a:pt x="1654" y="1670"/>
                </a:lnTo>
                <a:lnTo>
                  <a:pt x="1652" y="1670"/>
                </a:lnTo>
                <a:lnTo>
                  <a:pt x="1652" y="1669"/>
                </a:lnTo>
                <a:close/>
                <a:moveTo>
                  <a:pt x="1647" y="1675"/>
                </a:moveTo>
                <a:lnTo>
                  <a:pt x="1647" y="1672"/>
                </a:lnTo>
                <a:lnTo>
                  <a:pt x="1645" y="1670"/>
                </a:lnTo>
                <a:lnTo>
                  <a:pt x="1644" y="1670"/>
                </a:lnTo>
                <a:lnTo>
                  <a:pt x="1644" y="1669"/>
                </a:lnTo>
                <a:lnTo>
                  <a:pt x="1642" y="1670"/>
                </a:lnTo>
                <a:lnTo>
                  <a:pt x="1644" y="1670"/>
                </a:lnTo>
                <a:lnTo>
                  <a:pt x="1644" y="1672"/>
                </a:lnTo>
                <a:lnTo>
                  <a:pt x="1644" y="1674"/>
                </a:lnTo>
                <a:lnTo>
                  <a:pt x="1645" y="1672"/>
                </a:lnTo>
                <a:lnTo>
                  <a:pt x="1647" y="1672"/>
                </a:lnTo>
                <a:lnTo>
                  <a:pt x="1645" y="1674"/>
                </a:lnTo>
                <a:lnTo>
                  <a:pt x="1644" y="1674"/>
                </a:lnTo>
                <a:lnTo>
                  <a:pt x="1644" y="1675"/>
                </a:lnTo>
                <a:lnTo>
                  <a:pt x="1647" y="1675"/>
                </a:lnTo>
                <a:close/>
                <a:moveTo>
                  <a:pt x="1718" y="1672"/>
                </a:moveTo>
                <a:lnTo>
                  <a:pt x="1717" y="1670"/>
                </a:lnTo>
                <a:lnTo>
                  <a:pt x="1717" y="1669"/>
                </a:lnTo>
                <a:lnTo>
                  <a:pt x="1715" y="1670"/>
                </a:lnTo>
                <a:lnTo>
                  <a:pt x="1715" y="1674"/>
                </a:lnTo>
                <a:lnTo>
                  <a:pt x="1718" y="1672"/>
                </a:lnTo>
                <a:close/>
                <a:moveTo>
                  <a:pt x="1737" y="1669"/>
                </a:moveTo>
                <a:lnTo>
                  <a:pt x="1737" y="1670"/>
                </a:lnTo>
                <a:lnTo>
                  <a:pt x="1737" y="1669"/>
                </a:lnTo>
                <a:close/>
                <a:moveTo>
                  <a:pt x="1654" y="1669"/>
                </a:moveTo>
                <a:lnTo>
                  <a:pt x="1655" y="1669"/>
                </a:lnTo>
                <a:lnTo>
                  <a:pt x="1655" y="1672"/>
                </a:lnTo>
                <a:lnTo>
                  <a:pt x="1654" y="1672"/>
                </a:lnTo>
                <a:lnTo>
                  <a:pt x="1654" y="1669"/>
                </a:lnTo>
                <a:close/>
                <a:moveTo>
                  <a:pt x="1652" y="1670"/>
                </a:moveTo>
                <a:lnTo>
                  <a:pt x="1654" y="1670"/>
                </a:lnTo>
                <a:lnTo>
                  <a:pt x="1652" y="1670"/>
                </a:lnTo>
                <a:close/>
                <a:moveTo>
                  <a:pt x="1655" y="1670"/>
                </a:moveTo>
                <a:lnTo>
                  <a:pt x="1655" y="1672"/>
                </a:lnTo>
                <a:lnTo>
                  <a:pt x="1655" y="1674"/>
                </a:lnTo>
                <a:lnTo>
                  <a:pt x="1655" y="1670"/>
                </a:lnTo>
                <a:close/>
                <a:moveTo>
                  <a:pt x="1655" y="1670"/>
                </a:moveTo>
                <a:lnTo>
                  <a:pt x="1659" y="1670"/>
                </a:lnTo>
                <a:lnTo>
                  <a:pt x="1659" y="1674"/>
                </a:lnTo>
                <a:lnTo>
                  <a:pt x="1655" y="1674"/>
                </a:lnTo>
                <a:lnTo>
                  <a:pt x="1655" y="1670"/>
                </a:lnTo>
                <a:close/>
                <a:moveTo>
                  <a:pt x="1644" y="1672"/>
                </a:moveTo>
                <a:lnTo>
                  <a:pt x="1644" y="1670"/>
                </a:lnTo>
                <a:lnTo>
                  <a:pt x="1642" y="1670"/>
                </a:lnTo>
                <a:lnTo>
                  <a:pt x="1642" y="1674"/>
                </a:lnTo>
                <a:lnTo>
                  <a:pt x="1642" y="1675"/>
                </a:lnTo>
                <a:lnTo>
                  <a:pt x="1644" y="1675"/>
                </a:lnTo>
                <a:lnTo>
                  <a:pt x="1644" y="1672"/>
                </a:lnTo>
                <a:close/>
                <a:moveTo>
                  <a:pt x="1661" y="1674"/>
                </a:moveTo>
                <a:lnTo>
                  <a:pt x="1661" y="1672"/>
                </a:lnTo>
                <a:lnTo>
                  <a:pt x="1662" y="1672"/>
                </a:lnTo>
                <a:lnTo>
                  <a:pt x="1662" y="1674"/>
                </a:lnTo>
                <a:lnTo>
                  <a:pt x="1664" y="1674"/>
                </a:lnTo>
                <a:lnTo>
                  <a:pt x="1666" y="1674"/>
                </a:lnTo>
                <a:lnTo>
                  <a:pt x="1666" y="1672"/>
                </a:lnTo>
                <a:lnTo>
                  <a:pt x="1664" y="1672"/>
                </a:lnTo>
                <a:lnTo>
                  <a:pt x="1662" y="1670"/>
                </a:lnTo>
                <a:lnTo>
                  <a:pt x="1661" y="1670"/>
                </a:lnTo>
                <a:lnTo>
                  <a:pt x="1661" y="1672"/>
                </a:lnTo>
                <a:lnTo>
                  <a:pt x="1659" y="1672"/>
                </a:lnTo>
                <a:lnTo>
                  <a:pt x="1659" y="1674"/>
                </a:lnTo>
                <a:lnTo>
                  <a:pt x="1661" y="1674"/>
                </a:lnTo>
                <a:close/>
                <a:moveTo>
                  <a:pt x="1652" y="1670"/>
                </a:moveTo>
                <a:lnTo>
                  <a:pt x="1654" y="1670"/>
                </a:lnTo>
                <a:lnTo>
                  <a:pt x="1654" y="1672"/>
                </a:lnTo>
                <a:lnTo>
                  <a:pt x="1652" y="1672"/>
                </a:lnTo>
                <a:lnTo>
                  <a:pt x="1652" y="1670"/>
                </a:lnTo>
                <a:close/>
                <a:moveTo>
                  <a:pt x="1654" y="1670"/>
                </a:moveTo>
                <a:lnTo>
                  <a:pt x="1655" y="1670"/>
                </a:lnTo>
                <a:lnTo>
                  <a:pt x="1655" y="1672"/>
                </a:lnTo>
                <a:lnTo>
                  <a:pt x="1654" y="1672"/>
                </a:lnTo>
                <a:lnTo>
                  <a:pt x="1654" y="1670"/>
                </a:lnTo>
                <a:close/>
                <a:moveTo>
                  <a:pt x="1725" y="1674"/>
                </a:moveTo>
                <a:lnTo>
                  <a:pt x="1723" y="1672"/>
                </a:lnTo>
                <a:lnTo>
                  <a:pt x="1722" y="1672"/>
                </a:lnTo>
                <a:lnTo>
                  <a:pt x="1722" y="1674"/>
                </a:lnTo>
                <a:lnTo>
                  <a:pt x="1718" y="1674"/>
                </a:lnTo>
                <a:lnTo>
                  <a:pt x="1717" y="1674"/>
                </a:lnTo>
                <a:lnTo>
                  <a:pt x="1723" y="1674"/>
                </a:lnTo>
                <a:lnTo>
                  <a:pt x="1725" y="1674"/>
                </a:lnTo>
                <a:close/>
                <a:moveTo>
                  <a:pt x="1657" y="1672"/>
                </a:moveTo>
                <a:lnTo>
                  <a:pt x="1659" y="1672"/>
                </a:lnTo>
                <a:lnTo>
                  <a:pt x="1657" y="1672"/>
                </a:lnTo>
                <a:close/>
                <a:moveTo>
                  <a:pt x="1655" y="1677"/>
                </a:moveTo>
                <a:lnTo>
                  <a:pt x="1654" y="1675"/>
                </a:lnTo>
                <a:lnTo>
                  <a:pt x="1655" y="1674"/>
                </a:lnTo>
                <a:lnTo>
                  <a:pt x="1652" y="1674"/>
                </a:lnTo>
                <a:lnTo>
                  <a:pt x="1650" y="1672"/>
                </a:lnTo>
                <a:lnTo>
                  <a:pt x="1645" y="1679"/>
                </a:lnTo>
                <a:lnTo>
                  <a:pt x="1649" y="1679"/>
                </a:lnTo>
                <a:lnTo>
                  <a:pt x="1655" y="1677"/>
                </a:lnTo>
                <a:close/>
                <a:moveTo>
                  <a:pt x="1572" y="1672"/>
                </a:moveTo>
                <a:lnTo>
                  <a:pt x="1574" y="1672"/>
                </a:lnTo>
                <a:lnTo>
                  <a:pt x="1574" y="1674"/>
                </a:lnTo>
                <a:lnTo>
                  <a:pt x="1572" y="1674"/>
                </a:lnTo>
                <a:lnTo>
                  <a:pt x="1572" y="1672"/>
                </a:lnTo>
                <a:close/>
                <a:moveTo>
                  <a:pt x="1644" y="1672"/>
                </a:moveTo>
                <a:lnTo>
                  <a:pt x="1645" y="1672"/>
                </a:lnTo>
                <a:lnTo>
                  <a:pt x="1645" y="1674"/>
                </a:lnTo>
                <a:lnTo>
                  <a:pt x="1644" y="1674"/>
                </a:lnTo>
                <a:lnTo>
                  <a:pt x="1644" y="1672"/>
                </a:lnTo>
                <a:close/>
                <a:moveTo>
                  <a:pt x="1667" y="1675"/>
                </a:moveTo>
                <a:lnTo>
                  <a:pt x="1667" y="1674"/>
                </a:lnTo>
                <a:lnTo>
                  <a:pt x="1666" y="1675"/>
                </a:lnTo>
                <a:lnTo>
                  <a:pt x="1666" y="1674"/>
                </a:lnTo>
                <a:lnTo>
                  <a:pt x="1666" y="1675"/>
                </a:lnTo>
                <a:lnTo>
                  <a:pt x="1661" y="1674"/>
                </a:lnTo>
                <a:lnTo>
                  <a:pt x="1659" y="1674"/>
                </a:lnTo>
                <a:lnTo>
                  <a:pt x="1659" y="1672"/>
                </a:lnTo>
                <a:lnTo>
                  <a:pt x="1657" y="1674"/>
                </a:lnTo>
                <a:lnTo>
                  <a:pt x="1655" y="1674"/>
                </a:lnTo>
                <a:lnTo>
                  <a:pt x="1655" y="1675"/>
                </a:lnTo>
                <a:lnTo>
                  <a:pt x="1661" y="1677"/>
                </a:lnTo>
                <a:lnTo>
                  <a:pt x="1667" y="1675"/>
                </a:lnTo>
                <a:close/>
                <a:moveTo>
                  <a:pt x="1661" y="1672"/>
                </a:moveTo>
                <a:lnTo>
                  <a:pt x="1662" y="1672"/>
                </a:lnTo>
                <a:lnTo>
                  <a:pt x="1662" y="1674"/>
                </a:lnTo>
                <a:lnTo>
                  <a:pt x="1661" y="1674"/>
                </a:lnTo>
                <a:lnTo>
                  <a:pt x="1661" y="1672"/>
                </a:lnTo>
                <a:close/>
                <a:moveTo>
                  <a:pt x="1666" y="1674"/>
                </a:moveTo>
                <a:lnTo>
                  <a:pt x="1667" y="1674"/>
                </a:lnTo>
                <a:lnTo>
                  <a:pt x="1666" y="1674"/>
                </a:lnTo>
                <a:lnTo>
                  <a:pt x="1664" y="1674"/>
                </a:lnTo>
                <a:lnTo>
                  <a:pt x="1666" y="1674"/>
                </a:lnTo>
                <a:close/>
                <a:moveTo>
                  <a:pt x="1637" y="1679"/>
                </a:moveTo>
                <a:lnTo>
                  <a:pt x="1635" y="1677"/>
                </a:lnTo>
                <a:lnTo>
                  <a:pt x="1633" y="1677"/>
                </a:lnTo>
                <a:lnTo>
                  <a:pt x="1633" y="1675"/>
                </a:lnTo>
                <a:lnTo>
                  <a:pt x="1632" y="1677"/>
                </a:lnTo>
                <a:lnTo>
                  <a:pt x="1632" y="1675"/>
                </a:lnTo>
                <a:lnTo>
                  <a:pt x="1630" y="1677"/>
                </a:lnTo>
                <a:lnTo>
                  <a:pt x="1632" y="1679"/>
                </a:lnTo>
                <a:lnTo>
                  <a:pt x="1637" y="1679"/>
                </a:lnTo>
                <a:close/>
                <a:moveTo>
                  <a:pt x="1610" y="1684"/>
                </a:moveTo>
                <a:lnTo>
                  <a:pt x="1606" y="1681"/>
                </a:lnTo>
                <a:lnTo>
                  <a:pt x="1604" y="1679"/>
                </a:lnTo>
                <a:lnTo>
                  <a:pt x="1604" y="1677"/>
                </a:lnTo>
                <a:lnTo>
                  <a:pt x="1601" y="1681"/>
                </a:lnTo>
                <a:lnTo>
                  <a:pt x="1599" y="1684"/>
                </a:lnTo>
                <a:lnTo>
                  <a:pt x="1603" y="1684"/>
                </a:lnTo>
                <a:lnTo>
                  <a:pt x="1610" y="1684"/>
                </a:lnTo>
                <a:close/>
                <a:moveTo>
                  <a:pt x="1593" y="1677"/>
                </a:moveTo>
                <a:lnTo>
                  <a:pt x="1594" y="1677"/>
                </a:lnTo>
                <a:lnTo>
                  <a:pt x="1594" y="1681"/>
                </a:lnTo>
                <a:lnTo>
                  <a:pt x="1593" y="1681"/>
                </a:lnTo>
                <a:lnTo>
                  <a:pt x="1593" y="1677"/>
                </a:lnTo>
                <a:close/>
                <a:moveTo>
                  <a:pt x="1599" y="1681"/>
                </a:moveTo>
                <a:lnTo>
                  <a:pt x="1601" y="1681"/>
                </a:lnTo>
                <a:lnTo>
                  <a:pt x="1599" y="1681"/>
                </a:lnTo>
                <a:close/>
                <a:moveTo>
                  <a:pt x="1764" y="1692"/>
                </a:moveTo>
                <a:lnTo>
                  <a:pt x="1764" y="1694"/>
                </a:lnTo>
                <a:lnTo>
                  <a:pt x="1764" y="1692"/>
                </a:lnTo>
                <a:close/>
                <a:moveTo>
                  <a:pt x="1761" y="1694"/>
                </a:moveTo>
                <a:lnTo>
                  <a:pt x="1763" y="1694"/>
                </a:lnTo>
                <a:lnTo>
                  <a:pt x="1763" y="1698"/>
                </a:lnTo>
                <a:lnTo>
                  <a:pt x="1761" y="1698"/>
                </a:lnTo>
                <a:lnTo>
                  <a:pt x="1761" y="1694"/>
                </a:lnTo>
                <a:close/>
                <a:moveTo>
                  <a:pt x="1761" y="1694"/>
                </a:moveTo>
                <a:lnTo>
                  <a:pt x="1763" y="1694"/>
                </a:lnTo>
                <a:lnTo>
                  <a:pt x="1763" y="1698"/>
                </a:lnTo>
                <a:lnTo>
                  <a:pt x="1761" y="1698"/>
                </a:lnTo>
                <a:lnTo>
                  <a:pt x="1761" y="1694"/>
                </a:lnTo>
                <a:close/>
                <a:moveTo>
                  <a:pt x="1757" y="1696"/>
                </a:moveTo>
                <a:lnTo>
                  <a:pt x="1759" y="1696"/>
                </a:lnTo>
                <a:lnTo>
                  <a:pt x="1759" y="1698"/>
                </a:lnTo>
                <a:lnTo>
                  <a:pt x="1757" y="1698"/>
                </a:lnTo>
                <a:lnTo>
                  <a:pt x="1757" y="1696"/>
                </a:lnTo>
                <a:close/>
                <a:moveTo>
                  <a:pt x="1763" y="1696"/>
                </a:moveTo>
                <a:lnTo>
                  <a:pt x="1764" y="1696"/>
                </a:lnTo>
                <a:lnTo>
                  <a:pt x="1764" y="1698"/>
                </a:lnTo>
                <a:lnTo>
                  <a:pt x="1763" y="1698"/>
                </a:lnTo>
                <a:lnTo>
                  <a:pt x="1763" y="1696"/>
                </a:lnTo>
                <a:close/>
                <a:moveTo>
                  <a:pt x="1759" y="1699"/>
                </a:moveTo>
                <a:lnTo>
                  <a:pt x="1761" y="1698"/>
                </a:lnTo>
                <a:lnTo>
                  <a:pt x="1761" y="1696"/>
                </a:lnTo>
                <a:lnTo>
                  <a:pt x="1759" y="1698"/>
                </a:lnTo>
                <a:lnTo>
                  <a:pt x="1757" y="1698"/>
                </a:lnTo>
                <a:lnTo>
                  <a:pt x="1756" y="1699"/>
                </a:lnTo>
                <a:lnTo>
                  <a:pt x="1759" y="1701"/>
                </a:lnTo>
                <a:lnTo>
                  <a:pt x="1759" y="1699"/>
                </a:lnTo>
                <a:close/>
                <a:moveTo>
                  <a:pt x="1763" y="1698"/>
                </a:moveTo>
                <a:lnTo>
                  <a:pt x="1764" y="1698"/>
                </a:lnTo>
                <a:lnTo>
                  <a:pt x="1764" y="1699"/>
                </a:lnTo>
                <a:lnTo>
                  <a:pt x="1763" y="1699"/>
                </a:lnTo>
                <a:lnTo>
                  <a:pt x="1763" y="1698"/>
                </a:lnTo>
                <a:close/>
                <a:moveTo>
                  <a:pt x="1761" y="1698"/>
                </a:moveTo>
                <a:lnTo>
                  <a:pt x="1763" y="1698"/>
                </a:lnTo>
                <a:lnTo>
                  <a:pt x="1763" y="1699"/>
                </a:lnTo>
                <a:lnTo>
                  <a:pt x="1761" y="1699"/>
                </a:lnTo>
                <a:lnTo>
                  <a:pt x="1761" y="1698"/>
                </a:lnTo>
                <a:close/>
                <a:moveTo>
                  <a:pt x="1764" y="1698"/>
                </a:moveTo>
                <a:lnTo>
                  <a:pt x="1766" y="1698"/>
                </a:lnTo>
                <a:lnTo>
                  <a:pt x="1766" y="1701"/>
                </a:lnTo>
                <a:lnTo>
                  <a:pt x="1764" y="1701"/>
                </a:lnTo>
                <a:lnTo>
                  <a:pt x="1764" y="1698"/>
                </a:lnTo>
                <a:close/>
                <a:moveTo>
                  <a:pt x="1764" y="1703"/>
                </a:moveTo>
                <a:lnTo>
                  <a:pt x="1761" y="1703"/>
                </a:lnTo>
                <a:lnTo>
                  <a:pt x="1761" y="1704"/>
                </a:lnTo>
                <a:lnTo>
                  <a:pt x="1761" y="1703"/>
                </a:lnTo>
                <a:lnTo>
                  <a:pt x="1763" y="1703"/>
                </a:lnTo>
                <a:lnTo>
                  <a:pt x="1763" y="1701"/>
                </a:lnTo>
                <a:lnTo>
                  <a:pt x="1763" y="1699"/>
                </a:lnTo>
                <a:lnTo>
                  <a:pt x="1761" y="1699"/>
                </a:lnTo>
                <a:lnTo>
                  <a:pt x="1761" y="1698"/>
                </a:lnTo>
                <a:lnTo>
                  <a:pt x="1761" y="1699"/>
                </a:lnTo>
                <a:lnTo>
                  <a:pt x="1761" y="1701"/>
                </a:lnTo>
                <a:lnTo>
                  <a:pt x="1759" y="1701"/>
                </a:lnTo>
                <a:lnTo>
                  <a:pt x="1757" y="1701"/>
                </a:lnTo>
                <a:lnTo>
                  <a:pt x="1756" y="1699"/>
                </a:lnTo>
                <a:lnTo>
                  <a:pt x="1756" y="1701"/>
                </a:lnTo>
                <a:lnTo>
                  <a:pt x="1756" y="1699"/>
                </a:lnTo>
                <a:lnTo>
                  <a:pt x="1754" y="1701"/>
                </a:lnTo>
                <a:lnTo>
                  <a:pt x="1756" y="1703"/>
                </a:lnTo>
                <a:lnTo>
                  <a:pt x="1759" y="1704"/>
                </a:lnTo>
                <a:lnTo>
                  <a:pt x="1761" y="1704"/>
                </a:lnTo>
                <a:lnTo>
                  <a:pt x="1764" y="1703"/>
                </a:lnTo>
                <a:close/>
                <a:moveTo>
                  <a:pt x="1757" y="1699"/>
                </a:moveTo>
                <a:lnTo>
                  <a:pt x="1761" y="1699"/>
                </a:lnTo>
                <a:lnTo>
                  <a:pt x="1761" y="1701"/>
                </a:lnTo>
                <a:lnTo>
                  <a:pt x="1757" y="1701"/>
                </a:lnTo>
                <a:lnTo>
                  <a:pt x="1757" y="1699"/>
                </a:lnTo>
                <a:close/>
                <a:moveTo>
                  <a:pt x="1774" y="1711"/>
                </a:moveTo>
                <a:lnTo>
                  <a:pt x="1774" y="1708"/>
                </a:lnTo>
                <a:lnTo>
                  <a:pt x="1773" y="1706"/>
                </a:lnTo>
                <a:lnTo>
                  <a:pt x="1771" y="1706"/>
                </a:lnTo>
                <a:lnTo>
                  <a:pt x="1769" y="1709"/>
                </a:lnTo>
                <a:lnTo>
                  <a:pt x="1771" y="1711"/>
                </a:lnTo>
                <a:lnTo>
                  <a:pt x="1773" y="1711"/>
                </a:lnTo>
                <a:lnTo>
                  <a:pt x="1774" y="1711"/>
                </a:lnTo>
                <a:close/>
                <a:moveTo>
                  <a:pt x="1723" y="1738"/>
                </a:moveTo>
                <a:lnTo>
                  <a:pt x="1729" y="1733"/>
                </a:lnTo>
                <a:lnTo>
                  <a:pt x="1729" y="1730"/>
                </a:lnTo>
                <a:lnTo>
                  <a:pt x="1730" y="1728"/>
                </a:lnTo>
                <a:lnTo>
                  <a:pt x="1730" y="1726"/>
                </a:lnTo>
                <a:lnTo>
                  <a:pt x="1732" y="1721"/>
                </a:lnTo>
                <a:lnTo>
                  <a:pt x="1735" y="1718"/>
                </a:lnTo>
                <a:lnTo>
                  <a:pt x="1737" y="1713"/>
                </a:lnTo>
                <a:lnTo>
                  <a:pt x="1735" y="1711"/>
                </a:lnTo>
                <a:lnTo>
                  <a:pt x="1734" y="1711"/>
                </a:lnTo>
                <a:lnTo>
                  <a:pt x="1732" y="1711"/>
                </a:lnTo>
                <a:lnTo>
                  <a:pt x="1727" y="1711"/>
                </a:lnTo>
                <a:lnTo>
                  <a:pt x="1725" y="1709"/>
                </a:lnTo>
                <a:lnTo>
                  <a:pt x="1723" y="1709"/>
                </a:lnTo>
                <a:lnTo>
                  <a:pt x="1720" y="1716"/>
                </a:lnTo>
                <a:lnTo>
                  <a:pt x="1720" y="1721"/>
                </a:lnTo>
                <a:lnTo>
                  <a:pt x="1718" y="1723"/>
                </a:lnTo>
                <a:lnTo>
                  <a:pt x="1718" y="1725"/>
                </a:lnTo>
                <a:lnTo>
                  <a:pt x="1718" y="1726"/>
                </a:lnTo>
                <a:lnTo>
                  <a:pt x="1713" y="1725"/>
                </a:lnTo>
                <a:lnTo>
                  <a:pt x="1712" y="1728"/>
                </a:lnTo>
                <a:lnTo>
                  <a:pt x="1710" y="1732"/>
                </a:lnTo>
                <a:lnTo>
                  <a:pt x="1712" y="1735"/>
                </a:lnTo>
                <a:lnTo>
                  <a:pt x="1717" y="1737"/>
                </a:lnTo>
                <a:lnTo>
                  <a:pt x="1718" y="1737"/>
                </a:lnTo>
                <a:lnTo>
                  <a:pt x="1723" y="1738"/>
                </a:lnTo>
                <a:close/>
                <a:moveTo>
                  <a:pt x="1776" y="1720"/>
                </a:moveTo>
                <a:lnTo>
                  <a:pt x="1778" y="1720"/>
                </a:lnTo>
                <a:lnTo>
                  <a:pt x="1776" y="1720"/>
                </a:lnTo>
                <a:close/>
                <a:moveTo>
                  <a:pt x="1776" y="1720"/>
                </a:moveTo>
                <a:lnTo>
                  <a:pt x="1773" y="1720"/>
                </a:lnTo>
                <a:lnTo>
                  <a:pt x="1771" y="1721"/>
                </a:lnTo>
                <a:lnTo>
                  <a:pt x="1773" y="1721"/>
                </a:lnTo>
                <a:lnTo>
                  <a:pt x="1776" y="1720"/>
                </a:lnTo>
                <a:close/>
                <a:moveTo>
                  <a:pt x="1774" y="1720"/>
                </a:moveTo>
                <a:lnTo>
                  <a:pt x="1776" y="1720"/>
                </a:lnTo>
                <a:lnTo>
                  <a:pt x="1776" y="1721"/>
                </a:lnTo>
                <a:lnTo>
                  <a:pt x="1774" y="1721"/>
                </a:lnTo>
                <a:lnTo>
                  <a:pt x="1774" y="1720"/>
                </a:lnTo>
                <a:close/>
                <a:moveTo>
                  <a:pt x="1659" y="1823"/>
                </a:moveTo>
                <a:lnTo>
                  <a:pt x="1661" y="1823"/>
                </a:lnTo>
                <a:lnTo>
                  <a:pt x="1661" y="1820"/>
                </a:lnTo>
                <a:lnTo>
                  <a:pt x="1662" y="1820"/>
                </a:lnTo>
                <a:lnTo>
                  <a:pt x="1661" y="1818"/>
                </a:lnTo>
                <a:lnTo>
                  <a:pt x="1662" y="1817"/>
                </a:lnTo>
                <a:lnTo>
                  <a:pt x="1659" y="1815"/>
                </a:lnTo>
                <a:lnTo>
                  <a:pt x="1657" y="1817"/>
                </a:lnTo>
                <a:lnTo>
                  <a:pt x="1657" y="1820"/>
                </a:lnTo>
                <a:lnTo>
                  <a:pt x="1655" y="1820"/>
                </a:lnTo>
                <a:lnTo>
                  <a:pt x="1655" y="1823"/>
                </a:lnTo>
                <a:lnTo>
                  <a:pt x="1657" y="1822"/>
                </a:lnTo>
                <a:lnTo>
                  <a:pt x="1659" y="1823"/>
                </a:lnTo>
                <a:close/>
                <a:moveTo>
                  <a:pt x="1778" y="1847"/>
                </a:moveTo>
                <a:lnTo>
                  <a:pt x="1779" y="1847"/>
                </a:lnTo>
                <a:lnTo>
                  <a:pt x="1779" y="1849"/>
                </a:lnTo>
                <a:lnTo>
                  <a:pt x="1778" y="1849"/>
                </a:lnTo>
                <a:lnTo>
                  <a:pt x="1778" y="1847"/>
                </a:lnTo>
                <a:close/>
                <a:moveTo>
                  <a:pt x="1764" y="1851"/>
                </a:moveTo>
                <a:lnTo>
                  <a:pt x="1766" y="1851"/>
                </a:lnTo>
                <a:lnTo>
                  <a:pt x="1766" y="1852"/>
                </a:lnTo>
                <a:lnTo>
                  <a:pt x="1764" y="1852"/>
                </a:lnTo>
                <a:lnTo>
                  <a:pt x="1764" y="1851"/>
                </a:lnTo>
                <a:close/>
                <a:moveTo>
                  <a:pt x="1756" y="1854"/>
                </a:moveTo>
                <a:lnTo>
                  <a:pt x="1757" y="1854"/>
                </a:lnTo>
                <a:lnTo>
                  <a:pt x="1757" y="1856"/>
                </a:lnTo>
                <a:lnTo>
                  <a:pt x="1756" y="1856"/>
                </a:lnTo>
                <a:lnTo>
                  <a:pt x="1756" y="1854"/>
                </a:lnTo>
                <a:close/>
                <a:moveTo>
                  <a:pt x="1768" y="1871"/>
                </a:moveTo>
                <a:lnTo>
                  <a:pt x="1768" y="1873"/>
                </a:lnTo>
                <a:lnTo>
                  <a:pt x="1768" y="1871"/>
                </a:lnTo>
                <a:close/>
                <a:moveTo>
                  <a:pt x="1768" y="1874"/>
                </a:moveTo>
                <a:lnTo>
                  <a:pt x="1769" y="1874"/>
                </a:lnTo>
                <a:lnTo>
                  <a:pt x="1769" y="1876"/>
                </a:lnTo>
                <a:lnTo>
                  <a:pt x="1768" y="1876"/>
                </a:lnTo>
                <a:lnTo>
                  <a:pt x="1768" y="1874"/>
                </a:lnTo>
                <a:close/>
                <a:moveTo>
                  <a:pt x="1615" y="1898"/>
                </a:moveTo>
                <a:lnTo>
                  <a:pt x="1616" y="1900"/>
                </a:lnTo>
                <a:lnTo>
                  <a:pt x="1616" y="1897"/>
                </a:lnTo>
                <a:lnTo>
                  <a:pt x="1618" y="1898"/>
                </a:lnTo>
                <a:lnTo>
                  <a:pt x="1621" y="1897"/>
                </a:lnTo>
                <a:lnTo>
                  <a:pt x="1620" y="1895"/>
                </a:lnTo>
                <a:lnTo>
                  <a:pt x="1625" y="1890"/>
                </a:lnTo>
                <a:lnTo>
                  <a:pt x="1625" y="1888"/>
                </a:lnTo>
                <a:lnTo>
                  <a:pt x="1627" y="1886"/>
                </a:lnTo>
                <a:lnTo>
                  <a:pt x="1625" y="1885"/>
                </a:lnTo>
                <a:lnTo>
                  <a:pt x="1623" y="1883"/>
                </a:lnTo>
                <a:lnTo>
                  <a:pt x="1625" y="1883"/>
                </a:lnTo>
                <a:lnTo>
                  <a:pt x="1623" y="1881"/>
                </a:lnTo>
                <a:lnTo>
                  <a:pt x="1618" y="1881"/>
                </a:lnTo>
                <a:lnTo>
                  <a:pt x="1616" y="1883"/>
                </a:lnTo>
                <a:lnTo>
                  <a:pt x="1615" y="1883"/>
                </a:lnTo>
                <a:lnTo>
                  <a:pt x="1613" y="1885"/>
                </a:lnTo>
                <a:lnTo>
                  <a:pt x="1611" y="1888"/>
                </a:lnTo>
                <a:lnTo>
                  <a:pt x="1611" y="1891"/>
                </a:lnTo>
                <a:lnTo>
                  <a:pt x="1613" y="1897"/>
                </a:lnTo>
                <a:lnTo>
                  <a:pt x="1615" y="1897"/>
                </a:lnTo>
                <a:lnTo>
                  <a:pt x="1613" y="1898"/>
                </a:lnTo>
                <a:lnTo>
                  <a:pt x="1615" y="1900"/>
                </a:lnTo>
                <a:lnTo>
                  <a:pt x="1615" y="1898"/>
                </a:lnTo>
                <a:close/>
                <a:moveTo>
                  <a:pt x="1786" y="1891"/>
                </a:moveTo>
                <a:lnTo>
                  <a:pt x="1788" y="1891"/>
                </a:lnTo>
                <a:lnTo>
                  <a:pt x="1788" y="1893"/>
                </a:lnTo>
                <a:lnTo>
                  <a:pt x="1786" y="1893"/>
                </a:lnTo>
                <a:lnTo>
                  <a:pt x="1786" y="1891"/>
                </a:lnTo>
                <a:close/>
                <a:moveTo>
                  <a:pt x="1785" y="1891"/>
                </a:moveTo>
                <a:lnTo>
                  <a:pt x="1786" y="1891"/>
                </a:lnTo>
                <a:lnTo>
                  <a:pt x="1786" y="1893"/>
                </a:lnTo>
                <a:lnTo>
                  <a:pt x="1785" y="1893"/>
                </a:lnTo>
                <a:lnTo>
                  <a:pt x="1785" y="1891"/>
                </a:lnTo>
                <a:close/>
                <a:moveTo>
                  <a:pt x="1613" y="1902"/>
                </a:moveTo>
                <a:lnTo>
                  <a:pt x="1615" y="1902"/>
                </a:lnTo>
                <a:lnTo>
                  <a:pt x="1613" y="1902"/>
                </a:lnTo>
                <a:close/>
                <a:moveTo>
                  <a:pt x="1744" y="1936"/>
                </a:moveTo>
                <a:lnTo>
                  <a:pt x="1744" y="1937"/>
                </a:lnTo>
                <a:lnTo>
                  <a:pt x="1744" y="1936"/>
                </a:lnTo>
                <a:close/>
                <a:moveTo>
                  <a:pt x="1567" y="1973"/>
                </a:moveTo>
                <a:lnTo>
                  <a:pt x="1570" y="1973"/>
                </a:lnTo>
                <a:lnTo>
                  <a:pt x="1570" y="1977"/>
                </a:lnTo>
                <a:lnTo>
                  <a:pt x="1567" y="1977"/>
                </a:lnTo>
                <a:lnTo>
                  <a:pt x="1567" y="1973"/>
                </a:lnTo>
                <a:close/>
                <a:moveTo>
                  <a:pt x="3384" y="1990"/>
                </a:moveTo>
                <a:lnTo>
                  <a:pt x="3386" y="1990"/>
                </a:lnTo>
                <a:lnTo>
                  <a:pt x="3386" y="1992"/>
                </a:lnTo>
                <a:lnTo>
                  <a:pt x="3384" y="1992"/>
                </a:lnTo>
                <a:lnTo>
                  <a:pt x="3384" y="1990"/>
                </a:lnTo>
                <a:close/>
                <a:moveTo>
                  <a:pt x="3376" y="2002"/>
                </a:moveTo>
                <a:lnTo>
                  <a:pt x="3374" y="2002"/>
                </a:lnTo>
                <a:lnTo>
                  <a:pt x="3372" y="2002"/>
                </a:lnTo>
                <a:lnTo>
                  <a:pt x="3374" y="2000"/>
                </a:lnTo>
                <a:lnTo>
                  <a:pt x="3372" y="2002"/>
                </a:lnTo>
                <a:lnTo>
                  <a:pt x="3374" y="2004"/>
                </a:lnTo>
                <a:lnTo>
                  <a:pt x="3372" y="2005"/>
                </a:lnTo>
                <a:lnTo>
                  <a:pt x="3376" y="2002"/>
                </a:lnTo>
                <a:close/>
                <a:moveTo>
                  <a:pt x="3367" y="2004"/>
                </a:moveTo>
                <a:lnTo>
                  <a:pt x="3371" y="2004"/>
                </a:lnTo>
                <a:lnTo>
                  <a:pt x="3367" y="2004"/>
                </a:lnTo>
                <a:close/>
                <a:moveTo>
                  <a:pt x="3360" y="2011"/>
                </a:moveTo>
                <a:lnTo>
                  <a:pt x="3362" y="2011"/>
                </a:lnTo>
                <a:lnTo>
                  <a:pt x="3366" y="2011"/>
                </a:lnTo>
                <a:lnTo>
                  <a:pt x="3366" y="2009"/>
                </a:lnTo>
                <a:lnTo>
                  <a:pt x="3367" y="2009"/>
                </a:lnTo>
                <a:lnTo>
                  <a:pt x="3369" y="2009"/>
                </a:lnTo>
                <a:lnTo>
                  <a:pt x="3369" y="2007"/>
                </a:lnTo>
                <a:lnTo>
                  <a:pt x="3366" y="2005"/>
                </a:lnTo>
                <a:lnTo>
                  <a:pt x="3364" y="2005"/>
                </a:lnTo>
                <a:lnTo>
                  <a:pt x="3362" y="2007"/>
                </a:lnTo>
                <a:lnTo>
                  <a:pt x="3359" y="2009"/>
                </a:lnTo>
                <a:lnTo>
                  <a:pt x="3359" y="2011"/>
                </a:lnTo>
                <a:lnTo>
                  <a:pt x="3359" y="2012"/>
                </a:lnTo>
                <a:lnTo>
                  <a:pt x="3360" y="2014"/>
                </a:lnTo>
                <a:lnTo>
                  <a:pt x="3360" y="2011"/>
                </a:lnTo>
                <a:close/>
                <a:moveTo>
                  <a:pt x="3291" y="2106"/>
                </a:moveTo>
                <a:lnTo>
                  <a:pt x="3294" y="2106"/>
                </a:lnTo>
                <a:lnTo>
                  <a:pt x="3294" y="2108"/>
                </a:lnTo>
                <a:lnTo>
                  <a:pt x="3291" y="2108"/>
                </a:lnTo>
                <a:lnTo>
                  <a:pt x="3291" y="2106"/>
                </a:lnTo>
                <a:close/>
                <a:moveTo>
                  <a:pt x="3299" y="2176"/>
                </a:moveTo>
                <a:lnTo>
                  <a:pt x="3299" y="2172"/>
                </a:lnTo>
                <a:lnTo>
                  <a:pt x="3301" y="2169"/>
                </a:lnTo>
                <a:lnTo>
                  <a:pt x="3303" y="2160"/>
                </a:lnTo>
                <a:lnTo>
                  <a:pt x="3301" y="2160"/>
                </a:lnTo>
                <a:lnTo>
                  <a:pt x="3301" y="2162"/>
                </a:lnTo>
                <a:lnTo>
                  <a:pt x="3301" y="2160"/>
                </a:lnTo>
                <a:lnTo>
                  <a:pt x="3301" y="2159"/>
                </a:lnTo>
                <a:lnTo>
                  <a:pt x="3301" y="2155"/>
                </a:lnTo>
                <a:lnTo>
                  <a:pt x="3303" y="2157"/>
                </a:lnTo>
                <a:lnTo>
                  <a:pt x="3303" y="2155"/>
                </a:lnTo>
                <a:lnTo>
                  <a:pt x="3303" y="2150"/>
                </a:lnTo>
                <a:lnTo>
                  <a:pt x="3303" y="2152"/>
                </a:lnTo>
                <a:lnTo>
                  <a:pt x="3301" y="2152"/>
                </a:lnTo>
                <a:lnTo>
                  <a:pt x="3301" y="2150"/>
                </a:lnTo>
                <a:lnTo>
                  <a:pt x="3301" y="2152"/>
                </a:lnTo>
                <a:lnTo>
                  <a:pt x="3299" y="2152"/>
                </a:lnTo>
                <a:lnTo>
                  <a:pt x="3301" y="2153"/>
                </a:lnTo>
                <a:lnTo>
                  <a:pt x="3299" y="2152"/>
                </a:lnTo>
                <a:lnTo>
                  <a:pt x="3294" y="2150"/>
                </a:lnTo>
                <a:lnTo>
                  <a:pt x="3294" y="2148"/>
                </a:lnTo>
                <a:lnTo>
                  <a:pt x="3292" y="2152"/>
                </a:lnTo>
                <a:lnTo>
                  <a:pt x="3294" y="2153"/>
                </a:lnTo>
                <a:lnTo>
                  <a:pt x="3292" y="2153"/>
                </a:lnTo>
                <a:lnTo>
                  <a:pt x="3294" y="2157"/>
                </a:lnTo>
                <a:lnTo>
                  <a:pt x="3292" y="2157"/>
                </a:lnTo>
                <a:lnTo>
                  <a:pt x="3296" y="2159"/>
                </a:lnTo>
                <a:lnTo>
                  <a:pt x="3294" y="2159"/>
                </a:lnTo>
                <a:lnTo>
                  <a:pt x="3294" y="2160"/>
                </a:lnTo>
                <a:lnTo>
                  <a:pt x="3294" y="2162"/>
                </a:lnTo>
                <a:lnTo>
                  <a:pt x="3296" y="2162"/>
                </a:lnTo>
                <a:lnTo>
                  <a:pt x="3294" y="2164"/>
                </a:lnTo>
                <a:lnTo>
                  <a:pt x="3296" y="2162"/>
                </a:lnTo>
                <a:lnTo>
                  <a:pt x="3296" y="2164"/>
                </a:lnTo>
                <a:lnTo>
                  <a:pt x="3296" y="2165"/>
                </a:lnTo>
                <a:lnTo>
                  <a:pt x="3294" y="2165"/>
                </a:lnTo>
                <a:lnTo>
                  <a:pt x="3292" y="2165"/>
                </a:lnTo>
                <a:lnTo>
                  <a:pt x="3292" y="2164"/>
                </a:lnTo>
                <a:lnTo>
                  <a:pt x="3291" y="2165"/>
                </a:lnTo>
                <a:lnTo>
                  <a:pt x="3292" y="2165"/>
                </a:lnTo>
                <a:lnTo>
                  <a:pt x="3292" y="2167"/>
                </a:lnTo>
                <a:lnTo>
                  <a:pt x="3294" y="2165"/>
                </a:lnTo>
                <a:lnTo>
                  <a:pt x="3298" y="2167"/>
                </a:lnTo>
                <a:lnTo>
                  <a:pt x="3296" y="2167"/>
                </a:lnTo>
                <a:lnTo>
                  <a:pt x="3294" y="2167"/>
                </a:lnTo>
                <a:lnTo>
                  <a:pt x="3294" y="2169"/>
                </a:lnTo>
                <a:lnTo>
                  <a:pt x="3292" y="2169"/>
                </a:lnTo>
                <a:lnTo>
                  <a:pt x="3294" y="2172"/>
                </a:lnTo>
                <a:lnTo>
                  <a:pt x="3292" y="2172"/>
                </a:lnTo>
                <a:lnTo>
                  <a:pt x="3292" y="2170"/>
                </a:lnTo>
                <a:lnTo>
                  <a:pt x="3291" y="2176"/>
                </a:lnTo>
                <a:lnTo>
                  <a:pt x="3291" y="2177"/>
                </a:lnTo>
                <a:lnTo>
                  <a:pt x="3292" y="2177"/>
                </a:lnTo>
                <a:lnTo>
                  <a:pt x="3294" y="2177"/>
                </a:lnTo>
                <a:lnTo>
                  <a:pt x="3296" y="2177"/>
                </a:lnTo>
                <a:lnTo>
                  <a:pt x="3294" y="2177"/>
                </a:lnTo>
                <a:lnTo>
                  <a:pt x="3296" y="2177"/>
                </a:lnTo>
                <a:lnTo>
                  <a:pt x="3296" y="2179"/>
                </a:lnTo>
                <a:lnTo>
                  <a:pt x="3299" y="2176"/>
                </a:lnTo>
                <a:close/>
                <a:moveTo>
                  <a:pt x="3292" y="2153"/>
                </a:moveTo>
                <a:lnTo>
                  <a:pt x="3292" y="2155"/>
                </a:lnTo>
                <a:lnTo>
                  <a:pt x="3292" y="2153"/>
                </a:lnTo>
                <a:close/>
                <a:moveTo>
                  <a:pt x="3291" y="2159"/>
                </a:moveTo>
                <a:lnTo>
                  <a:pt x="3292" y="2155"/>
                </a:lnTo>
                <a:lnTo>
                  <a:pt x="3291" y="2160"/>
                </a:lnTo>
                <a:lnTo>
                  <a:pt x="3291" y="2159"/>
                </a:lnTo>
                <a:close/>
                <a:moveTo>
                  <a:pt x="3303" y="2159"/>
                </a:moveTo>
                <a:lnTo>
                  <a:pt x="3303" y="2157"/>
                </a:lnTo>
                <a:lnTo>
                  <a:pt x="3301" y="2159"/>
                </a:lnTo>
                <a:lnTo>
                  <a:pt x="3303" y="2159"/>
                </a:lnTo>
                <a:lnTo>
                  <a:pt x="3301" y="2160"/>
                </a:lnTo>
                <a:lnTo>
                  <a:pt x="3303" y="2160"/>
                </a:lnTo>
                <a:lnTo>
                  <a:pt x="3303" y="2159"/>
                </a:lnTo>
                <a:close/>
                <a:moveTo>
                  <a:pt x="3291" y="2160"/>
                </a:moveTo>
                <a:lnTo>
                  <a:pt x="3291" y="2162"/>
                </a:lnTo>
                <a:lnTo>
                  <a:pt x="3291" y="2160"/>
                </a:lnTo>
                <a:close/>
                <a:moveTo>
                  <a:pt x="3289" y="2174"/>
                </a:moveTo>
                <a:lnTo>
                  <a:pt x="3291" y="2174"/>
                </a:lnTo>
                <a:lnTo>
                  <a:pt x="3289" y="2174"/>
                </a:lnTo>
                <a:close/>
                <a:moveTo>
                  <a:pt x="3292" y="2179"/>
                </a:moveTo>
                <a:lnTo>
                  <a:pt x="3292" y="2177"/>
                </a:lnTo>
                <a:lnTo>
                  <a:pt x="3291" y="2177"/>
                </a:lnTo>
                <a:lnTo>
                  <a:pt x="3289" y="2176"/>
                </a:lnTo>
                <a:lnTo>
                  <a:pt x="3287" y="2176"/>
                </a:lnTo>
                <a:lnTo>
                  <a:pt x="3289" y="2179"/>
                </a:lnTo>
                <a:lnTo>
                  <a:pt x="3291" y="2179"/>
                </a:lnTo>
                <a:lnTo>
                  <a:pt x="3292" y="2179"/>
                </a:lnTo>
                <a:close/>
                <a:moveTo>
                  <a:pt x="3287" y="2228"/>
                </a:moveTo>
                <a:lnTo>
                  <a:pt x="3289" y="2225"/>
                </a:lnTo>
                <a:lnTo>
                  <a:pt x="3286" y="2220"/>
                </a:lnTo>
                <a:lnTo>
                  <a:pt x="3286" y="2215"/>
                </a:lnTo>
                <a:lnTo>
                  <a:pt x="3284" y="2211"/>
                </a:lnTo>
                <a:lnTo>
                  <a:pt x="3284" y="2213"/>
                </a:lnTo>
                <a:lnTo>
                  <a:pt x="3284" y="2215"/>
                </a:lnTo>
                <a:lnTo>
                  <a:pt x="3284" y="2216"/>
                </a:lnTo>
                <a:lnTo>
                  <a:pt x="3282" y="2215"/>
                </a:lnTo>
                <a:lnTo>
                  <a:pt x="3282" y="2216"/>
                </a:lnTo>
                <a:lnTo>
                  <a:pt x="3281" y="2215"/>
                </a:lnTo>
                <a:lnTo>
                  <a:pt x="3281" y="2213"/>
                </a:lnTo>
                <a:lnTo>
                  <a:pt x="3281" y="2210"/>
                </a:lnTo>
                <a:lnTo>
                  <a:pt x="3279" y="2208"/>
                </a:lnTo>
                <a:lnTo>
                  <a:pt x="3277" y="2201"/>
                </a:lnTo>
                <a:lnTo>
                  <a:pt x="3277" y="2196"/>
                </a:lnTo>
                <a:lnTo>
                  <a:pt x="3274" y="2191"/>
                </a:lnTo>
                <a:lnTo>
                  <a:pt x="3272" y="2199"/>
                </a:lnTo>
                <a:lnTo>
                  <a:pt x="3270" y="2199"/>
                </a:lnTo>
                <a:lnTo>
                  <a:pt x="3270" y="2201"/>
                </a:lnTo>
                <a:lnTo>
                  <a:pt x="3269" y="2201"/>
                </a:lnTo>
                <a:lnTo>
                  <a:pt x="3269" y="2204"/>
                </a:lnTo>
                <a:lnTo>
                  <a:pt x="3270" y="2210"/>
                </a:lnTo>
                <a:lnTo>
                  <a:pt x="3270" y="2213"/>
                </a:lnTo>
                <a:lnTo>
                  <a:pt x="3269" y="2215"/>
                </a:lnTo>
                <a:lnTo>
                  <a:pt x="3269" y="2216"/>
                </a:lnTo>
                <a:lnTo>
                  <a:pt x="3274" y="2222"/>
                </a:lnTo>
                <a:lnTo>
                  <a:pt x="3274" y="2218"/>
                </a:lnTo>
                <a:lnTo>
                  <a:pt x="3274" y="2220"/>
                </a:lnTo>
                <a:lnTo>
                  <a:pt x="3274" y="2218"/>
                </a:lnTo>
                <a:lnTo>
                  <a:pt x="3277" y="2222"/>
                </a:lnTo>
                <a:lnTo>
                  <a:pt x="3277" y="2223"/>
                </a:lnTo>
                <a:lnTo>
                  <a:pt x="3281" y="2227"/>
                </a:lnTo>
                <a:lnTo>
                  <a:pt x="3281" y="2223"/>
                </a:lnTo>
                <a:lnTo>
                  <a:pt x="3279" y="2222"/>
                </a:lnTo>
                <a:lnTo>
                  <a:pt x="3282" y="2228"/>
                </a:lnTo>
                <a:lnTo>
                  <a:pt x="3284" y="2230"/>
                </a:lnTo>
                <a:lnTo>
                  <a:pt x="3286" y="2230"/>
                </a:lnTo>
                <a:lnTo>
                  <a:pt x="3287" y="2228"/>
                </a:lnTo>
                <a:close/>
                <a:moveTo>
                  <a:pt x="3270" y="2198"/>
                </a:moveTo>
                <a:lnTo>
                  <a:pt x="3270" y="2196"/>
                </a:lnTo>
                <a:lnTo>
                  <a:pt x="3270" y="2193"/>
                </a:lnTo>
                <a:lnTo>
                  <a:pt x="3269" y="2198"/>
                </a:lnTo>
                <a:lnTo>
                  <a:pt x="3270" y="2199"/>
                </a:lnTo>
                <a:lnTo>
                  <a:pt x="3270" y="2198"/>
                </a:lnTo>
                <a:close/>
                <a:moveTo>
                  <a:pt x="1939" y="2198"/>
                </a:moveTo>
                <a:lnTo>
                  <a:pt x="1941" y="2198"/>
                </a:lnTo>
                <a:lnTo>
                  <a:pt x="1938" y="2198"/>
                </a:lnTo>
                <a:lnTo>
                  <a:pt x="1936" y="2198"/>
                </a:lnTo>
                <a:lnTo>
                  <a:pt x="1938" y="2199"/>
                </a:lnTo>
                <a:lnTo>
                  <a:pt x="1939" y="2198"/>
                </a:lnTo>
                <a:close/>
                <a:moveTo>
                  <a:pt x="1938" y="2198"/>
                </a:moveTo>
                <a:lnTo>
                  <a:pt x="1941" y="2198"/>
                </a:lnTo>
                <a:lnTo>
                  <a:pt x="1941" y="2199"/>
                </a:lnTo>
                <a:lnTo>
                  <a:pt x="1938" y="2199"/>
                </a:lnTo>
                <a:lnTo>
                  <a:pt x="1938" y="2198"/>
                </a:lnTo>
                <a:close/>
                <a:moveTo>
                  <a:pt x="1936" y="2201"/>
                </a:moveTo>
                <a:lnTo>
                  <a:pt x="1939" y="2201"/>
                </a:lnTo>
                <a:lnTo>
                  <a:pt x="1943" y="2199"/>
                </a:lnTo>
                <a:lnTo>
                  <a:pt x="1939" y="2199"/>
                </a:lnTo>
                <a:lnTo>
                  <a:pt x="1936" y="2198"/>
                </a:lnTo>
                <a:lnTo>
                  <a:pt x="1934" y="2199"/>
                </a:lnTo>
                <a:lnTo>
                  <a:pt x="1932" y="2199"/>
                </a:lnTo>
                <a:lnTo>
                  <a:pt x="1932" y="2201"/>
                </a:lnTo>
                <a:lnTo>
                  <a:pt x="1929" y="2203"/>
                </a:lnTo>
                <a:lnTo>
                  <a:pt x="1929" y="2204"/>
                </a:lnTo>
                <a:lnTo>
                  <a:pt x="1929" y="2203"/>
                </a:lnTo>
                <a:lnTo>
                  <a:pt x="1932" y="2204"/>
                </a:lnTo>
                <a:lnTo>
                  <a:pt x="1936" y="2201"/>
                </a:lnTo>
                <a:close/>
                <a:moveTo>
                  <a:pt x="1944" y="2199"/>
                </a:moveTo>
                <a:lnTo>
                  <a:pt x="1946" y="2199"/>
                </a:lnTo>
                <a:lnTo>
                  <a:pt x="1944" y="2199"/>
                </a:lnTo>
                <a:close/>
                <a:moveTo>
                  <a:pt x="1943" y="2199"/>
                </a:moveTo>
                <a:lnTo>
                  <a:pt x="1944" y="2199"/>
                </a:lnTo>
                <a:lnTo>
                  <a:pt x="1943" y="2199"/>
                </a:lnTo>
                <a:close/>
                <a:moveTo>
                  <a:pt x="1931" y="2199"/>
                </a:moveTo>
                <a:lnTo>
                  <a:pt x="1932" y="2199"/>
                </a:lnTo>
                <a:lnTo>
                  <a:pt x="1932" y="2201"/>
                </a:lnTo>
                <a:lnTo>
                  <a:pt x="1931" y="2201"/>
                </a:lnTo>
                <a:lnTo>
                  <a:pt x="1931" y="2199"/>
                </a:lnTo>
                <a:close/>
                <a:moveTo>
                  <a:pt x="1936" y="2203"/>
                </a:moveTo>
                <a:lnTo>
                  <a:pt x="1938" y="2203"/>
                </a:lnTo>
                <a:lnTo>
                  <a:pt x="1936" y="2203"/>
                </a:lnTo>
                <a:close/>
                <a:moveTo>
                  <a:pt x="1934" y="2203"/>
                </a:moveTo>
                <a:lnTo>
                  <a:pt x="1936" y="2203"/>
                </a:lnTo>
                <a:lnTo>
                  <a:pt x="1934" y="2203"/>
                </a:lnTo>
                <a:close/>
                <a:moveTo>
                  <a:pt x="1938" y="2204"/>
                </a:moveTo>
                <a:lnTo>
                  <a:pt x="1939" y="2203"/>
                </a:lnTo>
                <a:lnTo>
                  <a:pt x="1934" y="2204"/>
                </a:lnTo>
                <a:lnTo>
                  <a:pt x="1938" y="2204"/>
                </a:lnTo>
                <a:close/>
                <a:moveTo>
                  <a:pt x="1934" y="2203"/>
                </a:moveTo>
                <a:lnTo>
                  <a:pt x="1934" y="2204"/>
                </a:lnTo>
                <a:lnTo>
                  <a:pt x="1934" y="2203"/>
                </a:lnTo>
                <a:close/>
                <a:moveTo>
                  <a:pt x="1939" y="2203"/>
                </a:moveTo>
                <a:lnTo>
                  <a:pt x="1941" y="2203"/>
                </a:lnTo>
                <a:lnTo>
                  <a:pt x="1941" y="2204"/>
                </a:lnTo>
                <a:lnTo>
                  <a:pt x="1939" y="2204"/>
                </a:lnTo>
                <a:lnTo>
                  <a:pt x="1939" y="2203"/>
                </a:lnTo>
                <a:close/>
                <a:moveTo>
                  <a:pt x="1929" y="2204"/>
                </a:moveTo>
                <a:lnTo>
                  <a:pt x="1931" y="2204"/>
                </a:lnTo>
                <a:lnTo>
                  <a:pt x="1929" y="2204"/>
                </a:lnTo>
                <a:close/>
                <a:moveTo>
                  <a:pt x="1914" y="2206"/>
                </a:moveTo>
                <a:lnTo>
                  <a:pt x="1917" y="2204"/>
                </a:lnTo>
                <a:lnTo>
                  <a:pt x="1915" y="2204"/>
                </a:lnTo>
                <a:lnTo>
                  <a:pt x="1914" y="2204"/>
                </a:lnTo>
                <a:lnTo>
                  <a:pt x="1912" y="2206"/>
                </a:lnTo>
                <a:lnTo>
                  <a:pt x="1914" y="2206"/>
                </a:lnTo>
                <a:close/>
                <a:moveTo>
                  <a:pt x="1931" y="2206"/>
                </a:moveTo>
                <a:lnTo>
                  <a:pt x="1932" y="2204"/>
                </a:lnTo>
                <a:lnTo>
                  <a:pt x="1927" y="2206"/>
                </a:lnTo>
                <a:lnTo>
                  <a:pt x="1931" y="2206"/>
                </a:lnTo>
                <a:close/>
                <a:moveTo>
                  <a:pt x="1932" y="2204"/>
                </a:moveTo>
                <a:lnTo>
                  <a:pt x="1934" y="2204"/>
                </a:lnTo>
                <a:lnTo>
                  <a:pt x="1934" y="2206"/>
                </a:lnTo>
                <a:lnTo>
                  <a:pt x="1932" y="2206"/>
                </a:lnTo>
                <a:lnTo>
                  <a:pt x="1932" y="2204"/>
                </a:lnTo>
                <a:close/>
                <a:moveTo>
                  <a:pt x="1921" y="2206"/>
                </a:moveTo>
                <a:lnTo>
                  <a:pt x="1922" y="2206"/>
                </a:lnTo>
                <a:lnTo>
                  <a:pt x="1921" y="2206"/>
                </a:lnTo>
                <a:close/>
                <a:moveTo>
                  <a:pt x="1932" y="2206"/>
                </a:moveTo>
                <a:lnTo>
                  <a:pt x="1934" y="2206"/>
                </a:lnTo>
                <a:lnTo>
                  <a:pt x="1932" y="2206"/>
                </a:lnTo>
                <a:close/>
                <a:moveTo>
                  <a:pt x="1934" y="2206"/>
                </a:moveTo>
                <a:lnTo>
                  <a:pt x="1934" y="2208"/>
                </a:lnTo>
                <a:lnTo>
                  <a:pt x="1934" y="2206"/>
                </a:lnTo>
                <a:close/>
                <a:moveTo>
                  <a:pt x="1931" y="2206"/>
                </a:moveTo>
                <a:lnTo>
                  <a:pt x="1932" y="2206"/>
                </a:lnTo>
                <a:lnTo>
                  <a:pt x="1931" y="2206"/>
                </a:lnTo>
                <a:close/>
                <a:moveTo>
                  <a:pt x="1922" y="2208"/>
                </a:moveTo>
                <a:lnTo>
                  <a:pt x="1926" y="2208"/>
                </a:lnTo>
                <a:lnTo>
                  <a:pt x="1926" y="2210"/>
                </a:lnTo>
                <a:lnTo>
                  <a:pt x="1922" y="2210"/>
                </a:lnTo>
                <a:lnTo>
                  <a:pt x="1922" y="2208"/>
                </a:lnTo>
                <a:close/>
                <a:moveTo>
                  <a:pt x="1929" y="2208"/>
                </a:moveTo>
                <a:lnTo>
                  <a:pt x="1931" y="2208"/>
                </a:lnTo>
                <a:lnTo>
                  <a:pt x="1929" y="2208"/>
                </a:lnTo>
                <a:close/>
                <a:moveTo>
                  <a:pt x="1907" y="2213"/>
                </a:moveTo>
                <a:lnTo>
                  <a:pt x="1907" y="2211"/>
                </a:lnTo>
                <a:lnTo>
                  <a:pt x="1905" y="2211"/>
                </a:lnTo>
                <a:lnTo>
                  <a:pt x="1907" y="2211"/>
                </a:lnTo>
                <a:lnTo>
                  <a:pt x="1909" y="2210"/>
                </a:lnTo>
                <a:lnTo>
                  <a:pt x="1905" y="2211"/>
                </a:lnTo>
                <a:lnTo>
                  <a:pt x="1905" y="2213"/>
                </a:lnTo>
                <a:lnTo>
                  <a:pt x="1907" y="2213"/>
                </a:lnTo>
                <a:close/>
                <a:moveTo>
                  <a:pt x="1905" y="2213"/>
                </a:moveTo>
                <a:lnTo>
                  <a:pt x="1907" y="2213"/>
                </a:lnTo>
                <a:lnTo>
                  <a:pt x="1905" y="2213"/>
                </a:lnTo>
                <a:close/>
                <a:moveTo>
                  <a:pt x="3275" y="2227"/>
                </a:moveTo>
                <a:lnTo>
                  <a:pt x="3275" y="2228"/>
                </a:lnTo>
                <a:lnTo>
                  <a:pt x="3275" y="2227"/>
                </a:lnTo>
                <a:close/>
                <a:moveTo>
                  <a:pt x="3272" y="2240"/>
                </a:moveTo>
                <a:lnTo>
                  <a:pt x="3272" y="2242"/>
                </a:lnTo>
                <a:lnTo>
                  <a:pt x="3272" y="2240"/>
                </a:lnTo>
                <a:close/>
                <a:moveTo>
                  <a:pt x="3298" y="2307"/>
                </a:moveTo>
                <a:lnTo>
                  <a:pt x="3296" y="2305"/>
                </a:lnTo>
                <a:lnTo>
                  <a:pt x="3298" y="2301"/>
                </a:lnTo>
                <a:lnTo>
                  <a:pt x="3299" y="2301"/>
                </a:lnTo>
                <a:lnTo>
                  <a:pt x="3301" y="2303"/>
                </a:lnTo>
                <a:lnTo>
                  <a:pt x="3303" y="2300"/>
                </a:lnTo>
                <a:lnTo>
                  <a:pt x="3303" y="2298"/>
                </a:lnTo>
                <a:lnTo>
                  <a:pt x="3304" y="2295"/>
                </a:lnTo>
                <a:lnTo>
                  <a:pt x="3304" y="2288"/>
                </a:lnTo>
                <a:lnTo>
                  <a:pt x="3303" y="2291"/>
                </a:lnTo>
                <a:lnTo>
                  <a:pt x="3301" y="2295"/>
                </a:lnTo>
                <a:lnTo>
                  <a:pt x="3299" y="2295"/>
                </a:lnTo>
                <a:lnTo>
                  <a:pt x="3298" y="2296"/>
                </a:lnTo>
                <a:lnTo>
                  <a:pt x="3299" y="2296"/>
                </a:lnTo>
                <a:lnTo>
                  <a:pt x="3294" y="2298"/>
                </a:lnTo>
                <a:lnTo>
                  <a:pt x="3296" y="2300"/>
                </a:lnTo>
                <a:lnTo>
                  <a:pt x="3292" y="2301"/>
                </a:lnTo>
                <a:lnTo>
                  <a:pt x="3289" y="2305"/>
                </a:lnTo>
                <a:lnTo>
                  <a:pt x="3291" y="2307"/>
                </a:lnTo>
                <a:lnTo>
                  <a:pt x="3294" y="2307"/>
                </a:lnTo>
                <a:lnTo>
                  <a:pt x="3298" y="2307"/>
                </a:lnTo>
                <a:close/>
                <a:moveTo>
                  <a:pt x="3299" y="2303"/>
                </a:moveTo>
                <a:lnTo>
                  <a:pt x="3301" y="2303"/>
                </a:lnTo>
                <a:lnTo>
                  <a:pt x="3301" y="2305"/>
                </a:lnTo>
                <a:lnTo>
                  <a:pt x="3299" y="2305"/>
                </a:lnTo>
                <a:lnTo>
                  <a:pt x="3299" y="2303"/>
                </a:lnTo>
                <a:close/>
                <a:moveTo>
                  <a:pt x="3284" y="2303"/>
                </a:moveTo>
                <a:lnTo>
                  <a:pt x="3286" y="2303"/>
                </a:lnTo>
                <a:lnTo>
                  <a:pt x="3286" y="2305"/>
                </a:lnTo>
                <a:lnTo>
                  <a:pt x="3284" y="2305"/>
                </a:lnTo>
                <a:lnTo>
                  <a:pt x="3284" y="2303"/>
                </a:lnTo>
                <a:close/>
                <a:moveTo>
                  <a:pt x="3299" y="2308"/>
                </a:moveTo>
                <a:lnTo>
                  <a:pt x="3299" y="2307"/>
                </a:lnTo>
                <a:lnTo>
                  <a:pt x="3299" y="2305"/>
                </a:lnTo>
                <a:lnTo>
                  <a:pt x="3299" y="2307"/>
                </a:lnTo>
                <a:lnTo>
                  <a:pt x="3298" y="2307"/>
                </a:lnTo>
                <a:lnTo>
                  <a:pt x="3298" y="2308"/>
                </a:lnTo>
                <a:lnTo>
                  <a:pt x="3299" y="2308"/>
                </a:lnTo>
                <a:close/>
                <a:moveTo>
                  <a:pt x="3298" y="2305"/>
                </a:moveTo>
                <a:lnTo>
                  <a:pt x="3298" y="2307"/>
                </a:lnTo>
                <a:lnTo>
                  <a:pt x="3298" y="2305"/>
                </a:lnTo>
                <a:close/>
                <a:moveTo>
                  <a:pt x="3294" y="2310"/>
                </a:moveTo>
                <a:lnTo>
                  <a:pt x="3296" y="2310"/>
                </a:lnTo>
                <a:lnTo>
                  <a:pt x="3294" y="2310"/>
                </a:lnTo>
                <a:close/>
                <a:moveTo>
                  <a:pt x="3284" y="2332"/>
                </a:moveTo>
                <a:lnTo>
                  <a:pt x="3286" y="2332"/>
                </a:lnTo>
                <a:lnTo>
                  <a:pt x="3286" y="2334"/>
                </a:lnTo>
                <a:lnTo>
                  <a:pt x="3284" y="2334"/>
                </a:lnTo>
                <a:lnTo>
                  <a:pt x="3284" y="2332"/>
                </a:lnTo>
                <a:close/>
                <a:moveTo>
                  <a:pt x="3281" y="2351"/>
                </a:moveTo>
                <a:lnTo>
                  <a:pt x="3281" y="2352"/>
                </a:lnTo>
                <a:lnTo>
                  <a:pt x="3281" y="2351"/>
                </a:lnTo>
                <a:close/>
                <a:moveTo>
                  <a:pt x="3279" y="2351"/>
                </a:moveTo>
                <a:lnTo>
                  <a:pt x="3281" y="2351"/>
                </a:lnTo>
                <a:lnTo>
                  <a:pt x="3281" y="2352"/>
                </a:lnTo>
                <a:lnTo>
                  <a:pt x="3279" y="2352"/>
                </a:lnTo>
                <a:lnTo>
                  <a:pt x="3279" y="2351"/>
                </a:lnTo>
                <a:close/>
                <a:moveTo>
                  <a:pt x="3279" y="2352"/>
                </a:moveTo>
                <a:lnTo>
                  <a:pt x="3282" y="2352"/>
                </a:lnTo>
                <a:lnTo>
                  <a:pt x="3279" y="2352"/>
                </a:lnTo>
                <a:close/>
                <a:moveTo>
                  <a:pt x="1948" y="2352"/>
                </a:moveTo>
                <a:lnTo>
                  <a:pt x="1948" y="2354"/>
                </a:lnTo>
                <a:lnTo>
                  <a:pt x="1948" y="2352"/>
                </a:lnTo>
                <a:close/>
                <a:moveTo>
                  <a:pt x="3284" y="2354"/>
                </a:moveTo>
                <a:lnTo>
                  <a:pt x="3286" y="2354"/>
                </a:lnTo>
                <a:lnTo>
                  <a:pt x="3286" y="2358"/>
                </a:lnTo>
                <a:lnTo>
                  <a:pt x="3284" y="2358"/>
                </a:lnTo>
                <a:lnTo>
                  <a:pt x="3284" y="2354"/>
                </a:lnTo>
                <a:close/>
                <a:moveTo>
                  <a:pt x="3326" y="2421"/>
                </a:moveTo>
                <a:lnTo>
                  <a:pt x="3326" y="2422"/>
                </a:lnTo>
                <a:lnTo>
                  <a:pt x="3326" y="2421"/>
                </a:lnTo>
                <a:close/>
                <a:moveTo>
                  <a:pt x="3328" y="2422"/>
                </a:moveTo>
                <a:lnTo>
                  <a:pt x="3328" y="2424"/>
                </a:lnTo>
                <a:lnTo>
                  <a:pt x="3328" y="2422"/>
                </a:lnTo>
                <a:close/>
                <a:moveTo>
                  <a:pt x="3342" y="2448"/>
                </a:moveTo>
                <a:lnTo>
                  <a:pt x="3343" y="2448"/>
                </a:lnTo>
                <a:lnTo>
                  <a:pt x="3343" y="2449"/>
                </a:lnTo>
                <a:lnTo>
                  <a:pt x="3342" y="2449"/>
                </a:lnTo>
                <a:lnTo>
                  <a:pt x="3342" y="2448"/>
                </a:lnTo>
                <a:close/>
                <a:moveTo>
                  <a:pt x="3342" y="2449"/>
                </a:moveTo>
                <a:lnTo>
                  <a:pt x="3343" y="2449"/>
                </a:lnTo>
                <a:lnTo>
                  <a:pt x="3343" y="2453"/>
                </a:lnTo>
                <a:lnTo>
                  <a:pt x="3342" y="2453"/>
                </a:lnTo>
                <a:lnTo>
                  <a:pt x="3342" y="2449"/>
                </a:lnTo>
                <a:close/>
                <a:moveTo>
                  <a:pt x="3340" y="2455"/>
                </a:moveTo>
                <a:lnTo>
                  <a:pt x="3342" y="2455"/>
                </a:lnTo>
                <a:lnTo>
                  <a:pt x="3340" y="2455"/>
                </a:lnTo>
                <a:close/>
                <a:moveTo>
                  <a:pt x="3345" y="2460"/>
                </a:moveTo>
                <a:lnTo>
                  <a:pt x="3342" y="2461"/>
                </a:lnTo>
                <a:lnTo>
                  <a:pt x="3340" y="2460"/>
                </a:lnTo>
                <a:lnTo>
                  <a:pt x="3342" y="2461"/>
                </a:lnTo>
                <a:lnTo>
                  <a:pt x="3345" y="2460"/>
                </a:lnTo>
                <a:close/>
                <a:moveTo>
                  <a:pt x="3342" y="2466"/>
                </a:moveTo>
                <a:lnTo>
                  <a:pt x="3345" y="2466"/>
                </a:lnTo>
                <a:lnTo>
                  <a:pt x="3345" y="2468"/>
                </a:lnTo>
                <a:lnTo>
                  <a:pt x="3342" y="2468"/>
                </a:lnTo>
                <a:lnTo>
                  <a:pt x="3342" y="2466"/>
                </a:lnTo>
                <a:close/>
                <a:moveTo>
                  <a:pt x="3338" y="2468"/>
                </a:moveTo>
                <a:lnTo>
                  <a:pt x="3342" y="2468"/>
                </a:lnTo>
                <a:lnTo>
                  <a:pt x="3338" y="2468"/>
                </a:lnTo>
                <a:close/>
                <a:moveTo>
                  <a:pt x="3486" y="2506"/>
                </a:moveTo>
                <a:lnTo>
                  <a:pt x="3488" y="2504"/>
                </a:lnTo>
                <a:lnTo>
                  <a:pt x="3485" y="2500"/>
                </a:lnTo>
                <a:lnTo>
                  <a:pt x="3485" y="2497"/>
                </a:lnTo>
                <a:lnTo>
                  <a:pt x="3481" y="2492"/>
                </a:lnTo>
                <a:lnTo>
                  <a:pt x="3483" y="2480"/>
                </a:lnTo>
                <a:lnTo>
                  <a:pt x="3481" y="2478"/>
                </a:lnTo>
                <a:lnTo>
                  <a:pt x="3479" y="2477"/>
                </a:lnTo>
                <a:lnTo>
                  <a:pt x="3476" y="2478"/>
                </a:lnTo>
                <a:lnTo>
                  <a:pt x="3474" y="2480"/>
                </a:lnTo>
                <a:lnTo>
                  <a:pt x="3474" y="2494"/>
                </a:lnTo>
                <a:lnTo>
                  <a:pt x="3473" y="2495"/>
                </a:lnTo>
                <a:lnTo>
                  <a:pt x="3473" y="2497"/>
                </a:lnTo>
                <a:lnTo>
                  <a:pt x="3476" y="2502"/>
                </a:lnTo>
                <a:lnTo>
                  <a:pt x="3481" y="2502"/>
                </a:lnTo>
                <a:lnTo>
                  <a:pt x="3483" y="2506"/>
                </a:lnTo>
                <a:lnTo>
                  <a:pt x="3485" y="2507"/>
                </a:lnTo>
                <a:lnTo>
                  <a:pt x="3486" y="2506"/>
                </a:lnTo>
                <a:close/>
                <a:moveTo>
                  <a:pt x="3578" y="3198"/>
                </a:moveTo>
                <a:lnTo>
                  <a:pt x="3590" y="3198"/>
                </a:lnTo>
                <a:lnTo>
                  <a:pt x="3595" y="3195"/>
                </a:lnTo>
                <a:lnTo>
                  <a:pt x="3598" y="3191"/>
                </a:lnTo>
                <a:lnTo>
                  <a:pt x="3607" y="3186"/>
                </a:lnTo>
                <a:lnTo>
                  <a:pt x="3624" y="3179"/>
                </a:lnTo>
                <a:lnTo>
                  <a:pt x="3631" y="3178"/>
                </a:lnTo>
                <a:lnTo>
                  <a:pt x="3638" y="3178"/>
                </a:lnTo>
                <a:lnTo>
                  <a:pt x="3644" y="3178"/>
                </a:lnTo>
                <a:lnTo>
                  <a:pt x="3646" y="3179"/>
                </a:lnTo>
                <a:lnTo>
                  <a:pt x="3649" y="3178"/>
                </a:lnTo>
                <a:lnTo>
                  <a:pt x="3651" y="3176"/>
                </a:lnTo>
                <a:lnTo>
                  <a:pt x="3649" y="3176"/>
                </a:lnTo>
                <a:lnTo>
                  <a:pt x="3649" y="3174"/>
                </a:lnTo>
                <a:lnTo>
                  <a:pt x="3649" y="3176"/>
                </a:lnTo>
                <a:lnTo>
                  <a:pt x="3653" y="3176"/>
                </a:lnTo>
                <a:lnTo>
                  <a:pt x="3655" y="3174"/>
                </a:lnTo>
                <a:lnTo>
                  <a:pt x="3656" y="3172"/>
                </a:lnTo>
                <a:lnTo>
                  <a:pt x="3660" y="3172"/>
                </a:lnTo>
                <a:lnTo>
                  <a:pt x="3658" y="3171"/>
                </a:lnTo>
                <a:lnTo>
                  <a:pt x="3660" y="3171"/>
                </a:lnTo>
                <a:lnTo>
                  <a:pt x="3658" y="3171"/>
                </a:lnTo>
                <a:lnTo>
                  <a:pt x="3660" y="3171"/>
                </a:lnTo>
                <a:lnTo>
                  <a:pt x="3660" y="3169"/>
                </a:lnTo>
                <a:lnTo>
                  <a:pt x="3660" y="3171"/>
                </a:lnTo>
                <a:lnTo>
                  <a:pt x="3661" y="3171"/>
                </a:lnTo>
                <a:lnTo>
                  <a:pt x="3661" y="3172"/>
                </a:lnTo>
                <a:lnTo>
                  <a:pt x="3663" y="3171"/>
                </a:lnTo>
                <a:lnTo>
                  <a:pt x="3663" y="3169"/>
                </a:lnTo>
                <a:lnTo>
                  <a:pt x="3665" y="3167"/>
                </a:lnTo>
                <a:lnTo>
                  <a:pt x="3668" y="3167"/>
                </a:lnTo>
                <a:lnTo>
                  <a:pt x="3666" y="3167"/>
                </a:lnTo>
                <a:lnTo>
                  <a:pt x="3666" y="3166"/>
                </a:lnTo>
                <a:lnTo>
                  <a:pt x="3668" y="3167"/>
                </a:lnTo>
                <a:lnTo>
                  <a:pt x="3670" y="3166"/>
                </a:lnTo>
                <a:lnTo>
                  <a:pt x="3668" y="3164"/>
                </a:lnTo>
                <a:lnTo>
                  <a:pt x="3670" y="3164"/>
                </a:lnTo>
                <a:lnTo>
                  <a:pt x="3670" y="3166"/>
                </a:lnTo>
                <a:lnTo>
                  <a:pt x="3672" y="3164"/>
                </a:lnTo>
                <a:lnTo>
                  <a:pt x="3670" y="3162"/>
                </a:lnTo>
                <a:lnTo>
                  <a:pt x="3670" y="3161"/>
                </a:lnTo>
                <a:lnTo>
                  <a:pt x="3672" y="3159"/>
                </a:lnTo>
                <a:lnTo>
                  <a:pt x="3673" y="3157"/>
                </a:lnTo>
                <a:lnTo>
                  <a:pt x="3672" y="3157"/>
                </a:lnTo>
                <a:lnTo>
                  <a:pt x="3673" y="3157"/>
                </a:lnTo>
                <a:lnTo>
                  <a:pt x="3673" y="3154"/>
                </a:lnTo>
                <a:lnTo>
                  <a:pt x="3678" y="3145"/>
                </a:lnTo>
                <a:lnTo>
                  <a:pt x="3682" y="3133"/>
                </a:lnTo>
                <a:lnTo>
                  <a:pt x="3687" y="3121"/>
                </a:lnTo>
                <a:lnTo>
                  <a:pt x="3687" y="3120"/>
                </a:lnTo>
                <a:lnTo>
                  <a:pt x="3689" y="3120"/>
                </a:lnTo>
                <a:lnTo>
                  <a:pt x="3694" y="3109"/>
                </a:lnTo>
                <a:lnTo>
                  <a:pt x="3694" y="3108"/>
                </a:lnTo>
                <a:lnTo>
                  <a:pt x="3692" y="3108"/>
                </a:lnTo>
                <a:lnTo>
                  <a:pt x="3694" y="3108"/>
                </a:lnTo>
                <a:lnTo>
                  <a:pt x="3695" y="3098"/>
                </a:lnTo>
                <a:lnTo>
                  <a:pt x="3694" y="3098"/>
                </a:lnTo>
                <a:lnTo>
                  <a:pt x="3692" y="3098"/>
                </a:lnTo>
                <a:lnTo>
                  <a:pt x="3694" y="3098"/>
                </a:lnTo>
                <a:lnTo>
                  <a:pt x="3694" y="3096"/>
                </a:lnTo>
                <a:lnTo>
                  <a:pt x="3694" y="3094"/>
                </a:lnTo>
                <a:lnTo>
                  <a:pt x="3694" y="3096"/>
                </a:lnTo>
                <a:lnTo>
                  <a:pt x="3695" y="3096"/>
                </a:lnTo>
                <a:lnTo>
                  <a:pt x="3695" y="3098"/>
                </a:lnTo>
                <a:lnTo>
                  <a:pt x="3697" y="3091"/>
                </a:lnTo>
                <a:lnTo>
                  <a:pt x="3699" y="3084"/>
                </a:lnTo>
                <a:lnTo>
                  <a:pt x="3699" y="3086"/>
                </a:lnTo>
                <a:lnTo>
                  <a:pt x="3699" y="3084"/>
                </a:lnTo>
                <a:lnTo>
                  <a:pt x="3700" y="3081"/>
                </a:lnTo>
                <a:lnTo>
                  <a:pt x="3702" y="3074"/>
                </a:lnTo>
                <a:lnTo>
                  <a:pt x="3706" y="3065"/>
                </a:lnTo>
                <a:lnTo>
                  <a:pt x="3707" y="3055"/>
                </a:lnTo>
                <a:lnTo>
                  <a:pt x="3709" y="3041"/>
                </a:lnTo>
                <a:lnTo>
                  <a:pt x="3712" y="3033"/>
                </a:lnTo>
                <a:lnTo>
                  <a:pt x="3719" y="3016"/>
                </a:lnTo>
                <a:lnTo>
                  <a:pt x="3724" y="3002"/>
                </a:lnTo>
                <a:lnTo>
                  <a:pt x="3726" y="2999"/>
                </a:lnTo>
                <a:lnTo>
                  <a:pt x="3728" y="2995"/>
                </a:lnTo>
                <a:lnTo>
                  <a:pt x="3726" y="2995"/>
                </a:lnTo>
                <a:lnTo>
                  <a:pt x="3726" y="2994"/>
                </a:lnTo>
                <a:lnTo>
                  <a:pt x="3728" y="2994"/>
                </a:lnTo>
                <a:lnTo>
                  <a:pt x="3726" y="2999"/>
                </a:lnTo>
                <a:lnTo>
                  <a:pt x="3729" y="2989"/>
                </a:lnTo>
                <a:lnTo>
                  <a:pt x="3731" y="2982"/>
                </a:lnTo>
                <a:lnTo>
                  <a:pt x="3733" y="2980"/>
                </a:lnTo>
                <a:lnTo>
                  <a:pt x="3731" y="2978"/>
                </a:lnTo>
                <a:lnTo>
                  <a:pt x="3733" y="2978"/>
                </a:lnTo>
                <a:lnTo>
                  <a:pt x="3736" y="2965"/>
                </a:lnTo>
                <a:lnTo>
                  <a:pt x="3738" y="2965"/>
                </a:lnTo>
                <a:lnTo>
                  <a:pt x="3736" y="2967"/>
                </a:lnTo>
                <a:lnTo>
                  <a:pt x="3736" y="2965"/>
                </a:lnTo>
                <a:lnTo>
                  <a:pt x="3736" y="2963"/>
                </a:lnTo>
                <a:lnTo>
                  <a:pt x="3738" y="2965"/>
                </a:lnTo>
                <a:lnTo>
                  <a:pt x="3738" y="2958"/>
                </a:lnTo>
                <a:lnTo>
                  <a:pt x="3740" y="2956"/>
                </a:lnTo>
                <a:lnTo>
                  <a:pt x="3740" y="2950"/>
                </a:lnTo>
                <a:lnTo>
                  <a:pt x="3745" y="2936"/>
                </a:lnTo>
                <a:lnTo>
                  <a:pt x="3746" y="2931"/>
                </a:lnTo>
                <a:lnTo>
                  <a:pt x="3757" y="2910"/>
                </a:lnTo>
                <a:lnTo>
                  <a:pt x="3755" y="2912"/>
                </a:lnTo>
                <a:lnTo>
                  <a:pt x="3757" y="2910"/>
                </a:lnTo>
                <a:lnTo>
                  <a:pt x="3757" y="2907"/>
                </a:lnTo>
                <a:lnTo>
                  <a:pt x="3758" y="2897"/>
                </a:lnTo>
                <a:lnTo>
                  <a:pt x="3765" y="2882"/>
                </a:lnTo>
                <a:lnTo>
                  <a:pt x="3765" y="2875"/>
                </a:lnTo>
                <a:lnTo>
                  <a:pt x="3770" y="2863"/>
                </a:lnTo>
                <a:lnTo>
                  <a:pt x="3777" y="2846"/>
                </a:lnTo>
                <a:lnTo>
                  <a:pt x="3782" y="2834"/>
                </a:lnTo>
                <a:lnTo>
                  <a:pt x="3784" y="2824"/>
                </a:lnTo>
                <a:lnTo>
                  <a:pt x="3785" y="2822"/>
                </a:lnTo>
                <a:lnTo>
                  <a:pt x="3787" y="2822"/>
                </a:lnTo>
                <a:lnTo>
                  <a:pt x="3785" y="2817"/>
                </a:lnTo>
                <a:lnTo>
                  <a:pt x="3785" y="2815"/>
                </a:lnTo>
                <a:lnTo>
                  <a:pt x="3792" y="2798"/>
                </a:lnTo>
                <a:lnTo>
                  <a:pt x="3792" y="2796"/>
                </a:lnTo>
                <a:lnTo>
                  <a:pt x="3790" y="2796"/>
                </a:lnTo>
                <a:lnTo>
                  <a:pt x="3789" y="2793"/>
                </a:lnTo>
                <a:lnTo>
                  <a:pt x="3789" y="2790"/>
                </a:lnTo>
                <a:lnTo>
                  <a:pt x="3789" y="2788"/>
                </a:lnTo>
                <a:lnTo>
                  <a:pt x="3787" y="2786"/>
                </a:lnTo>
                <a:lnTo>
                  <a:pt x="3789" y="2785"/>
                </a:lnTo>
                <a:lnTo>
                  <a:pt x="3785" y="2781"/>
                </a:lnTo>
                <a:lnTo>
                  <a:pt x="3787" y="2779"/>
                </a:lnTo>
                <a:lnTo>
                  <a:pt x="3796" y="2759"/>
                </a:lnTo>
                <a:lnTo>
                  <a:pt x="3799" y="2757"/>
                </a:lnTo>
                <a:lnTo>
                  <a:pt x="3807" y="2756"/>
                </a:lnTo>
                <a:lnTo>
                  <a:pt x="3806" y="2754"/>
                </a:lnTo>
                <a:lnTo>
                  <a:pt x="3804" y="2754"/>
                </a:lnTo>
                <a:lnTo>
                  <a:pt x="3802" y="2751"/>
                </a:lnTo>
                <a:lnTo>
                  <a:pt x="3802" y="2749"/>
                </a:lnTo>
                <a:lnTo>
                  <a:pt x="3802" y="2747"/>
                </a:lnTo>
                <a:lnTo>
                  <a:pt x="3804" y="2747"/>
                </a:lnTo>
                <a:lnTo>
                  <a:pt x="3802" y="2749"/>
                </a:lnTo>
                <a:lnTo>
                  <a:pt x="3804" y="2747"/>
                </a:lnTo>
                <a:lnTo>
                  <a:pt x="3806" y="2744"/>
                </a:lnTo>
                <a:lnTo>
                  <a:pt x="3806" y="2742"/>
                </a:lnTo>
                <a:lnTo>
                  <a:pt x="3807" y="2740"/>
                </a:lnTo>
                <a:lnTo>
                  <a:pt x="3807" y="2739"/>
                </a:lnTo>
                <a:lnTo>
                  <a:pt x="3809" y="2735"/>
                </a:lnTo>
                <a:lnTo>
                  <a:pt x="3809" y="2734"/>
                </a:lnTo>
                <a:lnTo>
                  <a:pt x="3807" y="2734"/>
                </a:lnTo>
                <a:lnTo>
                  <a:pt x="3807" y="2732"/>
                </a:lnTo>
                <a:lnTo>
                  <a:pt x="3806" y="2730"/>
                </a:lnTo>
                <a:lnTo>
                  <a:pt x="3807" y="2725"/>
                </a:lnTo>
                <a:lnTo>
                  <a:pt x="3809" y="2725"/>
                </a:lnTo>
                <a:lnTo>
                  <a:pt x="3809" y="2722"/>
                </a:lnTo>
                <a:lnTo>
                  <a:pt x="3809" y="2723"/>
                </a:lnTo>
                <a:lnTo>
                  <a:pt x="3807" y="2722"/>
                </a:lnTo>
                <a:lnTo>
                  <a:pt x="3802" y="2720"/>
                </a:lnTo>
                <a:lnTo>
                  <a:pt x="3799" y="2715"/>
                </a:lnTo>
                <a:lnTo>
                  <a:pt x="3799" y="2711"/>
                </a:lnTo>
                <a:lnTo>
                  <a:pt x="3802" y="2708"/>
                </a:lnTo>
                <a:lnTo>
                  <a:pt x="3801" y="2706"/>
                </a:lnTo>
                <a:lnTo>
                  <a:pt x="3801" y="2705"/>
                </a:lnTo>
                <a:lnTo>
                  <a:pt x="3799" y="2698"/>
                </a:lnTo>
                <a:lnTo>
                  <a:pt x="3797" y="2696"/>
                </a:lnTo>
                <a:lnTo>
                  <a:pt x="3797" y="2694"/>
                </a:lnTo>
                <a:lnTo>
                  <a:pt x="3797" y="2693"/>
                </a:lnTo>
                <a:lnTo>
                  <a:pt x="3796" y="2689"/>
                </a:lnTo>
                <a:lnTo>
                  <a:pt x="3801" y="2684"/>
                </a:lnTo>
                <a:lnTo>
                  <a:pt x="3802" y="2684"/>
                </a:lnTo>
                <a:lnTo>
                  <a:pt x="3804" y="2684"/>
                </a:lnTo>
                <a:lnTo>
                  <a:pt x="3806" y="2684"/>
                </a:lnTo>
                <a:lnTo>
                  <a:pt x="3807" y="2684"/>
                </a:lnTo>
                <a:lnTo>
                  <a:pt x="3809" y="2682"/>
                </a:lnTo>
                <a:lnTo>
                  <a:pt x="3811" y="2684"/>
                </a:lnTo>
                <a:lnTo>
                  <a:pt x="3811" y="2686"/>
                </a:lnTo>
                <a:lnTo>
                  <a:pt x="3811" y="2688"/>
                </a:lnTo>
                <a:lnTo>
                  <a:pt x="3811" y="2689"/>
                </a:lnTo>
                <a:lnTo>
                  <a:pt x="3813" y="2693"/>
                </a:lnTo>
                <a:lnTo>
                  <a:pt x="3814" y="2693"/>
                </a:lnTo>
                <a:lnTo>
                  <a:pt x="3814" y="2694"/>
                </a:lnTo>
                <a:lnTo>
                  <a:pt x="3814" y="2700"/>
                </a:lnTo>
                <a:lnTo>
                  <a:pt x="3816" y="2701"/>
                </a:lnTo>
                <a:lnTo>
                  <a:pt x="3816" y="2706"/>
                </a:lnTo>
                <a:lnTo>
                  <a:pt x="3819" y="2708"/>
                </a:lnTo>
                <a:lnTo>
                  <a:pt x="3823" y="2710"/>
                </a:lnTo>
                <a:lnTo>
                  <a:pt x="3824" y="2711"/>
                </a:lnTo>
                <a:lnTo>
                  <a:pt x="3828" y="2711"/>
                </a:lnTo>
                <a:lnTo>
                  <a:pt x="3828" y="2710"/>
                </a:lnTo>
                <a:lnTo>
                  <a:pt x="3826" y="2710"/>
                </a:lnTo>
                <a:lnTo>
                  <a:pt x="3828" y="2708"/>
                </a:lnTo>
                <a:lnTo>
                  <a:pt x="3831" y="2706"/>
                </a:lnTo>
                <a:lnTo>
                  <a:pt x="3831" y="2703"/>
                </a:lnTo>
                <a:lnTo>
                  <a:pt x="3833" y="2703"/>
                </a:lnTo>
                <a:lnTo>
                  <a:pt x="3831" y="2703"/>
                </a:lnTo>
                <a:lnTo>
                  <a:pt x="3833" y="2696"/>
                </a:lnTo>
                <a:lnTo>
                  <a:pt x="3836" y="2691"/>
                </a:lnTo>
                <a:lnTo>
                  <a:pt x="3838" y="2686"/>
                </a:lnTo>
                <a:lnTo>
                  <a:pt x="3840" y="2684"/>
                </a:lnTo>
                <a:lnTo>
                  <a:pt x="3838" y="2684"/>
                </a:lnTo>
                <a:lnTo>
                  <a:pt x="3840" y="2682"/>
                </a:lnTo>
                <a:lnTo>
                  <a:pt x="3840" y="2681"/>
                </a:lnTo>
                <a:lnTo>
                  <a:pt x="3840" y="2679"/>
                </a:lnTo>
                <a:lnTo>
                  <a:pt x="3840" y="2676"/>
                </a:lnTo>
                <a:lnTo>
                  <a:pt x="3840" y="2674"/>
                </a:lnTo>
                <a:lnTo>
                  <a:pt x="3840" y="2672"/>
                </a:lnTo>
                <a:lnTo>
                  <a:pt x="3838" y="2671"/>
                </a:lnTo>
                <a:lnTo>
                  <a:pt x="3838" y="2669"/>
                </a:lnTo>
                <a:lnTo>
                  <a:pt x="3833" y="2664"/>
                </a:lnTo>
                <a:lnTo>
                  <a:pt x="3831" y="2659"/>
                </a:lnTo>
                <a:lnTo>
                  <a:pt x="3828" y="2652"/>
                </a:lnTo>
                <a:lnTo>
                  <a:pt x="3828" y="2650"/>
                </a:lnTo>
                <a:lnTo>
                  <a:pt x="3826" y="2645"/>
                </a:lnTo>
                <a:lnTo>
                  <a:pt x="3824" y="2640"/>
                </a:lnTo>
                <a:lnTo>
                  <a:pt x="3824" y="2633"/>
                </a:lnTo>
                <a:lnTo>
                  <a:pt x="3826" y="2626"/>
                </a:lnTo>
                <a:lnTo>
                  <a:pt x="3824" y="2625"/>
                </a:lnTo>
                <a:lnTo>
                  <a:pt x="3823" y="2623"/>
                </a:lnTo>
                <a:lnTo>
                  <a:pt x="3824" y="2614"/>
                </a:lnTo>
                <a:lnTo>
                  <a:pt x="3823" y="2611"/>
                </a:lnTo>
                <a:lnTo>
                  <a:pt x="3823" y="2601"/>
                </a:lnTo>
                <a:lnTo>
                  <a:pt x="3819" y="2594"/>
                </a:lnTo>
                <a:lnTo>
                  <a:pt x="3819" y="2592"/>
                </a:lnTo>
                <a:lnTo>
                  <a:pt x="3819" y="2591"/>
                </a:lnTo>
                <a:lnTo>
                  <a:pt x="3819" y="2589"/>
                </a:lnTo>
                <a:lnTo>
                  <a:pt x="3818" y="2587"/>
                </a:lnTo>
                <a:lnTo>
                  <a:pt x="3816" y="2582"/>
                </a:lnTo>
                <a:lnTo>
                  <a:pt x="3818" y="2580"/>
                </a:lnTo>
                <a:lnTo>
                  <a:pt x="3816" y="2579"/>
                </a:lnTo>
                <a:lnTo>
                  <a:pt x="3814" y="2579"/>
                </a:lnTo>
                <a:lnTo>
                  <a:pt x="3814" y="2577"/>
                </a:lnTo>
                <a:lnTo>
                  <a:pt x="3814" y="2575"/>
                </a:lnTo>
                <a:lnTo>
                  <a:pt x="3813" y="2574"/>
                </a:lnTo>
                <a:lnTo>
                  <a:pt x="3813" y="2570"/>
                </a:lnTo>
                <a:lnTo>
                  <a:pt x="3811" y="2570"/>
                </a:lnTo>
                <a:lnTo>
                  <a:pt x="3813" y="2563"/>
                </a:lnTo>
                <a:lnTo>
                  <a:pt x="3811" y="2560"/>
                </a:lnTo>
                <a:lnTo>
                  <a:pt x="3809" y="2557"/>
                </a:lnTo>
                <a:lnTo>
                  <a:pt x="3809" y="2558"/>
                </a:lnTo>
                <a:lnTo>
                  <a:pt x="3807" y="2557"/>
                </a:lnTo>
                <a:lnTo>
                  <a:pt x="3809" y="2555"/>
                </a:lnTo>
                <a:lnTo>
                  <a:pt x="3807" y="2555"/>
                </a:lnTo>
                <a:lnTo>
                  <a:pt x="3806" y="2555"/>
                </a:lnTo>
                <a:lnTo>
                  <a:pt x="3804" y="2552"/>
                </a:lnTo>
                <a:lnTo>
                  <a:pt x="3806" y="2552"/>
                </a:lnTo>
                <a:lnTo>
                  <a:pt x="3804" y="2550"/>
                </a:lnTo>
                <a:lnTo>
                  <a:pt x="3802" y="2548"/>
                </a:lnTo>
                <a:lnTo>
                  <a:pt x="3802" y="2550"/>
                </a:lnTo>
                <a:lnTo>
                  <a:pt x="3801" y="2548"/>
                </a:lnTo>
                <a:lnTo>
                  <a:pt x="3802" y="2548"/>
                </a:lnTo>
                <a:lnTo>
                  <a:pt x="3801" y="2546"/>
                </a:lnTo>
                <a:lnTo>
                  <a:pt x="3801" y="2550"/>
                </a:lnTo>
                <a:lnTo>
                  <a:pt x="3799" y="2550"/>
                </a:lnTo>
                <a:lnTo>
                  <a:pt x="3799" y="2552"/>
                </a:lnTo>
                <a:lnTo>
                  <a:pt x="3799" y="2550"/>
                </a:lnTo>
                <a:lnTo>
                  <a:pt x="3797" y="2552"/>
                </a:lnTo>
                <a:lnTo>
                  <a:pt x="3799" y="2550"/>
                </a:lnTo>
                <a:lnTo>
                  <a:pt x="3797" y="2545"/>
                </a:lnTo>
                <a:lnTo>
                  <a:pt x="3796" y="2543"/>
                </a:lnTo>
                <a:lnTo>
                  <a:pt x="3794" y="2543"/>
                </a:lnTo>
                <a:lnTo>
                  <a:pt x="3792" y="2543"/>
                </a:lnTo>
                <a:lnTo>
                  <a:pt x="3794" y="2540"/>
                </a:lnTo>
                <a:lnTo>
                  <a:pt x="3792" y="2535"/>
                </a:lnTo>
                <a:lnTo>
                  <a:pt x="3794" y="2535"/>
                </a:lnTo>
                <a:lnTo>
                  <a:pt x="3794" y="2538"/>
                </a:lnTo>
                <a:lnTo>
                  <a:pt x="3796" y="2538"/>
                </a:lnTo>
                <a:lnTo>
                  <a:pt x="3796" y="2536"/>
                </a:lnTo>
                <a:lnTo>
                  <a:pt x="3794" y="2531"/>
                </a:lnTo>
                <a:lnTo>
                  <a:pt x="3792" y="2533"/>
                </a:lnTo>
                <a:lnTo>
                  <a:pt x="3794" y="2533"/>
                </a:lnTo>
                <a:lnTo>
                  <a:pt x="3792" y="2533"/>
                </a:lnTo>
                <a:lnTo>
                  <a:pt x="3790" y="2533"/>
                </a:lnTo>
                <a:lnTo>
                  <a:pt x="3790" y="2531"/>
                </a:lnTo>
                <a:lnTo>
                  <a:pt x="3789" y="2531"/>
                </a:lnTo>
                <a:lnTo>
                  <a:pt x="3790" y="2529"/>
                </a:lnTo>
                <a:lnTo>
                  <a:pt x="3792" y="2531"/>
                </a:lnTo>
                <a:lnTo>
                  <a:pt x="3792" y="2529"/>
                </a:lnTo>
                <a:lnTo>
                  <a:pt x="3790" y="2528"/>
                </a:lnTo>
                <a:lnTo>
                  <a:pt x="3789" y="2528"/>
                </a:lnTo>
                <a:lnTo>
                  <a:pt x="3787" y="2529"/>
                </a:lnTo>
                <a:lnTo>
                  <a:pt x="3787" y="2528"/>
                </a:lnTo>
                <a:lnTo>
                  <a:pt x="3787" y="2526"/>
                </a:lnTo>
                <a:lnTo>
                  <a:pt x="3785" y="2528"/>
                </a:lnTo>
                <a:lnTo>
                  <a:pt x="3785" y="2524"/>
                </a:lnTo>
                <a:lnTo>
                  <a:pt x="3785" y="2523"/>
                </a:lnTo>
                <a:lnTo>
                  <a:pt x="3784" y="2521"/>
                </a:lnTo>
                <a:lnTo>
                  <a:pt x="3782" y="2523"/>
                </a:lnTo>
                <a:lnTo>
                  <a:pt x="3784" y="2524"/>
                </a:lnTo>
                <a:lnTo>
                  <a:pt x="3782" y="2526"/>
                </a:lnTo>
                <a:lnTo>
                  <a:pt x="3780" y="2526"/>
                </a:lnTo>
                <a:lnTo>
                  <a:pt x="3780" y="2524"/>
                </a:lnTo>
                <a:lnTo>
                  <a:pt x="3780" y="2523"/>
                </a:lnTo>
                <a:lnTo>
                  <a:pt x="3779" y="2524"/>
                </a:lnTo>
                <a:lnTo>
                  <a:pt x="3777" y="2524"/>
                </a:lnTo>
                <a:lnTo>
                  <a:pt x="3777" y="2526"/>
                </a:lnTo>
                <a:lnTo>
                  <a:pt x="3775" y="2524"/>
                </a:lnTo>
                <a:lnTo>
                  <a:pt x="3775" y="2523"/>
                </a:lnTo>
                <a:lnTo>
                  <a:pt x="3779" y="2524"/>
                </a:lnTo>
                <a:lnTo>
                  <a:pt x="3779" y="2523"/>
                </a:lnTo>
                <a:lnTo>
                  <a:pt x="3777" y="2521"/>
                </a:lnTo>
                <a:lnTo>
                  <a:pt x="3777" y="2519"/>
                </a:lnTo>
                <a:lnTo>
                  <a:pt x="3777" y="2517"/>
                </a:lnTo>
                <a:lnTo>
                  <a:pt x="3779" y="2519"/>
                </a:lnTo>
                <a:lnTo>
                  <a:pt x="3780" y="2519"/>
                </a:lnTo>
                <a:lnTo>
                  <a:pt x="3780" y="2521"/>
                </a:lnTo>
                <a:lnTo>
                  <a:pt x="3780" y="2519"/>
                </a:lnTo>
                <a:lnTo>
                  <a:pt x="3780" y="2517"/>
                </a:lnTo>
                <a:lnTo>
                  <a:pt x="3784" y="2521"/>
                </a:lnTo>
                <a:lnTo>
                  <a:pt x="3782" y="2516"/>
                </a:lnTo>
                <a:lnTo>
                  <a:pt x="3784" y="2516"/>
                </a:lnTo>
                <a:lnTo>
                  <a:pt x="3782" y="2512"/>
                </a:lnTo>
                <a:lnTo>
                  <a:pt x="3780" y="2512"/>
                </a:lnTo>
                <a:lnTo>
                  <a:pt x="3782" y="2512"/>
                </a:lnTo>
                <a:lnTo>
                  <a:pt x="3780" y="2511"/>
                </a:lnTo>
                <a:lnTo>
                  <a:pt x="3780" y="2509"/>
                </a:lnTo>
                <a:lnTo>
                  <a:pt x="3779" y="2507"/>
                </a:lnTo>
                <a:lnTo>
                  <a:pt x="3777" y="2507"/>
                </a:lnTo>
                <a:lnTo>
                  <a:pt x="3775" y="2509"/>
                </a:lnTo>
                <a:lnTo>
                  <a:pt x="3777" y="2509"/>
                </a:lnTo>
                <a:lnTo>
                  <a:pt x="3777" y="2511"/>
                </a:lnTo>
                <a:lnTo>
                  <a:pt x="3775" y="2509"/>
                </a:lnTo>
                <a:lnTo>
                  <a:pt x="3775" y="2511"/>
                </a:lnTo>
                <a:lnTo>
                  <a:pt x="3773" y="2511"/>
                </a:lnTo>
                <a:lnTo>
                  <a:pt x="3773" y="2512"/>
                </a:lnTo>
                <a:lnTo>
                  <a:pt x="3775" y="2512"/>
                </a:lnTo>
                <a:lnTo>
                  <a:pt x="3775" y="2514"/>
                </a:lnTo>
                <a:lnTo>
                  <a:pt x="3777" y="2516"/>
                </a:lnTo>
                <a:lnTo>
                  <a:pt x="3775" y="2514"/>
                </a:lnTo>
                <a:lnTo>
                  <a:pt x="3775" y="2516"/>
                </a:lnTo>
                <a:lnTo>
                  <a:pt x="3772" y="2512"/>
                </a:lnTo>
                <a:lnTo>
                  <a:pt x="3772" y="2514"/>
                </a:lnTo>
                <a:lnTo>
                  <a:pt x="3770" y="2514"/>
                </a:lnTo>
                <a:lnTo>
                  <a:pt x="3772" y="2516"/>
                </a:lnTo>
                <a:lnTo>
                  <a:pt x="3772" y="2514"/>
                </a:lnTo>
                <a:lnTo>
                  <a:pt x="3773" y="2516"/>
                </a:lnTo>
                <a:lnTo>
                  <a:pt x="3773" y="2517"/>
                </a:lnTo>
                <a:lnTo>
                  <a:pt x="3773" y="2516"/>
                </a:lnTo>
                <a:lnTo>
                  <a:pt x="3775" y="2517"/>
                </a:lnTo>
                <a:lnTo>
                  <a:pt x="3773" y="2519"/>
                </a:lnTo>
                <a:lnTo>
                  <a:pt x="3773" y="2517"/>
                </a:lnTo>
                <a:lnTo>
                  <a:pt x="3773" y="2519"/>
                </a:lnTo>
                <a:lnTo>
                  <a:pt x="3772" y="2521"/>
                </a:lnTo>
                <a:lnTo>
                  <a:pt x="3773" y="2521"/>
                </a:lnTo>
                <a:lnTo>
                  <a:pt x="3772" y="2523"/>
                </a:lnTo>
                <a:lnTo>
                  <a:pt x="3770" y="2523"/>
                </a:lnTo>
                <a:lnTo>
                  <a:pt x="3770" y="2526"/>
                </a:lnTo>
                <a:lnTo>
                  <a:pt x="3768" y="2526"/>
                </a:lnTo>
                <a:lnTo>
                  <a:pt x="3768" y="2524"/>
                </a:lnTo>
                <a:lnTo>
                  <a:pt x="3767" y="2526"/>
                </a:lnTo>
                <a:lnTo>
                  <a:pt x="3765" y="2526"/>
                </a:lnTo>
                <a:lnTo>
                  <a:pt x="3763" y="2528"/>
                </a:lnTo>
                <a:lnTo>
                  <a:pt x="3763" y="2529"/>
                </a:lnTo>
                <a:lnTo>
                  <a:pt x="3762" y="2535"/>
                </a:lnTo>
                <a:lnTo>
                  <a:pt x="3760" y="2536"/>
                </a:lnTo>
                <a:lnTo>
                  <a:pt x="3758" y="2531"/>
                </a:lnTo>
                <a:lnTo>
                  <a:pt x="3755" y="2531"/>
                </a:lnTo>
                <a:lnTo>
                  <a:pt x="3753" y="2529"/>
                </a:lnTo>
                <a:lnTo>
                  <a:pt x="3751" y="2533"/>
                </a:lnTo>
                <a:lnTo>
                  <a:pt x="3753" y="2533"/>
                </a:lnTo>
                <a:lnTo>
                  <a:pt x="3753" y="2535"/>
                </a:lnTo>
                <a:lnTo>
                  <a:pt x="3757" y="2536"/>
                </a:lnTo>
                <a:lnTo>
                  <a:pt x="3757" y="2538"/>
                </a:lnTo>
                <a:lnTo>
                  <a:pt x="3758" y="2538"/>
                </a:lnTo>
                <a:lnTo>
                  <a:pt x="3760" y="2538"/>
                </a:lnTo>
                <a:lnTo>
                  <a:pt x="3758" y="2541"/>
                </a:lnTo>
                <a:lnTo>
                  <a:pt x="3758" y="2543"/>
                </a:lnTo>
                <a:lnTo>
                  <a:pt x="3760" y="2543"/>
                </a:lnTo>
                <a:lnTo>
                  <a:pt x="3760" y="2548"/>
                </a:lnTo>
                <a:lnTo>
                  <a:pt x="3762" y="2550"/>
                </a:lnTo>
                <a:lnTo>
                  <a:pt x="3762" y="2552"/>
                </a:lnTo>
                <a:lnTo>
                  <a:pt x="3763" y="2555"/>
                </a:lnTo>
                <a:lnTo>
                  <a:pt x="3762" y="2555"/>
                </a:lnTo>
                <a:lnTo>
                  <a:pt x="3762" y="2557"/>
                </a:lnTo>
                <a:lnTo>
                  <a:pt x="3760" y="2558"/>
                </a:lnTo>
                <a:lnTo>
                  <a:pt x="3762" y="2558"/>
                </a:lnTo>
                <a:lnTo>
                  <a:pt x="3760" y="2560"/>
                </a:lnTo>
                <a:lnTo>
                  <a:pt x="3758" y="2560"/>
                </a:lnTo>
                <a:lnTo>
                  <a:pt x="3758" y="2562"/>
                </a:lnTo>
                <a:lnTo>
                  <a:pt x="3757" y="2563"/>
                </a:lnTo>
                <a:lnTo>
                  <a:pt x="3757" y="2565"/>
                </a:lnTo>
                <a:lnTo>
                  <a:pt x="3757" y="2567"/>
                </a:lnTo>
                <a:lnTo>
                  <a:pt x="3755" y="2567"/>
                </a:lnTo>
                <a:lnTo>
                  <a:pt x="3757" y="2569"/>
                </a:lnTo>
                <a:lnTo>
                  <a:pt x="3755" y="2569"/>
                </a:lnTo>
                <a:lnTo>
                  <a:pt x="3757" y="2569"/>
                </a:lnTo>
                <a:lnTo>
                  <a:pt x="3755" y="2569"/>
                </a:lnTo>
                <a:lnTo>
                  <a:pt x="3757" y="2570"/>
                </a:lnTo>
                <a:lnTo>
                  <a:pt x="3755" y="2570"/>
                </a:lnTo>
                <a:lnTo>
                  <a:pt x="3757" y="2572"/>
                </a:lnTo>
                <a:lnTo>
                  <a:pt x="3755" y="2574"/>
                </a:lnTo>
                <a:lnTo>
                  <a:pt x="3757" y="2574"/>
                </a:lnTo>
                <a:lnTo>
                  <a:pt x="3755" y="2574"/>
                </a:lnTo>
                <a:lnTo>
                  <a:pt x="3753" y="2577"/>
                </a:lnTo>
                <a:lnTo>
                  <a:pt x="3755" y="2577"/>
                </a:lnTo>
                <a:lnTo>
                  <a:pt x="3755" y="2579"/>
                </a:lnTo>
                <a:lnTo>
                  <a:pt x="3751" y="2582"/>
                </a:lnTo>
                <a:lnTo>
                  <a:pt x="3748" y="2584"/>
                </a:lnTo>
                <a:lnTo>
                  <a:pt x="3748" y="2582"/>
                </a:lnTo>
                <a:lnTo>
                  <a:pt x="3748" y="2584"/>
                </a:lnTo>
                <a:lnTo>
                  <a:pt x="3745" y="2584"/>
                </a:lnTo>
                <a:lnTo>
                  <a:pt x="3738" y="2579"/>
                </a:lnTo>
                <a:lnTo>
                  <a:pt x="3740" y="2582"/>
                </a:lnTo>
                <a:lnTo>
                  <a:pt x="3741" y="2587"/>
                </a:lnTo>
                <a:lnTo>
                  <a:pt x="3743" y="2587"/>
                </a:lnTo>
                <a:lnTo>
                  <a:pt x="3741" y="2587"/>
                </a:lnTo>
                <a:lnTo>
                  <a:pt x="3741" y="2589"/>
                </a:lnTo>
                <a:lnTo>
                  <a:pt x="3740" y="2587"/>
                </a:lnTo>
                <a:lnTo>
                  <a:pt x="3740" y="2589"/>
                </a:lnTo>
                <a:lnTo>
                  <a:pt x="3740" y="2587"/>
                </a:lnTo>
                <a:lnTo>
                  <a:pt x="3738" y="2587"/>
                </a:lnTo>
                <a:lnTo>
                  <a:pt x="3736" y="2589"/>
                </a:lnTo>
                <a:lnTo>
                  <a:pt x="3738" y="2589"/>
                </a:lnTo>
                <a:lnTo>
                  <a:pt x="3736" y="2589"/>
                </a:lnTo>
                <a:lnTo>
                  <a:pt x="3736" y="2587"/>
                </a:lnTo>
                <a:lnTo>
                  <a:pt x="3734" y="2587"/>
                </a:lnTo>
                <a:lnTo>
                  <a:pt x="3734" y="2589"/>
                </a:lnTo>
                <a:lnTo>
                  <a:pt x="3734" y="2591"/>
                </a:lnTo>
                <a:lnTo>
                  <a:pt x="3734" y="2589"/>
                </a:lnTo>
                <a:lnTo>
                  <a:pt x="3734" y="2591"/>
                </a:lnTo>
                <a:lnTo>
                  <a:pt x="3733" y="2591"/>
                </a:lnTo>
                <a:lnTo>
                  <a:pt x="3733" y="2589"/>
                </a:lnTo>
                <a:lnTo>
                  <a:pt x="3733" y="2587"/>
                </a:lnTo>
                <a:lnTo>
                  <a:pt x="3731" y="2589"/>
                </a:lnTo>
                <a:lnTo>
                  <a:pt x="3733" y="2591"/>
                </a:lnTo>
                <a:lnTo>
                  <a:pt x="3731" y="2591"/>
                </a:lnTo>
                <a:lnTo>
                  <a:pt x="3733" y="2592"/>
                </a:lnTo>
                <a:lnTo>
                  <a:pt x="3731" y="2592"/>
                </a:lnTo>
                <a:lnTo>
                  <a:pt x="3731" y="2594"/>
                </a:lnTo>
                <a:lnTo>
                  <a:pt x="3731" y="2596"/>
                </a:lnTo>
                <a:lnTo>
                  <a:pt x="3731" y="2597"/>
                </a:lnTo>
                <a:lnTo>
                  <a:pt x="3731" y="2601"/>
                </a:lnTo>
                <a:lnTo>
                  <a:pt x="3731" y="2599"/>
                </a:lnTo>
                <a:lnTo>
                  <a:pt x="3728" y="2603"/>
                </a:lnTo>
                <a:lnTo>
                  <a:pt x="3726" y="2601"/>
                </a:lnTo>
                <a:lnTo>
                  <a:pt x="3723" y="2599"/>
                </a:lnTo>
                <a:lnTo>
                  <a:pt x="3723" y="2597"/>
                </a:lnTo>
                <a:lnTo>
                  <a:pt x="3724" y="2597"/>
                </a:lnTo>
                <a:lnTo>
                  <a:pt x="3723" y="2597"/>
                </a:lnTo>
                <a:lnTo>
                  <a:pt x="3723" y="2594"/>
                </a:lnTo>
                <a:lnTo>
                  <a:pt x="3723" y="2592"/>
                </a:lnTo>
                <a:lnTo>
                  <a:pt x="3721" y="2592"/>
                </a:lnTo>
                <a:lnTo>
                  <a:pt x="3723" y="2591"/>
                </a:lnTo>
                <a:lnTo>
                  <a:pt x="3721" y="2591"/>
                </a:lnTo>
                <a:lnTo>
                  <a:pt x="3719" y="2591"/>
                </a:lnTo>
                <a:lnTo>
                  <a:pt x="3717" y="2591"/>
                </a:lnTo>
                <a:lnTo>
                  <a:pt x="3719" y="2589"/>
                </a:lnTo>
                <a:lnTo>
                  <a:pt x="3717" y="2587"/>
                </a:lnTo>
                <a:lnTo>
                  <a:pt x="3716" y="2587"/>
                </a:lnTo>
                <a:lnTo>
                  <a:pt x="3717" y="2589"/>
                </a:lnTo>
                <a:lnTo>
                  <a:pt x="3716" y="2589"/>
                </a:lnTo>
                <a:lnTo>
                  <a:pt x="3716" y="2591"/>
                </a:lnTo>
                <a:lnTo>
                  <a:pt x="3714" y="2589"/>
                </a:lnTo>
                <a:lnTo>
                  <a:pt x="3714" y="2591"/>
                </a:lnTo>
                <a:lnTo>
                  <a:pt x="3714" y="2589"/>
                </a:lnTo>
                <a:lnTo>
                  <a:pt x="3712" y="2589"/>
                </a:lnTo>
                <a:lnTo>
                  <a:pt x="3714" y="2587"/>
                </a:lnTo>
                <a:lnTo>
                  <a:pt x="3712" y="2586"/>
                </a:lnTo>
                <a:lnTo>
                  <a:pt x="3711" y="2589"/>
                </a:lnTo>
                <a:lnTo>
                  <a:pt x="3712" y="2589"/>
                </a:lnTo>
                <a:lnTo>
                  <a:pt x="3712" y="2591"/>
                </a:lnTo>
                <a:lnTo>
                  <a:pt x="3709" y="2591"/>
                </a:lnTo>
                <a:lnTo>
                  <a:pt x="3709" y="2596"/>
                </a:lnTo>
                <a:lnTo>
                  <a:pt x="3711" y="2596"/>
                </a:lnTo>
                <a:lnTo>
                  <a:pt x="3709" y="2597"/>
                </a:lnTo>
                <a:lnTo>
                  <a:pt x="3707" y="2599"/>
                </a:lnTo>
                <a:lnTo>
                  <a:pt x="3709" y="2601"/>
                </a:lnTo>
                <a:lnTo>
                  <a:pt x="3709" y="2603"/>
                </a:lnTo>
                <a:lnTo>
                  <a:pt x="3709" y="2606"/>
                </a:lnTo>
                <a:lnTo>
                  <a:pt x="3712" y="2608"/>
                </a:lnTo>
                <a:lnTo>
                  <a:pt x="3714" y="2608"/>
                </a:lnTo>
                <a:lnTo>
                  <a:pt x="3714" y="2609"/>
                </a:lnTo>
                <a:lnTo>
                  <a:pt x="3716" y="2608"/>
                </a:lnTo>
                <a:lnTo>
                  <a:pt x="3714" y="2609"/>
                </a:lnTo>
                <a:lnTo>
                  <a:pt x="3716" y="2609"/>
                </a:lnTo>
                <a:lnTo>
                  <a:pt x="3714" y="2611"/>
                </a:lnTo>
                <a:lnTo>
                  <a:pt x="3714" y="2609"/>
                </a:lnTo>
                <a:lnTo>
                  <a:pt x="3714" y="2611"/>
                </a:lnTo>
                <a:lnTo>
                  <a:pt x="3711" y="2611"/>
                </a:lnTo>
                <a:lnTo>
                  <a:pt x="3714" y="2614"/>
                </a:lnTo>
                <a:lnTo>
                  <a:pt x="3716" y="2614"/>
                </a:lnTo>
                <a:lnTo>
                  <a:pt x="3716" y="2613"/>
                </a:lnTo>
                <a:lnTo>
                  <a:pt x="3717" y="2614"/>
                </a:lnTo>
                <a:lnTo>
                  <a:pt x="3716" y="2614"/>
                </a:lnTo>
                <a:lnTo>
                  <a:pt x="3717" y="2616"/>
                </a:lnTo>
                <a:lnTo>
                  <a:pt x="3716" y="2618"/>
                </a:lnTo>
                <a:lnTo>
                  <a:pt x="3717" y="2620"/>
                </a:lnTo>
                <a:lnTo>
                  <a:pt x="3716" y="2620"/>
                </a:lnTo>
                <a:lnTo>
                  <a:pt x="3714" y="2621"/>
                </a:lnTo>
                <a:lnTo>
                  <a:pt x="3716" y="2623"/>
                </a:lnTo>
                <a:lnTo>
                  <a:pt x="3716" y="2625"/>
                </a:lnTo>
                <a:lnTo>
                  <a:pt x="3714" y="2625"/>
                </a:lnTo>
                <a:lnTo>
                  <a:pt x="3714" y="2628"/>
                </a:lnTo>
                <a:lnTo>
                  <a:pt x="3714" y="2630"/>
                </a:lnTo>
                <a:lnTo>
                  <a:pt x="3714" y="2628"/>
                </a:lnTo>
                <a:lnTo>
                  <a:pt x="3712" y="2626"/>
                </a:lnTo>
                <a:lnTo>
                  <a:pt x="3714" y="2621"/>
                </a:lnTo>
                <a:lnTo>
                  <a:pt x="3714" y="2620"/>
                </a:lnTo>
                <a:lnTo>
                  <a:pt x="3714" y="2618"/>
                </a:lnTo>
                <a:lnTo>
                  <a:pt x="3712" y="2618"/>
                </a:lnTo>
                <a:lnTo>
                  <a:pt x="3712" y="2616"/>
                </a:lnTo>
                <a:lnTo>
                  <a:pt x="3711" y="2616"/>
                </a:lnTo>
                <a:lnTo>
                  <a:pt x="3709" y="2616"/>
                </a:lnTo>
                <a:lnTo>
                  <a:pt x="3711" y="2616"/>
                </a:lnTo>
                <a:lnTo>
                  <a:pt x="3709" y="2616"/>
                </a:lnTo>
                <a:lnTo>
                  <a:pt x="3712" y="2620"/>
                </a:lnTo>
                <a:lnTo>
                  <a:pt x="3711" y="2623"/>
                </a:lnTo>
                <a:lnTo>
                  <a:pt x="3711" y="2625"/>
                </a:lnTo>
                <a:lnTo>
                  <a:pt x="3709" y="2623"/>
                </a:lnTo>
                <a:lnTo>
                  <a:pt x="3709" y="2625"/>
                </a:lnTo>
                <a:lnTo>
                  <a:pt x="3707" y="2625"/>
                </a:lnTo>
                <a:lnTo>
                  <a:pt x="3704" y="2621"/>
                </a:lnTo>
                <a:lnTo>
                  <a:pt x="3704" y="2623"/>
                </a:lnTo>
                <a:lnTo>
                  <a:pt x="3702" y="2623"/>
                </a:lnTo>
                <a:lnTo>
                  <a:pt x="3704" y="2626"/>
                </a:lnTo>
                <a:lnTo>
                  <a:pt x="3700" y="2628"/>
                </a:lnTo>
                <a:lnTo>
                  <a:pt x="3699" y="2633"/>
                </a:lnTo>
                <a:lnTo>
                  <a:pt x="3700" y="2637"/>
                </a:lnTo>
                <a:lnTo>
                  <a:pt x="3700" y="2638"/>
                </a:lnTo>
                <a:lnTo>
                  <a:pt x="3700" y="2640"/>
                </a:lnTo>
                <a:lnTo>
                  <a:pt x="3700" y="2642"/>
                </a:lnTo>
                <a:lnTo>
                  <a:pt x="3704" y="2642"/>
                </a:lnTo>
                <a:lnTo>
                  <a:pt x="3704" y="2640"/>
                </a:lnTo>
                <a:lnTo>
                  <a:pt x="3706" y="2642"/>
                </a:lnTo>
                <a:lnTo>
                  <a:pt x="3707" y="2642"/>
                </a:lnTo>
                <a:lnTo>
                  <a:pt x="3709" y="2640"/>
                </a:lnTo>
                <a:lnTo>
                  <a:pt x="3714" y="2642"/>
                </a:lnTo>
                <a:lnTo>
                  <a:pt x="3714" y="2643"/>
                </a:lnTo>
                <a:lnTo>
                  <a:pt x="3714" y="2645"/>
                </a:lnTo>
                <a:lnTo>
                  <a:pt x="3714" y="2643"/>
                </a:lnTo>
                <a:lnTo>
                  <a:pt x="3712" y="2642"/>
                </a:lnTo>
                <a:lnTo>
                  <a:pt x="3711" y="2643"/>
                </a:lnTo>
                <a:lnTo>
                  <a:pt x="3711" y="2645"/>
                </a:lnTo>
                <a:lnTo>
                  <a:pt x="3711" y="2647"/>
                </a:lnTo>
                <a:lnTo>
                  <a:pt x="3711" y="2645"/>
                </a:lnTo>
                <a:lnTo>
                  <a:pt x="3706" y="2643"/>
                </a:lnTo>
                <a:lnTo>
                  <a:pt x="3704" y="2640"/>
                </a:lnTo>
                <a:lnTo>
                  <a:pt x="3704" y="2642"/>
                </a:lnTo>
                <a:lnTo>
                  <a:pt x="3702" y="2642"/>
                </a:lnTo>
                <a:lnTo>
                  <a:pt x="3700" y="2645"/>
                </a:lnTo>
                <a:lnTo>
                  <a:pt x="3699" y="2647"/>
                </a:lnTo>
                <a:lnTo>
                  <a:pt x="3699" y="2648"/>
                </a:lnTo>
                <a:lnTo>
                  <a:pt x="3695" y="2652"/>
                </a:lnTo>
                <a:lnTo>
                  <a:pt x="3697" y="2652"/>
                </a:lnTo>
                <a:lnTo>
                  <a:pt x="3695" y="2654"/>
                </a:lnTo>
                <a:lnTo>
                  <a:pt x="3694" y="2659"/>
                </a:lnTo>
                <a:lnTo>
                  <a:pt x="3692" y="2659"/>
                </a:lnTo>
                <a:lnTo>
                  <a:pt x="3692" y="2660"/>
                </a:lnTo>
                <a:lnTo>
                  <a:pt x="3692" y="2662"/>
                </a:lnTo>
                <a:lnTo>
                  <a:pt x="3692" y="2660"/>
                </a:lnTo>
                <a:lnTo>
                  <a:pt x="3690" y="2662"/>
                </a:lnTo>
                <a:lnTo>
                  <a:pt x="3689" y="2664"/>
                </a:lnTo>
                <a:lnTo>
                  <a:pt x="3689" y="2665"/>
                </a:lnTo>
                <a:lnTo>
                  <a:pt x="3685" y="2667"/>
                </a:lnTo>
                <a:lnTo>
                  <a:pt x="3683" y="2667"/>
                </a:lnTo>
                <a:lnTo>
                  <a:pt x="3685" y="2664"/>
                </a:lnTo>
                <a:lnTo>
                  <a:pt x="3683" y="2660"/>
                </a:lnTo>
                <a:lnTo>
                  <a:pt x="3690" y="2652"/>
                </a:lnTo>
                <a:lnTo>
                  <a:pt x="3689" y="2652"/>
                </a:lnTo>
                <a:lnTo>
                  <a:pt x="3689" y="2648"/>
                </a:lnTo>
                <a:lnTo>
                  <a:pt x="3689" y="2647"/>
                </a:lnTo>
                <a:lnTo>
                  <a:pt x="3687" y="2645"/>
                </a:lnTo>
                <a:lnTo>
                  <a:pt x="3685" y="2647"/>
                </a:lnTo>
                <a:lnTo>
                  <a:pt x="3678" y="2655"/>
                </a:lnTo>
                <a:lnTo>
                  <a:pt x="3682" y="2657"/>
                </a:lnTo>
                <a:lnTo>
                  <a:pt x="3682" y="2655"/>
                </a:lnTo>
                <a:lnTo>
                  <a:pt x="3682" y="2654"/>
                </a:lnTo>
                <a:lnTo>
                  <a:pt x="3683" y="2655"/>
                </a:lnTo>
                <a:lnTo>
                  <a:pt x="3682" y="2657"/>
                </a:lnTo>
                <a:lnTo>
                  <a:pt x="3680" y="2659"/>
                </a:lnTo>
                <a:lnTo>
                  <a:pt x="3680" y="2657"/>
                </a:lnTo>
                <a:lnTo>
                  <a:pt x="3678" y="2659"/>
                </a:lnTo>
                <a:lnTo>
                  <a:pt x="3677" y="2660"/>
                </a:lnTo>
                <a:lnTo>
                  <a:pt x="3677" y="2662"/>
                </a:lnTo>
                <a:lnTo>
                  <a:pt x="3675" y="2660"/>
                </a:lnTo>
                <a:lnTo>
                  <a:pt x="3675" y="2662"/>
                </a:lnTo>
                <a:lnTo>
                  <a:pt x="3673" y="2665"/>
                </a:lnTo>
                <a:lnTo>
                  <a:pt x="3672" y="2667"/>
                </a:lnTo>
                <a:lnTo>
                  <a:pt x="3670" y="2667"/>
                </a:lnTo>
                <a:lnTo>
                  <a:pt x="3666" y="2671"/>
                </a:lnTo>
                <a:lnTo>
                  <a:pt x="3666" y="2674"/>
                </a:lnTo>
                <a:lnTo>
                  <a:pt x="3668" y="2676"/>
                </a:lnTo>
                <a:lnTo>
                  <a:pt x="3668" y="2677"/>
                </a:lnTo>
                <a:lnTo>
                  <a:pt x="3670" y="2677"/>
                </a:lnTo>
                <a:lnTo>
                  <a:pt x="3672" y="2676"/>
                </a:lnTo>
                <a:lnTo>
                  <a:pt x="3672" y="2681"/>
                </a:lnTo>
                <a:lnTo>
                  <a:pt x="3673" y="2682"/>
                </a:lnTo>
                <a:lnTo>
                  <a:pt x="3675" y="2682"/>
                </a:lnTo>
                <a:lnTo>
                  <a:pt x="3675" y="2684"/>
                </a:lnTo>
                <a:lnTo>
                  <a:pt x="3673" y="2684"/>
                </a:lnTo>
                <a:lnTo>
                  <a:pt x="3673" y="2686"/>
                </a:lnTo>
                <a:lnTo>
                  <a:pt x="3672" y="2684"/>
                </a:lnTo>
                <a:lnTo>
                  <a:pt x="3672" y="2686"/>
                </a:lnTo>
                <a:lnTo>
                  <a:pt x="3670" y="2684"/>
                </a:lnTo>
                <a:lnTo>
                  <a:pt x="3668" y="2684"/>
                </a:lnTo>
                <a:lnTo>
                  <a:pt x="3670" y="2688"/>
                </a:lnTo>
                <a:lnTo>
                  <a:pt x="3668" y="2686"/>
                </a:lnTo>
                <a:lnTo>
                  <a:pt x="3668" y="2689"/>
                </a:lnTo>
                <a:lnTo>
                  <a:pt x="3668" y="2688"/>
                </a:lnTo>
                <a:lnTo>
                  <a:pt x="3666" y="2686"/>
                </a:lnTo>
                <a:lnTo>
                  <a:pt x="3666" y="2689"/>
                </a:lnTo>
                <a:lnTo>
                  <a:pt x="3666" y="2691"/>
                </a:lnTo>
                <a:lnTo>
                  <a:pt x="3663" y="2686"/>
                </a:lnTo>
                <a:lnTo>
                  <a:pt x="3661" y="2691"/>
                </a:lnTo>
                <a:lnTo>
                  <a:pt x="3660" y="2693"/>
                </a:lnTo>
                <a:lnTo>
                  <a:pt x="3660" y="2691"/>
                </a:lnTo>
                <a:lnTo>
                  <a:pt x="3658" y="2693"/>
                </a:lnTo>
                <a:lnTo>
                  <a:pt x="3661" y="2689"/>
                </a:lnTo>
                <a:lnTo>
                  <a:pt x="3663" y="2684"/>
                </a:lnTo>
                <a:lnTo>
                  <a:pt x="3668" y="2679"/>
                </a:lnTo>
                <a:lnTo>
                  <a:pt x="3661" y="2676"/>
                </a:lnTo>
                <a:lnTo>
                  <a:pt x="3661" y="2672"/>
                </a:lnTo>
                <a:lnTo>
                  <a:pt x="3658" y="2674"/>
                </a:lnTo>
                <a:lnTo>
                  <a:pt x="3646" y="2682"/>
                </a:lnTo>
                <a:lnTo>
                  <a:pt x="3648" y="2682"/>
                </a:lnTo>
                <a:lnTo>
                  <a:pt x="3648" y="2684"/>
                </a:lnTo>
                <a:lnTo>
                  <a:pt x="3646" y="2684"/>
                </a:lnTo>
                <a:lnTo>
                  <a:pt x="3648" y="2682"/>
                </a:lnTo>
                <a:lnTo>
                  <a:pt x="3644" y="2682"/>
                </a:lnTo>
                <a:lnTo>
                  <a:pt x="3638" y="2688"/>
                </a:lnTo>
                <a:lnTo>
                  <a:pt x="3638" y="2689"/>
                </a:lnTo>
                <a:lnTo>
                  <a:pt x="3638" y="2688"/>
                </a:lnTo>
                <a:lnTo>
                  <a:pt x="3634" y="2691"/>
                </a:lnTo>
                <a:lnTo>
                  <a:pt x="3632" y="2693"/>
                </a:lnTo>
                <a:lnTo>
                  <a:pt x="3629" y="2698"/>
                </a:lnTo>
                <a:lnTo>
                  <a:pt x="3631" y="2698"/>
                </a:lnTo>
                <a:lnTo>
                  <a:pt x="3632" y="2698"/>
                </a:lnTo>
                <a:lnTo>
                  <a:pt x="3632" y="2700"/>
                </a:lnTo>
                <a:lnTo>
                  <a:pt x="3629" y="2703"/>
                </a:lnTo>
                <a:lnTo>
                  <a:pt x="3629" y="2705"/>
                </a:lnTo>
                <a:lnTo>
                  <a:pt x="3632" y="2705"/>
                </a:lnTo>
                <a:lnTo>
                  <a:pt x="3638" y="2710"/>
                </a:lnTo>
                <a:lnTo>
                  <a:pt x="3639" y="2711"/>
                </a:lnTo>
                <a:lnTo>
                  <a:pt x="3644" y="2713"/>
                </a:lnTo>
                <a:lnTo>
                  <a:pt x="3646" y="2715"/>
                </a:lnTo>
                <a:lnTo>
                  <a:pt x="3644" y="2717"/>
                </a:lnTo>
                <a:lnTo>
                  <a:pt x="3644" y="2718"/>
                </a:lnTo>
                <a:lnTo>
                  <a:pt x="3643" y="2715"/>
                </a:lnTo>
                <a:lnTo>
                  <a:pt x="3641" y="2715"/>
                </a:lnTo>
                <a:lnTo>
                  <a:pt x="3634" y="2715"/>
                </a:lnTo>
                <a:lnTo>
                  <a:pt x="3631" y="2713"/>
                </a:lnTo>
                <a:lnTo>
                  <a:pt x="3626" y="2705"/>
                </a:lnTo>
                <a:lnTo>
                  <a:pt x="3624" y="2703"/>
                </a:lnTo>
                <a:lnTo>
                  <a:pt x="3626" y="2700"/>
                </a:lnTo>
                <a:lnTo>
                  <a:pt x="3626" y="2698"/>
                </a:lnTo>
                <a:lnTo>
                  <a:pt x="3622" y="2698"/>
                </a:lnTo>
                <a:lnTo>
                  <a:pt x="3617" y="2698"/>
                </a:lnTo>
                <a:lnTo>
                  <a:pt x="3614" y="2703"/>
                </a:lnTo>
                <a:lnTo>
                  <a:pt x="3615" y="2703"/>
                </a:lnTo>
                <a:lnTo>
                  <a:pt x="3619" y="2701"/>
                </a:lnTo>
                <a:lnTo>
                  <a:pt x="3617" y="2703"/>
                </a:lnTo>
                <a:lnTo>
                  <a:pt x="3615" y="2705"/>
                </a:lnTo>
                <a:lnTo>
                  <a:pt x="3617" y="2705"/>
                </a:lnTo>
                <a:lnTo>
                  <a:pt x="3615" y="2706"/>
                </a:lnTo>
                <a:lnTo>
                  <a:pt x="3614" y="2705"/>
                </a:lnTo>
                <a:lnTo>
                  <a:pt x="3612" y="2705"/>
                </a:lnTo>
                <a:lnTo>
                  <a:pt x="3610" y="2703"/>
                </a:lnTo>
                <a:lnTo>
                  <a:pt x="3612" y="2701"/>
                </a:lnTo>
                <a:lnTo>
                  <a:pt x="3609" y="2701"/>
                </a:lnTo>
                <a:lnTo>
                  <a:pt x="3605" y="2701"/>
                </a:lnTo>
                <a:lnTo>
                  <a:pt x="3605" y="2703"/>
                </a:lnTo>
                <a:lnTo>
                  <a:pt x="3605" y="2701"/>
                </a:lnTo>
                <a:lnTo>
                  <a:pt x="3604" y="2705"/>
                </a:lnTo>
                <a:lnTo>
                  <a:pt x="3602" y="2705"/>
                </a:lnTo>
                <a:lnTo>
                  <a:pt x="3602" y="2703"/>
                </a:lnTo>
                <a:lnTo>
                  <a:pt x="3600" y="2703"/>
                </a:lnTo>
                <a:lnTo>
                  <a:pt x="3602" y="2703"/>
                </a:lnTo>
                <a:lnTo>
                  <a:pt x="3598" y="2701"/>
                </a:lnTo>
                <a:lnTo>
                  <a:pt x="3597" y="2701"/>
                </a:lnTo>
                <a:lnTo>
                  <a:pt x="3593" y="2705"/>
                </a:lnTo>
                <a:lnTo>
                  <a:pt x="3595" y="2703"/>
                </a:lnTo>
                <a:lnTo>
                  <a:pt x="3593" y="2705"/>
                </a:lnTo>
                <a:lnTo>
                  <a:pt x="3595" y="2708"/>
                </a:lnTo>
                <a:lnTo>
                  <a:pt x="3593" y="2708"/>
                </a:lnTo>
                <a:lnTo>
                  <a:pt x="3593" y="2710"/>
                </a:lnTo>
                <a:lnTo>
                  <a:pt x="3595" y="2711"/>
                </a:lnTo>
                <a:lnTo>
                  <a:pt x="3593" y="2710"/>
                </a:lnTo>
                <a:lnTo>
                  <a:pt x="3593" y="2713"/>
                </a:lnTo>
                <a:lnTo>
                  <a:pt x="3593" y="2715"/>
                </a:lnTo>
                <a:lnTo>
                  <a:pt x="3593" y="2713"/>
                </a:lnTo>
                <a:lnTo>
                  <a:pt x="3593" y="2717"/>
                </a:lnTo>
                <a:lnTo>
                  <a:pt x="3593" y="2715"/>
                </a:lnTo>
                <a:lnTo>
                  <a:pt x="3592" y="2715"/>
                </a:lnTo>
                <a:lnTo>
                  <a:pt x="3593" y="2715"/>
                </a:lnTo>
                <a:lnTo>
                  <a:pt x="3592" y="2713"/>
                </a:lnTo>
                <a:lnTo>
                  <a:pt x="3592" y="2715"/>
                </a:lnTo>
                <a:lnTo>
                  <a:pt x="3590" y="2715"/>
                </a:lnTo>
                <a:lnTo>
                  <a:pt x="3590" y="2717"/>
                </a:lnTo>
                <a:lnTo>
                  <a:pt x="3592" y="2711"/>
                </a:lnTo>
                <a:lnTo>
                  <a:pt x="3592" y="2710"/>
                </a:lnTo>
                <a:lnTo>
                  <a:pt x="3583" y="2711"/>
                </a:lnTo>
                <a:lnTo>
                  <a:pt x="3580" y="2711"/>
                </a:lnTo>
                <a:lnTo>
                  <a:pt x="3581" y="2715"/>
                </a:lnTo>
                <a:lnTo>
                  <a:pt x="3581" y="2713"/>
                </a:lnTo>
                <a:lnTo>
                  <a:pt x="3583" y="2713"/>
                </a:lnTo>
                <a:lnTo>
                  <a:pt x="3583" y="2715"/>
                </a:lnTo>
                <a:lnTo>
                  <a:pt x="3581" y="2717"/>
                </a:lnTo>
                <a:lnTo>
                  <a:pt x="3580" y="2717"/>
                </a:lnTo>
                <a:lnTo>
                  <a:pt x="3580" y="2718"/>
                </a:lnTo>
                <a:lnTo>
                  <a:pt x="3581" y="2718"/>
                </a:lnTo>
                <a:lnTo>
                  <a:pt x="3580" y="2718"/>
                </a:lnTo>
                <a:lnTo>
                  <a:pt x="3578" y="2718"/>
                </a:lnTo>
                <a:lnTo>
                  <a:pt x="3578" y="2720"/>
                </a:lnTo>
                <a:lnTo>
                  <a:pt x="3576" y="2718"/>
                </a:lnTo>
                <a:lnTo>
                  <a:pt x="3578" y="2715"/>
                </a:lnTo>
                <a:lnTo>
                  <a:pt x="3576" y="2713"/>
                </a:lnTo>
                <a:lnTo>
                  <a:pt x="3576" y="2710"/>
                </a:lnTo>
                <a:lnTo>
                  <a:pt x="3575" y="2710"/>
                </a:lnTo>
                <a:lnTo>
                  <a:pt x="3570" y="2713"/>
                </a:lnTo>
                <a:lnTo>
                  <a:pt x="3563" y="2718"/>
                </a:lnTo>
                <a:lnTo>
                  <a:pt x="3559" y="2720"/>
                </a:lnTo>
                <a:lnTo>
                  <a:pt x="3563" y="2722"/>
                </a:lnTo>
                <a:lnTo>
                  <a:pt x="3563" y="2723"/>
                </a:lnTo>
                <a:lnTo>
                  <a:pt x="3563" y="2722"/>
                </a:lnTo>
                <a:lnTo>
                  <a:pt x="3558" y="2722"/>
                </a:lnTo>
                <a:lnTo>
                  <a:pt x="3556" y="2722"/>
                </a:lnTo>
                <a:lnTo>
                  <a:pt x="3556" y="2723"/>
                </a:lnTo>
                <a:lnTo>
                  <a:pt x="3554" y="2723"/>
                </a:lnTo>
                <a:lnTo>
                  <a:pt x="3556" y="2725"/>
                </a:lnTo>
                <a:lnTo>
                  <a:pt x="3554" y="2725"/>
                </a:lnTo>
                <a:lnTo>
                  <a:pt x="3556" y="2725"/>
                </a:lnTo>
                <a:lnTo>
                  <a:pt x="3554" y="2725"/>
                </a:lnTo>
                <a:lnTo>
                  <a:pt x="3553" y="2725"/>
                </a:lnTo>
                <a:lnTo>
                  <a:pt x="3551" y="2723"/>
                </a:lnTo>
                <a:lnTo>
                  <a:pt x="3549" y="2725"/>
                </a:lnTo>
                <a:lnTo>
                  <a:pt x="3551" y="2723"/>
                </a:lnTo>
                <a:lnTo>
                  <a:pt x="3549" y="2723"/>
                </a:lnTo>
                <a:lnTo>
                  <a:pt x="3551" y="2723"/>
                </a:lnTo>
                <a:lnTo>
                  <a:pt x="3546" y="2723"/>
                </a:lnTo>
                <a:lnTo>
                  <a:pt x="3537" y="2722"/>
                </a:lnTo>
                <a:lnTo>
                  <a:pt x="3539" y="2722"/>
                </a:lnTo>
                <a:lnTo>
                  <a:pt x="3539" y="2723"/>
                </a:lnTo>
                <a:lnTo>
                  <a:pt x="3537" y="2722"/>
                </a:lnTo>
                <a:lnTo>
                  <a:pt x="3536" y="2722"/>
                </a:lnTo>
                <a:lnTo>
                  <a:pt x="3534" y="2723"/>
                </a:lnTo>
                <a:lnTo>
                  <a:pt x="3534" y="2725"/>
                </a:lnTo>
                <a:lnTo>
                  <a:pt x="3532" y="2730"/>
                </a:lnTo>
                <a:lnTo>
                  <a:pt x="3536" y="2739"/>
                </a:lnTo>
                <a:lnTo>
                  <a:pt x="3536" y="2740"/>
                </a:lnTo>
                <a:lnTo>
                  <a:pt x="3534" y="2742"/>
                </a:lnTo>
                <a:lnTo>
                  <a:pt x="3536" y="2744"/>
                </a:lnTo>
                <a:lnTo>
                  <a:pt x="3536" y="2745"/>
                </a:lnTo>
                <a:lnTo>
                  <a:pt x="3537" y="2745"/>
                </a:lnTo>
                <a:lnTo>
                  <a:pt x="3536" y="2745"/>
                </a:lnTo>
                <a:lnTo>
                  <a:pt x="3536" y="2744"/>
                </a:lnTo>
                <a:lnTo>
                  <a:pt x="3534" y="2744"/>
                </a:lnTo>
                <a:lnTo>
                  <a:pt x="3534" y="2747"/>
                </a:lnTo>
                <a:lnTo>
                  <a:pt x="3534" y="2749"/>
                </a:lnTo>
                <a:lnTo>
                  <a:pt x="3532" y="2751"/>
                </a:lnTo>
                <a:lnTo>
                  <a:pt x="3530" y="2752"/>
                </a:lnTo>
                <a:lnTo>
                  <a:pt x="3529" y="2752"/>
                </a:lnTo>
                <a:lnTo>
                  <a:pt x="3529" y="2756"/>
                </a:lnTo>
                <a:lnTo>
                  <a:pt x="3529" y="2754"/>
                </a:lnTo>
                <a:lnTo>
                  <a:pt x="3525" y="2759"/>
                </a:lnTo>
                <a:lnTo>
                  <a:pt x="3525" y="2761"/>
                </a:lnTo>
                <a:lnTo>
                  <a:pt x="3524" y="2764"/>
                </a:lnTo>
                <a:lnTo>
                  <a:pt x="3520" y="2768"/>
                </a:lnTo>
                <a:lnTo>
                  <a:pt x="3520" y="2769"/>
                </a:lnTo>
                <a:lnTo>
                  <a:pt x="3519" y="2768"/>
                </a:lnTo>
                <a:lnTo>
                  <a:pt x="3517" y="2771"/>
                </a:lnTo>
                <a:lnTo>
                  <a:pt x="3519" y="2773"/>
                </a:lnTo>
                <a:lnTo>
                  <a:pt x="3517" y="2773"/>
                </a:lnTo>
                <a:lnTo>
                  <a:pt x="3517" y="2776"/>
                </a:lnTo>
                <a:lnTo>
                  <a:pt x="3515" y="2776"/>
                </a:lnTo>
                <a:lnTo>
                  <a:pt x="3513" y="2779"/>
                </a:lnTo>
                <a:lnTo>
                  <a:pt x="3513" y="2781"/>
                </a:lnTo>
                <a:lnTo>
                  <a:pt x="3512" y="2781"/>
                </a:lnTo>
                <a:lnTo>
                  <a:pt x="3512" y="2783"/>
                </a:lnTo>
                <a:lnTo>
                  <a:pt x="3510" y="2783"/>
                </a:lnTo>
                <a:lnTo>
                  <a:pt x="3508" y="2788"/>
                </a:lnTo>
                <a:lnTo>
                  <a:pt x="3510" y="2790"/>
                </a:lnTo>
                <a:lnTo>
                  <a:pt x="3508" y="2790"/>
                </a:lnTo>
                <a:lnTo>
                  <a:pt x="3510" y="2795"/>
                </a:lnTo>
                <a:lnTo>
                  <a:pt x="3510" y="2796"/>
                </a:lnTo>
                <a:lnTo>
                  <a:pt x="3510" y="2798"/>
                </a:lnTo>
                <a:lnTo>
                  <a:pt x="3512" y="2798"/>
                </a:lnTo>
                <a:lnTo>
                  <a:pt x="3510" y="2798"/>
                </a:lnTo>
                <a:lnTo>
                  <a:pt x="3510" y="2800"/>
                </a:lnTo>
                <a:lnTo>
                  <a:pt x="3512" y="2800"/>
                </a:lnTo>
                <a:lnTo>
                  <a:pt x="3513" y="2802"/>
                </a:lnTo>
                <a:lnTo>
                  <a:pt x="3512" y="2812"/>
                </a:lnTo>
                <a:lnTo>
                  <a:pt x="3513" y="2819"/>
                </a:lnTo>
                <a:lnTo>
                  <a:pt x="3515" y="2824"/>
                </a:lnTo>
                <a:lnTo>
                  <a:pt x="3515" y="2830"/>
                </a:lnTo>
                <a:lnTo>
                  <a:pt x="3513" y="2834"/>
                </a:lnTo>
                <a:lnTo>
                  <a:pt x="3519" y="2841"/>
                </a:lnTo>
                <a:lnTo>
                  <a:pt x="3520" y="2844"/>
                </a:lnTo>
                <a:lnTo>
                  <a:pt x="3524" y="2849"/>
                </a:lnTo>
                <a:lnTo>
                  <a:pt x="3522" y="2849"/>
                </a:lnTo>
                <a:lnTo>
                  <a:pt x="3525" y="2858"/>
                </a:lnTo>
                <a:lnTo>
                  <a:pt x="3524" y="2858"/>
                </a:lnTo>
                <a:lnTo>
                  <a:pt x="3525" y="2859"/>
                </a:lnTo>
                <a:lnTo>
                  <a:pt x="3524" y="2861"/>
                </a:lnTo>
                <a:lnTo>
                  <a:pt x="3525" y="2863"/>
                </a:lnTo>
                <a:lnTo>
                  <a:pt x="3524" y="2863"/>
                </a:lnTo>
                <a:lnTo>
                  <a:pt x="3524" y="2861"/>
                </a:lnTo>
                <a:lnTo>
                  <a:pt x="3524" y="2863"/>
                </a:lnTo>
                <a:lnTo>
                  <a:pt x="3524" y="2868"/>
                </a:lnTo>
                <a:lnTo>
                  <a:pt x="3525" y="2870"/>
                </a:lnTo>
                <a:lnTo>
                  <a:pt x="3524" y="2870"/>
                </a:lnTo>
                <a:lnTo>
                  <a:pt x="3525" y="2871"/>
                </a:lnTo>
                <a:lnTo>
                  <a:pt x="3525" y="2873"/>
                </a:lnTo>
                <a:lnTo>
                  <a:pt x="3527" y="2873"/>
                </a:lnTo>
                <a:lnTo>
                  <a:pt x="3529" y="2876"/>
                </a:lnTo>
                <a:lnTo>
                  <a:pt x="3529" y="2878"/>
                </a:lnTo>
                <a:lnTo>
                  <a:pt x="3530" y="2880"/>
                </a:lnTo>
                <a:lnTo>
                  <a:pt x="3534" y="2883"/>
                </a:lnTo>
                <a:lnTo>
                  <a:pt x="3532" y="2882"/>
                </a:lnTo>
                <a:lnTo>
                  <a:pt x="3536" y="2888"/>
                </a:lnTo>
                <a:lnTo>
                  <a:pt x="3536" y="2890"/>
                </a:lnTo>
                <a:lnTo>
                  <a:pt x="3536" y="2893"/>
                </a:lnTo>
                <a:lnTo>
                  <a:pt x="3536" y="2892"/>
                </a:lnTo>
                <a:lnTo>
                  <a:pt x="3534" y="2895"/>
                </a:lnTo>
                <a:lnTo>
                  <a:pt x="3532" y="2895"/>
                </a:lnTo>
                <a:lnTo>
                  <a:pt x="3532" y="2897"/>
                </a:lnTo>
                <a:lnTo>
                  <a:pt x="3534" y="2897"/>
                </a:lnTo>
                <a:lnTo>
                  <a:pt x="3534" y="2899"/>
                </a:lnTo>
                <a:lnTo>
                  <a:pt x="3534" y="2900"/>
                </a:lnTo>
                <a:lnTo>
                  <a:pt x="3534" y="2899"/>
                </a:lnTo>
                <a:lnTo>
                  <a:pt x="3532" y="2899"/>
                </a:lnTo>
                <a:lnTo>
                  <a:pt x="3534" y="2902"/>
                </a:lnTo>
                <a:lnTo>
                  <a:pt x="3532" y="2904"/>
                </a:lnTo>
                <a:lnTo>
                  <a:pt x="3534" y="2904"/>
                </a:lnTo>
                <a:lnTo>
                  <a:pt x="3532" y="2904"/>
                </a:lnTo>
                <a:lnTo>
                  <a:pt x="3532" y="2902"/>
                </a:lnTo>
                <a:lnTo>
                  <a:pt x="3532" y="2904"/>
                </a:lnTo>
                <a:lnTo>
                  <a:pt x="3532" y="2905"/>
                </a:lnTo>
                <a:lnTo>
                  <a:pt x="3534" y="2905"/>
                </a:lnTo>
                <a:lnTo>
                  <a:pt x="3532" y="2907"/>
                </a:lnTo>
                <a:lnTo>
                  <a:pt x="3534" y="2907"/>
                </a:lnTo>
                <a:lnTo>
                  <a:pt x="3536" y="2907"/>
                </a:lnTo>
                <a:lnTo>
                  <a:pt x="3536" y="2909"/>
                </a:lnTo>
                <a:lnTo>
                  <a:pt x="3537" y="2914"/>
                </a:lnTo>
                <a:lnTo>
                  <a:pt x="3536" y="2916"/>
                </a:lnTo>
                <a:lnTo>
                  <a:pt x="3537" y="2916"/>
                </a:lnTo>
                <a:lnTo>
                  <a:pt x="3536" y="2916"/>
                </a:lnTo>
                <a:lnTo>
                  <a:pt x="3536" y="2914"/>
                </a:lnTo>
                <a:lnTo>
                  <a:pt x="3534" y="2917"/>
                </a:lnTo>
                <a:lnTo>
                  <a:pt x="3536" y="2917"/>
                </a:lnTo>
                <a:lnTo>
                  <a:pt x="3534" y="2917"/>
                </a:lnTo>
                <a:lnTo>
                  <a:pt x="3532" y="2921"/>
                </a:lnTo>
                <a:lnTo>
                  <a:pt x="3532" y="2922"/>
                </a:lnTo>
                <a:lnTo>
                  <a:pt x="3530" y="2922"/>
                </a:lnTo>
                <a:lnTo>
                  <a:pt x="3530" y="2924"/>
                </a:lnTo>
                <a:lnTo>
                  <a:pt x="3527" y="2929"/>
                </a:lnTo>
                <a:lnTo>
                  <a:pt x="3525" y="2931"/>
                </a:lnTo>
                <a:lnTo>
                  <a:pt x="3525" y="2934"/>
                </a:lnTo>
                <a:lnTo>
                  <a:pt x="3520" y="2938"/>
                </a:lnTo>
                <a:lnTo>
                  <a:pt x="3519" y="2941"/>
                </a:lnTo>
                <a:lnTo>
                  <a:pt x="3519" y="2939"/>
                </a:lnTo>
                <a:lnTo>
                  <a:pt x="3513" y="2951"/>
                </a:lnTo>
                <a:lnTo>
                  <a:pt x="3515" y="2951"/>
                </a:lnTo>
                <a:lnTo>
                  <a:pt x="3512" y="2953"/>
                </a:lnTo>
                <a:lnTo>
                  <a:pt x="3513" y="2953"/>
                </a:lnTo>
                <a:lnTo>
                  <a:pt x="3512" y="2955"/>
                </a:lnTo>
                <a:lnTo>
                  <a:pt x="3512" y="2953"/>
                </a:lnTo>
                <a:lnTo>
                  <a:pt x="3510" y="2953"/>
                </a:lnTo>
                <a:lnTo>
                  <a:pt x="3510" y="2955"/>
                </a:lnTo>
                <a:lnTo>
                  <a:pt x="3508" y="2956"/>
                </a:lnTo>
                <a:lnTo>
                  <a:pt x="3510" y="2955"/>
                </a:lnTo>
                <a:lnTo>
                  <a:pt x="3508" y="2955"/>
                </a:lnTo>
                <a:lnTo>
                  <a:pt x="3507" y="2961"/>
                </a:lnTo>
                <a:lnTo>
                  <a:pt x="3503" y="2973"/>
                </a:lnTo>
                <a:lnTo>
                  <a:pt x="3502" y="2977"/>
                </a:lnTo>
                <a:lnTo>
                  <a:pt x="3500" y="2978"/>
                </a:lnTo>
                <a:lnTo>
                  <a:pt x="3498" y="2980"/>
                </a:lnTo>
                <a:lnTo>
                  <a:pt x="3496" y="2978"/>
                </a:lnTo>
                <a:lnTo>
                  <a:pt x="3493" y="2980"/>
                </a:lnTo>
                <a:lnTo>
                  <a:pt x="3491" y="2980"/>
                </a:lnTo>
                <a:lnTo>
                  <a:pt x="3488" y="2982"/>
                </a:lnTo>
                <a:lnTo>
                  <a:pt x="3486" y="2982"/>
                </a:lnTo>
                <a:lnTo>
                  <a:pt x="3485" y="2987"/>
                </a:lnTo>
                <a:lnTo>
                  <a:pt x="3485" y="2989"/>
                </a:lnTo>
                <a:lnTo>
                  <a:pt x="3485" y="2995"/>
                </a:lnTo>
                <a:lnTo>
                  <a:pt x="3485" y="2999"/>
                </a:lnTo>
                <a:lnTo>
                  <a:pt x="3483" y="2999"/>
                </a:lnTo>
                <a:lnTo>
                  <a:pt x="3481" y="3002"/>
                </a:lnTo>
                <a:lnTo>
                  <a:pt x="3479" y="3004"/>
                </a:lnTo>
                <a:lnTo>
                  <a:pt x="3478" y="3009"/>
                </a:lnTo>
                <a:lnTo>
                  <a:pt x="3479" y="3011"/>
                </a:lnTo>
                <a:lnTo>
                  <a:pt x="3478" y="3013"/>
                </a:lnTo>
                <a:lnTo>
                  <a:pt x="3476" y="3009"/>
                </a:lnTo>
                <a:lnTo>
                  <a:pt x="3476" y="3011"/>
                </a:lnTo>
                <a:lnTo>
                  <a:pt x="3476" y="3014"/>
                </a:lnTo>
                <a:lnTo>
                  <a:pt x="3474" y="3014"/>
                </a:lnTo>
                <a:lnTo>
                  <a:pt x="3474" y="3016"/>
                </a:lnTo>
                <a:lnTo>
                  <a:pt x="3473" y="3021"/>
                </a:lnTo>
                <a:lnTo>
                  <a:pt x="3474" y="3021"/>
                </a:lnTo>
                <a:lnTo>
                  <a:pt x="3473" y="3024"/>
                </a:lnTo>
                <a:lnTo>
                  <a:pt x="3474" y="3024"/>
                </a:lnTo>
                <a:lnTo>
                  <a:pt x="3474" y="3026"/>
                </a:lnTo>
                <a:lnTo>
                  <a:pt x="3476" y="3024"/>
                </a:lnTo>
                <a:lnTo>
                  <a:pt x="3478" y="3028"/>
                </a:lnTo>
                <a:lnTo>
                  <a:pt x="3476" y="3030"/>
                </a:lnTo>
                <a:lnTo>
                  <a:pt x="3476" y="3028"/>
                </a:lnTo>
                <a:lnTo>
                  <a:pt x="3473" y="3028"/>
                </a:lnTo>
                <a:lnTo>
                  <a:pt x="3473" y="3030"/>
                </a:lnTo>
                <a:lnTo>
                  <a:pt x="3473" y="3031"/>
                </a:lnTo>
                <a:lnTo>
                  <a:pt x="3473" y="3033"/>
                </a:lnTo>
                <a:lnTo>
                  <a:pt x="3474" y="3035"/>
                </a:lnTo>
                <a:lnTo>
                  <a:pt x="3476" y="3040"/>
                </a:lnTo>
                <a:lnTo>
                  <a:pt x="3476" y="3041"/>
                </a:lnTo>
                <a:lnTo>
                  <a:pt x="3476" y="3047"/>
                </a:lnTo>
                <a:lnTo>
                  <a:pt x="3478" y="3052"/>
                </a:lnTo>
                <a:lnTo>
                  <a:pt x="3479" y="3058"/>
                </a:lnTo>
                <a:lnTo>
                  <a:pt x="3486" y="3065"/>
                </a:lnTo>
                <a:lnTo>
                  <a:pt x="3486" y="3067"/>
                </a:lnTo>
                <a:lnTo>
                  <a:pt x="3488" y="3067"/>
                </a:lnTo>
                <a:lnTo>
                  <a:pt x="3491" y="3070"/>
                </a:lnTo>
                <a:lnTo>
                  <a:pt x="3493" y="3072"/>
                </a:lnTo>
                <a:lnTo>
                  <a:pt x="3493" y="3077"/>
                </a:lnTo>
                <a:lnTo>
                  <a:pt x="3493" y="3084"/>
                </a:lnTo>
                <a:lnTo>
                  <a:pt x="3493" y="3086"/>
                </a:lnTo>
                <a:lnTo>
                  <a:pt x="3495" y="3086"/>
                </a:lnTo>
                <a:lnTo>
                  <a:pt x="3500" y="3091"/>
                </a:lnTo>
                <a:lnTo>
                  <a:pt x="3500" y="3092"/>
                </a:lnTo>
                <a:lnTo>
                  <a:pt x="3500" y="3094"/>
                </a:lnTo>
                <a:lnTo>
                  <a:pt x="3498" y="3094"/>
                </a:lnTo>
                <a:lnTo>
                  <a:pt x="3498" y="3096"/>
                </a:lnTo>
                <a:lnTo>
                  <a:pt x="3500" y="3094"/>
                </a:lnTo>
                <a:lnTo>
                  <a:pt x="3500" y="3096"/>
                </a:lnTo>
                <a:lnTo>
                  <a:pt x="3495" y="3098"/>
                </a:lnTo>
                <a:lnTo>
                  <a:pt x="3493" y="3101"/>
                </a:lnTo>
                <a:lnTo>
                  <a:pt x="3495" y="3101"/>
                </a:lnTo>
                <a:lnTo>
                  <a:pt x="3493" y="3104"/>
                </a:lnTo>
                <a:lnTo>
                  <a:pt x="3495" y="3104"/>
                </a:lnTo>
                <a:lnTo>
                  <a:pt x="3493" y="3104"/>
                </a:lnTo>
                <a:lnTo>
                  <a:pt x="3495" y="3108"/>
                </a:lnTo>
                <a:lnTo>
                  <a:pt x="3495" y="3109"/>
                </a:lnTo>
                <a:lnTo>
                  <a:pt x="3495" y="3113"/>
                </a:lnTo>
                <a:lnTo>
                  <a:pt x="3496" y="3120"/>
                </a:lnTo>
                <a:lnTo>
                  <a:pt x="3495" y="3133"/>
                </a:lnTo>
                <a:lnTo>
                  <a:pt x="3496" y="3137"/>
                </a:lnTo>
                <a:lnTo>
                  <a:pt x="3498" y="3138"/>
                </a:lnTo>
                <a:lnTo>
                  <a:pt x="3503" y="3143"/>
                </a:lnTo>
                <a:lnTo>
                  <a:pt x="3508" y="3150"/>
                </a:lnTo>
                <a:lnTo>
                  <a:pt x="3508" y="3152"/>
                </a:lnTo>
                <a:lnTo>
                  <a:pt x="3508" y="3154"/>
                </a:lnTo>
                <a:lnTo>
                  <a:pt x="3508" y="3155"/>
                </a:lnTo>
                <a:lnTo>
                  <a:pt x="3510" y="3159"/>
                </a:lnTo>
                <a:lnTo>
                  <a:pt x="3513" y="3162"/>
                </a:lnTo>
                <a:lnTo>
                  <a:pt x="3513" y="3167"/>
                </a:lnTo>
                <a:lnTo>
                  <a:pt x="3513" y="3169"/>
                </a:lnTo>
                <a:lnTo>
                  <a:pt x="3515" y="3169"/>
                </a:lnTo>
                <a:lnTo>
                  <a:pt x="3515" y="3171"/>
                </a:lnTo>
                <a:lnTo>
                  <a:pt x="3517" y="3172"/>
                </a:lnTo>
                <a:lnTo>
                  <a:pt x="3520" y="3172"/>
                </a:lnTo>
                <a:lnTo>
                  <a:pt x="3522" y="3172"/>
                </a:lnTo>
                <a:lnTo>
                  <a:pt x="3529" y="3178"/>
                </a:lnTo>
                <a:lnTo>
                  <a:pt x="3532" y="3179"/>
                </a:lnTo>
                <a:lnTo>
                  <a:pt x="3534" y="3179"/>
                </a:lnTo>
                <a:lnTo>
                  <a:pt x="3534" y="3181"/>
                </a:lnTo>
                <a:lnTo>
                  <a:pt x="3530" y="3181"/>
                </a:lnTo>
                <a:lnTo>
                  <a:pt x="3530" y="3179"/>
                </a:lnTo>
                <a:lnTo>
                  <a:pt x="3527" y="3176"/>
                </a:lnTo>
                <a:lnTo>
                  <a:pt x="3530" y="3179"/>
                </a:lnTo>
                <a:lnTo>
                  <a:pt x="3530" y="3181"/>
                </a:lnTo>
                <a:lnTo>
                  <a:pt x="3529" y="3183"/>
                </a:lnTo>
                <a:lnTo>
                  <a:pt x="3534" y="3183"/>
                </a:lnTo>
                <a:lnTo>
                  <a:pt x="3544" y="3184"/>
                </a:lnTo>
                <a:lnTo>
                  <a:pt x="3553" y="3186"/>
                </a:lnTo>
                <a:lnTo>
                  <a:pt x="3559" y="3189"/>
                </a:lnTo>
                <a:lnTo>
                  <a:pt x="3561" y="3193"/>
                </a:lnTo>
                <a:lnTo>
                  <a:pt x="3568" y="3196"/>
                </a:lnTo>
                <a:lnTo>
                  <a:pt x="3570" y="3198"/>
                </a:lnTo>
                <a:lnTo>
                  <a:pt x="3571" y="3200"/>
                </a:lnTo>
                <a:lnTo>
                  <a:pt x="3578" y="3198"/>
                </a:lnTo>
                <a:close/>
                <a:moveTo>
                  <a:pt x="3338" y="2509"/>
                </a:moveTo>
                <a:lnTo>
                  <a:pt x="3340" y="2509"/>
                </a:lnTo>
                <a:lnTo>
                  <a:pt x="3338" y="2509"/>
                </a:lnTo>
                <a:close/>
                <a:moveTo>
                  <a:pt x="3539" y="2528"/>
                </a:moveTo>
                <a:lnTo>
                  <a:pt x="3539" y="2524"/>
                </a:lnTo>
                <a:lnTo>
                  <a:pt x="3539" y="2523"/>
                </a:lnTo>
                <a:lnTo>
                  <a:pt x="3537" y="2516"/>
                </a:lnTo>
                <a:lnTo>
                  <a:pt x="3537" y="2514"/>
                </a:lnTo>
                <a:lnTo>
                  <a:pt x="3536" y="2512"/>
                </a:lnTo>
                <a:lnTo>
                  <a:pt x="3534" y="2514"/>
                </a:lnTo>
                <a:lnTo>
                  <a:pt x="3534" y="2516"/>
                </a:lnTo>
                <a:lnTo>
                  <a:pt x="3534" y="2517"/>
                </a:lnTo>
                <a:lnTo>
                  <a:pt x="3530" y="2519"/>
                </a:lnTo>
                <a:lnTo>
                  <a:pt x="3527" y="2519"/>
                </a:lnTo>
                <a:lnTo>
                  <a:pt x="3522" y="2517"/>
                </a:lnTo>
                <a:lnTo>
                  <a:pt x="3529" y="2523"/>
                </a:lnTo>
                <a:lnTo>
                  <a:pt x="3532" y="2523"/>
                </a:lnTo>
                <a:lnTo>
                  <a:pt x="3532" y="2524"/>
                </a:lnTo>
                <a:lnTo>
                  <a:pt x="3537" y="2528"/>
                </a:lnTo>
                <a:lnTo>
                  <a:pt x="3537" y="2529"/>
                </a:lnTo>
                <a:lnTo>
                  <a:pt x="3539" y="2529"/>
                </a:lnTo>
                <a:lnTo>
                  <a:pt x="3539" y="2528"/>
                </a:lnTo>
                <a:close/>
                <a:moveTo>
                  <a:pt x="3784" y="2516"/>
                </a:moveTo>
                <a:lnTo>
                  <a:pt x="3784" y="2517"/>
                </a:lnTo>
                <a:lnTo>
                  <a:pt x="3784" y="2516"/>
                </a:lnTo>
                <a:close/>
                <a:moveTo>
                  <a:pt x="3340" y="2521"/>
                </a:moveTo>
                <a:lnTo>
                  <a:pt x="3340" y="2519"/>
                </a:lnTo>
                <a:lnTo>
                  <a:pt x="3338" y="2519"/>
                </a:lnTo>
                <a:lnTo>
                  <a:pt x="3340" y="2523"/>
                </a:lnTo>
                <a:lnTo>
                  <a:pt x="3340" y="2521"/>
                </a:lnTo>
                <a:close/>
                <a:moveTo>
                  <a:pt x="3765" y="2521"/>
                </a:moveTo>
                <a:lnTo>
                  <a:pt x="3767" y="2521"/>
                </a:lnTo>
                <a:lnTo>
                  <a:pt x="3767" y="2523"/>
                </a:lnTo>
                <a:lnTo>
                  <a:pt x="3765" y="2523"/>
                </a:lnTo>
                <a:lnTo>
                  <a:pt x="3765" y="2521"/>
                </a:lnTo>
                <a:close/>
                <a:moveTo>
                  <a:pt x="3505" y="2528"/>
                </a:moveTo>
                <a:lnTo>
                  <a:pt x="3498" y="2523"/>
                </a:lnTo>
                <a:lnTo>
                  <a:pt x="3495" y="2523"/>
                </a:lnTo>
                <a:lnTo>
                  <a:pt x="3493" y="2523"/>
                </a:lnTo>
                <a:lnTo>
                  <a:pt x="3493" y="2526"/>
                </a:lnTo>
                <a:lnTo>
                  <a:pt x="3495" y="2526"/>
                </a:lnTo>
                <a:lnTo>
                  <a:pt x="3495" y="2528"/>
                </a:lnTo>
                <a:lnTo>
                  <a:pt x="3500" y="2528"/>
                </a:lnTo>
                <a:lnTo>
                  <a:pt x="3500" y="2529"/>
                </a:lnTo>
                <a:lnTo>
                  <a:pt x="3502" y="2528"/>
                </a:lnTo>
                <a:lnTo>
                  <a:pt x="3505" y="2529"/>
                </a:lnTo>
                <a:lnTo>
                  <a:pt x="3505" y="2528"/>
                </a:lnTo>
                <a:close/>
                <a:moveTo>
                  <a:pt x="3340" y="2529"/>
                </a:moveTo>
                <a:lnTo>
                  <a:pt x="3340" y="2528"/>
                </a:lnTo>
                <a:lnTo>
                  <a:pt x="3342" y="2526"/>
                </a:lnTo>
                <a:lnTo>
                  <a:pt x="3338" y="2526"/>
                </a:lnTo>
                <a:lnTo>
                  <a:pt x="3340" y="2528"/>
                </a:lnTo>
                <a:lnTo>
                  <a:pt x="3338" y="2528"/>
                </a:lnTo>
                <a:lnTo>
                  <a:pt x="3337" y="2528"/>
                </a:lnTo>
                <a:lnTo>
                  <a:pt x="3338" y="2529"/>
                </a:lnTo>
                <a:lnTo>
                  <a:pt x="3338" y="2531"/>
                </a:lnTo>
                <a:lnTo>
                  <a:pt x="3340" y="2529"/>
                </a:lnTo>
                <a:close/>
                <a:moveTo>
                  <a:pt x="3496" y="2529"/>
                </a:moveTo>
                <a:lnTo>
                  <a:pt x="3498" y="2529"/>
                </a:lnTo>
                <a:lnTo>
                  <a:pt x="3498" y="2531"/>
                </a:lnTo>
                <a:lnTo>
                  <a:pt x="3496" y="2531"/>
                </a:lnTo>
                <a:lnTo>
                  <a:pt x="3496" y="2529"/>
                </a:lnTo>
                <a:close/>
                <a:moveTo>
                  <a:pt x="3495" y="2529"/>
                </a:moveTo>
                <a:lnTo>
                  <a:pt x="3495" y="2531"/>
                </a:lnTo>
                <a:lnTo>
                  <a:pt x="3495" y="2529"/>
                </a:lnTo>
                <a:close/>
                <a:moveTo>
                  <a:pt x="3792" y="2529"/>
                </a:moveTo>
                <a:lnTo>
                  <a:pt x="3794" y="2529"/>
                </a:lnTo>
                <a:lnTo>
                  <a:pt x="3794" y="2531"/>
                </a:lnTo>
                <a:lnTo>
                  <a:pt x="3792" y="2531"/>
                </a:lnTo>
                <a:lnTo>
                  <a:pt x="3792" y="2529"/>
                </a:lnTo>
                <a:close/>
                <a:moveTo>
                  <a:pt x="3498" y="2529"/>
                </a:moveTo>
                <a:lnTo>
                  <a:pt x="3498" y="2531"/>
                </a:lnTo>
                <a:lnTo>
                  <a:pt x="3498" y="2529"/>
                </a:lnTo>
                <a:close/>
                <a:moveTo>
                  <a:pt x="3340" y="2529"/>
                </a:moveTo>
                <a:lnTo>
                  <a:pt x="3340" y="2533"/>
                </a:lnTo>
                <a:lnTo>
                  <a:pt x="3340" y="2529"/>
                </a:lnTo>
                <a:close/>
                <a:moveTo>
                  <a:pt x="3338" y="2536"/>
                </a:moveTo>
                <a:lnTo>
                  <a:pt x="3340" y="2536"/>
                </a:lnTo>
                <a:lnTo>
                  <a:pt x="3340" y="2538"/>
                </a:lnTo>
                <a:lnTo>
                  <a:pt x="3338" y="2538"/>
                </a:lnTo>
                <a:lnTo>
                  <a:pt x="3338" y="2536"/>
                </a:lnTo>
                <a:close/>
                <a:moveTo>
                  <a:pt x="3794" y="2540"/>
                </a:moveTo>
                <a:lnTo>
                  <a:pt x="3796" y="2540"/>
                </a:lnTo>
                <a:lnTo>
                  <a:pt x="3796" y="2541"/>
                </a:lnTo>
                <a:lnTo>
                  <a:pt x="3794" y="2541"/>
                </a:lnTo>
                <a:lnTo>
                  <a:pt x="3794" y="2540"/>
                </a:lnTo>
                <a:close/>
                <a:moveTo>
                  <a:pt x="3340" y="2540"/>
                </a:moveTo>
                <a:lnTo>
                  <a:pt x="3342" y="2540"/>
                </a:lnTo>
                <a:lnTo>
                  <a:pt x="3342" y="2541"/>
                </a:lnTo>
                <a:lnTo>
                  <a:pt x="3340" y="2541"/>
                </a:lnTo>
                <a:lnTo>
                  <a:pt x="3340" y="2540"/>
                </a:lnTo>
                <a:close/>
                <a:moveTo>
                  <a:pt x="3794" y="2541"/>
                </a:moveTo>
                <a:lnTo>
                  <a:pt x="3796" y="2541"/>
                </a:lnTo>
                <a:lnTo>
                  <a:pt x="3794" y="2541"/>
                </a:lnTo>
                <a:close/>
                <a:moveTo>
                  <a:pt x="3563" y="2541"/>
                </a:moveTo>
                <a:lnTo>
                  <a:pt x="3564" y="2541"/>
                </a:lnTo>
                <a:lnTo>
                  <a:pt x="3564" y="2543"/>
                </a:lnTo>
                <a:lnTo>
                  <a:pt x="3563" y="2543"/>
                </a:lnTo>
                <a:lnTo>
                  <a:pt x="3563" y="2541"/>
                </a:lnTo>
                <a:close/>
                <a:moveTo>
                  <a:pt x="3571" y="2558"/>
                </a:moveTo>
                <a:lnTo>
                  <a:pt x="3571" y="2560"/>
                </a:lnTo>
                <a:lnTo>
                  <a:pt x="3573" y="2558"/>
                </a:lnTo>
                <a:lnTo>
                  <a:pt x="3571" y="2558"/>
                </a:lnTo>
                <a:lnTo>
                  <a:pt x="3571" y="2557"/>
                </a:lnTo>
                <a:lnTo>
                  <a:pt x="3573" y="2557"/>
                </a:lnTo>
                <a:lnTo>
                  <a:pt x="3573" y="2555"/>
                </a:lnTo>
                <a:lnTo>
                  <a:pt x="3575" y="2553"/>
                </a:lnTo>
                <a:lnTo>
                  <a:pt x="3573" y="2553"/>
                </a:lnTo>
                <a:lnTo>
                  <a:pt x="3573" y="2552"/>
                </a:lnTo>
                <a:lnTo>
                  <a:pt x="3575" y="2550"/>
                </a:lnTo>
                <a:lnTo>
                  <a:pt x="3575" y="2548"/>
                </a:lnTo>
                <a:lnTo>
                  <a:pt x="3573" y="2546"/>
                </a:lnTo>
                <a:lnTo>
                  <a:pt x="3571" y="2546"/>
                </a:lnTo>
                <a:lnTo>
                  <a:pt x="3570" y="2546"/>
                </a:lnTo>
                <a:lnTo>
                  <a:pt x="3570" y="2545"/>
                </a:lnTo>
                <a:lnTo>
                  <a:pt x="3568" y="2543"/>
                </a:lnTo>
                <a:lnTo>
                  <a:pt x="3566" y="2545"/>
                </a:lnTo>
                <a:lnTo>
                  <a:pt x="3564" y="2545"/>
                </a:lnTo>
                <a:lnTo>
                  <a:pt x="3564" y="2546"/>
                </a:lnTo>
                <a:lnTo>
                  <a:pt x="3566" y="2546"/>
                </a:lnTo>
                <a:lnTo>
                  <a:pt x="3564" y="2548"/>
                </a:lnTo>
                <a:lnTo>
                  <a:pt x="3568" y="2548"/>
                </a:lnTo>
                <a:lnTo>
                  <a:pt x="3568" y="2552"/>
                </a:lnTo>
                <a:lnTo>
                  <a:pt x="3568" y="2553"/>
                </a:lnTo>
                <a:lnTo>
                  <a:pt x="3570" y="2555"/>
                </a:lnTo>
                <a:lnTo>
                  <a:pt x="3570" y="2557"/>
                </a:lnTo>
                <a:lnTo>
                  <a:pt x="3568" y="2557"/>
                </a:lnTo>
                <a:lnTo>
                  <a:pt x="3568" y="2555"/>
                </a:lnTo>
                <a:lnTo>
                  <a:pt x="3566" y="2555"/>
                </a:lnTo>
                <a:lnTo>
                  <a:pt x="3568" y="2557"/>
                </a:lnTo>
                <a:lnTo>
                  <a:pt x="3566" y="2558"/>
                </a:lnTo>
                <a:lnTo>
                  <a:pt x="3568" y="2558"/>
                </a:lnTo>
                <a:lnTo>
                  <a:pt x="3568" y="2560"/>
                </a:lnTo>
                <a:lnTo>
                  <a:pt x="3570" y="2560"/>
                </a:lnTo>
                <a:lnTo>
                  <a:pt x="3571" y="2558"/>
                </a:lnTo>
                <a:close/>
                <a:moveTo>
                  <a:pt x="3797" y="2543"/>
                </a:moveTo>
                <a:lnTo>
                  <a:pt x="3799" y="2543"/>
                </a:lnTo>
                <a:lnTo>
                  <a:pt x="3799" y="2545"/>
                </a:lnTo>
                <a:lnTo>
                  <a:pt x="3797" y="2545"/>
                </a:lnTo>
                <a:lnTo>
                  <a:pt x="3797" y="2543"/>
                </a:lnTo>
                <a:close/>
                <a:moveTo>
                  <a:pt x="3748" y="2546"/>
                </a:moveTo>
                <a:lnTo>
                  <a:pt x="3750" y="2546"/>
                </a:lnTo>
                <a:lnTo>
                  <a:pt x="3750" y="2548"/>
                </a:lnTo>
                <a:lnTo>
                  <a:pt x="3748" y="2548"/>
                </a:lnTo>
                <a:lnTo>
                  <a:pt x="3748" y="2546"/>
                </a:lnTo>
                <a:close/>
                <a:moveTo>
                  <a:pt x="3575" y="2548"/>
                </a:moveTo>
                <a:lnTo>
                  <a:pt x="3578" y="2548"/>
                </a:lnTo>
                <a:lnTo>
                  <a:pt x="3578" y="2552"/>
                </a:lnTo>
                <a:lnTo>
                  <a:pt x="3575" y="2552"/>
                </a:lnTo>
                <a:lnTo>
                  <a:pt x="3575" y="2548"/>
                </a:lnTo>
                <a:close/>
                <a:moveTo>
                  <a:pt x="3804" y="2548"/>
                </a:moveTo>
                <a:lnTo>
                  <a:pt x="3804" y="2550"/>
                </a:lnTo>
                <a:lnTo>
                  <a:pt x="3804" y="2548"/>
                </a:lnTo>
                <a:close/>
                <a:moveTo>
                  <a:pt x="3806" y="2550"/>
                </a:moveTo>
                <a:lnTo>
                  <a:pt x="3807" y="2550"/>
                </a:lnTo>
                <a:lnTo>
                  <a:pt x="3807" y="2552"/>
                </a:lnTo>
                <a:lnTo>
                  <a:pt x="3806" y="2552"/>
                </a:lnTo>
                <a:lnTo>
                  <a:pt x="3806" y="2550"/>
                </a:lnTo>
                <a:close/>
                <a:moveTo>
                  <a:pt x="3746" y="2557"/>
                </a:moveTo>
                <a:lnTo>
                  <a:pt x="3745" y="2553"/>
                </a:lnTo>
                <a:lnTo>
                  <a:pt x="3746" y="2553"/>
                </a:lnTo>
                <a:lnTo>
                  <a:pt x="3746" y="2552"/>
                </a:lnTo>
                <a:lnTo>
                  <a:pt x="3745" y="2553"/>
                </a:lnTo>
                <a:lnTo>
                  <a:pt x="3745" y="2555"/>
                </a:lnTo>
                <a:lnTo>
                  <a:pt x="3745" y="2557"/>
                </a:lnTo>
                <a:lnTo>
                  <a:pt x="3743" y="2555"/>
                </a:lnTo>
                <a:lnTo>
                  <a:pt x="3741" y="2555"/>
                </a:lnTo>
                <a:lnTo>
                  <a:pt x="3745" y="2557"/>
                </a:lnTo>
                <a:lnTo>
                  <a:pt x="3746" y="2557"/>
                </a:lnTo>
                <a:close/>
                <a:moveTo>
                  <a:pt x="3733" y="2580"/>
                </a:moveTo>
                <a:lnTo>
                  <a:pt x="3731" y="2580"/>
                </a:lnTo>
                <a:lnTo>
                  <a:pt x="3731" y="2579"/>
                </a:lnTo>
                <a:lnTo>
                  <a:pt x="3731" y="2577"/>
                </a:lnTo>
                <a:lnTo>
                  <a:pt x="3733" y="2579"/>
                </a:lnTo>
                <a:lnTo>
                  <a:pt x="3733" y="2577"/>
                </a:lnTo>
                <a:lnTo>
                  <a:pt x="3731" y="2575"/>
                </a:lnTo>
                <a:lnTo>
                  <a:pt x="3731" y="2574"/>
                </a:lnTo>
                <a:lnTo>
                  <a:pt x="3729" y="2574"/>
                </a:lnTo>
                <a:lnTo>
                  <a:pt x="3731" y="2572"/>
                </a:lnTo>
                <a:lnTo>
                  <a:pt x="3729" y="2570"/>
                </a:lnTo>
                <a:lnTo>
                  <a:pt x="3728" y="2570"/>
                </a:lnTo>
                <a:lnTo>
                  <a:pt x="3728" y="2572"/>
                </a:lnTo>
                <a:lnTo>
                  <a:pt x="3728" y="2574"/>
                </a:lnTo>
                <a:lnTo>
                  <a:pt x="3726" y="2574"/>
                </a:lnTo>
                <a:lnTo>
                  <a:pt x="3724" y="2574"/>
                </a:lnTo>
                <a:lnTo>
                  <a:pt x="3723" y="2574"/>
                </a:lnTo>
                <a:lnTo>
                  <a:pt x="3724" y="2575"/>
                </a:lnTo>
                <a:lnTo>
                  <a:pt x="3724" y="2577"/>
                </a:lnTo>
                <a:lnTo>
                  <a:pt x="3724" y="2579"/>
                </a:lnTo>
                <a:lnTo>
                  <a:pt x="3726" y="2580"/>
                </a:lnTo>
                <a:lnTo>
                  <a:pt x="3728" y="2582"/>
                </a:lnTo>
                <a:lnTo>
                  <a:pt x="3729" y="2580"/>
                </a:lnTo>
                <a:lnTo>
                  <a:pt x="3731" y="2582"/>
                </a:lnTo>
                <a:lnTo>
                  <a:pt x="3733" y="2580"/>
                </a:lnTo>
                <a:close/>
                <a:moveTo>
                  <a:pt x="3723" y="2575"/>
                </a:moveTo>
                <a:lnTo>
                  <a:pt x="3723" y="2577"/>
                </a:lnTo>
                <a:lnTo>
                  <a:pt x="3723" y="2575"/>
                </a:lnTo>
                <a:close/>
                <a:moveTo>
                  <a:pt x="3741" y="2579"/>
                </a:moveTo>
                <a:lnTo>
                  <a:pt x="3740" y="2577"/>
                </a:lnTo>
                <a:lnTo>
                  <a:pt x="3738" y="2575"/>
                </a:lnTo>
                <a:lnTo>
                  <a:pt x="3738" y="2579"/>
                </a:lnTo>
                <a:lnTo>
                  <a:pt x="3740" y="2579"/>
                </a:lnTo>
                <a:lnTo>
                  <a:pt x="3741" y="2579"/>
                </a:lnTo>
                <a:close/>
                <a:moveTo>
                  <a:pt x="3731" y="2582"/>
                </a:moveTo>
                <a:lnTo>
                  <a:pt x="3733" y="2582"/>
                </a:lnTo>
                <a:lnTo>
                  <a:pt x="3733" y="2586"/>
                </a:lnTo>
                <a:lnTo>
                  <a:pt x="3731" y="2586"/>
                </a:lnTo>
                <a:lnTo>
                  <a:pt x="3731" y="2582"/>
                </a:lnTo>
                <a:close/>
                <a:moveTo>
                  <a:pt x="3704" y="2591"/>
                </a:moveTo>
                <a:lnTo>
                  <a:pt x="3706" y="2591"/>
                </a:lnTo>
                <a:lnTo>
                  <a:pt x="3704" y="2591"/>
                </a:lnTo>
                <a:close/>
                <a:moveTo>
                  <a:pt x="3702" y="2608"/>
                </a:moveTo>
                <a:lnTo>
                  <a:pt x="3704" y="2608"/>
                </a:lnTo>
                <a:lnTo>
                  <a:pt x="3704" y="2609"/>
                </a:lnTo>
                <a:lnTo>
                  <a:pt x="3702" y="2609"/>
                </a:lnTo>
                <a:lnTo>
                  <a:pt x="3702" y="2608"/>
                </a:lnTo>
                <a:close/>
                <a:moveTo>
                  <a:pt x="3704" y="2609"/>
                </a:moveTo>
                <a:lnTo>
                  <a:pt x="3704" y="2611"/>
                </a:lnTo>
                <a:lnTo>
                  <a:pt x="3704" y="2613"/>
                </a:lnTo>
                <a:lnTo>
                  <a:pt x="3706" y="2614"/>
                </a:lnTo>
                <a:lnTo>
                  <a:pt x="3704" y="2609"/>
                </a:lnTo>
                <a:close/>
                <a:moveTo>
                  <a:pt x="3700" y="2616"/>
                </a:moveTo>
                <a:lnTo>
                  <a:pt x="3702" y="2616"/>
                </a:lnTo>
                <a:lnTo>
                  <a:pt x="3702" y="2618"/>
                </a:lnTo>
                <a:lnTo>
                  <a:pt x="3700" y="2618"/>
                </a:lnTo>
                <a:lnTo>
                  <a:pt x="3700" y="2616"/>
                </a:lnTo>
                <a:close/>
                <a:moveTo>
                  <a:pt x="3704" y="2618"/>
                </a:moveTo>
                <a:lnTo>
                  <a:pt x="3706" y="2618"/>
                </a:lnTo>
                <a:lnTo>
                  <a:pt x="3706" y="2620"/>
                </a:lnTo>
                <a:lnTo>
                  <a:pt x="3704" y="2620"/>
                </a:lnTo>
                <a:lnTo>
                  <a:pt x="3704" y="2618"/>
                </a:lnTo>
                <a:close/>
                <a:moveTo>
                  <a:pt x="3714" y="2623"/>
                </a:moveTo>
                <a:lnTo>
                  <a:pt x="3716" y="2623"/>
                </a:lnTo>
                <a:lnTo>
                  <a:pt x="3714" y="2623"/>
                </a:lnTo>
                <a:close/>
                <a:moveTo>
                  <a:pt x="3695" y="2640"/>
                </a:moveTo>
                <a:lnTo>
                  <a:pt x="3695" y="2638"/>
                </a:lnTo>
                <a:lnTo>
                  <a:pt x="3694" y="2638"/>
                </a:lnTo>
                <a:lnTo>
                  <a:pt x="3695" y="2637"/>
                </a:lnTo>
                <a:lnTo>
                  <a:pt x="3694" y="2637"/>
                </a:lnTo>
                <a:lnTo>
                  <a:pt x="3694" y="2638"/>
                </a:lnTo>
                <a:lnTo>
                  <a:pt x="3692" y="2638"/>
                </a:lnTo>
                <a:lnTo>
                  <a:pt x="3694" y="2640"/>
                </a:lnTo>
                <a:lnTo>
                  <a:pt x="3695" y="2640"/>
                </a:lnTo>
                <a:close/>
                <a:moveTo>
                  <a:pt x="3709" y="2643"/>
                </a:moveTo>
                <a:lnTo>
                  <a:pt x="3712" y="2643"/>
                </a:lnTo>
                <a:lnTo>
                  <a:pt x="3709" y="2643"/>
                </a:lnTo>
                <a:close/>
                <a:moveTo>
                  <a:pt x="3350" y="2654"/>
                </a:moveTo>
                <a:lnTo>
                  <a:pt x="3352" y="2654"/>
                </a:lnTo>
                <a:lnTo>
                  <a:pt x="3352" y="2655"/>
                </a:lnTo>
                <a:lnTo>
                  <a:pt x="3350" y="2655"/>
                </a:lnTo>
                <a:lnTo>
                  <a:pt x="3350" y="2654"/>
                </a:lnTo>
                <a:close/>
                <a:moveTo>
                  <a:pt x="3673" y="2682"/>
                </a:moveTo>
                <a:lnTo>
                  <a:pt x="3675" y="2682"/>
                </a:lnTo>
                <a:lnTo>
                  <a:pt x="3675" y="2684"/>
                </a:lnTo>
                <a:lnTo>
                  <a:pt x="3673" y="2684"/>
                </a:lnTo>
                <a:lnTo>
                  <a:pt x="3673" y="2682"/>
                </a:lnTo>
                <a:close/>
                <a:moveTo>
                  <a:pt x="3673" y="2684"/>
                </a:moveTo>
                <a:lnTo>
                  <a:pt x="3675" y="2684"/>
                </a:lnTo>
                <a:lnTo>
                  <a:pt x="3673" y="2684"/>
                </a:lnTo>
                <a:close/>
                <a:moveTo>
                  <a:pt x="3672" y="2684"/>
                </a:moveTo>
                <a:lnTo>
                  <a:pt x="3673" y="2684"/>
                </a:lnTo>
                <a:lnTo>
                  <a:pt x="3673" y="2686"/>
                </a:lnTo>
                <a:lnTo>
                  <a:pt x="3672" y="2686"/>
                </a:lnTo>
                <a:lnTo>
                  <a:pt x="3672" y="2684"/>
                </a:lnTo>
                <a:close/>
                <a:moveTo>
                  <a:pt x="3672" y="2686"/>
                </a:moveTo>
                <a:lnTo>
                  <a:pt x="3673" y="2686"/>
                </a:lnTo>
                <a:lnTo>
                  <a:pt x="3672" y="2686"/>
                </a:lnTo>
                <a:close/>
                <a:moveTo>
                  <a:pt x="3666" y="2686"/>
                </a:moveTo>
                <a:lnTo>
                  <a:pt x="3668" y="2686"/>
                </a:lnTo>
                <a:lnTo>
                  <a:pt x="3666" y="2686"/>
                </a:lnTo>
                <a:close/>
                <a:moveTo>
                  <a:pt x="3666" y="2686"/>
                </a:moveTo>
                <a:lnTo>
                  <a:pt x="3666" y="2688"/>
                </a:lnTo>
                <a:lnTo>
                  <a:pt x="3666" y="2686"/>
                </a:lnTo>
                <a:close/>
                <a:moveTo>
                  <a:pt x="3804" y="2686"/>
                </a:moveTo>
                <a:lnTo>
                  <a:pt x="3804" y="2688"/>
                </a:lnTo>
                <a:lnTo>
                  <a:pt x="3804" y="2686"/>
                </a:lnTo>
                <a:close/>
                <a:moveTo>
                  <a:pt x="3666" y="2686"/>
                </a:moveTo>
                <a:lnTo>
                  <a:pt x="3668" y="2686"/>
                </a:lnTo>
                <a:lnTo>
                  <a:pt x="3666" y="2686"/>
                </a:lnTo>
                <a:close/>
                <a:moveTo>
                  <a:pt x="3665" y="2686"/>
                </a:moveTo>
                <a:lnTo>
                  <a:pt x="3666" y="2686"/>
                </a:lnTo>
                <a:lnTo>
                  <a:pt x="3666" y="2688"/>
                </a:lnTo>
                <a:lnTo>
                  <a:pt x="3665" y="2688"/>
                </a:lnTo>
                <a:lnTo>
                  <a:pt x="3665" y="2686"/>
                </a:lnTo>
                <a:close/>
                <a:moveTo>
                  <a:pt x="3665" y="2688"/>
                </a:moveTo>
                <a:lnTo>
                  <a:pt x="3666" y="2688"/>
                </a:lnTo>
                <a:lnTo>
                  <a:pt x="3666" y="2689"/>
                </a:lnTo>
                <a:lnTo>
                  <a:pt x="3665" y="2689"/>
                </a:lnTo>
                <a:lnTo>
                  <a:pt x="3665" y="2688"/>
                </a:lnTo>
                <a:close/>
                <a:moveTo>
                  <a:pt x="3665" y="2688"/>
                </a:moveTo>
                <a:lnTo>
                  <a:pt x="3666" y="2688"/>
                </a:lnTo>
                <a:lnTo>
                  <a:pt x="3666" y="2689"/>
                </a:lnTo>
                <a:lnTo>
                  <a:pt x="3665" y="2689"/>
                </a:lnTo>
                <a:lnTo>
                  <a:pt x="3665" y="2688"/>
                </a:lnTo>
                <a:close/>
                <a:moveTo>
                  <a:pt x="3660" y="2691"/>
                </a:moveTo>
                <a:lnTo>
                  <a:pt x="3661" y="2691"/>
                </a:lnTo>
                <a:lnTo>
                  <a:pt x="3660" y="2691"/>
                </a:lnTo>
                <a:close/>
                <a:moveTo>
                  <a:pt x="3631" y="2700"/>
                </a:moveTo>
                <a:lnTo>
                  <a:pt x="3632" y="2700"/>
                </a:lnTo>
                <a:lnTo>
                  <a:pt x="3631" y="2700"/>
                </a:lnTo>
                <a:close/>
                <a:moveTo>
                  <a:pt x="3612" y="2701"/>
                </a:moveTo>
                <a:lnTo>
                  <a:pt x="3612" y="2703"/>
                </a:lnTo>
                <a:lnTo>
                  <a:pt x="3612" y="2701"/>
                </a:lnTo>
                <a:close/>
                <a:moveTo>
                  <a:pt x="3602" y="2701"/>
                </a:moveTo>
                <a:lnTo>
                  <a:pt x="3604" y="2701"/>
                </a:lnTo>
                <a:lnTo>
                  <a:pt x="3604" y="2703"/>
                </a:lnTo>
                <a:lnTo>
                  <a:pt x="3602" y="2703"/>
                </a:lnTo>
                <a:lnTo>
                  <a:pt x="3602" y="2701"/>
                </a:lnTo>
                <a:close/>
                <a:moveTo>
                  <a:pt x="3602" y="2701"/>
                </a:moveTo>
                <a:lnTo>
                  <a:pt x="3604" y="2701"/>
                </a:lnTo>
                <a:lnTo>
                  <a:pt x="3604" y="2705"/>
                </a:lnTo>
                <a:lnTo>
                  <a:pt x="3602" y="2705"/>
                </a:lnTo>
                <a:lnTo>
                  <a:pt x="3602" y="2701"/>
                </a:lnTo>
                <a:close/>
                <a:moveTo>
                  <a:pt x="3612" y="2705"/>
                </a:moveTo>
                <a:lnTo>
                  <a:pt x="3614" y="2705"/>
                </a:lnTo>
                <a:lnTo>
                  <a:pt x="3612" y="2705"/>
                </a:lnTo>
                <a:close/>
                <a:moveTo>
                  <a:pt x="3615" y="2705"/>
                </a:moveTo>
                <a:lnTo>
                  <a:pt x="3617" y="2705"/>
                </a:lnTo>
                <a:lnTo>
                  <a:pt x="3615" y="2705"/>
                </a:lnTo>
                <a:close/>
                <a:moveTo>
                  <a:pt x="3631" y="2706"/>
                </a:moveTo>
                <a:lnTo>
                  <a:pt x="3634" y="2706"/>
                </a:lnTo>
                <a:lnTo>
                  <a:pt x="3631" y="2706"/>
                </a:lnTo>
                <a:close/>
                <a:moveTo>
                  <a:pt x="3631" y="2706"/>
                </a:moveTo>
                <a:lnTo>
                  <a:pt x="3632" y="2706"/>
                </a:lnTo>
                <a:lnTo>
                  <a:pt x="3632" y="2710"/>
                </a:lnTo>
                <a:lnTo>
                  <a:pt x="3631" y="2710"/>
                </a:lnTo>
                <a:lnTo>
                  <a:pt x="3631" y="2706"/>
                </a:lnTo>
                <a:close/>
                <a:moveTo>
                  <a:pt x="3634" y="2706"/>
                </a:moveTo>
                <a:lnTo>
                  <a:pt x="3636" y="2706"/>
                </a:lnTo>
                <a:lnTo>
                  <a:pt x="3636" y="2708"/>
                </a:lnTo>
                <a:lnTo>
                  <a:pt x="3634" y="2708"/>
                </a:lnTo>
                <a:lnTo>
                  <a:pt x="3634" y="2706"/>
                </a:lnTo>
                <a:close/>
                <a:moveTo>
                  <a:pt x="3629" y="2706"/>
                </a:moveTo>
                <a:lnTo>
                  <a:pt x="3632" y="2706"/>
                </a:lnTo>
                <a:lnTo>
                  <a:pt x="3632" y="2708"/>
                </a:lnTo>
                <a:lnTo>
                  <a:pt x="3629" y="2708"/>
                </a:lnTo>
                <a:lnTo>
                  <a:pt x="3629" y="2706"/>
                </a:lnTo>
                <a:close/>
                <a:moveTo>
                  <a:pt x="3632" y="2706"/>
                </a:moveTo>
                <a:lnTo>
                  <a:pt x="3634" y="2706"/>
                </a:lnTo>
                <a:lnTo>
                  <a:pt x="3634" y="2708"/>
                </a:lnTo>
                <a:lnTo>
                  <a:pt x="3632" y="2708"/>
                </a:lnTo>
                <a:lnTo>
                  <a:pt x="3632" y="2706"/>
                </a:lnTo>
                <a:close/>
                <a:moveTo>
                  <a:pt x="3644" y="2717"/>
                </a:moveTo>
                <a:lnTo>
                  <a:pt x="3646" y="2715"/>
                </a:lnTo>
                <a:lnTo>
                  <a:pt x="3644" y="2713"/>
                </a:lnTo>
                <a:lnTo>
                  <a:pt x="3643" y="2713"/>
                </a:lnTo>
                <a:lnTo>
                  <a:pt x="3641" y="2711"/>
                </a:lnTo>
                <a:lnTo>
                  <a:pt x="3639" y="2711"/>
                </a:lnTo>
                <a:lnTo>
                  <a:pt x="3639" y="2710"/>
                </a:lnTo>
                <a:lnTo>
                  <a:pt x="3634" y="2706"/>
                </a:lnTo>
                <a:lnTo>
                  <a:pt x="3636" y="2710"/>
                </a:lnTo>
                <a:lnTo>
                  <a:pt x="3639" y="2713"/>
                </a:lnTo>
                <a:lnTo>
                  <a:pt x="3643" y="2715"/>
                </a:lnTo>
                <a:lnTo>
                  <a:pt x="3644" y="2718"/>
                </a:lnTo>
                <a:lnTo>
                  <a:pt x="3644" y="2717"/>
                </a:lnTo>
                <a:close/>
                <a:moveTo>
                  <a:pt x="998" y="2710"/>
                </a:moveTo>
                <a:lnTo>
                  <a:pt x="998" y="2708"/>
                </a:lnTo>
                <a:lnTo>
                  <a:pt x="994" y="2706"/>
                </a:lnTo>
                <a:lnTo>
                  <a:pt x="991" y="2711"/>
                </a:lnTo>
                <a:lnTo>
                  <a:pt x="992" y="2713"/>
                </a:lnTo>
                <a:lnTo>
                  <a:pt x="998" y="2710"/>
                </a:lnTo>
                <a:close/>
                <a:moveTo>
                  <a:pt x="3627" y="2708"/>
                </a:moveTo>
                <a:lnTo>
                  <a:pt x="3629" y="2708"/>
                </a:lnTo>
                <a:lnTo>
                  <a:pt x="3629" y="2710"/>
                </a:lnTo>
                <a:lnTo>
                  <a:pt x="3627" y="2710"/>
                </a:lnTo>
                <a:lnTo>
                  <a:pt x="3627" y="2708"/>
                </a:lnTo>
                <a:close/>
                <a:moveTo>
                  <a:pt x="3629" y="2708"/>
                </a:moveTo>
                <a:lnTo>
                  <a:pt x="3631" y="2708"/>
                </a:lnTo>
                <a:lnTo>
                  <a:pt x="3631" y="2710"/>
                </a:lnTo>
                <a:lnTo>
                  <a:pt x="3629" y="2710"/>
                </a:lnTo>
                <a:lnTo>
                  <a:pt x="3629" y="2708"/>
                </a:lnTo>
                <a:close/>
                <a:moveTo>
                  <a:pt x="3634" y="2708"/>
                </a:moveTo>
                <a:lnTo>
                  <a:pt x="3636" y="2708"/>
                </a:lnTo>
                <a:lnTo>
                  <a:pt x="3636" y="2710"/>
                </a:lnTo>
                <a:lnTo>
                  <a:pt x="3634" y="2710"/>
                </a:lnTo>
                <a:lnTo>
                  <a:pt x="3634" y="2708"/>
                </a:lnTo>
                <a:close/>
                <a:moveTo>
                  <a:pt x="3631" y="2708"/>
                </a:moveTo>
                <a:lnTo>
                  <a:pt x="3632" y="2708"/>
                </a:lnTo>
                <a:lnTo>
                  <a:pt x="3632" y="2710"/>
                </a:lnTo>
                <a:lnTo>
                  <a:pt x="3631" y="2710"/>
                </a:lnTo>
                <a:lnTo>
                  <a:pt x="3631" y="2708"/>
                </a:lnTo>
                <a:close/>
                <a:moveTo>
                  <a:pt x="3631" y="2708"/>
                </a:moveTo>
                <a:lnTo>
                  <a:pt x="3632" y="2708"/>
                </a:lnTo>
                <a:lnTo>
                  <a:pt x="3632" y="2710"/>
                </a:lnTo>
                <a:lnTo>
                  <a:pt x="3631" y="2710"/>
                </a:lnTo>
                <a:lnTo>
                  <a:pt x="3631" y="2708"/>
                </a:lnTo>
                <a:close/>
                <a:moveTo>
                  <a:pt x="3632" y="2708"/>
                </a:moveTo>
                <a:lnTo>
                  <a:pt x="3636" y="2708"/>
                </a:lnTo>
                <a:lnTo>
                  <a:pt x="3636" y="2711"/>
                </a:lnTo>
                <a:lnTo>
                  <a:pt x="3632" y="2711"/>
                </a:lnTo>
                <a:lnTo>
                  <a:pt x="3632" y="2708"/>
                </a:lnTo>
                <a:close/>
                <a:moveTo>
                  <a:pt x="3643" y="2715"/>
                </a:moveTo>
                <a:lnTo>
                  <a:pt x="3641" y="2713"/>
                </a:lnTo>
                <a:lnTo>
                  <a:pt x="3639" y="2715"/>
                </a:lnTo>
                <a:lnTo>
                  <a:pt x="3629" y="2710"/>
                </a:lnTo>
                <a:lnTo>
                  <a:pt x="3631" y="2711"/>
                </a:lnTo>
                <a:lnTo>
                  <a:pt x="3634" y="2713"/>
                </a:lnTo>
                <a:lnTo>
                  <a:pt x="3641" y="2715"/>
                </a:lnTo>
                <a:lnTo>
                  <a:pt x="3643" y="2715"/>
                </a:lnTo>
                <a:close/>
                <a:moveTo>
                  <a:pt x="3632" y="2710"/>
                </a:moveTo>
                <a:lnTo>
                  <a:pt x="3634" y="2710"/>
                </a:lnTo>
                <a:lnTo>
                  <a:pt x="3632" y="2710"/>
                </a:lnTo>
                <a:close/>
                <a:moveTo>
                  <a:pt x="3631" y="2711"/>
                </a:moveTo>
                <a:lnTo>
                  <a:pt x="3629" y="2710"/>
                </a:lnTo>
                <a:lnTo>
                  <a:pt x="3631" y="2713"/>
                </a:lnTo>
                <a:lnTo>
                  <a:pt x="3634" y="2713"/>
                </a:lnTo>
                <a:lnTo>
                  <a:pt x="3631" y="2711"/>
                </a:lnTo>
                <a:close/>
                <a:moveTo>
                  <a:pt x="3641" y="2713"/>
                </a:moveTo>
                <a:lnTo>
                  <a:pt x="3639" y="2713"/>
                </a:lnTo>
                <a:lnTo>
                  <a:pt x="3636" y="2711"/>
                </a:lnTo>
                <a:lnTo>
                  <a:pt x="3634" y="2711"/>
                </a:lnTo>
                <a:lnTo>
                  <a:pt x="3639" y="2715"/>
                </a:lnTo>
                <a:lnTo>
                  <a:pt x="3641" y="2713"/>
                </a:lnTo>
                <a:close/>
                <a:moveTo>
                  <a:pt x="3639" y="2711"/>
                </a:moveTo>
                <a:lnTo>
                  <a:pt x="3641" y="2711"/>
                </a:lnTo>
                <a:lnTo>
                  <a:pt x="3639" y="2711"/>
                </a:lnTo>
                <a:close/>
                <a:moveTo>
                  <a:pt x="3631" y="2713"/>
                </a:moveTo>
                <a:lnTo>
                  <a:pt x="3632" y="2713"/>
                </a:lnTo>
                <a:lnTo>
                  <a:pt x="3631" y="2713"/>
                </a:lnTo>
                <a:close/>
                <a:moveTo>
                  <a:pt x="3580" y="2718"/>
                </a:moveTo>
                <a:lnTo>
                  <a:pt x="3581" y="2718"/>
                </a:lnTo>
                <a:lnTo>
                  <a:pt x="3580" y="2718"/>
                </a:lnTo>
                <a:close/>
                <a:moveTo>
                  <a:pt x="3807" y="2725"/>
                </a:moveTo>
                <a:lnTo>
                  <a:pt x="3807" y="2727"/>
                </a:lnTo>
                <a:lnTo>
                  <a:pt x="3807" y="2725"/>
                </a:lnTo>
                <a:close/>
                <a:moveTo>
                  <a:pt x="3807" y="2728"/>
                </a:moveTo>
                <a:lnTo>
                  <a:pt x="3809" y="2728"/>
                </a:lnTo>
                <a:lnTo>
                  <a:pt x="3807" y="2728"/>
                </a:lnTo>
                <a:close/>
                <a:moveTo>
                  <a:pt x="3809" y="2734"/>
                </a:moveTo>
                <a:lnTo>
                  <a:pt x="3811" y="2734"/>
                </a:lnTo>
                <a:lnTo>
                  <a:pt x="3811" y="2735"/>
                </a:lnTo>
                <a:lnTo>
                  <a:pt x="3809" y="2735"/>
                </a:lnTo>
                <a:lnTo>
                  <a:pt x="3809" y="2734"/>
                </a:lnTo>
                <a:close/>
                <a:moveTo>
                  <a:pt x="3809" y="2735"/>
                </a:moveTo>
                <a:lnTo>
                  <a:pt x="3811" y="2735"/>
                </a:lnTo>
                <a:lnTo>
                  <a:pt x="3809" y="2735"/>
                </a:lnTo>
                <a:close/>
                <a:moveTo>
                  <a:pt x="3807" y="2737"/>
                </a:moveTo>
                <a:lnTo>
                  <a:pt x="3807" y="2739"/>
                </a:lnTo>
                <a:lnTo>
                  <a:pt x="3807" y="2737"/>
                </a:lnTo>
                <a:close/>
                <a:moveTo>
                  <a:pt x="1876" y="2742"/>
                </a:moveTo>
                <a:lnTo>
                  <a:pt x="1878" y="2739"/>
                </a:lnTo>
                <a:lnTo>
                  <a:pt x="1876" y="2739"/>
                </a:lnTo>
                <a:lnTo>
                  <a:pt x="1875" y="2740"/>
                </a:lnTo>
                <a:lnTo>
                  <a:pt x="1875" y="2742"/>
                </a:lnTo>
                <a:lnTo>
                  <a:pt x="1876" y="2747"/>
                </a:lnTo>
                <a:lnTo>
                  <a:pt x="1878" y="2749"/>
                </a:lnTo>
                <a:lnTo>
                  <a:pt x="1876" y="2742"/>
                </a:lnTo>
                <a:close/>
                <a:moveTo>
                  <a:pt x="3807" y="2740"/>
                </a:moveTo>
                <a:lnTo>
                  <a:pt x="3807" y="2742"/>
                </a:lnTo>
                <a:lnTo>
                  <a:pt x="3807" y="2740"/>
                </a:lnTo>
                <a:close/>
                <a:moveTo>
                  <a:pt x="3813" y="2757"/>
                </a:moveTo>
                <a:lnTo>
                  <a:pt x="3811" y="2761"/>
                </a:lnTo>
                <a:lnTo>
                  <a:pt x="3813" y="2757"/>
                </a:lnTo>
                <a:lnTo>
                  <a:pt x="3818" y="2749"/>
                </a:lnTo>
                <a:lnTo>
                  <a:pt x="3816" y="2747"/>
                </a:lnTo>
                <a:lnTo>
                  <a:pt x="3814" y="2751"/>
                </a:lnTo>
                <a:lnTo>
                  <a:pt x="3814" y="2752"/>
                </a:lnTo>
                <a:lnTo>
                  <a:pt x="3813" y="2754"/>
                </a:lnTo>
                <a:lnTo>
                  <a:pt x="3811" y="2756"/>
                </a:lnTo>
                <a:lnTo>
                  <a:pt x="3809" y="2759"/>
                </a:lnTo>
                <a:lnTo>
                  <a:pt x="3809" y="2764"/>
                </a:lnTo>
                <a:lnTo>
                  <a:pt x="3807" y="2764"/>
                </a:lnTo>
                <a:lnTo>
                  <a:pt x="3806" y="2768"/>
                </a:lnTo>
                <a:lnTo>
                  <a:pt x="3813" y="2757"/>
                </a:lnTo>
                <a:close/>
                <a:moveTo>
                  <a:pt x="3806" y="2768"/>
                </a:moveTo>
                <a:lnTo>
                  <a:pt x="3806" y="2769"/>
                </a:lnTo>
                <a:lnTo>
                  <a:pt x="3806" y="2768"/>
                </a:lnTo>
                <a:close/>
                <a:moveTo>
                  <a:pt x="3508" y="2786"/>
                </a:moveTo>
                <a:lnTo>
                  <a:pt x="3510" y="2786"/>
                </a:lnTo>
                <a:lnTo>
                  <a:pt x="3510" y="2788"/>
                </a:lnTo>
                <a:lnTo>
                  <a:pt x="3508" y="2788"/>
                </a:lnTo>
                <a:lnTo>
                  <a:pt x="3508" y="2786"/>
                </a:lnTo>
                <a:close/>
                <a:moveTo>
                  <a:pt x="3150" y="2822"/>
                </a:moveTo>
                <a:lnTo>
                  <a:pt x="3151" y="2822"/>
                </a:lnTo>
                <a:lnTo>
                  <a:pt x="3151" y="2824"/>
                </a:lnTo>
                <a:lnTo>
                  <a:pt x="3150" y="2824"/>
                </a:lnTo>
                <a:lnTo>
                  <a:pt x="3150" y="2822"/>
                </a:lnTo>
                <a:close/>
                <a:moveTo>
                  <a:pt x="3146" y="2825"/>
                </a:moveTo>
                <a:lnTo>
                  <a:pt x="3148" y="2825"/>
                </a:lnTo>
                <a:lnTo>
                  <a:pt x="3146" y="2825"/>
                </a:lnTo>
                <a:close/>
                <a:moveTo>
                  <a:pt x="3524" y="2859"/>
                </a:moveTo>
                <a:lnTo>
                  <a:pt x="3524" y="2861"/>
                </a:lnTo>
                <a:lnTo>
                  <a:pt x="3524" y="2859"/>
                </a:lnTo>
                <a:close/>
                <a:moveTo>
                  <a:pt x="3532" y="2902"/>
                </a:moveTo>
                <a:lnTo>
                  <a:pt x="3532" y="2904"/>
                </a:lnTo>
                <a:lnTo>
                  <a:pt x="3532" y="2902"/>
                </a:lnTo>
                <a:close/>
                <a:moveTo>
                  <a:pt x="3532" y="2905"/>
                </a:moveTo>
                <a:lnTo>
                  <a:pt x="3534" y="2905"/>
                </a:lnTo>
                <a:lnTo>
                  <a:pt x="3532" y="2905"/>
                </a:lnTo>
                <a:close/>
                <a:moveTo>
                  <a:pt x="3534" y="2907"/>
                </a:moveTo>
                <a:lnTo>
                  <a:pt x="3536" y="2907"/>
                </a:lnTo>
                <a:lnTo>
                  <a:pt x="3534" y="2907"/>
                </a:lnTo>
                <a:close/>
                <a:moveTo>
                  <a:pt x="3534" y="2907"/>
                </a:moveTo>
                <a:lnTo>
                  <a:pt x="3536" y="2907"/>
                </a:lnTo>
                <a:lnTo>
                  <a:pt x="3536" y="2909"/>
                </a:lnTo>
                <a:lnTo>
                  <a:pt x="3534" y="2909"/>
                </a:lnTo>
                <a:lnTo>
                  <a:pt x="3534" y="2907"/>
                </a:lnTo>
                <a:close/>
                <a:moveTo>
                  <a:pt x="3536" y="2914"/>
                </a:moveTo>
                <a:lnTo>
                  <a:pt x="3536" y="2916"/>
                </a:lnTo>
                <a:lnTo>
                  <a:pt x="3536" y="2914"/>
                </a:lnTo>
                <a:close/>
                <a:moveTo>
                  <a:pt x="3054" y="2950"/>
                </a:moveTo>
                <a:lnTo>
                  <a:pt x="3054" y="2948"/>
                </a:lnTo>
                <a:lnTo>
                  <a:pt x="3053" y="2948"/>
                </a:lnTo>
                <a:lnTo>
                  <a:pt x="3054" y="2948"/>
                </a:lnTo>
                <a:lnTo>
                  <a:pt x="3053" y="2946"/>
                </a:lnTo>
                <a:lnTo>
                  <a:pt x="3051" y="2946"/>
                </a:lnTo>
                <a:lnTo>
                  <a:pt x="3051" y="2948"/>
                </a:lnTo>
                <a:lnTo>
                  <a:pt x="3051" y="2950"/>
                </a:lnTo>
                <a:lnTo>
                  <a:pt x="3054" y="2950"/>
                </a:lnTo>
                <a:close/>
                <a:moveTo>
                  <a:pt x="3061" y="2972"/>
                </a:moveTo>
                <a:lnTo>
                  <a:pt x="3063" y="2972"/>
                </a:lnTo>
                <a:lnTo>
                  <a:pt x="3063" y="2973"/>
                </a:lnTo>
                <a:lnTo>
                  <a:pt x="3061" y="2973"/>
                </a:lnTo>
                <a:lnTo>
                  <a:pt x="3061" y="2972"/>
                </a:lnTo>
                <a:close/>
                <a:moveTo>
                  <a:pt x="3061" y="2975"/>
                </a:moveTo>
                <a:lnTo>
                  <a:pt x="3061" y="2977"/>
                </a:lnTo>
                <a:lnTo>
                  <a:pt x="3061" y="2975"/>
                </a:lnTo>
                <a:close/>
                <a:moveTo>
                  <a:pt x="3082" y="2999"/>
                </a:moveTo>
                <a:lnTo>
                  <a:pt x="3082" y="2997"/>
                </a:lnTo>
                <a:lnTo>
                  <a:pt x="3082" y="2994"/>
                </a:lnTo>
                <a:lnTo>
                  <a:pt x="3080" y="2992"/>
                </a:lnTo>
                <a:lnTo>
                  <a:pt x="3080" y="2994"/>
                </a:lnTo>
                <a:lnTo>
                  <a:pt x="3080" y="2997"/>
                </a:lnTo>
                <a:lnTo>
                  <a:pt x="3078" y="2999"/>
                </a:lnTo>
                <a:lnTo>
                  <a:pt x="3078" y="3001"/>
                </a:lnTo>
                <a:lnTo>
                  <a:pt x="3078" y="3002"/>
                </a:lnTo>
                <a:lnTo>
                  <a:pt x="3080" y="3006"/>
                </a:lnTo>
                <a:lnTo>
                  <a:pt x="3082" y="2999"/>
                </a:lnTo>
                <a:close/>
                <a:moveTo>
                  <a:pt x="3077" y="3009"/>
                </a:moveTo>
                <a:lnTo>
                  <a:pt x="3080" y="3009"/>
                </a:lnTo>
                <a:lnTo>
                  <a:pt x="3080" y="3013"/>
                </a:lnTo>
                <a:lnTo>
                  <a:pt x="3077" y="3013"/>
                </a:lnTo>
                <a:lnTo>
                  <a:pt x="3077" y="3009"/>
                </a:lnTo>
                <a:close/>
                <a:moveTo>
                  <a:pt x="3078" y="3014"/>
                </a:moveTo>
                <a:lnTo>
                  <a:pt x="3078" y="3016"/>
                </a:lnTo>
                <a:lnTo>
                  <a:pt x="3078" y="3014"/>
                </a:lnTo>
                <a:close/>
                <a:moveTo>
                  <a:pt x="3083" y="3023"/>
                </a:moveTo>
                <a:lnTo>
                  <a:pt x="3083" y="3024"/>
                </a:lnTo>
                <a:lnTo>
                  <a:pt x="3083" y="3023"/>
                </a:lnTo>
                <a:close/>
                <a:moveTo>
                  <a:pt x="3473" y="3026"/>
                </a:moveTo>
                <a:lnTo>
                  <a:pt x="3474" y="3026"/>
                </a:lnTo>
                <a:lnTo>
                  <a:pt x="3473" y="3026"/>
                </a:lnTo>
                <a:close/>
                <a:moveTo>
                  <a:pt x="3527" y="3183"/>
                </a:moveTo>
                <a:lnTo>
                  <a:pt x="3529" y="3183"/>
                </a:lnTo>
                <a:lnTo>
                  <a:pt x="3527" y="3183"/>
                </a:lnTo>
                <a:close/>
                <a:moveTo>
                  <a:pt x="2941" y="3210"/>
                </a:moveTo>
                <a:lnTo>
                  <a:pt x="2941" y="3212"/>
                </a:lnTo>
                <a:lnTo>
                  <a:pt x="2941" y="3210"/>
                </a:lnTo>
                <a:close/>
                <a:moveTo>
                  <a:pt x="2939" y="3215"/>
                </a:moveTo>
                <a:lnTo>
                  <a:pt x="2939" y="3217"/>
                </a:lnTo>
                <a:lnTo>
                  <a:pt x="2939" y="3215"/>
                </a:lnTo>
                <a:close/>
                <a:moveTo>
                  <a:pt x="2954" y="3218"/>
                </a:moveTo>
                <a:lnTo>
                  <a:pt x="2952" y="3218"/>
                </a:lnTo>
                <a:lnTo>
                  <a:pt x="2951" y="3220"/>
                </a:lnTo>
                <a:lnTo>
                  <a:pt x="2949" y="3222"/>
                </a:lnTo>
                <a:lnTo>
                  <a:pt x="2951" y="3223"/>
                </a:lnTo>
                <a:lnTo>
                  <a:pt x="2951" y="3222"/>
                </a:lnTo>
                <a:lnTo>
                  <a:pt x="2951" y="3220"/>
                </a:lnTo>
                <a:lnTo>
                  <a:pt x="2952" y="3220"/>
                </a:lnTo>
                <a:lnTo>
                  <a:pt x="2952" y="3223"/>
                </a:lnTo>
                <a:lnTo>
                  <a:pt x="2954" y="3218"/>
                </a:lnTo>
                <a:close/>
                <a:moveTo>
                  <a:pt x="2053" y="3269"/>
                </a:moveTo>
                <a:lnTo>
                  <a:pt x="2053" y="3271"/>
                </a:lnTo>
                <a:lnTo>
                  <a:pt x="2053" y="3269"/>
                </a:lnTo>
                <a:close/>
                <a:moveTo>
                  <a:pt x="2199" y="3594"/>
                </a:moveTo>
                <a:lnTo>
                  <a:pt x="2201" y="3594"/>
                </a:lnTo>
                <a:lnTo>
                  <a:pt x="2201" y="3596"/>
                </a:lnTo>
                <a:lnTo>
                  <a:pt x="2199" y="3596"/>
                </a:lnTo>
                <a:lnTo>
                  <a:pt x="2199" y="3594"/>
                </a:lnTo>
                <a:close/>
                <a:moveTo>
                  <a:pt x="2213" y="3613"/>
                </a:moveTo>
                <a:lnTo>
                  <a:pt x="2215" y="3613"/>
                </a:lnTo>
                <a:lnTo>
                  <a:pt x="2215" y="3615"/>
                </a:lnTo>
                <a:lnTo>
                  <a:pt x="2213" y="3615"/>
                </a:lnTo>
                <a:lnTo>
                  <a:pt x="2213" y="3613"/>
                </a:lnTo>
                <a:close/>
              </a:path>
            </a:pathLst>
          </a:custGeom>
          <a:solidFill>
            <a:schemeClr val="bg2">
              <a:lumMod val="75000"/>
              <a:alpha val="43922"/>
            </a:schemeClr>
          </a:solidFill>
          <a:ln w="6350">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6" name="Freeform 9">
            <a:extLst>
              <a:ext uri="{FF2B5EF4-FFF2-40B4-BE49-F238E27FC236}">
                <a16:creationId xmlns:a16="http://schemas.microsoft.com/office/drawing/2014/main" id="{B948A3A1-87E0-4D51-876D-89761DFDADE3}"/>
              </a:ext>
            </a:extLst>
          </p:cNvPr>
          <p:cNvSpPr>
            <a:spLocks noEditPoints="1"/>
          </p:cNvSpPr>
          <p:nvPr/>
        </p:nvSpPr>
        <p:spPr bwMode="auto">
          <a:xfrm>
            <a:off x="9002886" y="1785454"/>
            <a:ext cx="375376" cy="257343"/>
          </a:xfrm>
          <a:custGeom>
            <a:avLst/>
            <a:gdLst>
              <a:gd name="T0" fmla="*/ 0 w 151"/>
              <a:gd name="T1" fmla="*/ 43 h 126"/>
              <a:gd name="T2" fmla="*/ 75 w 151"/>
              <a:gd name="T3" fmla="*/ 10 h 126"/>
              <a:gd name="T4" fmla="*/ 151 w 151"/>
              <a:gd name="T5" fmla="*/ 43 h 126"/>
              <a:gd name="T6" fmla="*/ 16 w 151"/>
              <a:gd name="T7" fmla="*/ 66 h 126"/>
              <a:gd name="T8" fmla="*/ 20 w 151"/>
              <a:gd name="T9" fmla="*/ 71 h 126"/>
              <a:gd name="T10" fmla="*/ 23 w 151"/>
              <a:gd name="T11" fmla="*/ 116 h 126"/>
              <a:gd name="T12" fmla="*/ 20 w 151"/>
              <a:gd name="T13" fmla="*/ 120 h 126"/>
              <a:gd name="T14" fmla="*/ 16 w 151"/>
              <a:gd name="T15" fmla="*/ 126 h 126"/>
              <a:gd name="T16" fmla="*/ 137 w 151"/>
              <a:gd name="T17" fmla="*/ 120 h 126"/>
              <a:gd name="T18" fmla="*/ 133 w 151"/>
              <a:gd name="T19" fmla="*/ 116 h 126"/>
              <a:gd name="T20" fmla="*/ 130 w 151"/>
              <a:gd name="T21" fmla="*/ 71 h 126"/>
              <a:gd name="T22" fmla="*/ 133 w 151"/>
              <a:gd name="T23" fmla="*/ 66 h 126"/>
              <a:gd name="T24" fmla="*/ 137 w 151"/>
              <a:gd name="T25" fmla="*/ 60 h 126"/>
              <a:gd name="T26" fmla="*/ 16 w 151"/>
              <a:gd name="T27" fmla="*/ 66 h 126"/>
              <a:gd name="T28" fmla="*/ 109 w 151"/>
              <a:gd name="T29" fmla="*/ 71 h 126"/>
              <a:gd name="T30" fmla="*/ 114 w 151"/>
              <a:gd name="T31" fmla="*/ 66 h 126"/>
              <a:gd name="T32" fmla="*/ 117 w 151"/>
              <a:gd name="T33" fmla="*/ 71 h 126"/>
              <a:gd name="T34" fmla="*/ 114 w 151"/>
              <a:gd name="T35" fmla="*/ 116 h 126"/>
              <a:gd name="T36" fmla="*/ 109 w 151"/>
              <a:gd name="T37" fmla="*/ 120 h 126"/>
              <a:gd name="T38" fmla="*/ 106 w 151"/>
              <a:gd name="T39" fmla="*/ 116 h 126"/>
              <a:gd name="T40" fmla="*/ 83 w 151"/>
              <a:gd name="T41" fmla="*/ 71 h 126"/>
              <a:gd name="T42" fmla="*/ 86 w 151"/>
              <a:gd name="T43" fmla="*/ 66 h 126"/>
              <a:gd name="T44" fmla="*/ 90 w 151"/>
              <a:gd name="T45" fmla="*/ 71 h 126"/>
              <a:gd name="T46" fmla="*/ 93 w 151"/>
              <a:gd name="T47" fmla="*/ 116 h 126"/>
              <a:gd name="T48" fmla="*/ 90 w 151"/>
              <a:gd name="T49" fmla="*/ 120 h 126"/>
              <a:gd name="T50" fmla="*/ 86 w 151"/>
              <a:gd name="T51" fmla="*/ 116 h 126"/>
              <a:gd name="T52" fmla="*/ 83 w 151"/>
              <a:gd name="T53" fmla="*/ 71 h 126"/>
              <a:gd name="T54" fmla="*/ 62 w 151"/>
              <a:gd name="T55" fmla="*/ 71 h 126"/>
              <a:gd name="T56" fmla="*/ 67 w 151"/>
              <a:gd name="T57" fmla="*/ 66 h 126"/>
              <a:gd name="T58" fmla="*/ 70 w 151"/>
              <a:gd name="T59" fmla="*/ 71 h 126"/>
              <a:gd name="T60" fmla="*/ 67 w 151"/>
              <a:gd name="T61" fmla="*/ 116 h 126"/>
              <a:gd name="T62" fmla="*/ 62 w 151"/>
              <a:gd name="T63" fmla="*/ 120 h 126"/>
              <a:gd name="T64" fmla="*/ 59 w 151"/>
              <a:gd name="T65" fmla="*/ 116 h 126"/>
              <a:gd name="T66" fmla="*/ 36 w 151"/>
              <a:gd name="T67" fmla="*/ 71 h 126"/>
              <a:gd name="T68" fmla="*/ 39 w 151"/>
              <a:gd name="T69" fmla="*/ 66 h 126"/>
              <a:gd name="T70" fmla="*/ 43 w 151"/>
              <a:gd name="T71" fmla="*/ 71 h 126"/>
              <a:gd name="T72" fmla="*/ 46 w 151"/>
              <a:gd name="T73" fmla="*/ 116 h 126"/>
              <a:gd name="T74" fmla="*/ 43 w 151"/>
              <a:gd name="T75" fmla="*/ 120 h 126"/>
              <a:gd name="T76" fmla="*/ 39 w 151"/>
              <a:gd name="T77" fmla="*/ 116 h 126"/>
              <a:gd name="T78" fmla="*/ 36 w 151"/>
              <a:gd name="T79" fmla="*/ 71 h 126"/>
              <a:gd name="T80" fmla="*/ 22 w 151"/>
              <a:gd name="T81" fmla="*/ 45 h 126"/>
              <a:gd name="T82" fmla="*/ 131 w 151"/>
              <a:gd name="T83" fmla="*/ 55 h 126"/>
              <a:gd name="T84" fmla="*/ 75 w 151"/>
              <a:gd name="T85" fmla="*/ 16 h 126"/>
              <a:gd name="T86" fmla="*/ 62 w 151"/>
              <a:gd name="T87" fmla="*/ 37 h 126"/>
              <a:gd name="T88" fmla="*/ 88 w 151"/>
              <a:gd name="T89" fmla="*/ 3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126">
                <a:moveTo>
                  <a:pt x="75" y="0"/>
                </a:moveTo>
                <a:cubicBezTo>
                  <a:pt x="0" y="43"/>
                  <a:pt x="0" y="43"/>
                  <a:pt x="0" y="43"/>
                </a:cubicBezTo>
                <a:cubicBezTo>
                  <a:pt x="4" y="49"/>
                  <a:pt x="4" y="49"/>
                  <a:pt x="4" y="49"/>
                </a:cubicBezTo>
                <a:cubicBezTo>
                  <a:pt x="75" y="10"/>
                  <a:pt x="75" y="10"/>
                  <a:pt x="75" y="10"/>
                </a:cubicBezTo>
                <a:cubicBezTo>
                  <a:pt x="146" y="49"/>
                  <a:pt x="146" y="49"/>
                  <a:pt x="146" y="49"/>
                </a:cubicBezTo>
                <a:cubicBezTo>
                  <a:pt x="151" y="43"/>
                  <a:pt x="151" y="43"/>
                  <a:pt x="151" y="43"/>
                </a:cubicBezTo>
                <a:lnTo>
                  <a:pt x="75" y="0"/>
                </a:lnTo>
                <a:close/>
                <a:moveTo>
                  <a:pt x="16" y="66"/>
                </a:moveTo>
                <a:cubicBezTo>
                  <a:pt x="20" y="66"/>
                  <a:pt x="20" y="66"/>
                  <a:pt x="20" y="66"/>
                </a:cubicBezTo>
                <a:cubicBezTo>
                  <a:pt x="20" y="71"/>
                  <a:pt x="20" y="71"/>
                  <a:pt x="20" y="71"/>
                </a:cubicBezTo>
                <a:cubicBezTo>
                  <a:pt x="23" y="71"/>
                  <a:pt x="23" y="71"/>
                  <a:pt x="23" y="71"/>
                </a:cubicBezTo>
                <a:cubicBezTo>
                  <a:pt x="23" y="116"/>
                  <a:pt x="23" y="116"/>
                  <a:pt x="23" y="116"/>
                </a:cubicBezTo>
                <a:cubicBezTo>
                  <a:pt x="20" y="116"/>
                  <a:pt x="20" y="116"/>
                  <a:pt x="20" y="116"/>
                </a:cubicBezTo>
                <a:cubicBezTo>
                  <a:pt x="20" y="120"/>
                  <a:pt x="20" y="120"/>
                  <a:pt x="20" y="120"/>
                </a:cubicBezTo>
                <a:cubicBezTo>
                  <a:pt x="16" y="120"/>
                  <a:pt x="16" y="120"/>
                  <a:pt x="16" y="120"/>
                </a:cubicBezTo>
                <a:cubicBezTo>
                  <a:pt x="16" y="126"/>
                  <a:pt x="16" y="126"/>
                  <a:pt x="16" y="126"/>
                </a:cubicBezTo>
                <a:cubicBezTo>
                  <a:pt x="137" y="126"/>
                  <a:pt x="137" y="126"/>
                  <a:pt x="137" y="126"/>
                </a:cubicBezTo>
                <a:cubicBezTo>
                  <a:pt x="137" y="120"/>
                  <a:pt x="137" y="120"/>
                  <a:pt x="137" y="120"/>
                </a:cubicBezTo>
                <a:cubicBezTo>
                  <a:pt x="133" y="120"/>
                  <a:pt x="133" y="120"/>
                  <a:pt x="133" y="120"/>
                </a:cubicBezTo>
                <a:cubicBezTo>
                  <a:pt x="133" y="116"/>
                  <a:pt x="133" y="116"/>
                  <a:pt x="133" y="116"/>
                </a:cubicBezTo>
                <a:cubicBezTo>
                  <a:pt x="130" y="116"/>
                  <a:pt x="130" y="116"/>
                  <a:pt x="130" y="116"/>
                </a:cubicBezTo>
                <a:cubicBezTo>
                  <a:pt x="130" y="71"/>
                  <a:pt x="130" y="71"/>
                  <a:pt x="130" y="71"/>
                </a:cubicBezTo>
                <a:cubicBezTo>
                  <a:pt x="133" y="71"/>
                  <a:pt x="133" y="71"/>
                  <a:pt x="133" y="71"/>
                </a:cubicBezTo>
                <a:cubicBezTo>
                  <a:pt x="133" y="66"/>
                  <a:pt x="133" y="66"/>
                  <a:pt x="133" y="66"/>
                </a:cubicBezTo>
                <a:cubicBezTo>
                  <a:pt x="137" y="66"/>
                  <a:pt x="137" y="66"/>
                  <a:pt x="137" y="66"/>
                </a:cubicBezTo>
                <a:cubicBezTo>
                  <a:pt x="137" y="60"/>
                  <a:pt x="137" y="60"/>
                  <a:pt x="137" y="60"/>
                </a:cubicBezTo>
                <a:cubicBezTo>
                  <a:pt x="16" y="60"/>
                  <a:pt x="16" y="60"/>
                  <a:pt x="16" y="60"/>
                </a:cubicBezTo>
                <a:lnTo>
                  <a:pt x="16" y="66"/>
                </a:lnTo>
                <a:close/>
                <a:moveTo>
                  <a:pt x="106" y="71"/>
                </a:moveTo>
                <a:cubicBezTo>
                  <a:pt x="109" y="71"/>
                  <a:pt x="109" y="71"/>
                  <a:pt x="109" y="71"/>
                </a:cubicBezTo>
                <a:cubicBezTo>
                  <a:pt x="109" y="66"/>
                  <a:pt x="109" y="66"/>
                  <a:pt x="109" y="66"/>
                </a:cubicBezTo>
                <a:cubicBezTo>
                  <a:pt x="114" y="66"/>
                  <a:pt x="114" y="66"/>
                  <a:pt x="114" y="66"/>
                </a:cubicBezTo>
                <a:cubicBezTo>
                  <a:pt x="114" y="71"/>
                  <a:pt x="114" y="71"/>
                  <a:pt x="114" y="71"/>
                </a:cubicBezTo>
                <a:cubicBezTo>
                  <a:pt x="117" y="71"/>
                  <a:pt x="117" y="71"/>
                  <a:pt x="117" y="71"/>
                </a:cubicBezTo>
                <a:cubicBezTo>
                  <a:pt x="117" y="116"/>
                  <a:pt x="117" y="116"/>
                  <a:pt x="117" y="116"/>
                </a:cubicBezTo>
                <a:cubicBezTo>
                  <a:pt x="114" y="116"/>
                  <a:pt x="114" y="116"/>
                  <a:pt x="114" y="116"/>
                </a:cubicBezTo>
                <a:cubicBezTo>
                  <a:pt x="114" y="120"/>
                  <a:pt x="114" y="120"/>
                  <a:pt x="114" y="120"/>
                </a:cubicBezTo>
                <a:cubicBezTo>
                  <a:pt x="109" y="120"/>
                  <a:pt x="109" y="120"/>
                  <a:pt x="109" y="120"/>
                </a:cubicBezTo>
                <a:cubicBezTo>
                  <a:pt x="109" y="116"/>
                  <a:pt x="109" y="116"/>
                  <a:pt x="109" y="116"/>
                </a:cubicBezTo>
                <a:cubicBezTo>
                  <a:pt x="106" y="116"/>
                  <a:pt x="106" y="116"/>
                  <a:pt x="106" y="116"/>
                </a:cubicBezTo>
                <a:lnTo>
                  <a:pt x="106" y="71"/>
                </a:lnTo>
                <a:close/>
                <a:moveTo>
                  <a:pt x="83" y="71"/>
                </a:moveTo>
                <a:cubicBezTo>
                  <a:pt x="86" y="71"/>
                  <a:pt x="86" y="71"/>
                  <a:pt x="86" y="71"/>
                </a:cubicBezTo>
                <a:cubicBezTo>
                  <a:pt x="86" y="66"/>
                  <a:pt x="86" y="66"/>
                  <a:pt x="86" y="66"/>
                </a:cubicBezTo>
                <a:cubicBezTo>
                  <a:pt x="90" y="66"/>
                  <a:pt x="90" y="66"/>
                  <a:pt x="90" y="66"/>
                </a:cubicBezTo>
                <a:cubicBezTo>
                  <a:pt x="90" y="71"/>
                  <a:pt x="90" y="71"/>
                  <a:pt x="90" y="71"/>
                </a:cubicBezTo>
                <a:cubicBezTo>
                  <a:pt x="93" y="71"/>
                  <a:pt x="93" y="71"/>
                  <a:pt x="93" y="71"/>
                </a:cubicBezTo>
                <a:cubicBezTo>
                  <a:pt x="93" y="116"/>
                  <a:pt x="93" y="116"/>
                  <a:pt x="93" y="116"/>
                </a:cubicBezTo>
                <a:cubicBezTo>
                  <a:pt x="90" y="116"/>
                  <a:pt x="90" y="116"/>
                  <a:pt x="90" y="116"/>
                </a:cubicBezTo>
                <a:cubicBezTo>
                  <a:pt x="90" y="120"/>
                  <a:pt x="90" y="120"/>
                  <a:pt x="90" y="120"/>
                </a:cubicBezTo>
                <a:cubicBezTo>
                  <a:pt x="86" y="120"/>
                  <a:pt x="86" y="120"/>
                  <a:pt x="86" y="120"/>
                </a:cubicBezTo>
                <a:cubicBezTo>
                  <a:pt x="86" y="116"/>
                  <a:pt x="86" y="116"/>
                  <a:pt x="86" y="116"/>
                </a:cubicBezTo>
                <a:cubicBezTo>
                  <a:pt x="83" y="116"/>
                  <a:pt x="83" y="116"/>
                  <a:pt x="83" y="116"/>
                </a:cubicBezTo>
                <a:lnTo>
                  <a:pt x="83" y="71"/>
                </a:lnTo>
                <a:close/>
                <a:moveTo>
                  <a:pt x="59" y="71"/>
                </a:moveTo>
                <a:cubicBezTo>
                  <a:pt x="62" y="71"/>
                  <a:pt x="62" y="71"/>
                  <a:pt x="62" y="71"/>
                </a:cubicBezTo>
                <a:cubicBezTo>
                  <a:pt x="62" y="66"/>
                  <a:pt x="62" y="66"/>
                  <a:pt x="62" y="66"/>
                </a:cubicBezTo>
                <a:cubicBezTo>
                  <a:pt x="67" y="66"/>
                  <a:pt x="67" y="66"/>
                  <a:pt x="67" y="66"/>
                </a:cubicBezTo>
                <a:cubicBezTo>
                  <a:pt x="67" y="71"/>
                  <a:pt x="67" y="71"/>
                  <a:pt x="67" y="71"/>
                </a:cubicBezTo>
                <a:cubicBezTo>
                  <a:pt x="70" y="71"/>
                  <a:pt x="70" y="71"/>
                  <a:pt x="70" y="71"/>
                </a:cubicBezTo>
                <a:cubicBezTo>
                  <a:pt x="70" y="116"/>
                  <a:pt x="70" y="116"/>
                  <a:pt x="70" y="116"/>
                </a:cubicBezTo>
                <a:cubicBezTo>
                  <a:pt x="67" y="116"/>
                  <a:pt x="67" y="116"/>
                  <a:pt x="67" y="116"/>
                </a:cubicBezTo>
                <a:cubicBezTo>
                  <a:pt x="67" y="120"/>
                  <a:pt x="67" y="120"/>
                  <a:pt x="67" y="120"/>
                </a:cubicBezTo>
                <a:cubicBezTo>
                  <a:pt x="62" y="120"/>
                  <a:pt x="62" y="120"/>
                  <a:pt x="62" y="120"/>
                </a:cubicBezTo>
                <a:cubicBezTo>
                  <a:pt x="62" y="116"/>
                  <a:pt x="62" y="116"/>
                  <a:pt x="62" y="116"/>
                </a:cubicBezTo>
                <a:cubicBezTo>
                  <a:pt x="59" y="116"/>
                  <a:pt x="59" y="116"/>
                  <a:pt x="59" y="116"/>
                </a:cubicBezTo>
                <a:lnTo>
                  <a:pt x="59" y="71"/>
                </a:lnTo>
                <a:close/>
                <a:moveTo>
                  <a:pt x="36" y="71"/>
                </a:moveTo>
                <a:cubicBezTo>
                  <a:pt x="39" y="71"/>
                  <a:pt x="39" y="71"/>
                  <a:pt x="39" y="71"/>
                </a:cubicBezTo>
                <a:cubicBezTo>
                  <a:pt x="39" y="66"/>
                  <a:pt x="39" y="66"/>
                  <a:pt x="39" y="66"/>
                </a:cubicBezTo>
                <a:cubicBezTo>
                  <a:pt x="43" y="66"/>
                  <a:pt x="43" y="66"/>
                  <a:pt x="43" y="66"/>
                </a:cubicBezTo>
                <a:cubicBezTo>
                  <a:pt x="43" y="71"/>
                  <a:pt x="43" y="71"/>
                  <a:pt x="43" y="71"/>
                </a:cubicBezTo>
                <a:cubicBezTo>
                  <a:pt x="46" y="71"/>
                  <a:pt x="46" y="71"/>
                  <a:pt x="46" y="71"/>
                </a:cubicBezTo>
                <a:cubicBezTo>
                  <a:pt x="46" y="116"/>
                  <a:pt x="46" y="116"/>
                  <a:pt x="46" y="116"/>
                </a:cubicBezTo>
                <a:cubicBezTo>
                  <a:pt x="43" y="116"/>
                  <a:pt x="43" y="116"/>
                  <a:pt x="43" y="116"/>
                </a:cubicBezTo>
                <a:cubicBezTo>
                  <a:pt x="43" y="120"/>
                  <a:pt x="43" y="120"/>
                  <a:pt x="43" y="120"/>
                </a:cubicBezTo>
                <a:cubicBezTo>
                  <a:pt x="39" y="120"/>
                  <a:pt x="39" y="120"/>
                  <a:pt x="39" y="120"/>
                </a:cubicBezTo>
                <a:cubicBezTo>
                  <a:pt x="39" y="116"/>
                  <a:pt x="39" y="116"/>
                  <a:pt x="39" y="116"/>
                </a:cubicBezTo>
                <a:cubicBezTo>
                  <a:pt x="36" y="116"/>
                  <a:pt x="36" y="116"/>
                  <a:pt x="36" y="116"/>
                </a:cubicBezTo>
                <a:lnTo>
                  <a:pt x="36" y="71"/>
                </a:lnTo>
                <a:close/>
                <a:moveTo>
                  <a:pt x="75" y="16"/>
                </a:moveTo>
                <a:cubicBezTo>
                  <a:pt x="22" y="45"/>
                  <a:pt x="22" y="45"/>
                  <a:pt x="22" y="45"/>
                </a:cubicBezTo>
                <a:cubicBezTo>
                  <a:pt x="22" y="55"/>
                  <a:pt x="22" y="55"/>
                  <a:pt x="22" y="55"/>
                </a:cubicBezTo>
                <a:cubicBezTo>
                  <a:pt x="131" y="55"/>
                  <a:pt x="131" y="55"/>
                  <a:pt x="131" y="55"/>
                </a:cubicBezTo>
                <a:cubicBezTo>
                  <a:pt x="131" y="46"/>
                  <a:pt x="131" y="46"/>
                  <a:pt x="131" y="46"/>
                </a:cubicBezTo>
                <a:lnTo>
                  <a:pt x="75" y="16"/>
                </a:lnTo>
                <a:close/>
                <a:moveTo>
                  <a:pt x="75" y="50"/>
                </a:moveTo>
                <a:cubicBezTo>
                  <a:pt x="68" y="50"/>
                  <a:pt x="62" y="44"/>
                  <a:pt x="62" y="37"/>
                </a:cubicBezTo>
                <a:cubicBezTo>
                  <a:pt x="62" y="30"/>
                  <a:pt x="68" y="24"/>
                  <a:pt x="75" y="24"/>
                </a:cubicBezTo>
                <a:cubicBezTo>
                  <a:pt x="82" y="24"/>
                  <a:pt x="88" y="30"/>
                  <a:pt x="88" y="37"/>
                </a:cubicBezTo>
                <a:cubicBezTo>
                  <a:pt x="88" y="44"/>
                  <a:pt x="82" y="50"/>
                  <a:pt x="75" y="50"/>
                </a:cubicBezTo>
                <a:close/>
              </a:path>
            </a:pathLst>
          </a:custGeom>
          <a:solidFill>
            <a:srgbClr val="911C39"/>
          </a:solidFill>
          <a:ln>
            <a:noFill/>
          </a:ln>
        </p:spPr>
        <p:txBody>
          <a:bodyPr vert="horz" wrap="square" lIns="86115" tIns="43058" rIns="86115" bIns="4305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000000"/>
              </a:solidFill>
              <a:effectLst/>
              <a:uLnTx/>
              <a:uFillTx/>
              <a:latin typeface="Arial"/>
              <a:ea typeface="+mn-ea"/>
              <a:cs typeface="+mn-cs"/>
            </a:endParaRPr>
          </a:p>
        </p:txBody>
      </p:sp>
      <p:pic>
        <p:nvPicPr>
          <p:cNvPr id="200" name="Picture 199">
            <a:extLst>
              <a:ext uri="{FF2B5EF4-FFF2-40B4-BE49-F238E27FC236}">
                <a16:creationId xmlns:a16="http://schemas.microsoft.com/office/drawing/2014/main" id="{67F8556E-8C7A-4683-ADAA-3CD1A850F819}"/>
              </a:ext>
            </a:extLst>
          </p:cNvPr>
          <p:cNvPicPr>
            <a:picLocks noChangeAspect="1"/>
          </p:cNvPicPr>
          <p:nvPr/>
        </p:nvPicPr>
        <p:blipFill rotWithShape="1">
          <a:blip r:embed="rId94">
            <a:clrChange>
              <a:clrFrom>
                <a:srgbClr val="FFFFFF"/>
              </a:clrFrom>
              <a:clrTo>
                <a:srgbClr val="FFFFFF">
                  <a:alpha val="0"/>
                </a:srgbClr>
              </a:clrTo>
            </a:clrChange>
          </a:blip>
          <a:srcRect l="56603" t="22705" r="22369" b="54446"/>
          <a:stretch/>
        </p:blipFill>
        <p:spPr>
          <a:xfrm>
            <a:off x="10200939" y="2448908"/>
            <a:ext cx="878187" cy="375376"/>
          </a:xfrm>
          <a:prstGeom prst="rect">
            <a:avLst/>
          </a:prstGeom>
        </p:spPr>
      </p:pic>
      <p:pic>
        <p:nvPicPr>
          <p:cNvPr id="201" name="Picture 6" descr="Mastercard Foundation Brand Guidelines - Mastercard Foundation">
            <a:extLst>
              <a:ext uri="{FF2B5EF4-FFF2-40B4-BE49-F238E27FC236}">
                <a16:creationId xmlns:a16="http://schemas.microsoft.com/office/drawing/2014/main" id="{DB444C52-F086-409E-A98F-072CE85397E8}"/>
              </a:ext>
            </a:extLst>
          </p:cNvPr>
          <p:cNvPicPr>
            <a:picLocks noChangeAspect="1" noChangeArrowheads="1"/>
          </p:cNvPicPr>
          <p:nvPr/>
        </p:nvPicPr>
        <p:blipFill rotWithShape="1">
          <a:blip r:embed="rId95">
            <a:clrChange>
              <a:clrFrom>
                <a:srgbClr val="FFFFFF"/>
              </a:clrFrom>
              <a:clrTo>
                <a:srgbClr val="FFFFFF">
                  <a:alpha val="0"/>
                </a:srgbClr>
              </a:clrTo>
            </a:clrChange>
            <a:extLst>
              <a:ext uri="{28A0092B-C50C-407E-A947-70E740481C1C}">
                <a14:useLocalDpi xmlns:a14="http://schemas.microsoft.com/office/drawing/2010/main" val="0"/>
              </a:ext>
            </a:extLst>
          </a:blip>
          <a:srcRect l="8925" t="12166" r="46991" b="15234"/>
          <a:stretch/>
        </p:blipFill>
        <p:spPr bwMode="auto">
          <a:xfrm>
            <a:off x="10377875" y="2802808"/>
            <a:ext cx="424690" cy="392559"/>
          </a:xfrm>
          <a:prstGeom prst="rect">
            <a:avLst/>
          </a:prstGeom>
          <a:noFill/>
          <a:extLst>
            <a:ext uri="{909E8E84-426E-40DD-AFC4-6F175D3DCCD1}">
              <a14:hiddenFill xmlns:a14="http://schemas.microsoft.com/office/drawing/2010/main">
                <a:solidFill>
                  <a:srgbClr val="FFFFFF"/>
                </a:solidFill>
              </a14:hiddenFill>
            </a:ext>
          </a:extLst>
        </p:spPr>
      </p:pic>
      <p:sp>
        <p:nvSpPr>
          <p:cNvPr id="202" name="Freeform 9">
            <a:extLst>
              <a:ext uri="{FF2B5EF4-FFF2-40B4-BE49-F238E27FC236}">
                <a16:creationId xmlns:a16="http://schemas.microsoft.com/office/drawing/2014/main" id="{C6312E3C-93F5-4E42-BA0D-7D30A60433BE}"/>
              </a:ext>
            </a:extLst>
          </p:cNvPr>
          <p:cNvSpPr>
            <a:spLocks noEditPoints="1"/>
          </p:cNvSpPr>
          <p:nvPr/>
        </p:nvSpPr>
        <p:spPr bwMode="auto">
          <a:xfrm>
            <a:off x="7504790" y="2265202"/>
            <a:ext cx="375376" cy="257343"/>
          </a:xfrm>
          <a:custGeom>
            <a:avLst/>
            <a:gdLst>
              <a:gd name="T0" fmla="*/ 0 w 151"/>
              <a:gd name="T1" fmla="*/ 43 h 126"/>
              <a:gd name="T2" fmla="*/ 75 w 151"/>
              <a:gd name="T3" fmla="*/ 10 h 126"/>
              <a:gd name="T4" fmla="*/ 151 w 151"/>
              <a:gd name="T5" fmla="*/ 43 h 126"/>
              <a:gd name="T6" fmla="*/ 16 w 151"/>
              <a:gd name="T7" fmla="*/ 66 h 126"/>
              <a:gd name="T8" fmla="*/ 20 w 151"/>
              <a:gd name="T9" fmla="*/ 71 h 126"/>
              <a:gd name="T10" fmla="*/ 23 w 151"/>
              <a:gd name="T11" fmla="*/ 116 h 126"/>
              <a:gd name="T12" fmla="*/ 20 w 151"/>
              <a:gd name="T13" fmla="*/ 120 h 126"/>
              <a:gd name="T14" fmla="*/ 16 w 151"/>
              <a:gd name="T15" fmla="*/ 126 h 126"/>
              <a:gd name="T16" fmla="*/ 137 w 151"/>
              <a:gd name="T17" fmla="*/ 120 h 126"/>
              <a:gd name="T18" fmla="*/ 133 w 151"/>
              <a:gd name="T19" fmla="*/ 116 h 126"/>
              <a:gd name="T20" fmla="*/ 130 w 151"/>
              <a:gd name="T21" fmla="*/ 71 h 126"/>
              <a:gd name="T22" fmla="*/ 133 w 151"/>
              <a:gd name="T23" fmla="*/ 66 h 126"/>
              <a:gd name="T24" fmla="*/ 137 w 151"/>
              <a:gd name="T25" fmla="*/ 60 h 126"/>
              <a:gd name="T26" fmla="*/ 16 w 151"/>
              <a:gd name="T27" fmla="*/ 66 h 126"/>
              <a:gd name="T28" fmla="*/ 109 w 151"/>
              <a:gd name="T29" fmla="*/ 71 h 126"/>
              <a:gd name="T30" fmla="*/ 114 w 151"/>
              <a:gd name="T31" fmla="*/ 66 h 126"/>
              <a:gd name="T32" fmla="*/ 117 w 151"/>
              <a:gd name="T33" fmla="*/ 71 h 126"/>
              <a:gd name="T34" fmla="*/ 114 w 151"/>
              <a:gd name="T35" fmla="*/ 116 h 126"/>
              <a:gd name="T36" fmla="*/ 109 w 151"/>
              <a:gd name="T37" fmla="*/ 120 h 126"/>
              <a:gd name="T38" fmla="*/ 106 w 151"/>
              <a:gd name="T39" fmla="*/ 116 h 126"/>
              <a:gd name="T40" fmla="*/ 83 w 151"/>
              <a:gd name="T41" fmla="*/ 71 h 126"/>
              <a:gd name="T42" fmla="*/ 86 w 151"/>
              <a:gd name="T43" fmla="*/ 66 h 126"/>
              <a:gd name="T44" fmla="*/ 90 w 151"/>
              <a:gd name="T45" fmla="*/ 71 h 126"/>
              <a:gd name="T46" fmla="*/ 93 w 151"/>
              <a:gd name="T47" fmla="*/ 116 h 126"/>
              <a:gd name="T48" fmla="*/ 90 w 151"/>
              <a:gd name="T49" fmla="*/ 120 h 126"/>
              <a:gd name="T50" fmla="*/ 86 w 151"/>
              <a:gd name="T51" fmla="*/ 116 h 126"/>
              <a:gd name="T52" fmla="*/ 83 w 151"/>
              <a:gd name="T53" fmla="*/ 71 h 126"/>
              <a:gd name="T54" fmla="*/ 62 w 151"/>
              <a:gd name="T55" fmla="*/ 71 h 126"/>
              <a:gd name="T56" fmla="*/ 67 w 151"/>
              <a:gd name="T57" fmla="*/ 66 h 126"/>
              <a:gd name="T58" fmla="*/ 70 w 151"/>
              <a:gd name="T59" fmla="*/ 71 h 126"/>
              <a:gd name="T60" fmla="*/ 67 w 151"/>
              <a:gd name="T61" fmla="*/ 116 h 126"/>
              <a:gd name="T62" fmla="*/ 62 w 151"/>
              <a:gd name="T63" fmla="*/ 120 h 126"/>
              <a:gd name="T64" fmla="*/ 59 w 151"/>
              <a:gd name="T65" fmla="*/ 116 h 126"/>
              <a:gd name="T66" fmla="*/ 36 w 151"/>
              <a:gd name="T67" fmla="*/ 71 h 126"/>
              <a:gd name="T68" fmla="*/ 39 w 151"/>
              <a:gd name="T69" fmla="*/ 66 h 126"/>
              <a:gd name="T70" fmla="*/ 43 w 151"/>
              <a:gd name="T71" fmla="*/ 71 h 126"/>
              <a:gd name="T72" fmla="*/ 46 w 151"/>
              <a:gd name="T73" fmla="*/ 116 h 126"/>
              <a:gd name="T74" fmla="*/ 43 w 151"/>
              <a:gd name="T75" fmla="*/ 120 h 126"/>
              <a:gd name="T76" fmla="*/ 39 w 151"/>
              <a:gd name="T77" fmla="*/ 116 h 126"/>
              <a:gd name="T78" fmla="*/ 36 w 151"/>
              <a:gd name="T79" fmla="*/ 71 h 126"/>
              <a:gd name="T80" fmla="*/ 22 w 151"/>
              <a:gd name="T81" fmla="*/ 45 h 126"/>
              <a:gd name="T82" fmla="*/ 131 w 151"/>
              <a:gd name="T83" fmla="*/ 55 h 126"/>
              <a:gd name="T84" fmla="*/ 75 w 151"/>
              <a:gd name="T85" fmla="*/ 16 h 126"/>
              <a:gd name="T86" fmla="*/ 62 w 151"/>
              <a:gd name="T87" fmla="*/ 37 h 126"/>
              <a:gd name="T88" fmla="*/ 88 w 151"/>
              <a:gd name="T89" fmla="*/ 3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126">
                <a:moveTo>
                  <a:pt x="75" y="0"/>
                </a:moveTo>
                <a:cubicBezTo>
                  <a:pt x="0" y="43"/>
                  <a:pt x="0" y="43"/>
                  <a:pt x="0" y="43"/>
                </a:cubicBezTo>
                <a:cubicBezTo>
                  <a:pt x="4" y="49"/>
                  <a:pt x="4" y="49"/>
                  <a:pt x="4" y="49"/>
                </a:cubicBezTo>
                <a:cubicBezTo>
                  <a:pt x="75" y="10"/>
                  <a:pt x="75" y="10"/>
                  <a:pt x="75" y="10"/>
                </a:cubicBezTo>
                <a:cubicBezTo>
                  <a:pt x="146" y="49"/>
                  <a:pt x="146" y="49"/>
                  <a:pt x="146" y="49"/>
                </a:cubicBezTo>
                <a:cubicBezTo>
                  <a:pt x="151" y="43"/>
                  <a:pt x="151" y="43"/>
                  <a:pt x="151" y="43"/>
                </a:cubicBezTo>
                <a:lnTo>
                  <a:pt x="75" y="0"/>
                </a:lnTo>
                <a:close/>
                <a:moveTo>
                  <a:pt x="16" y="66"/>
                </a:moveTo>
                <a:cubicBezTo>
                  <a:pt x="20" y="66"/>
                  <a:pt x="20" y="66"/>
                  <a:pt x="20" y="66"/>
                </a:cubicBezTo>
                <a:cubicBezTo>
                  <a:pt x="20" y="71"/>
                  <a:pt x="20" y="71"/>
                  <a:pt x="20" y="71"/>
                </a:cubicBezTo>
                <a:cubicBezTo>
                  <a:pt x="23" y="71"/>
                  <a:pt x="23" y="71"/>
                  <a:pt x="23" y="71"/>
                </a:cubicBezTo>
                <a:cubicBezTo>
                  <a:pt x="23" y="116"/>
                  <a:pt x="23" y="116"/>
                  <a:pt x="23" y="116"/>
                </a:cubicBezTo>
                <a:cubicBezTo>
                  <a:pt x="20" y="116"/>
                  <a:pt x="20" y="116"/>
                  <a:pt x="20" y="116"/>
                </a:cubicBezTo>
                <a:cubicBezTo>
                  <a:pt x="20" y="120"/>
                  <a:pt x="20" y="120"/>
                  <a:pt x="20" y="120"/>
                </a:cubicBezTo>
                <a:cubicBezTo>
                  <a:pt x="16" y="120"/>
                  <a:pt x="16" y="120"/>
                  <a:pt x="16" y="120"/>
                </a:cubicBezTo>
                <a:cubicBezTo>
                  <a:pt x="16" y="126"/>
                  <a:pt x="16" y="126"/>
                  <a:pt x="16" y="126"/>
                </a:cubicBezTo>
                <a:cubicBezTo>
                  <a:pt x="137" y="126"/>
                  <a:pt x="137" y="126"/>
                  <a:pt x="137" y="126"/>
                </a:cubicBezTo>
                <a:cubicBezTo>
                  <a:pt x="137" y="120"/>
                  <a:pt x="137" y="120"/>
                  <a:pt x="137" y="120"/>
                </a:cubicBezTo>
                <a:cubicBezTo>
                  <a:pt x="133" y="120"/>
                  <a:pt x="133" y="120"/>
                  <a:pt x="133" y="120"/>
                </a:cubicBezTo>
                <a:cubicBezTo>
                  <a:pt x="133" y="116"/>
                  <a:pt x="133" y="116"/>
                  <a:pt x="133" y="116"/>
                </a:cubicBezTo>
                <a:cubicBezTo>
                  <a:pt x="130" y="116"/>
                  <a:pt x="130" y="116"/>
                  <a:pt x="130" y="116"/>
                </a:cubicBezTo>
                <a:cubicBezTo>
                  <a:pt x="130" y="71"/>
                  <a:pt x="130" y="71"/>
                  <a:pt x="130" y="71"/>
                </a:cubicBezTo>
                <a:cubicBezTo>
                  <a:pt x="133" y="71"/>
                  <a:pt x="133" y="71"/>
                  <a:pt x="133" y="71"/>
                </a:cubicBezTo>
                <a:cubicBezTo>
                  <a:pt x="133" y="66"/>
                  <a:pt x="133" y="66"/>
                  <a:pt x="133" y="66"/>
                </a:cubicBezTo>
                <a:cubicBezTo>
                  <a:pt x="137" y="66"/>
                  <a:pt x="137" y="66"/>
                  <a:pt x="137" y="66"/>
                </a:cubicBezTo>
                <a:cubicBezTo>
                  <a:pt x="137" y="60"/>
                  <a:pt x="137" y="60"/>
                  <a:pt x="137" y="60"/>
                </a:cubicBezTo>
                <a:cubicBezTo>
                  <a:pt x="16" y="60"/>
                  <a:pt x="16" y="60"/>
                  <a:pt x="16" y="60"/>
                </a:cubicBezTo>
                <a:lnTo>
                  <a:pt x="16" y="66"/>
                </a:lnTo>
                <a:close/>
                <a:moveTo>
                  <a:pt x="106" y="71"/>
                </a:moveTo>
                <a:cubicBezTo>
                  <a:pt x="109" y="71"/>
                  <a:pt x="109" y="71"/>
                  <a:pt x="109" y="71"/>
                </a:cubicBezTo>
                <a:cubicBezTo>
                  <a:pt x="109" y="66"/>
                  <a:pt x="109" y="66"/>
                  <a:pt x="109" y="66"/>
                </a:cubicBezTo>
                <a:cubicBezTo>
                  <a:pt x="114" y="66"/>
                  <a:pt x="114" y="66"/>
                  <a:pt x="114" y="66"/>
                </a:cubicBezTo>
                <a:cubicBezTo>
                  <a:pt x="114" y="71"/>
                  <a:pt x="114" y="71"/>
                  <a:pt x="114" y="71"/>
                </a:cubicBezTo>
                <a:cubicBezTo>
                  <a:pt x="117" y="71"/>
                  <a:pt x="117" y="71"/>
                  <a:pt x="117" y="71"/>
                </a:cubicBezTo>
                <a:cubicBezTo>
                  <a:pt x="117" y="116"/>
                  <a:pt x="117" y="116"/>
                  <a:pt x="117" y="116"/>
                </a:cubicBezTo>
                <a:cubicBezTo>
                  <a:pt x="114" y="116"/>
                  <a:pt x="114" y="116"/>
                  <a:pt x="114" y="116"/>
                </a:cubicBezTo>
                <a:cubicBezTo>
                  <a:pt x="114" y="120"/>
                  <a:pt x="114" y="120"/>
                  <a:pt x="114" y="120"/>
                </a:cubicBezTo>
                <a:cubicBezTo>
                  <a:pt x="109" y="120"/>
                  <a:pt x="109" y="120"/>
                  <a:pt x="109" y="120"/>
                </a:cubicBezTo>
                <a:cubicBezTo>
                  <a:pt x="109" y="116"/>
                  <a:pt x="109" y="116"/>
                  <a:pt x="109" y="116"/>
                </a:cubicBezTo>
                <a:cubicBezTo>
                  <a:pt x="106" y="116"/>
                  <a:pt x="106" y="116"/>
                  <a:pt x="106" y="116"/>
                </a:cubicBezTo>
                <a:lnTo>
                  <a:pt x="106" y="71"/>
                </a:lnTo>
                <a:close/>
                <a:moveTo>
                  <a:pt x="83" y="71"/>
                </a:moveTo>
                <a:cubicBezTo>
                  <a:pt x="86" y="71"/>
                  <a:pt x="86" y="71"/>
                  <a:pt x="86" y="71"/>
                </a:cubicBezTo>
                <a:cubicBezTo>
                  <a:pt x="86" y="66"/>
                  <a:pt x="86" y="66"/>
                  <a:pt x="86" y="66"/>
                </a:cubicBezTo>
                <a:cubicBezTo>
                  <a:pt x="90" y="66"/>
                  <a:pt x="90" y="66"/>
                  <a:pt x="90" y="66"/>
                </a:cubicBezTo>
                <a:cubicBezTo>
                  <a:pt x="90" y="71"/>
                  <a:pt x="90" y="71"/>
                  <a:pt x="90" y="71"/>
                </a:cubicBezTo>
                <a:cubicBezTo>
                  <a:pt x="93" y="71"/>
                  <a:pt x="93" y="71"/>
                  <a:pt x="93" y="71"/>
                </a:cubicBezTo>
                <a:cubicBezTo>
                  <a:pt x="93" y="116"/>
                  <a:pt x="93" y="116"/>
                  <a:pt x="93" y="116"/>
                </a:cubicBezTo>
                <a:cubicBezTo>
                  <a:pt x="90" y="116"/>
                  <a:pt x="90" y="116"/>
                  <a:pt x="90" y="116"/>
                </a:cubicBezTo>
                <a:cubicBezTo>
                  <a:pt x="90" y="120"/>
                  <a:pt x="90" y="120"/>
                  <a:pt x="90" y="120"/>
                </a:cubicBezTo>
                <a:cubicBezTo>
                  <a:pt x="86" y="120"/>
                  <a:pt x="86" y="120"/>
                  <a:pt x="86" y="120"/>
                </a:cubicBezTo>
                <a:cubicBezTo>
                  <a:pt x="86" y="116"/>
                  <a:pt x="86" y="116"/>
                  <a:pt x="86" y="116"/>
                </a:cubicBezTo>
                <a:cubicBezTo>
                  <a:pt x="83" y="116"/>
                  <a:pt x="83" y="116"/>
                  <a:pt x="83" y="116"/>
                </a:cubicBezTo>
                <a:lnTo>
                  <a:pt x="83" y="71"/>
                </a:lnTo>
                <a:close/>
                <a:moveTo>
                  <a:pt x="59" y="71"/>
                </a:moveTo>
                <a:cubicBezTo>
                  <a:pt x="62" y="71"/>
                  <a:pt x="62" y="71"/>
                  <a:pt x="62" y="71"/>
                </a:cubicBezTo>
                <a:cubicBezTo>
                  <a:pt x="62" y="66"/>
                  <a:pt x="62" y="66"/>
                  <a:pt x="62" y="66"/>
                </a:cubicBezTo>
                <a:cubicBezTo>
                  <a:pt x="67" y="66"/>
                  <a:pt x="67" y="66"/>
                  <a:pt x="67" y="66"/>
                </a:cubicBezTo>
                <a:cubicBezTo>
                  <a:pt x="67" y="71"/>
                  <a:pt x="67" y="71"/>
                  <a:pt x="67" y="71"/>
                </a:cubicBezTo>
                <a:cubicBezTo>
                  <a:pt x="70" y="71"/>
                  <a:pt x="70" y="71"/>
                  <a:pt x="70" y="71"/>
                </a:cubicBezTo>
                <a:cubicBezTo>
                  <a:pt x="70" y="116"/>
                  <a:pt x="70" y="116"/>
                  <a:pt x="70" y="116"/>
                </a:cubicBezTo>
                <a:cubicBezTo>
                  <a:pt x="67" y="116"/>
                  <a:pt x="67" y="116"/>
                  <a:pt x="67" y="116"/>
                </a:cubicBezTo>
                <a:cubicBezTo>
                  <a:pt x="67" y="120"/>
                  <a:pt x="67" y="120"/>
                  <a:pt x="67" y="120"/>
                </a:cubicBezTo>
                <a:cubicBezTo>
                  <a:pt x="62" y="120"/>
                  <a:pt x="62" y="120"/>
                  <a:pt x="62" y="120"/>
                </a:cubicBezTo>
                <a:cubicBezTo>
                  <a:pt x="62" y="116"/>
                  <a:pt x="62" y="116"/>
                  <a:pt x="62" y="116"/>
                </a:cubicBezTo>
                <a:cubicBezTo>
                  <a:pt x="59" y="116"/>
                  <a:pt x="59" y="116"/>
                  <a:pt x="59" y="116"/>
                </a:cubicBezTo>
                <a:lnTo>
                  <a:pt x="59" y="71"/>
                </a:lnTo>
                <a:close/>
                <a:moveTo>
                  <a:pt x="36" y="71"/>
                </a:moveTo>
                <a:cubicBezTo>
                  <a:pt x="39" y="71"/>
                  <a:pt x="39" y="71"/>
                  <a:pt x="39" y="71"/>
                </a:cubicBezTo>
                <a:cubicBezTo>
                  <a:pt x="39" y="66"/>
                  <a:pt x="39" y="66"/>
                  <a:pt x="39" y="66"/>
                </a:cubicBezTo>
                <a:cubicBezTo>
                  <a:pt x="43" y="66"/>
                  <a:pt x="43" y="66"/>
                  <a:pt x="43" y="66"/>
                </a:cubicBezTo>
                <a:cubicBezTo>
                  <a:pt x="43" y="71"/>
                  <a:pt x="43" y="71"/>
                  <a:pt x="43" y="71"/>
                </a:cubicBezTo>
                <a:cubicBezTo>
                  <a:pt x="46" y="71"/>
                  <a:pt x="46" y="71"/>
                  <a:pt x="46" y="71"/>
                </a:cubicBezTo>
                <a:cubicBezTo>
                  <a:pt x="46" y="116"/>
                  <a:pt x="46" y="116"/>
                  <a:pt x="46" y="116"/>
                </a:cubicBezTo>
                <a:cubicBezTo>
                  <a:pt x="43" y="116"/>
                  <a:pt x="43" y="116"/>
                  <a:pt x="43" y="116"/>
                </a:cubicBezTo>
                <a:cubicBezTo>
                  <a:pt x="43" y="120"/>
                  <a:pt x="43" y="120"/>
                  <a:pt x="43" y="120"/>
                </a:cubicBezTo>
                <a:cubicBezTo>
                  <a:pt x="39" y="120"/>
                  <a:pt x="39" y="120"/>
                  <a:pt x="39" y="120"/>
                </a:cubicBezTo>
                <a:cubicBezTo>
                  <a:pt x="39" y="116"/>
                  <a:pt x="39" y="116"/>
                  <a:pt x="39" y="116"/>
                </a:cubicBezTo>
                <a:cubicBezTo>
                  <a:pt x="36" y="116"/>
                  <a:pt x="36" y="116"/>
                  <a:pt x="36" y="116"/>
                </a:cubicBezTo>
                <a:lnTo>
                  <a:pt x="36" y="71"/>
                </a:lnTo>
                <a:close/>
                <a:moveTo>
                  <a:pt x="75" y="16"/>
                </a:moveTo>
                <a:cubicBezTo>
                  <a:pt x="22" y="45"/>
                  <a:pt x="22" y="45"/>
                  <a:pt x="22" y="45"/>
                </a:cubicBezTo>
                <a:cubicBezTo>
                  <a:pt x="22" y="55"/>
                  <a:pt x="22" y="55"/>
                  <a:pt x="22" y="55"/>
                </a:cubicBezTo>
                <a:cubicBezTo>
                  <a:pt x="131" y="55"/>
                  <a:pt x="131" y="55"/>
                  <a:pt x="131" y="55"/>
                </a:cubicBezTo>
                <a:cubicBezTo>
                  <a:pt x="131" y="46"/>
                  <a:pt x="131" y="46"/>
                  <a:pt x="131" y="46"/>
                </a:cubicBezTo>
                <a:lnTo>
                  <a:pt x="75" y="16"/>
                </a:lnTo>
                <a:close/>
                <a:moveTo>
                  <a:pt x="75" y="50"/>
                </a:moveTo>
                <a:cubicBezTo>
                  <a:pt x="68" y="50"/>
                  <a:pt x="62" y="44"/>
                  <a:pt x="62" y="37"/>
                </a:cubicBezTo>
                <a:cubicBezTo>
                  <a:pt x="62" y="30"/>
                  <a:pt x="68" y="24"/>
                  <a:pt x="75" y="24"/>
                </a:cubicBezTo>
                <a:cubicBezTo>
                  <a:pt x="82" y="24"/>
                  <a:pt x="88" y="30"/>
                  <a:pt x="88" y="37"/>
                </a:cubicBezTo>
                <a:cubicBezTo>
                  <a:pt x="88" y="44"/>
                  <a:pt x="82" y="50"/>
                  <a:pt x="75" y="50"/>
                </a:cubicBezTo>
                <a:close/>
              </a:path>
            </a:pathLst>
          </a:custGeom>
          <a:solidFill>
            <a:srgbClr val="911C39"/>
          </a:solidFill>
          <a:ln>
            <a:noFill/>
          </a:ln>
        </p:spPr>
        <p:txBody>
          <a:bodyPr vert="horz" wrap="square" lIns="86115" tIns="43058" rIns="86115" bIns="4305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000000"/>
              </a:solidFill>
              <a:effectLst/>
              <a:uLnTx/>
              <a:uFillTx/>
              <a:latin typeface="Arial"/>
              <a:ea typeface="+mn-ea"/>
              <a:cs typeface="+mn-cs"/>
            </a:endParaRPr>
          </a:p>
        </p:txBody>
      </p:sp>
      <p:sp>
        <p:nvSpPr>
          <p:cNvPr id="206" name="Freeform 9">
            <a:extLst>
              <a:ext uri="{FF2B5EF4-FFF2-40B4-BE49-F238E27FC236}">
                <a16:creationId xmlns:a16="http://schemas.microsoft.com/office/drawing/2014/main" id="{D753AE85-CFA1-4598-A868-289BEF234FA3}"/>
              </a:ext>
            </a:extLst>
          </p:cNvPr>
          <p:cNvSpPr>
            <a:spLocks noEditPoints="1"/>
          </p:cNvSpPr>
          <p:nvPr/>
        </p:nvSpPr>
        <p:spPr bwMode="auto">
          <a:xfrm>
            <a:off x="9468364" y="4672494"/>
            <a:ext cx="375376" cy="257343"/>
          </a:xfrm>
          <a:custGeom>
            <a:avLst/>
            <a:gdLst>
              <a:gd name="T0" fmla="*/ 0 w 151"/>
              <a:gd name="T1" fmla="*/ 43 h 126"/>
              <a:gd name="T2" fmla="*/ 75 w 151"/>
              <a:gd name="T3" fmla="*/ 10 h 126"/>
              <a:gd name="T4" fmla="*/ 151 w 151"/>
              <a:gd name="T5" fmla="*/ 43 h 126"/>
              <a:gd name="T6" fmla="*/ 16 w 151"/>
              <a:gd name="T7" fmla="*/ 66 h 126"/>
              <a:gd name="T8" fmla="*/ 20 w 151"/>
              <a:gd name="T9" fmla="*/ 71 h 126"/>
              <a:gd name="T10" fmla="*/ 23 w 151"/>
              <a:gd name="T11" fmla="*/ 116 h 126"/>
              <a:gd name="T12" fmla="*/ 20 w 151"/>
              <a:gd name="T13" fmla="*/ 120 h 126"/>
              <a:gd name="T14" fmla="*/ 16 w 151"/>
              <a:gd name="T15" fmla="*/ 126 h 126"/>
              <a:gd name="T16" fmla="*/ 137 w 151"/>
              <a:gd name="T17" fmla="*/ 120 h 126"/>
              <a:gd name="T18" fmla="*/ 133 w 151"/>
              <a:gd name="T19" fmla="*/ 116 h 126"/>
              <a:gd name="T20" fmla="*/ 130 w 151"/>
              <a:gd name="T21" fmla="*/ 71 h 126"/>
              <a:gd name="T22" fmla="*/ 133 w 151"/>
              <a:gd name="T23" fmla="*/ 66 h 126"/>
              <a:gd name="T24" fmla="*/ 137 w 151"/>
              <a:gd name="T25" fmla="*/ 60 h 126"/>
              <a:gd name="T26" fmla="*/ 16 w 151"/>
              <a:gd name="T27" fmla="*/ 66 h 126"/>
              <a:gd name="T28" fmla="*/ 109 w 151"/>
              <a:gd name="T29" fmla="*/ 71 h 126"/>
              <a:gd name="T30" fmla="*/ 114 w 151"/>
              <a:gd name="T31" fmla="*/ 66 h 126"/>
              <a:gd name="T32" fmla="*/ 117 w 151"/>
              <a:gd name="T33" fmla="*/ 71 h 126"/>
              <a:gd name="T34" fmla="*/ 114 w 151"/>
              <a:gd name="T35" fmla="*/ 116 h 126"/>
              <a:gd name="T36" fmla="*/ 109 w 151"/>
              <a:gd name="T37" fmla="*/ 120 h 126"/>
              <a:gd name="T38" fmla="*/ 106 w 151"/>
              <a:gd name="T39" fmla="*/ 116 h 126"/>
              <a:gd name="T40" fmla="*/ 83 w 151"/>
              <a:gd name="T41" fmla="*/ 71 h 126"/>
              <a:gd name="T42" fmla="*/ 86 w 151"/>
              <a:gd name="T43" fmla="*/ 66 h 126"/>
              <a:gd name="T44" fmla="*/ 90 w 151"/>
              <a:gd name="T45" fmla="*/ 71 h 126"/>
              <a:gd name="T46" fmla="*/ 93 w 151"/>
              <a:gd name="T47" fmla="*/ 116 h 126"/>
              <a:gd name="T48" fmla="*/ 90 w 151"/>
              <a:gd name="T49" fmla="*/ 120 h 126"/>
              <a:gd name="T50" fmla="*/ 86 w 151"/>
              <a:gd name="T51" fmla="*/ 116 h 126"/>
              <a:gd name="T52" fmla="*/ 83 w 151"/>
              <a:gd name="T53" fmla="*/ 71 h 126"/>
              <a:gd name="T54" fmla="*/ 62 w 151"/>
              <a:gd name="T55" fmla="*/ 71 h 126"/>
              <a:gd name="T56" fmla="*/ 67 w 151"/>
              <a:gd name="T57" fmla="*/ 66 h 126"/>
              <a:gd name="T58" fmla="*/ 70 w 151"/>
              <a:gd name="T59" fmla="*/ 71 h 126"/>
              <a:gd name="T60" fmla="*/ 67 w 151"/>
              <a:gd name="T61" fmla="*/ 116 h 126"/>
              <a:gd name="T62" fmla="*/ 62 w 151"/>
              <a:gd name="T63" fmla="*/ 120 h 126"/>
              <a:gd name="T64" fmla="*/ 59 w 151"/>
              <a:gd name="T65" fmla="*/ 116 h 126"/>
              <a:gd name="T66" fmla="*/ 36 w 151"/>
              <a:gd name="T67" fmla="*/ 71 h 126"/>
              <a:gd name="T68" fmla="*/ 39 w 151"/>
              <a:gd name="T69" fmla="*/ 66 h 126"/>
              <a:gd name="T70" fmla="*/ 43 w 151"/>
              <a:gd name="T71" fmla="*/ 71 h 126"/>
              <a:gd name="T72" fmla="*/ 46 w 151"/>
              <a:gd name="T73" fmla="*/ 116 h 126"/>
              <a:gd name="T74" fmla="*/ 43 w 151"/>
              <a:gd name="T75" fmla="*/ 120 h 126"/>
              <a:gd name="T76" fmla="*/ 39 w 151"/>
              <a:gd name="T77" fmla="*/ 116 h 126"/>
              <a:gd name="T78" fmla="*/ 36 w 151"/>
              <a:gd name="T79" fmla="*/ 71 h 126"/>
              <a:gd name="T80" fmla="*/ 22 w 151"/>
              <a:gd name="T81" fmla="*/ 45 h 126"/>
              <a:gd name="T82" fmla="*/ 131 w 151"/>
              <a:gd name="T83" fmla="*/ 55 h 126"/>
              <a:gd name="T84" fmla="*/ 75 w 151"/>
              <a:gd name="T85" fmla="*/ 16 h 126"/>
              <a:gd name="T86" fmla="*/ 62 w 151"/>
              <a:gd name="T87" fmla="*/ 37 h 126"/>
              <a:gd name="T88" fmla="*/ 88 w 151"/>
              <a:gd name="T89" fmla="*/ 3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126">
                <a:moveTo>
                  <a:pt x="75" y="0"/>
                </a:moveTo>
                <a:cubicBezTo>
                  <a:pt x="0" y="43"/>
                  <a:pt x="0" y="43"/>
                  <a:pt x="0" y="43"/>
                </a:cubicBezTo>
                <a:cubicBezTo>
                  <a:pt x="4" y="49"/>
                  <a:pt x="4" y="49"/>
                  <a:pt x="4" y="49"/>
                </a:cubicBezTo>
                <a:cubicBezTo>
                  <a:pt x="75" y="10"/>
                  <a:pt x="75" y="10"/>
                  <a:pt x="75" y="10"/>
                </a:cubicBezTo>
                <a:cubicBezTo>
                  <a:pt x="146" y="49"/>
                  <a:pt x="146" y="49"/>
                  <a:pt x="146" y="49"/>
                </a:cubicBezTo>
                <a:cubicBezTo>
                  <a:pt x="151" y="43"/>
                  <a:pt x="151" y="43"/>
                  <a:pt x="151" y="43"/>
                </a:cubicBezTo>
                <a:lnTo>
                  <a:pt x="75" y="0"/>
                </a:lnTo>
                <a:close/>
                <a:moveTo>
                  <a:pt x="16" y="66"/>
                </a:moveTo>
                <a:cubicBezTo>
                  <a:pt x="20" y="66"/>
                  <a:pt x="20" y="66"/>
                  <a:pt x="20" y="66"/>
                </a:cubicBezTo>
                <a:cubicBezTo>
                  <a:pt x="20" y="71"/>
                  <a:pt x="20" y="71"/>
                  <a:pt x="20" y="71"/>
                </a:cubicBezTo>
                <a:cubicBezTo>
                  <a:pt x="23" y="71"/>
                  <a:pt x="23" y="71"/>
                  <a:pt x="23" y="71"/>
                </a:cubicBezTo>
                <a:cubicBezTo>
                  <a:pt x="23" y="116"/>
                  <a:pt x="23" y="116"/>
                  <a:pt x="23" y="116"/>
                </a:cubicBezTo>
                <a:cubicBezTo>
                  <a:pt x="20" y="116"/>
                  <a:pt x="20" y="116"/>
                  <a:pt x="20" y="116"/>
                </a:cubicBezTo>
                <a:cubicBezTo>
                  <a:pt x="20" y="120"/>
                  <a:pt x="20" y="120"/>
                  <a:pt x="20" y="120"/>
                </a:cubicBezTo>
                <a:cubicBezTo>
                  <a:pt x="16" y="120"/>
                  <a:pt x="16" y="120"/>
                  <a:pt x="16" y="120"/>
                </a:cubicBezTo>
                <a:cubicBezTo>
                  <a:pt x="16" y="126"/>
                  <a:pt x="16" y="126"/>
                  <a:pt x="16" y="126"/>
                </a:cubicBezTo>
                <a:cubicBezTo>
                  <a:pt x="137" y="126"/>
                  <a:pt x="137" y="126"/>
                  <a:pt x="137" y="126"/>
                </a:cubicBezTo>
                <a:cubicBezTo>
                  <a:pt x="137" y="120"/>
                  <a:pt x="137" y="120"/>
                  <a:pt x="137" y="120"/>
                </a:cubicBezTo>
                <a:cubicBezTo>
                  <a:pt x="133" y="120"/>
                  <a:pt x="133" y="120"/>
                  <a:pt x="133" y="120"/>
                </a:cubicBezTo>
                <a:cubicBezTo>
                  <a:pt x="133" y="116"/>
                  <a:pt x="133" y="116"/>
                  <a:pt x="133" y="116"/>
                </a:cubicBezTo>
                <a:cubicBezTo>
                  <a:pt x="130" y="116"/>
                  <a:pt x="130" y="116"/>
                  <a:pt x="130" y="116"/>
                </a:cubicBezTo>
                <a:cubicBezTo>
                  <a:pt x="130" y="71"/>
                  <a:pt x="130" y="71"/>
                  <a:pt x="130" y="71"/>
                </a:cubicBezTo>
                <a:cubicBezTo>
                  <a:pt x="133" y="71"/>
                  <a:pt x="133" y="71"/>
                  <a:pt x="133" y="71"/>
                </a:cubicBezTo>
                <a:cubicBezTo>
                  <a:pt x="133" y="66"/>
                  <a:pt x="133" y="66"/>
                  <a:pt x="133" y="66"/>
                </a:cubicBezTo>
                <a:cubicBezTo>
                  <a:pt x="137" y="66"/>
                  <a:pt x="137" y="66"/>
                  <a:pt x="137" y="66"/>
                </a:cubicBezTo>
                <a:cubicBezTo>
                  <a:pt x="137" y="60"/>
                  <a:pt x="137" y="60"/>
                  <a:pt x="137" y="60"/>
                </a:cubicBezTo>
                <a:cubicBezTo>
                  <a:pt x="16" y="60"/>
                  <a:pt x="16" y="60"/>
                  <a:pt x="16" y="60"/>
                </a:cubicBezTo>
                <a:lnTo>
                  <a:pt x="16" y="66"/>
                </a:lnTo>
                <a:close/>
                <a:moveTo>
                  <a:pt x="106" y="71"/>
                </a:moveTo>
                <a:cubicBezTo>
                  <a:pt x="109" y="71"/>
                  <a:pt x="109" y="71"/>
                  <a:pt x="109" y="71"/>
                </a:cubicBezTo>
                <a:cubicBezTo>
                  <a:pt x="109" y="66"/>
                  <a:pt x="109" y="66"/>
                  <a:pt x="109" y="66"/>
                </a:cubicBezTo>
                <a:cubicBezTo>
                  <a:pt x="114" y="66"/>
                  <a:pt x="114" y="66"/>
                  <a:pt x="114" y="66"/>
                </a:cubicBezTo>
                <a:cubicBezTo>
                  <a:pt x="114" y="71"/>
                  <a:pt x="114" y="71"/>
                  <a:pt x="114" y="71"/>
                </a:cubicBezTo>
                <a:cubicBezTo>
                  <a:pt x="117" y="71"/>
                  <a:pt x="117" y="71"/>
                  <a:pt x="117" y="71"/>
                </a:cubicBezTo>
                <a:cubicBezTo>
                  <a:pt x="117" y="116"/>
                  <a:pt x="117" y="116"/>
                  <a:pt x="117" y="116"/>
                </a:cubicBezTo>
                <a:cubicBezTo>
                  <a:pt x="114" y="116"/>
                  <a:pt x="114" y="116"/>
                  <a:pt x="114" y="116"/>
                </a:cubicBezTo>
                <a:cubicBezTo>
                  <a:pt x="114" y="120"/>
                  <a:pt x="114" y="120"/>
                  <a:pt x="114" y="120"/>
                </a:cubicBezTo>
                <a:cubicBezTo>
                  <a:pt x="109" y="120"/>
                  <a:pt x="109" y="120"/>
                  <a:pt x="109" y="120"/>
                </a:cubicBezTo>
                <a:cubicBezTo>
                  <a:pt x="109" y="116"/>
                  <a:pt x="109" y="116"/>
                  <a:pt x="109" y="116"/>
                </a:cubicBezTo>
                <a:cubicBezTo>
                  <a:pt x="106" y="116"/>
                  <a:pt x="106" y="116"/>
                  <a:pt x="106" y="116"/>
                </a:cubicBezTo>
                <a:lnTo>
                  <a:pt x="106" y="71"/>
                </a:lnTo>
                <a:close/>
                <a:moveTo>
                  <a:pt x="83" y="71"/>
                </a:moveTo>
                <a:cubicBezTo>
                  <a:pt x="86" y="71"/>
                  <a:pt x="86" y="71"/>
                  <a:pt x="86" y="71"/>
                </a:cubicBezTo>
                <a:cubicBezTo>
                  <a:pt x="86" y="66"/>
                  <a:pt x="86" y="66"/>
                  <a:pt x="86" y="66"/>
                </a:cubicBezTo>
                <a:cubicBezTo>
                  <a:pt x="90" y="66"/>
                  <a:pt x="90" y="66"/>
                  <a:pt x="90" y="66"/>
                </a:cubicBezTo>
                <a:cubicBezTo>
                  <a:pt x="90" y="71"/>
                  <a:pt x="90" y="71"/>
                  <a:pt x="90" y="71"/>
                </a:cubicBezTo>
                <a:cubicBezTo>
                  <a:pt x="93" y="71"/>
                  <a:pt x="93" y="71"/>
                  <a:pt x="93" y="71"/>
                </a:cubicBezTo>
                <a:cubicBezTo>
                  <a:pt x="93" y="116"/>
                  <a:pt x="93" y="116"/>
                  <a:pt x="93" y="116"/>
                </a:cubicBezTo>
                <a:cubicBezTo>
                  <a:pt x="90" y="116"/>
                  <a:pt x="90" y="116"/>
                  <a:pt x="90" y="116"/>
                </a:cubicBezTo>
                <a:cubicBezTo>
                  <a:pt x="90" y="120"/>
                  <a:pt x="90" y="120"/>
                  <a:pt x="90" y="120"/>
                </a:cubicBezTo>
                <a:cubicBezTo>
                  <a:pt x="86" y="120"/>
                  <a:pt x="86" y="120"/>
                  <a:pt x="86" y="120"/>
                </a:cubicBezTo>
                <a:cubicBezTo>
                  <a:pt x="86" y="116"/>
                  <a:pt x="86" y="116"/>
                  <a:pt x="86" y="116"/>
                </a:cubicBezTo>
                <a:cubicBezTo>
                  <a:pt x="83" y="116"/>
                  <a:pt x="83" y="116"/>
                  <a:pt x="83" y="116"/>
                </a:cubicBezTo>
                <a:lnTo>
                  <a:pt x="83" y="71"/>
                </a:lnTo>
                <a:close/>
                <a:moveTo>
                  <a:pt x="59" y="71"/>
                </a:moveTo>
                <a:cubicBezTo>
                  <a:pt x="62" y="71"/>
                  <a:pt x="62" y="71"/>
                  <a:pt x="62" y="71"/>
                </a:cubicBezTo>
                <a:cubicBezTo>
                  <a:pt x="62" y="66"/>
                  <a:pt x="62" y="66"/>
                  <a:pt x="62" y="66"/>
                </a:cubicBezTo>
                <a:cubicBezTo>
                  <a:pt x="67" y="66"/>
                  <a:pt x="67" y="66"/>
                  <a:pt x="67" y="66"/>
                </a:cubicBezTo>
                <a:cubicBezTo>
                  <a:pt x="67" y="71"/>
                  <a:pt x="67" y="71"/>
                  <a:pt x="67" y="71"/>
                </a:cubicBezTo>
                <a:cubicBezTo>
                  <a:pt x="70" y="71"/>
                  <a:pt x="70" y="71"/>
                  <a:pt x="70" y="71"/>
                </a:cubicBezTo>
                <a:cubicBezTo>
                  <a:pt x="70" y="116"/>
                  <a:pt x="70" y="116"/>
                  <a:pt x="70" y="116"/>
                </a:cubicBezTo>
                <a:cubicBezTo>
                  <a:pt x="67" y="116"/>
                  <a:pt x="67" y="116"/>
                  <a:pt x="67" y="116"/>
                </a:cubicBezTo>
                <a:cubicBezTo>
                  <a:pt x="67" y="120"/>
                  <a:pt x="67" y="120"/>
                  <a:pt x="67" y="120"/>
                </a:cubicBezTo>
                <a:cubicBezTo>
                  <a:pt x="62" y="120"/>
                  <a:pt x="62" y="120"/>
                  <a:pt x="62" y="120"/>
                </a:cubicBezTo>
                <a:cubicBezTo>
                  <a:pt x="62" y="116"/>
                  <a:pt x="62" y="116"/>
                  <a:pt x="62" y="116"/>
                </a:cubicBezTo>
                <a:cubicBezTo>
                  <a:pt x="59" y="116"/>
                  <a:pt x="59" y="116"/>
                  <a:pt x="59" y="116"/>
                </a:cubicBezTo>
                <a:lnTo>
                  <a:pt x="59" y="71"/>
                </a:lnTo>
                <a:close/>
                <a:moveTo>
                  <a:pt x="36" y="71"/>
                </a:moveTo>
                <a:cubicBezTo>
                  <a:pt x="39" y="71"/>
                  <a:pt x="39" y="71"/>
                  <a:pt x="39" y="71"/>
                </a:cubicBezTo>
                <a:cubicBezTo>
                  <a:pt x="39" y="66"/>
                  <a:pt x="39" y="66"/>
                  <a:pt x="39" y="66"/>
                </a:cubicBezTo>
                <a:cubicBezTo>
                  <a:pt x="43" y="66"/>
                  <a:pt x="43" y="66"/>
                  <a:pt x="43" y="66"/>
                </a:cubicBezTo>
                <a:cubicBezTo>
                  <a:pt x="43" y="71"/>
                  <a:pt x="43" y="71"/>
                  <a:pt x="43" y="71"/>
                </a:cubicBezTo>
                <a:cubicBezTo>
                  <a:pt x="46" y="71"/>
                  <a:pt x="46" y="71"/>
                  <a:pt x="46" y="71"/>
                </a:cubicBezTo>
                <a:cubicBezTo>
                  <a:pt x="46" y="116"/>
                  <a:pt x="46" y="116"/>
                  <a:pt x="46" y="116"/>
                </a:cubicBezTo>
                <a:cubicBezTo>
                  <a:pt x="43" y="116"/>
                  <a:pt x="43" y="116"/>
                  <a:pt x="43" y="116"/>
                </a:cubicBezTo>
                <a:cubicBezTo>
                  <a:pt x="43" y="120"/>
                  <a:pt x="43" y="120"/>
                  <a:pt x="43" y="120"/>
                </a:cubicBezTo>
                <a:cubicBezTo>
                  <a:pt x="39" y="120"/>
                  <a:pt x="39" y="120"/>
                  <a:pt x="39" y="120"/>
                </a:cubicBezTo>
                <a:cubicBezTo>
                  <a:pt x="39" y="116"/>
                  <a:pt x="39" y="116"/>
                  <a:pt x="39" y="116"/>
                </a:cubicBezTo>
                <a:cubicBezTo>
                  <a:pt x="36" y="116"/>
                  <a:pt x="36" y="116"/>
                  <a:pt x="36" y="116"/>
                </a:cubicBezTo>
                <a:lnTo>
                  <a:pt x="36" y="71"/>
                </a:lnTo>
                <a:close/>
                <a:moveTo>
                  <a:pt x="75" y="16"/>
                </a:moveTo>
                <a:cubicBezTo>
                  <a:pt x="22" y="45"/>
                  <a:pt x="22" y="45"/>
                  <a:pt x="22" y="45"/>
                </a:cubicBezTo>
                <a:cubicBezTo>
                  <a:pt x="22" y="55"/>
                  <a:pt x="22" y="55"/>
                  <a:pt x="22" y="55"/>
                </a:cubicBezTo>
                <a:cubicBezTo>
                  <a:pt x="131" y="55"/>
                  <a:pt x="131" y="55"/>
                  <a:pt x="131" y="55"/>
                </a:cubicBezTo>
                <a:cubicBezTo>
                  <a:pt x="131" y="46"/>
                  <a:pt x="131" y="46"/>
                  <a:pt x="131" y="46"/>
                </a:cubicBezTo>
                <a:lnTo>
                  <a:pt x="75" y="16"/>
                </a:lnTo>
                <a:close/>
                <a:moveTo>
                  <a:pt x="75" y="50"/>
                </a:moveTo>
                <a:cubicBezTo>
                  <a:pt x="68" y="50"/>
                  <a:pt x="62" y="44"/>
                  <a:pt x="62" y="37"/>
                </a:cubicBezTo>
                <a:cubicBezTo>
                  <a:pt x="62" y="30"/>
                  <a:pt x="68" y="24"/>
                  <a:pt x="75" y="24"/>
                </a:cubicBezTo>
                <a:cubicBezTo>
                  <a:pt x="82" y="24"/>
                  <a:pt x="88" y="30"/>
                  <a:pt x="88" y="37"/>
                </a:cubicBezTo>
                <a:cubicBezTo>
                  <a:pt x="88" y="44"/>
                  <a:pt x="82" y="50"/>
                  <a:pt x="75" y="50"/>
                </a:cubicBezTo>
                <a:close/>
              </a:path>
            </a:pathLst>
          </a:custGeom>
          <a:solidFill>
            <a:srgbClr val="911C39"/>
          </a:solidFill>
          <a:ln>
            <a:noFill/>
          </a:ln>
        </p:spPr>
        <p:txBody>
          <a:bodyPr vert="horz" wrap="square" lIns="86115" tIns="43058" rIns="86115" bIns="4305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000000"/>
              </a:solidFill>
              <a:effectLst/>
              <a:uLnTx/>
              <a:uFillTx/>
              <a:latin typeface="Arial"/>
              <a:ea typeface="+mn-ea"/>
              <a:cs typeface="+mn-cs"/>
            </a:endParaRPr>
          </a:p>
        </p:txBody>
      </p:sp>
      <p:sp>
        <p:nvSpPr>
          <p:cNvPr id="210" name="Freeform 9">
            <a:extLst>
              <a:ext uri="{FF2B5EF4-FFF2-40B4-BE49-F238E27FC236}">
                <a16:creationId xmlns:a16="http://schemas.microsoft.com/office/drawing/2014/main" id="{F55A43A9-39D8-4237-83AA-8D42D24B4187}"/>
              </a:ext>
            </a:extLst>
          </p:cNvPr>
          <p:cNvSpPr>
            <a:spLocks noEditPoints="1"/>
          </p:cNvSpPr>
          <p:nvPr/>
        </p:nvSpPr>
        <p:spPr bwMode="auto">
          <a:xfrm>
            <a:off x="9937515" y="3444536"/>
            <a:ext cx="375376" cy="257343"/>
          </a:xfrm>
          <a:custGeom>
            <a:avLst/>
            <a:gdLst>
              <a:gd name="T0" fmla="*/ 0 w 151"/>
              <a:gd name="T1" fmla="*/ 43 h 126"/>
              <a:gd name="T2" fmla="*/ 75 w 151"/>
              <a:gd name="T3" fmla="*/ 10 h 126"/>
              <a:gd name="T4" fmla="*/ 151 w 151"/>
              <a:gd name="T5" fmla="*/ 43 h 126"/>
              <a:gd name="T6" fmla="*/ 16 w 151"/>
              <a:gd name="T7" fmla="*/ 66 h 126"/>
              <a:gd name="T8" fmla="*/ 20 w 151"/>
              <a:gd name="T9" fmla="*/ 71 h 126"/>
              <a:gd name="T10" fmla="*/ 23 w 151"/>
              <a:gd name="T11" fmla="*/ 116 h 126"/>
              <a:gd name="T12" fmla="*/ 20 w 151"/>
              <a:gd name="T13" fmla="*/ 120 h 126"/>
              <a:gd name="T14" fmla="*/ 16 w 151"/>
              <a:gd name="T15" fmla="*/ 126 h 126"/>
              <a:gd name="T16" fmla="*/ 137 w 151"/>
              <a:gd name="T17" fmla="*/ 120 h 126"/>
              <a:gd name="T18" fmla="*/ 133 w 151"/>
              <a:gd name="T19" fmla="*/ 116 h 126"/>
              <a:gd name="T20" fmla="*/ 130 w 151"/>
              <a:gd name="T21" fmla="*/ 71 h 126"/>
              <a:gd name="T22" fmla="*/ 133 w 151"/>
              <a:gd name="T23" fmla="*/ 66 h 126"/>
              <a:gd name="T24" fmla="*/ 137 w 151"/>
              <a:gd name="T25" fmla="*/ 60 h 126"/>
              <a:gd name="T26" fmla="*/ 16 w 151"/>
              <a:gd name="T27" fmla="*/ 66 h 126"/>
              <a:gd name="T28" fmla="*/ 109 w 151"/>
              <a:gd name="T29" fmla="*/ 71 h 126"/>
              <a:gd name="T30" fmla="*/ 114 w 151"/>
              <a:gd name="T31" fmla="*/ 66 h 126"/>
              <a:gd name="T32" fmla="*/ 117 w 151"/>
              <a:gd name="T33" fmla="*/ 71 h 126"/>
              <a:gd name="T34" fmla="*/ 114 w 151"/>
              <a:gd name="T35" fmla="*/ 116 h 126"/>
              <a:gd name="T36" fmla="*/ 109 w 151"/>
              <a:gd name="T37" fmla="*/ 120 h 126"/>
              <a:gd name="T38" fmla="*/ 106 w 151"/>
              <a:gd name="T39" fmla="*/ 116 h 126"/>
              <a:gd name="T40" fmla="*/ 83 w 151"/>
              <a:gd name="T41" fmla="*/ 71 h 126"/>
              <a:gd name="T42" fmla="*/ 86 w 151"/>
              <a:gd name="T43" fmla="*/ 66 h 126"/>
              <a:gd name="T44" fmla="*/ 90 w 151"/>
              <a:gd name="T45" fmla="*/ 71 h 126"/>
              <a:gd name="T46" fmla="*/ 93 w 151"/>
              <a:gd name="T47" fmla="*/ 116 h 126"/>
              <a:gd name="T48" fmla="*/ 90 w 151"/>
              <a:gd name="T49" fmla="*/ 120 h 126"/>
              <a:gd name="T50" fmla="*/ 86 w 151"/>
              <a:gd name="T51" fmla="*/ 116 h 126"/>
              <a:gd name="T52" fmla="*/ 83 w 151"/>
              <a:gd name="T53" fmla="*/ 71 h 126"/>
              <a:gd name="T54" fmla="*/ 62 w 151"/>
              <a:gd name="T55" fmla="*/ 71 h 126"/>
              <a:gd name="T56" fmla="*/ 67 w 151"/>
              <a:gd name="T57" fmla="*/ 66 h 126"/>
              <a:gd name="T58" fmla="*/ 70 w 151"/>
              <a:gd name="T59" fmla="*/ 71 h 126"/>
              <a:gd name="T60" fmla="*/ 67 w 151"/>
              <a:gd name="T61" fmla="*/ 116 h 126"/>
              <a:gd name="T62" fmla="*/ 62 w 151"/>
              <a:gd name="T63" fmla="*/ 120 h 126"/>
              <a:gd name="T64" fmla="*/ 59 w 151"/>
              <a:gd name="T65" fmla="*/ 116 h 126"/>
              <a:gd name="T66" fmla="*/ 36 w 151"/>
              <a:gd name="T67" fmla="*/ 71 h 126"/>
              <a:gd name="T68" fmla="*/ 39 w 151"/>
              <a:gd name="T69" fmla="*/ 66 h 126"/>
              <a:gd name="T70" fmla="*/ 43 w 151"/>
              <a:gd name="T71" fmla="*/ 71 h 126"/>
              <a:gd name="T72" fmla="*/ 46 w 151"/>
              <a:gd name="T73" fmla="*/ 116 h 126"/>
              <a:gd name="T74" fmla="*/ 43 w 151"/>
              <a:gd name="T75" fmla="*/ 120 h 126"/>
              <a:gd name="T76" fmla="*/ 39 w 151"/>
              <a:gd name="T77" fmla="*/ 116 h 126"/>
              <a:gd name="T78" fmla="*/ 36 w 151"/>
              <a:gd name="T79" fmla="*/ 71 h 126"/>
              <a:gd name="T80" fmla="*/ 22 w 151"/>
              <a:gd name="T81" fmla="*/ 45 h 126"/>
              <a:gd name="T82" fmla="*/ 131 w 151"/>
              <a:gd name="T83" fmla="*/ 55 h 126"/>
              <a:gd name="T84" fmla="*/ 75 w 151"/>
              <a:gd name="T85" fmla="*/ 16 h 126"/>
              <a:gd name="T86" fmla="*/ 62 w 151"/>
              <a:gd name="T87" fmla="*/ 37 h 126"/>
              <a:gd name="T88" fmla="*/ 88 w 151"/>
              <a:gd name="T89" fmla="*/ 3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126">
                <a:moveTo>
                  <a:pt x="75" y="0"/>
                </a:moveTo>
                <a:cubicBezTo>
                  <a:pt x="0" y="43"/>
                  <a:pt x="0" y="43"/>
                  <a:pt x="0" y="43"/>
                </a:cubicBezTo>
                <a:cubicBezTo>
                  <a:pt x="4" y="49"/>
                  <a:pt x="4" y="49"/>
                  <a:pt x="4" y="49"/>
                </a:cubicBezTo>
                <a:cubicBezTo>
                  <a:pt x="75" y="10"/>
                  <a:pt x="75" y="10"/>
                  <a:pt x="75" y="10"/>
                </a:cubicBezTo>
                <a:cubicBezTo>
                  <a:pt x="146" y="49"/>
                  <a:pt x="146" y="49"/>
                  <a:pt x="146" y="49"/>
                </a:cubicBezTo>
                <a:cubicBezTo>
                  <a:pt x="151" y="43"/>
                  <a:pt x="151" y="43"/>
                  <a:pt x="151" y="43"/>
                </a:cubicBezTo>
                <a:lnTo>
                  <a:pt x="75" y="0"/>
                </a:lnTo>
                <a:close/>
                <a:moveTo>
                  <a:pt x="16" y="66"/>
                </a:moveTo>
                <a:cubicBezTo>
                  <a:pt x="20" y="66"/>
                  <a:pt x="20" y="66"/>
                  <a:pt x="20" y="66"/>
                </a:cubicBezTo>
                <a:cubicBezTo>
                  <a:pt x="20" y="71"/>
                  <a:pt x="20" y="71"/>
                  <a:pt x="20" y="71"/>
                </a:cubicBezTo>
                <a:cubicBezTo>
                  <a:pt x="23" y="71"/>
                  <a:pt x="23" y="71"/>
                  <a:pt x="23" y="71"/>
                </a:cubicBezTo>
                <a:cubicBezTo>
                  <a:pt x="23" y="116"/>
                  <a:pt x="23" y="116"/>
                  <a:pt x="23" y="116"/>
                </a:cubicBezTo>
                <a:cubicBezTo>
                  <a:pt x="20" y="116"/>
                  <a:pt x="20" y="116"/>
                  <a:pt x="20" y="116"/>
                </a:cubicBezTo>
                <a:cubicBezTo>
                  <a:pt x="20" y="120"/>
                  <a:pt x="20" y="120"/>
                  <a:pt x="20" y="120"/>
                </a:cubicBezTo>
                <a:cubicBezTo>
                  <a:pt x="16" y="120"/>
                  <a:pt x="16" y="120"/>
                  <a:pt x="16" y="120"/>
                </a:cubicBezTo>
                <a:cubicBezTo>
                  <a:pt x="16" y="126"/>
                  <a:pt x="16" y="126"/>
                  <a:pt x="16" y="126"/>
                </a:cubicBezTo>
                <a:cubicBezTo>
                  <a:pt x="137" y="126"/>
                  <a:pt x="137" y="126"/>
                  <a:pt x="137" y="126"/>
                </a:cubicBezTo>
                <a:cubicBezTo>
                  <a:pt x="137" y="120"/>
                  <a:pt x="137" y="120"/>
                  <a:pt x="137" y="120"/>
                </a:cubicBezTo>
                <a:cubicBezTo>
                  <a:pt x="133" y="120"/>
                  <a:pt x="133" y="120"/>
                  <a:pt x="133" y="120"/>
                </a:cubicBezTo>
                <a:cubicBezTo>
                  <a:pt x="133" y="116"/>
                  <a:pt x="133" y="116"/>
                  <a:pt x="133" y="116"/>
                </a:cubicBezTo>
                <a:cubicBezTo>
                  <a:pt x="130" y="116"/>
                  <a:pt x="130" y="116"/>
                  <a:pt x="130" y="116"/>
                </a:cubicBezTo>
                <a:cubicBezTo>
                  <a:pt x="130" y="71"/>
                  <a:pt x="130" y="71"/>
                  <a:pt x="130" y="71"/>
                </a:cubicBezTo>
                <a:cubicBezTo>
                  <a:pt x="133" y="71"/>
                  <a:pt x="133" y="71"/>
                  <a:pt x="133" y="71"/>
                </a:cubicBezTo>
                <a:cubicBezTo>
                  <a:pt x="133" y="66"/>
                  <a:pt x="133" y="66"/>
                  <a:pt x="133" y="66"/>
                </a:cubicBezTo>
                <a:cubicBezTo>
                  <a:pt x="137" y="66"/>
                  <a:pt x="137" y="66"/>
                  <a:pt x="137" y="66"/>
                </a:cubicBezTo>
                <a:cubicBezTo>
                  <a:pt x="137" y="60"/>
                  <a:pt x="137" y="60"/>
                  <a:pt x="137" y="60"/>
                </a:cubicBezTo>
                <a:cubicBezTo>
                  <a:pt x="16" y="60"/>
                  <a:pt x="16" y="60"/>
                  <a:pt x="16" y="60"/>
                </a:cubicBezTo>
                <a:lnTo>
                  <a:pt x="16" y="66"/>
                </a:lnTo>
                <a:close/>
                <a:moveTo>
                  <a:pt x="106" y="71"/>
                </a:moveTo>
                <a:cubicBezTo>
                  <a:pt x="109" y="71"/>
                  <a:pt x="109" y="71"/>
                  <a:pt x="109" y="71"/>
                </a:cubicBezTo>
                <a:cubicBezTo>
                  <a:pt x="109" y="66"/>
                  <a:pt x="109" y="66"/>
                  <a:pt x="109" y="66"/>
                </a:cubicBezTo>
                <a:cubicBezTo>
                  <a:pt x="114" y="66"/>
                  <a:pt x="114" y="66"/>
                  <a:pt x="114" y="66"/>
                </a:cubicBezTo>
                <a:cubicBezTo>
                  <a:pt x="114" y="71"/>
                  <a:pt x="114" y="71"/>
                  <a:pt x="114" y="71"/>
                </a:cubicBezTo>
                <a:cubicBezTo>
                  <a:pt x="117" y="71"/>
                  <a:pt x="117" y="71"/>
                  <a:pt x="117" y="71"/>
                </a:cubicBezTo>
                <a:cubicBezTo>
                  <a:pt x="117" y="116"/>
                  <a:pt x="117" y="116"/>
                  <a:pt x="117" y="116"/>
                </a:cubicBezTo>
                <a:cubicBezTo>
                  <a:pt x="114" y="116"/>
                  <a:pt x="114" y="116"/>
                  <a:pt x="114" y="116"/>
                </a:cubicBezTo>
                <a:cubicBezTo>
                  <a:pt x="114" y="120"/>
                  <a:pt x="114" y="120"/>
                  <a:pt x="114" y="120"/>
                </a:cubicBezTo>
                <a:cubicBezTo>
                  <a:pt x="109" y="120"/>
                  <a:pt x="109" y="120"/>
                  <a:pt x="109" y="120"/>
                </a:cubicBezTo>
                <a:cubicBezTo>
                  <a:pt x="109" y="116"/>
                  <a:pt x="109" y="116"/>
                  <a:pt x="109" y="116"/>
                </a:cubicBezTo>
                <a:cubicBezTo>
                  <a:pt x="106" y="116"/>
                  <a:pt x="106" y="116"/>
                  <a:pt x="106" y="116"/>
                </a:cubicBezTo>
                <a:lnTo>
                  <a:pt x="106" y="71"/>
                </a:lnTo>
                <a:close/>
                <a:moveTo>
                  <a:pt x="83" y="71"/>
                </a:moveTo>
                <a:cubicBezTo>
                  <a:pt x="86" y="71"/>
                  <a:pt x="86" y="71"/>
                  <a:pt x="86" y="71"/>
                </a:cubicBezTo>
                <a:cubicBezTo>
                  <a:pt x="86" y="66"/>
                  <a:pt x="86" y="66"/>
                  <a:pt x="86" y="66"/>
                </a:cubicBezTo>
                <a:cubicBezTo>
                  <a:pt x="90" y="66"/>
                  <a:pt x="90" y="66"/>
                  <a:pt x="90" y="66"/>
                </a:cubicBezTo>
                <a:cubicBezTo>
                  <a:pt x="90" y="71"/>
                  <a:pt x="90" y="71"/>
                  <a:pt x="90" y="71"/>
                </a:cubicBezTo>
                <a:cubicBezTo>
                  <a:pt x="93" y="71"/>
                  <a:pt x="93" y="71"/>
                  <a:pt x="93" y="71"/>
                </a:cubicBezTo>
                <a:cubicBezTo>
                  <a:pt x="93" y="116"/>
                  <a:pt x="93" y="116"/>
                  <a:pt x="93" y="116"/>
                </a:cubicBezTo>
                <a:cubicBezTo>
                  <a:pt x="90" y="116"/>
                  <a:pt x="90" y="116"/>
                  <a:pt x="90" y="116"/>
                </a:cubicBezTo>
                <a:cubicBezTo>
                  <a:pt x="90" y="120"/>
                  <a:pt x="90" y="120"/>
                  <a:pt x="90" y="120"/>
                </a:cubicBezTo>
                <a:cubicBezTo>
                  <a:pt x="86" y="120"/>
                  <a:pt x="86" y="120"/>
                  <a:pt x="86" y="120"/>
                </a:cubicBezTo>
                <a:cubicBezTo>
                  <a:pt x="86" y="116"/>
                  <a:pt x="86" y="116"/>
                  <a:pt x="86" y="116"/>
                </a:cubicBezTo>
                <a:cubicBezTo>
                  <a:pt x="83" y="116"/>
                  <a:pt x="83" y="116"/>
                  <a:pt x="83" y="116"/>
                </a:cubicBezTo>
                <a:lnTo>
                  <a:pt x="83" y="71"/>
                </a:lnTo>
                <a:close/>
                <a:moveTo>
                  <a:pt x="59" y="71"/>
                </a:moveTo>
                <a:cubicBezTo>
                  <a:pt x="62" y="71"/>
                  <a:pt x="62" y="71"/>
                  <a:pt x="62" y="71"/>
                </a:cubicBezTo>
                <a:cubicBezTo>
                  <a:pt x="62" y="66"/>
                  <a:pt x="62" y="66"/>
                  <a:pt x="62" y="66"/>
                </a:cubicBezTo>
                <a:cubicBezTo>
                  <a:pt x="67" y="66"/>
                  <a:pt x="67" y="66"/>
                  <a:pt x="67" y="66"/>
                </a:cubicBezTo>
                <a:cubicBezTo>
                  <a:pt x="67" y="71"/>
                  <a:pt x="67" y="71"/>
                  <a:pt x="67" y="71"/>
                </a:cubicBezTo>
                <a:cubicBezTo>
                  <a:pt x="70" y="71"/>
                  <a:pt x="70" y="71"/>
                  <a:pt x="70" y="71"/>
                </a:cubicBezTo>
                <a:cubicBezTo>
                  <a:pt x="70" y="116"/>
                  <a:pt x="70" y="116"/>
                  <a:pt x="70" y="116"/>
                </a:cubicBezTo>
                <a:cubicBezTo>
                  <a:pt x="67" y="116"/>
                  <a:pt x="67" y="116"/>
                  <a:pt x="67" y="116"/>
                </a:cubicBezTo>
                <a:cubicBezTo>
                  <a:pt x="67" y="120"/>
                  <a:pt x="67" y="120"/>
                  <a:pt x="67" y="120"/>
                </a:cubicBezTo>
                <a:cubicBezTo>
                  <a:pt x="62" y="120"/>
                  <a:pt x="62" y="120"/>
                  <a:pt x="62" y="120"/>
                </a:cubicBezTo>
                <a:cubicBezTo>
                  <a:pt x="62" y="116"/>
                  <a:pt x="62" y="116"/>
                  <a:pt x="62" y="116"/>
                </a:cubicBezTo>
                <a:cubicBezTo>
                  <a:pt x="59" y="116"/>
                  <a:pt x="59" y="116"/>
                  <a:pt x="59" y="116"/>
                </a:cubicBezTo>
                <a:lnTo>
                  <a:pt x="59" y="71"/>
                </a:lnTo>
                <a:close/>
                <a:moveTo>
                  <a:pt x="36" y="71"/>
                </a:moveTo>
                <a:cubicBezTo>
                  <a:pt x="39" y="71"/>
                  <a:pt x="39" y="71"/>
                  <a:pt x="39" y="71"/>
                </a:cubicBezTo>
                <a:cubicBezTo>
                  <a:pt x="39" y="66"/>
                  <a:pt x="39" y="66"/>
                  <a:pt x="39" y="66"/>
                </a:cubicBezTo>
                <a:cubicBezTo>
                  <a:pt x="43" y="66"/>
                  <a:pt x="43" y="66"/>
                  <a:pt x="43" y="66"/>
                </a:cubicBezTo>
                <a:cubicBezTo>
                  <a:pt x="43" y="71"/>
                  <a:pt x="43" y="71"/>
                  <a:pt x="43" y="71"/>
                </a:cubicBezTo>
                <a:cubicBezTo>
                  <a:pt x="46" y="71"/>
                  <a:pt x="46" y="71"/>
                  <a:pt x="46" y="71"/>
                </a:cubicBezTo>
                <a:cubicBezTo>
                  <a:pt x="46" y="116"/>
                  <a:pt x="46" y="116"/>
                  <a:pt x="46" y="116"/>
                </a:cubicBezTo>
                <a:cubicBezTo>
                  <a:pt x="43" y="116"/>
                  <a:pt x="43" y="116"/>
                  <a:pt x="43" y="116"/>
                </a:cubicBezTo>
                <a:cubicBezTo>
                  <a:pt x="43" y="120"/>
                  <a:pt x="43" y="120"/>
                  <a:pt x="43" y="120"/>
                </a:cubicBezTo>
                <a:cubicBezTo>
                  <a:pt x="39" y="120"/>
                  <a:pt x="39" y="120"/>
                  <a:pt x="39" y="120"/>
                </a:cubicBezTo>
                <a:cubicBezTo>
                  <a:pt x="39" y="116"/>
                  <a:pt x="39" y="116"/>
                  <a:pt x="39" y="116"/>
                </a:cubicBezTo>
                <a:cubicBezTo>
                  <a:pt x="36" y="116"/>
                  <a:pt x="36" y="116"/>
                  <a:pt x="36" y="116"/>
                </a:cubicBezTo>
                <a:lnTo>
                  <a:pt x="36" y="71"/>
                </a:lnTo>
                <a:close/>
                <a:moveTo>
                  <a:pt x="75" y="16"/>
                </a:moveTo>
                <a:cubicBezTo>
                  <a:pt x="22" y="45"/>
                  <a:pt x="22" y="45"/>
                  <a:pt x="22" y="45"/>
                </a:cubicBezTo>
                <a:cubicBezTo>
                  <a:pt x="22" y="55"/>
                  <a:pt x="22" y="55"/>
                  <a:pt x="22" y="55"/>
                </a:cubicBezTo>
                <a:cubicBezTo>
                  <a:pt x="131" y="55"/>
                  <a:pt x="131" y="55"/>
                  <a:pt x="131" y="55"/>
                </a:cubicBezTo>
                <a:cubicBezTo>
                  <a:pt x="131" y="46"/>
                  <a:pt x="131" y="46"/>
                  <a:pt x="131" y="46"/>
                </a:cubicBezTo>
                <a:lnTo>
                  <a:pt x="75" y="16"/>
                </a:lnTo>
                <a:close/>
                <a:moveTo>
                  <a:pt x="75" y="50"/>
                </a:moveTo>
                <a:cubicBezTo>
                  <a:pt x="68" y="50"/>
                  <a:pt x="62" y="44"/>
                  <a:pt x="62" y="37"/>
                </a:cubicBezTo>
                <a:cubicBezTo>
                  <a:pt x="62" y="30"/>
                  <a:pt x="68" y="24"/>
                  <a:pt x="75" y="24"/>
                </a:cubicBezTo>
                <a:cubicBezTo>
                  <a:pt x="82" y="24"/>
                  <a:pt x="88" y="30"/>
                  <a:pt x="88" y="37"/>
                </a:cubicBezTo>
                <a:cubicBezTo>
                  <a:pt x="88" y="44"/>
                  <a:pt x="82" y="50"/>
                  <a:pt x="75" y="50"/>
                </a:cubicBezTo>
                <a:close/>
              </a:path>
            </a:pathLst>
          </a:custGeom>
          <a:solidFill>
            <a:srgbClr val="911C39"/>
          </a:solidFill>
          <a:ln>
            <a:noFill/>
          </a:ln>
        </p:spPr>
        <p:txBody>
          <a:bodyPr vert="horz" wrap="square" lIns="86115" tIns="43058" rIns="86115" bIns="4305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000000"/>
              </a:solidFill>
              <a:effectLst/>
              <a:uLnTx/>
              <a:uFillTx/>
              <a:latin typeface="Arial"/>
              <a:ea typeface="+mn-ea"/>
              <a:cs typeface="+mn-cs"/>
            </a:endParaRPr>
          </a:p>
        </p:txBody>
      </p:sp>
      <p:sp>
        <p:nvSpPr>
          <p:cNvPr id="214" name="Freeform 9">
            <a:extLst>
              <a:ext uri="{FF2B5EF4-FFF2-40B4-BE49-F238E27FC236}">
                <a16:creationId xmlns:a16="http://schemas.microsoft.com/office/drawing/2014/main" id="{A346B704-2C09-468D-8CBB-3B1D8393C6D8}"/>
              </a:ext>
            </a:extLst>
          </p:cNvPr>
          <p:cNvSpPr>
            <a:spLocks noEditPoints="1"/>
          </p:cNvSpPr>
          <p:nvPr/>
        </p:nvSpPr>
        <p:spPr bwMode="auto">
          <a:xfrm>
            <a:off x="9053924" y="2829077"/>
            <a:ext cx="375376" cy="257343"/>
          </a:xfrm>
          <a:custGeom>
            <a:avLst/>
            <a:gdLst>
              <a:gd name="T0" fmla="*/ 0 w 151"/>
              <a:gd name="T1" fmla="*/ 43 h 126"/>
              <a:gd name="T2" fmla="*/ 75 w 151"/>
              <a:gd name="T3" fmla="*/ 10 h 126"/>
              <a:gd name="T4" fmla="*/ 151 w 151"/>
              <a:gd name="T5" fmla="*/ 43 h 126"/>
              <a:gd name="T6" fmla="*/ 16 w 151"/>
              <a:gd name="T7" fmla="*/ 66 h 126"/>
              <a:gd name="T8" fmla="*/ 20 w 151"/>
              <a:gd name="T9" fmla="*/ 71 h 126"/>
              <a:gd name="T10" fmla="*/ 23 w 151"/>
              <a:gd name="T11" fmla="*/ 116 h 126"/>
              <a:gd name="T12" fmla="*/ 20 w 151"/>
              <a:gd name="T13" fmla="*/ 120 h 126"/>
              <a:gd name="T14" fmla="*/ 16 w 151"/>
              <a:gd name="T15" fmla="*/ 126 h 126"/>
              <a:gd name="T16" fmla="*/ 137 w 151"/>
              <a:gd name="T17" fmla="*/ 120 h 126"/>
              <a:gd name="T18" fmla="*/ 133 w 151"/>
              <a:gd name="T19" fmla="*/ 116 h 126"/>
              <a:gd name="T20" fmla="*/ 130 w 151"/>
              <a:gd name="T21" fmla="*/ 71 h 126"/>
              <a:gd name="T22" fmla="*/ 133 w 151"/>
              <a:gd name="T23" fmla="*/ 66 h 126"/>
              <a:gd name="T24" fmla="*/ 137 w 151"/>
              <a:gd name="T25" fmla="*/ 60 h 126"/>
              <a:gd name="T26" fmla="*/ 16 w 151"/>
              <a:gd name="T27" fmla="*/ 66 h 126"/>
              <a:gd name="T28" fmla="*/ 109 w 151"/>
              <a:gd name="T29" fmla="*/ 71 h 126"/>
              <a:gd name="T30" fmla="*/ 114 w 151"/>
              <a:gd name="T31" fmla="*/ 66 h 126"/>
              <a:gd name="T32" fmla="*/ 117 w 151"/>
              <a:gd name="T33" fmla="*/ 71 h 126"/>
              <a:gd name="T34" fmla="*/ 114 w 151"/>
              <a:gd name="T35" fmla="*/ 116 h 126"/>
              <a:gd name="T36" fmla="*/ 109 w 151"/>
              <a:gd name="T37" fmla="*/ 120 h 126"/>
              <a:gd name="T38" fmla="*/ 106 w 151"/>
              <a:gd name="T39" fmla="*/ 116 h 126"/>
              <a:gd name="T40" fmla="*/ 83 w 151"/>
              <a:gd name="T41" fmla="*/ 71 h 126"/>
              <a:gd name="T42" fmla="*/ 86 w 151"/>
              <a:gd name="T43" fmla="*/ 66 h 126"/>
              <a:gd name="T44" fmla="*/ 90 w 151"/>
              <a:gd name="T45" fmla="*/ 71 h 126"/>
              <a:gd name="T46" fmla="*/ 93 w 151"/>
              <a:gd name="T47" fmla="*/ 116 h 126"/>
              <a:gd name="T48" fmla="*/ 90 w 151"/>
              <a:gd name="T49" fmla="*/ 120 h 126"/>
              <a:gd name="T50" fmla="*/ 86 w 151"/>
              <a:gd name="T51" fmla="*/ 116 h 126"/>
              <a:gd name="T52" fmla="*/ 83 w 151"/>
              <a:gd name="T53" fmla="*/ 71 h 126"/>
              <a:gd name="T54" fmla="*/ 62 w 151"/>
              <a:gd name="T55" fmla="*/ 71 h 126"/>
              <a:gd name="T56" fmla="*/ 67 w 151"/>
              <a:gd name="T57" fmla="*/ 66 h 126"/>
              <a:gd name="T58" fmla="*/ 70 w 151"/>
              <a:gd name="T59" fmla="*/ 71 h 126"/>
              <a:gd name="T60" fmla="*/ 67 w 151"/>
              <a:gd name="T61" fmla="*/ 116 h 126"/>
              <a:gd name="T62" fmla="*/ 62 w 151"/>
              <a:gd name="T63" fmla="*/ 120 h 126"/>
              <a:gd name="T64" fmla="*/ 59 w 151"/>
              <a:gd name="T65" fmla="*/ 116 h 126"/>
              <a:gd name="T66" fmla="*/ 36 w 151"/>
              <a:gd name="T67" fmla="*/ 71 h 126"/>
              <a:gd name="T68" fmla="*/ 39 w 151"/>
              <a:gd name="T69" fmla="*/ 66 h 126"/>
              <a:gd name="T70" fmla="*/ 43 w 151"/>
              <a:gd name="T71" fmla="*/ 71 h 126"/>
              <a:gd name="T72" fmla="*/ 46 w 151"/>
              <a:gd name="T73" fmla="*/ 116 h 126"/>
              <a:gd name="T74" fmla="*/ 43 w 151"/>
              <a:gd name="T75" fmla="*/ 120 h 126"/>
              <a:gd name="T76" fmla="*/ 39 w 151"/>
              <a:gd name="T77" fmla="*/ 116 h 126"/>
              <a:gd name="T78" fmla="*/ 36 w 151"/>
              <a:gd name="T79" fmla="*/ 71 h 126"/>
              <a:gd name="T80" fmla="*/ 22 w 151"/>
              <a:gd name="T81" fmla="*/ 45 h 126"/>
              <a:gd name="T82" fmla="*/ 131 w 151"/>
              <a:gd name="T83" fmla="*/ 55 h 126"/>
              <a:gd name="T84" fmla="*/ 75 w 151"/>
              <a:gd name="T85" fmla="*/ 16 h 126"/>
              <a:gd name="T86" fmla="*/ 62 w 151"/>
              <a:gd name="T87" fmla="*/ 37 h 126"/>
              <a:gd name="T88" fmla="*/ 88 w 151"/>
              <a:gd name="T89" fmla="*/ 3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126">
                <a:moveTo>
                  <a:pt x="75" y="0"/>
                </a:moveTo>
                <a:cubicBezTo>
                  <a:pt x="0" y="43"/>
                  <a:pt x="0" y="43"/>
                  <a:pt x="0" y="43"/>
                </a:cubicBezTo>
                <a:cubicBezTo>
                  <a:pt x="4" y="49"/>
                  <a:pt x="4" y="49"/>
                  <a:pt x="4" y="49"/>
                </a:cubicBezTo>
                <a:cubicBezTo>
                  <a:pt x="75" y="10"/>
                  <a:pt x="75" y="10"/>
                  <a:pt x="75" y="10"/>
                </a:cubicBezTo>
                <a:cubicBezTo>
                  <a:pt x="146" y="49"/>
                  <a:pt x="146" y="49"/>
                  <a:pt x="146" y="49"/>
                </a:cubicBezTo>
                <a:cubicBezTo>
                  <a:pt x="151" y="43"/>
                  <a:pt x="151" y="43"/>
                  <a:pt x="151" y="43"/>
                </a:cubicBezTo>
                <a:lnTo>
                  <a:pt x="75" y="0"/>
                </a:lnTo>
                <a:close/>
                <a:moveTo>
                  <a:pt x="16" y="66"/>
                </a:moveTo>
                <a:cubicBezTo>
                  <a:pt x="20" y="66"/>
                  <a:pt x="20" y="66"/>
                  <a:pt x="20" y="66"/>
                </a:cubicBezTo>
                <a:cubicBezTo>
                  <a:pt x="20" y="71"/>
                  <a:pt x="20" y="71"/>
                  <a:pt x="20" y="71"/>
                </a:cubicBezTo>
                <a:cubicBezTo>
                  <a:pt x="23" y="71"/>
                  <a:pt x="23" y="71"/>
                  <a:pt x="23" y="71"/>
                </a:cubicBezTo>
                <a:cubicBezTo>
                  <a:pt x="23" y="116"/>
                  <a:pt x="23" y="116"/>
                  <a:pt x="23" y="116"/>
                </a:cubicBezTo>
                <a:cubicBezTo>
                  <a:pt x="20" y="116"/>
                  <a:pt x="20" y="116"/>
                  <a:pt x="20" y="116"/>
                </a:cubicBezTo>
                <a:cubicBezTo>
                  <a:pt x="20" y="120"/>
                  <a:pt x="20" y="120"/>
                  <a:pt x="20" y="120"/>
                </a:cubicBezTo>
                <a:cubicBezTo>
                  <a:pt x="16" y="120"/>
                  <a:pt x="16" y="120"/>
                  <a:pt x="16" y="120"/>
                </a:cubicBezTo>
                <a:cubicBezTo>
                  <a:pt x="16" y="126"/>
                  <a:pt x="16" y="126"/>
                  <a:pt x="16" y="126"/>
                </a:cubicBezTo>
                <a:cubicBezTo>
                  <a:pt x="137" y="126"/>
                  <a:pt x="137" y="126"/>
                  <a:pt x="137" y="126"/>
                </a:cubicBezTo>
                <a:cubicBezTo>
                  <a:pt x="137" y="120"/>
                  <a:pt x="137" y="120"/>
                  <a:pt x="137" y="120"/>
                </a:cubicBezTo>
                <a:cubicBezTo>
                  <a:pt x="133" y="120"/>
                  <a:pt x="133" y="120"/>
                  <a:pt x="133" y="120"/>
                </a:cubicBezTo>
                <a:cubicBezTo>
                  <a:pt x="133" y="116"/>
                  <a:pt x="133" y="116"/>
                  <a:pt x="133" y="116"/>
                </a:cubicBezTo>
                <a:cubicBezTo>
                  <a:pt x="130" y="116"/>
                  <a:pt x="130" y="116"/>
                  <a:pt x="130" y="116"/>
                </a:cubicBezTo>
                <a:cubicBezTo>
                  <a:pt x="130" y="71"/>
                  <a:pt x="130" y="71"/>
                  <a:pt x="130" y="71"/>
                </a:cubicBezTo>
                <a:cubicBezTo>
                  <a:pt x="133" y="71"/>
                  <a:pt x="133" y="71"/>
                  <a:pt x="133" y="71"/>
                </a:cubicBezTo>
                <a:cubicBezTo>
                  <a:pt x="133" y="66"/>
                  <a:pt x="133" y="66"/>
                  <a:pt x="133" y="66"/>
                </a:cubicBezTo>
                <a:cubicBezTo>
                  <a:pt x="137" y="66"/>
                  <a:pt x="137" y="66"/>
                  <a:pt x="137" y="66"/>
                </a:cubicBezTo>
                <a:cubicBezTo>
                  <a:pt x="137" y="60"/>
                  <a:pt x="137" y="60"/>
                  <a:pt x="137" y="60"/>
                </a:cubicBezTo>
                <a:cubicBezTo>
                  <a:pt x="16" y="60"/>
                  <a:pt x="16" y="60"/>
                  <a:pt x="16" y="60"/>
                </a:cubicBezTo>
                <a:lnTo>
                  <a:pt x="16" y="66"/>
                </a:lnTo>
                <a:close/>
                <a:moveTo>
                  <a:pt x="106" y="71"/>
                </a:moveTo>
                <a:cubicBezTo>
                  <a:pt x="109" y="71"/>
                  <a:pt x="109" y="71"/>
                  <a:pt x="109" y="71"/>
                </a:cubicBezTo>
                <a:cubicBezTo>
                  <a:pt x="109" y="66"/>
                  <a:pt x="109" y="66"/>
                  <a:pt x="109" y="66"/>
                </a:cubicBezTo>
                <a:cubicBezTo>
                  <a:pt x="114" y="66"/>
                  <a:pt x="114" y="66"/>
                  <a:pt x="114" y="66"/>
                </a:cubicBezTo>
                <a:cubicBezTo>
                  <a:pt x="114" y="71"/>
                  <a:pt x="114" y="71"/>
                  <a:pt x="114" y="71"/>
                </a:cubicBezTo>
                <a:cubicBezTo>
                  <a:pt x="117" y="71"/>
                  <a:pt x="117" y="71"/>
                  <a:pt x="117" y="71"/>
                </a:cubicBezTo>
                <a:cubicBezTo>
                  <a:pt x="117" y="116"/>
                  <a:pt x="117" y="116"/>
                  <a:pt x="117" y="116"/>
                </a:cubicBezTo>
                <a:cubicBezTo>
                  <a:pt x="114" y="116"/>
                  <a:pt x="114" y="116"/>
                  <a:pt x="114" y="116"/>
                </a:cubicBezTo>
                <a:cubicBezTo>
                  <a:pt x="114" y="120"/>
                  <a:pt x="114" y="120"/>
                  <a:pt x="114" y="120"/>
                </a:cubicBezTo>
                <a:cubicBezTo>
                  <a:pt x="109" y="120"/>
                  <a:pt x="109" y="120"/>
                  <a:pt x="109" y="120"/>
                </a:cubicBezTo>
                <a:cubicBezTo>
                  <a:pt x="109" y="116"/>
                  <a:pt x="109" y="116"/>
                  <a:pt x="109" y="116"/>
                </a:cubicBezTo>
                <a:cubicBezTo>
                  <a:pt x="106" y="116"/>
                  <a:pt x="106" y="116"/>
                  <a:pt x="106" y="116"/>
                </a:cubicBezTo>
                <a:lnTo>
                  <a:pt x="106" y="71"/>
                </a:lnTo>
                <a:close/>
                <a:moveTo>
                  <a:pt x="83" y="71"/>
                </a:moveTo>
                <a:cubicBezTo>
                  <a:pt x="86" y="71"/>
                  <a:pt x="86" y="71"/>
                  <a:pt x="86" y="71"/>
                </a:cubicBezTo>
                <a:cubicBezTo>
                  <a:pt x="86" y="66"/>
                  <a:pt x="86" y="66"/>
                  <a:pt x="86" y="66"/>
                </a:cubicBezTo>
                <a:cubicBezTo>
                  <a:pt x="90" y="66"/>
                  <a:pt x="90" y="66"/>
                  <a:pt x="90" y="66"/>
                </a:cubicBezTo>
                <a:cubicBezTo>
                  <a:pt x="90" y="71"/>
                  <a:pt x="90" y="71"/>
                  <a:pt x="90" y="71"/>
                </a:cubicBezTo>
                <a:cubicBezTo>
                  <a:pt x="93" y="71"/>
                  <a:pt x="93" y="71"/>
                  <a:pt x="93" y="71"/>
                </a:cubicBezTo>
                <a:cubicBezTo>
                  <a:pt x="93" y="116"/>
                  <a:pt x="93" y="116"/>
                  <a:pt x="93" y="116"/>
                </a:cubicBezTo>
                <a:cubicBezTo>
                  <a:pt x="90" y="116"/>
                  <a:pt x="90" y="116"/>
                  <a:pt x="90" y="116"/>
                </a:cubicBezTo>
                <a:cubicBezTo>
                  <a:pt x="90" y="120"/>
                  <a:pt x="90" y="120"/>
                  <a:pt x="90" y="120"/>
                </a:cubicBezTo>
                <a:cubicBezTo>
                  <a:pt x="86" y="120"/>
                  <a:pt x="86" y="120"/>
                  <a:pt x="86" y="120"/>
                </a:cubicBezTo>
                <a:cubicBezTo>
                  <a:pt x="86" y="116"/>
                  <a:pt x="86" y="116"/>
                  <a:pt x="86" y="116"/>
                </a:cubicBezTo>
                <a:cubicBezTo>
                  <a:pt x="83" y="116"/>
                  <a:pt x="83" y="116"/>
                  <a:pt x="83" y="116"/>
                </a:cubicBezTo>
                <a:lnTo>
                  <a:pt x="83" y="71"/>
                </a:lnTo>
                <a:close/>
                <a:moveTo>
                  <a:pt x="59" y="71"/>
                </a:moveTo>
                <a:cubicBezTo>
                  <a:pt x="62" y="71"/>
                  <a:pt x="62" y="71"/>
                  <a:pt x="62" y="71"/>
                </a:cubicBezTo>
                <a:cubicBezTo>
                  <a:pt x="62" y="66"/>
                  <a:pt x="62" y="66"/>
                  <a:pt x="62" y="66"/>
                </a:cubicBezTo>
                <a:cubicBezTo>
                  <a:pt x="67" y="66"/>
                  <a:pt x="67" y="66"/>
                  <a:pt x="67" y="66"/>
                </a:cubicBezTo>
                <a:cubicBezTo>
                  <a:pt x="67" y="71"/>
                  <a:pt x="67" y="71"/>
                  <a:pt x="67" y="71"/>
                </a:cubicBezTo>
                <a:cubicBezTo>
                  <a:pt x="70" y="71"/>
                  <a:pt x="70" y="71"/>
                  <a:pt x="70" y="71"/>
                </a:cubicBezTo>
                <a:cubicBezTo>
                  <a:pt x="70" y="116"/>
                  <a:pt x="70" y="116"/>
                  <a:pt x="70" y="116"/>
                </a:cubicBezTo>
                <a:cubicBezTo>
                  <a:pt x="67" y="116"/>
                  <a:pt x="67" y="116"/>
                  <a:pt x="67" y="116"/>
                </a:cubicBezTo>
                <a:cubicBezTo>
                  <a:pt x="67" y="120"/>
                  <a:pt x="67" y="120"/>
                  <a:pt x="67" y="120"/>
                </a:cubicBezTo>
                <a:cubicBezTo>
                  <a:pt x="62" y="120"/>
                  <a:pt x="62" y="120"/>
                  <a:pt x="62" y="120"/>
                </a:cubicBezTo>
                <a:cubicBezTo>
                  <a:pt x="62" y="116"/>
                  <a:pt x="62" y="116"/>
                  <a:pt x="62" y="116"/>
                </a:cubicBezTo>
                <a:cubicBezTo>
                  <a:pt x="59" y="116"/>
                  <a:pt x="59" y="116"/>
                  <a:pt x="59" y="116"/>
                </a:cubicBezTo>
                <a:lnTo>
                  <a:pt x="59" y="71"/>
                </a:lnTo>
                <a:close/>
                <a:moveTo>
                  <a:pt x="36" y="71"/>
                </a:moveTo>
                <a:cubicBezTo>
                  <a:pt x="39" y="71"/>
                  <a:pt x="39" y="71"/>
                  <a:pt x="39" y="71"/>
                </a:cubicBezTo>
                <a:cubicBezTo>
                  <a:pt x="39" y="66"/>
                  <a:pt x="39" y="66"/>
                  <a:pt x="39" y="66"/>
                </a:cubicBezTo>
                <a:cubicBezTo>
                  <a:pt x="43" y="66"/>
                  <a:pt x="43" y="66"/>
                  <a:pt x="43" y="66"/>
                </a:cubicBezTo>
                <a:cubicBezTo>
                  <a:pt x="43" y="71"/>
                  <a:pt x="43" y="71"/>
                  <a:pt x="43" y="71"/>
                </a:cubicBezTo>
                <a:cubicBezTo>
                  <a:pt x="46" y="71"/>
                  <a:pt x="46" y="71"/>
                  <a:pt x="46" y="71"/>
                </a:cubicBezTo>
                <a:cubicBezTo>
                  <a:pt x="46" y="116"/>
                  <a:pt x="46" y="116"/>
                  <a:pt x="46" y="116"/>
                </a:cubicBezTo>
                <a:cubicBezTo>
                  <a:pt x="43" y="116"/>
                  <a:pt x="43" y="116"/>
                  <a:pt x="43" y="116"/>
                </a:cubicBezTo>
                <a:cubicBezTo>
                  <a:pt x="43" y="120"/>
                  <a:pt x="43" y="120"/>
                  <a:pt x="43" y="120"/>
                </a:cubicBezTo>
                <a:cubicBezTo>
                  <a:pt x="39" y="120"/>
                  <a:pt x="39" y="120"/>
                  <a:pt x="39" y="120"/>
                </a:cubicBezTo>
                <a:cubicBezTo>
                  <a:pt x="39" y="116"/>
                  <a:pt x="39" y="116"/>
                  <a:pt x="39" y="116"/>
                </a:cubicBezTo>
                <a:cubicBezTo>
                  <a:pt x="36" y="116"/>
                  <a:pt x="36" y="116"/>
                  <a:pt x="36" y="116"/>
                </a:cubicBezTo>
                <a:lnTo>
                  <a:pt x="36" y="71"/>
                </a:lnTo>
                <a:close/>
                <a:moveTo>
                  <a:pt x="75" y="16"/>
                </a:moveTo>
                <a:cubicBezTo>
                  <a:pt x="22" y="45"/>
                  <a:pt x="22" y="45"/>
                  <a:pt x="22" y="45"/>
                </a:cubicBezTo>
                <a:cubicBezTo>
                  <a:pt x="22" y="55"/>
                  <a:pt x="22" y="55"/>
                  <a:pt x="22" y="55"/>
                </a:cubicBezTo>
                <a:cubicBezTo>
                  <a:pt x="131" y="55"/>
                  <a:pt x="131" y="55"/>
                  <a:pt x="131" y="55"/>
                </a:cubicBezTo>
                <a:cubicBezTo>
                  <a:pt x="131" y="46"/>
                  <a:pt x="131" y="46"/>
                  <a:pt x="131" y="46"/>
                </a:cubicBezTo>
                <a:lnTo>
                  <a:pt x="75" y="16"/>
                </a:lnTo>
                <a:close/>
                <a:moveTo>
                  <a:pt x="75" y="50"/>
                </a:moveTo>
                <a:cubicBezTo>
                  <a:pt x="68" y="50"/>
                  <a:pt x="62" y="44"/>
                  <a:pt x="62" y="37"/>
                </a:cubicBezTo>
                <a:cubicBezTo>
                  <a:pt x="62" y="30"/>
                  <a:pt x="68" y="24"/>
                  <a:pt x="75" y="24"/>
                </a:cubicBezTo>
                <a:cubicBezTo>
                  <a:pt x="82" y="24"/>
                  <a:pt x="88" y="30"/>
                  <a:pt x="88" y="37"/>
                </a:cubicBezTo>
                <a:cubicBezTo>
                  <a:pt x="88" y="44"/>
                  <a:pt x="82" y="50"/>
                  <a:pt x="75" y="50"/>
                </a:cubicBezTo>
                <a:close/>
              </a:path>
            </a:pathLst>
          </a:custGeom>
          <a:solidFill>
            <a:srgbClr val="911C39"/>
          </a:solidFill>
          <a:ln>
            <a:noFill/>
          </a:ln>
        </p:spPr>
        <p:txBody>
          <a:bodyPr vert="horz" wrap="square" lIns="86115" tIns="43058" rIns="86115" bIns="4305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6346596E-F9E4-4F19-8498-0E7A50237F54}"/>
              </a:ext>
            </a:extLst>
          </p:cNvPr>
          <p:cNvGrpSpPr/>
          <p:nvPr/>
        </p:nvGrpSpPr>
        <p:grpSpPr>
          <a:xfrm>
            <a:off x="7668686" y="1169013"/>
            <a:ext cx="491401" cy="375376"/>
            <a:chOff x="1502455" y="1487339"/>
            <a:chExt cx="532628" cy="406869"/>
          </a:xfrm>
        </p:grpSpPr>
        <p:pic>
          <p:nvPicPr>
            <p:cNvPr id="3" name="CustomIcon">
              <a:extLst>
                <a:ext uri="{FF2B5EF4-FFF2-40B4-BE49-F238E27FC236}">
                  <a16:creationId xmlns:a16="http://schemas.microsoft.com/office/drawing/2014/main" id="{BEAB3F03-B8DF-4C33-902B-B07F038ED165}"/>
                </a:ext>
              </a:extLst>
            </p:cNvPr>
            <p:cNvPicPr>
              <a:picLocks noChangeAspect="1"/>
            </p:cNvPicPr>
            <p:nvPr>
              <p:custDataLst>
                <p:tags r:id="rId83"/>
              </p:custDataLst>
            </p:nvPr>
          </p:nvPicPr>
          <p:blipFill>
            <a:blip r:embed="rId96">
              <a:extLst>
                <a:ext uri="{96DAC541-7B7A-43D3-8B79-37D633B846F1}">
                  <asvg:svgBlip xmlns:asvg="http://schemas.microsoft.com/office/drawing/2016/SVG/main" r:embed="rId97"/>
                </a:ext>
              </a:extLst>
            </a:blip>
            <a:stretch>
              <a:fillRect/>
            </a:stretch>
          </p:blipFill>
          <p:spPr>
            <a:xfrm>
              <a:off x="1502455" y="1684333"/>
              <a:ext cx="209875" cy="209875"/>
            </a:xfrm>
            <a:prstGeom prst="rect">
              <a:avLst/>
            </a:prstGeom>
          </p:spPr>
        </p:pic>
        <p:pic>
          <p:nvPicPr>
            <p:cNvPr id="65" name="CustomIcon">
              <a:extLst>
                <a:ext uri="{FF2B5EF4-FFF2-40B4-BE49-F238E27FC236}">
                  <a16:creationId xmlns:a16="http://schemas.microsoft.com/office/drawing/2014/main" id="{69B2226F-A4F1-4441-8897-B1FB5442B731}"/>
                </a:ext>
              </a:extLst>
            </p:cNvPr>
            <p:cNvPicPr>
              <a:picLocks noChangeAspect="1"/>
            </p:cNvPicPr>
            <p:nvPr>
              <p:custDataLst>
                <p:tags r:id="rId84"/>
              </p:custDataLst>
            </p:nvPr>
          </p:nvPicPr>
          <p:blipFill>
            <a:blip r:embed="rId96">
              <a:extLst>
                <a:ext uri="{96DAC541-7B7A-43D3-8B79-37D633B846F1}">
                  <asvg:svgBlip xmlns:asvg="http://schemas.microsoft.com/office/drawing/2016/SVG/main" r:embed="rId97"/>
                </a:ext>
              </a:extLst>
            </a:blip>
            <a:stretch>
              <a:fillRect/>
            </a:stretch>
          </p:blipFill>
          <p:spPr>
            <a:xfrm>
              <a:off x="1610039" y="1684333"/>
              <a:ext cx="209875" cy="209875"/>
            </a:xfrm>
            <a:prstGeom prst="rect">
              <a:avLst/>
            </a:prstGeom>
          </p:spPr>
        </p:pic>
        <p:pic>
          <p:nvPicPr>
            <p:cNvPr id="66" name="CustomIcon">
              <a:extLst>
                <a:ext uri="{FF2B5EF4-FFF2-40B4-BE49-F238E27FC236}">
                  <a16:creationId xmlns:a16="http://schemas.microsoft.com/office/drawing/2014/main" id="{29753943-3321-435F-9310-565FD8C57997}"/>
                </a:ext>
              </a:extLst>
            </p:cNvPr>
            <p:cNvPicPr>
              <a:picLocks noChangeAspect="1"/>
            </p:cNvPicPr>
            <p:nvPr>
              <p:custDataLst>
                <p:tags r:id="rId85"/>
              </p:custDataLst>
            </p:nvPr>
          </p:nvPicPr>
          <p:blipFill>
            <a:blip r:embed="rId96">
              <a:extLst>
                <a:ext uri="{96DAC541-7B7A-43D3-8B79-37D633B846F1}">
                  <asvg:svgBlip xmlns:asvg="http://schemas.microsoft.com/office/drawing/2016/SVG/main" r:embed="rId97"/>
                </a:ext>
              </a:extLst>
            </a:blip>
            <a:stretch>
              <a:fillRect/>
            </a:stretch>
          </p:blipFill>
          <p:spPr>
            <a:xfrm>
              <a:off x="1717623" y="1684333"/>
              <a:ext cx="209875" cy="209875"/>
            </a:xfrm>
            <a:prstGeom prst="rect">
              <a:avLst/>
            </a:prstGeom>
          </p:spPr>
        </p:pic>
        <p:pic>
          <p:nvPicPr>
            <p:cNvPr id="67" name="CustomIcon">
              <a:extLst>
                <a:ext uri="{FF2B5EF4-FFF2-40B4-BE49-F238E27FC236}">
                  <a16:creationId xmlns:a16="http://schemas.microsoft.com/office/drawing/2014/main" id="{12B1160A-65CE-4076-BD7E-51350BE29FD6}"/>
                </a:ext>
              </a:extLst>
            </p:cNvPr>
            <p:cNvPicPr>
              <a:picLocks noChangeAspect="1"/>
            </p:cNvPicPr>
            <p:nvPr>
              <p:custDataLst>
                <p:tags r:id="rId86"/>
              </p:custDataLst>
            </p:nvPr>
          </p:nvPicPr>
          <p:blipFill>
            <a:blip r:embed="rId96">
              <a:extLst>
                <a:ext uri="{96DAC541-7B7A-43D3-8B79-37D633B846F1}">
                  <asvg:svgBlip xmlns:asvg="http://schemas.microsoft.com/office/drawing/2016/SVG/main" r:embed="rId97"/>
                </a:ext>
              </a:extLst>
            </a:blip>
            <a:stretch>
              <a:fillRect/>
            </a:stretch>
          </p:blipFill>
          <p:spPr>
            <a:xfrm>
              <a:off x="1825208" y="1684333"/>
              <a:ext cx="209875" cy="209875"/>
            </a:xfrm>
            <a:prstGeom prst="rect">
              <a:avLst/>
            </a:prstGeom>
          </p:spPr>
        </p:pic>
        <p:pic>
          <p:nvPicPr>
            <p:cNvPr id="68" name="CustomIcon">
              <a:extLst>
                <a:ext uri="{FF2B5EF4-FFF2-40B4-BE49-F238E27FC236}">
                  <a16:creationId xmlns:a16="http://schemas.microsoft.com/office/drawing/2014/main" id="{71E22FF1-576B-4969-BC19-F0C53DE6F366}"/>
                </a:ext>
              </a:extLst>
            </p:cNvPr>
            <p:cNvPicPr>
              <a:picLocks noChangeAspect="1"/>
            </p:cNvPicPr>
            <p:nvPr>
              <p:custDataLst>
                <p:tags r:id="rId87"/>
              </p:custDataLst>
            </p:nvPr>
          </p:nvPicPr>
          <p:blipFill>
            <a:blip r:embed="rId96">
              <a:extLst>
                <a:ext uri="{96DAC541-7B7A-43D3-8B79-37D633B846F1}">
                  <asvg:svgBlip xmlns:asvg="http://schemas.microsoft.com/office/drawing/2016/SVG/main" r:embed="rId97"/>
                </a:ext>
              </a:extLst>
            </a:blip>
            <a:stretch>
              <a:fillRect/>
            </a:stretch>
          </p:blipFill>
          <p:spPr>
            <a:xfrm>
              <a:off x="1556247" y="1487339"/>
              <a:ext cx="209875" cy="209875"/>
            </a:xfrm>
            <a:prstGeom prst="rect">
              <a:avLst/>
            </a:prstGeom>
          </p:spPr>
        </p:pic>
        <p:pic>
          <p:nvPicPr>
            <p:cNvPr id="69" name="CustomIcon">
              <a:extLst>
                <a:ext uri="{FF2B5EF4-FFF2-40B4-BE49-F238E27FC236}">
                  <a16:creationId xmlns:a16="http://schemas.microsoft.com/office/drawing/2014/main" id="{53D432BF-5006-4DC2-8E4F-06E21ACE0982}"/>
                </a:ext>
              </a:extLst>
            </p:cNvPr>
            <p:cNvPicPr>
              <a:picLocks noChangeAspect="1"/>
            </p:cNvPicPr>
            <p:nvPr>
              <p:custDataLst>
                <p:tags r:id="rId88"/>
              </p:custDataLst>
            </p:nvPr>
          </p:nvPicPr>
          <p:blipFill>
            <a:blip r:embed="rId96">
              <a:extLst>
                <a:ext uri="{96DAC541-7B7A-43D3-8B79-37D633B846F1}">
                  <asvg:svgBlip xmlns:asvg="http://schemas.microsoft.com/office/drawing/2016/SVG/main" r:embed="rId97"/>
                </a:ext>
              </a:extLst>
            </a:blip>
            <a:stretch>
              <a:fillRect/>
            </a:stretch>
          </p:blipFill>
          <p:spPr>
            <a:xfrm>
              <a:off x="1663831" y="1487339"/>
              <a:ext cx="209875" cy="209875"/>
            </a:xfrm>
            <a:prstGeom prst="rect">
              <a:avLst/>
            </a:prstGeom>
          </p:spPr>
        </p:pic>
        <p:pic>
          <p:nvPicPr>
            <p:cNvPr id="70" name="CustomIcon">
              <a:extLst>
                <a:ext uri="{FF2B5EF4-FFF2-40B4-BE49-F238E27FC236}">
                  <a16:creationId xmlns:a16="http://schemas.microsoft.com/office/drawing/2014/main" id="{948D7D6E-99BD-480E-9D00-F69B92043D9F}"/>
                </a:ext>
              </a:extLst>
            </p:cNvPr>
            <p:cNvPicPr>
              <a:picLocks noChangeAspect="1"/>
            </p:cNvPicPr>
            <p:nvPr>
              <p:custDataLst>
                <p:tags r:id="rId89"/>
              </p:custDataLst>
            </p:nvPr>
          </p:nvPicPr>
          <p:blipFill>
            <a:blip r:embed="rId96">
              <a:extLst>
                <a:ext uri="{96DAC541-7B7A-43D3-8B79-37D633B846F1}">
                  <asvg:svgBlip xmlns:asvg="http://schemas.microsoft.com/office/drawing/2016/SVG/main" r:embed="rId97"/>
                </a:ext>
              </a:extLst>
            </a:blip>
            <a:stretch>
              <a:fillRect/>
            </a:stretch>
          </p:blipFill>
          <p:spPr>
            <a:xfrm>
              <a:off x="1771415" y="1487339"/>
              <a:ext cx="209875" cy="209875"/>
            </a:xfrm>
            <a:prstGeom prst="rect">
              <a:avLst/>
            </a:prstGeom>
          </p:spPr>
        </p:pic>
      </p:grpSp>
      <p:grpSp>
        <p:nvGrpSpPr>
          <p:cNvPr id="72" name="Group 71">
            <a:extLst>
              <a:ext uri="{FF2B5EF4-FFF2-40B4-BE49-F238E27FC236}">
                <a16:creationId xmlns:a16="http://schemas.microsoft.com/office/drawing/2014/main" id="{7952D467-2A81-4A22-8A52-733DD818193D}"/>
              </a:ext>
            </a:extLst>
          </p:cNvPr>
          <p:cNvGrpSpPr/>
          <p:nvPr/>
        </p:nvGrpSpPr>
        <p:grpSpPr>
          <a:xfrm>
            <a:off x="9827995" y="1163070"/>
            <a:ext cx="491401" cy="375376"/>
            <a:chOff x="1502455" y="1487339"/>
            <a:chExt cx="532628" cy="406869"/>
          </a:xfrm>
        </p:grpSpPr>
        <p:pic>
          <p:nvPicPr>
            <p:cNvPr id="73" name="CustomIcon">
              <a:extLst>
                <a:ext uri="{FF2B5EF4-FFF2-40B4-BE49-F238E27FC236}">
                  <a16:creationId xmlns:a16="http://schemas.microsoft.com/office/drawing/2014/main" id="{82597BA9-C5F9-4EED-8984-23EAF9B244DC}"/>
                </a:ext>
              </a:extLst>
            </p:cNvPr>
            <p:cNvPicPr>
              <a:picLocks noChangeAspect="1"/>
            </p:cNvPicPr>
            <p:nvPr>
              <p:custDataLst>
                <p:tags r:id="rId76"/>
              </p:custDataLst>
            </p:nvPr>
          </p:nvPicPr>
          <p:blipFill>
            <a:blip r:embed="rId96">
              <a:extLst>
                <a:ext uri="{96DAC541-7B7A-43D3-8B79-37D633B846F1}">
                  <asvg:svgBlip xmlns:asvg="http://schemas.microsoft.com/office/drawing/2016/SVG/main" r:embed="rId97"/>
                </a:ext>
              </a:extLst>
            </a:blip>
            <a:stretch>
              <a:fillRect/>
            </a:stretch>
          </p:blipFill>
          <p:spPr>
            <a:xfrm>
              <a:off x="1502455" y="1684333"/>
              <a:ext cx="209875" cy="209875"/>
            </a:xfrm>
            <a:prstGeom prst="rect">
              <a:avLst/>
            </a:prstGeom>
          </p:spPr>
        </p:pic>
        <p:pic>
          <p:nvPicPr>
            <p:cNvPr id="74" name="CustomIcon">
              <a:extLst>
                <a:ext uri="{FF2B5EF4-FFF2-40B4-BE49-F238E27FC236}">
                  <a16:creationId xmlns:a16="http://schemas.microsoft.com/office/drawing/2014/main" id="{B967F0A8-40E2-4F73-8C27-B14AA6A168FB}"/>
                </a:ext>
              </a:extLst>
            </p:cNvPr>
            <p:cNvPicPr>
              <a:picLocks noChangeAspect="1"/>
            </p:cNvPicPr>
            <p:nvPr>
              <p:custDataLst>
                <p:tags r:id="rId77"/>
              </p:custDataLst>
            </p:nvPr>
          </p:nvPicPr>
          <p:blipFill>
            <a:blip r:embed="rId96">
              <a:extLst>
                <a:ext uri="{96DAC541-7B7A-43D3-8B79-37D633B846F1}">
                  <asvg:svgBlip xmlns:asvg="http://schemas.microsoft.com/office/drawing/2016/SVG/main" r:embed="rId97"/>
                </a:ext>
              </a:extLst>
            </a:blip>
            <a:stretch>
              <a:fillRect/>
            </a:stretch>
          </p:blipFill>
          <p:spPr>
            <a:xfrm>
              <a:off x="1610039" y="1684333"/>
              <a:ext cx="209875" cy="209875"/>
            </a:xfrm>
            <a:prstGeom prst="rect">
              <a:avLst/>
            </a:prstGeom>
          </p:spPr>
        </p:pic>
        <p:pic>
          <p:nvPicPr>
            <p:cNvPr id="75" name="CustomIcon">
              <a:extLst>
                <a:ext uri="{FF2B5EF4-FFF2-40B4-BE49-F238E27FC236}">
                  <a16:creationId xmlns:a16="http://schemas.microsoft.com/office/drawing/2014/main" id="{BF38881E-2076-4ED4-AF64-2BC206001816}"/>
                </a:ext>
              </a:extLst>
            </p:cNvPr>
            <p:cNvPicPr>
              <a:picLocks noChangeAspect="1"/>
            </p:cNvPicPr>
            <p:nvPr>
              <p:custDataLst>
                <p:tags r:id="rId78"/>
              </p:custDataLst>
            </p:nvPr>
          </p:nvPicPr>
          <p:blipFill>
            <a:blip r:embed="rId96">
              <a:extLst>
                <a:ext uri="{96DAC541-7B7A-43D3-8B79-37D633B846F1}">
                  <asvg:svgBlip xmlns:asvg="http://schemas.microsoft.com/office/drawing/2016/SVG/main" r:embed="rId97"/>
                </a:ext>
              </a:extLst>
            </a:blip>
            <a:stretch>
              <a:fillRect/>
            </a:stretch>
          </p:blipFill>
          <p:spPr>
            <a:xfrm>
              <a:off x="1717623" y="1684333"/>
              <a:ext cx="209875" cy="209875"/>
            </a:xfrm>
            <a:prstGeom prst="rect">
              <a:avLst/>
            </a:prstGeom>
          </p:spPr>
        </p:pic>
        <p:pic>
          <p:nvPicPr>
            <p:cNvPr id="76" name="CustomIcon">
              <a:extLst>
                <a:ext uri="{FF2B5EF4-FFF2-40B4-BE49-F238E27FC236}">
                  <a16:creationId xmlns:a16="http://schemas.microsoft.com/office/drawing/2014/main" id="{CA8B9E7D-32EB-49DD-872C-74F161BDCCF0}"/>
                </a:ext>
              </a:extLst>
            </p:cNvPr>
            <p:cNvPicPr>
              <a:picLocks noChangeAspect="1"/>
            </p:cNvPicPr>
            <p:nvPr>
              <p:custDataLst>
                <p:tags r:id="rId79"/>
              </p:custDataLst>
            </p:nvPr>
          </p:nvPicPr>
          <p:blipFill>
            <a:blip r:embed="rId96">
              <a:extLst>
                <a:ext uri="{96DAC541-7B7A-43D3-8B79-37D633B846F1}">
                  <asvg:svgBlip xmlns:asvg="http://schemas.microsoft.com/office/drawing/2016/SVG/main" r:embed="rId97"/>
                </a:ext>
              </a:extLst>
            </a:blip>
            <a:stretch>
              <a:fillRect/>
            </a:stretch>
          </p:blipFill>
          <p:spPr>
            <a:xfrm>
              <a:off x="1825208" y="1684333"/>
              <a:ext cx="209875" cy="209875"/>
            </a:xfrm>
            <a:prstGeom prst="rect">
              <a:avLst/>
            </a:prstGeom>
          </p:spPr>
        </p:pic>
        <p:pic>
          <p:nvPicPr>
            <p:cNvPr id="77" name="CustomIcon">
              <a:extLst>
                <a:ext uri="{FF2B5EF4-FFF2-40B4-BE49-F238E27FC236}">
                  <a16:creationId xmlns:a16="http://schemas.microsoft.com/office/drawing/2014/main" id="{D3B6241C-89A8-41A2-8434-2B097819BBDE}"/>
                </a:ext>
              </a:extLst>
            </p:cNvPr>
            <p:cNvPicPr>
              <a:picLocks noChangeAspect="1"/>
            </p:cNvPicPr>
            <p:nvPr>
              <p:custDataLst>
                <p:tags r:id="rId80"/>
              </p:custDataLst>
            </p:nvPr>
          </p:nvPicPr>
          <p:blipFill>
            <a:blip r:embed="rId96">
              <a:extLst>
                <a:ext uri="{96DAC541-7B7A-43D3-8B79-37D633B846F1}">
                  <asvg:svgBlip xmlns:asvg="http://schemas.microsoft.com/office/drawing/2016/SVG/main" r:embed="rId97"/>
                </a:ext>
              </a:extLst>
            </a:blip>
            <a:stretch>
              <a:fillRect/>
            </a:stretch>
          </p:blipFill>
          <p:spPr>
            <a:xfrm>
              <a:off x="1556247" y="1487339"/>
              <a:ext cx="209875" cy="209875"/>
            </a:xfrm>
            <a:prstGeom prst="rect">
              <a:avLst/>
            </a:prstGeom>
          </p:spPr>
        </p:pic>
        <p:pic>
          <p:nvPicPr>
            <p:cNvPr id="78" name="CustomIcon">
              <a:extLst>
                <a:ext uri="{FF2B5EF4-FFF2-40B4-BE49-F238E27FC236}">
                  <a16:creationId xmlns:a16="http://schemas.microsoft.com/office/drawing/2014/main" id="{18FEB841-B06B-4BE9-9743-0F023B704A23}"/>
                </a:ext>
              </a:extLst>
            </p:cNvPr>
            <p:cNvPicPr>
              <a:picLocks noChangeAspect="1"/>
            </p:cNvPicPr>
            <p:nvPr>
              <p:custDataLst>
                <p:tags r:id="rId81"/>
              </p:custDataLst>
            </p:nvPr>
          </p:nvPicPr>
          <p:blipFill>
            <a:blip r:embed="rId96">
              <a:extLst>
                <a:ext uri="{96DAC541-7B7A-43D3-8B79-37D633B846F1}">
                  <asvg:svgBlip xmlns:asvg="http://schemas.microsoft.com/office/drawing/2016/SVG/main" r:embed="rId97"/>
                </a:ext>
              </a:extLst>
            </a:blip>
            <a:stretch>
              <a:fillRect/>
            </a:stretch>
          </p:blipFill>
          <p:spPr>
            <a:xfrm>
              <a:off x="1663831" y="1487339"/>
              <a:ext cx="209875" cy="209875"/>
            </a:xfrm>
            <a:prstGeom prst="rect">
              <a:avLst/>
            </a:prstGeom>
          </p:spPr>
        </p:pic>
        <p:pic>
          <p:nvPicPr>
            <p:cNvPr id="79" name="CustomIcon">
              <a:extLst>
                <a:ext uri="{FF2B5EF4-FFF2-40B4-BE49-F238E27FC236}">
                  <a16:creationId xmlns:a16="http://schemas.microsoft.com/office/drawing/2014/main" id="{F2AAC29A-0256-4264-B9BF-850496A4BD33}"/>
                </a:ext>
              </a:extLst>
            </p:cNvPr>
            <p:cNvPicPr>
              <a:picLocks noChangeAspect="1"/>
            </p:cNvPicPr>
            <p:nvPr>
              <p:custDataLst>
                <p:tags r:id="rId82"/>
              </p:custDataLst>
            </p:nvPr>
          </p:nvPicPr>
          <p:blipFill>
            <a:blip r:embed="rId96">
              <a:extLst>
                <a:ext uri="{96DAC541-7B7A-43D3-8B79-37D633B846F1}">
                  <asvg:svgBlip xmlns:asvg="http://schemas.microsoft.com/office/drawing/2016/SVG/main" r:embed="rId97"/>
                </a:ext>
              </a:extLst>
            </a:blip>
            <a:stretch>
              <a:fillRect/>
            </a:stretch>
          </p:blipFill>
          <p:spPr>
            <a:xfrm>
              <a:off x="1771415" y="1487339"/>
              <a:ext cx="209875" cy="209875"/>
            </a:xfrm>
            <a:prstGeom prst="rect">
              <a:avLst/>
            </a:prstGeom>
          </p:spPr>
        </p:pic>
      </p:grpSp>
      <p:grpSp>
        <p:nvGrpSpPr>
          <p:cNvPr id="80" name="Group 79">
            <a:extLst>
              <a:ext uri="{FF2B5EF4-FFF2-40B4-BE49-F238E27FC236}">
                <a16:creationId xmlns:a16="http://schemas.microsoft.com/office/drawing/2014/main" id="{E6320747-C2CB-4316-B692-79F0B7DD3B0E}"/>
              </a:ext>
            </a:extLst>
          </p:cNvPr>
          <p:cNvGrpSpPr/>
          <p:nvPr/>
        </p:nvGrpSpPr>
        <p:grpSpPr>
          <a:xfrm>
            <a:off x="10203526" y="1697704"/>
            <a:ext cx="491401" cy="375376"/>
            <a:chOff x="1502455" y="1487339"/>
            <a:chExt cx="532628" cy="406869"/>
          </a:xfrm>
        </p:grpSpPr>
        <p:pic>
          <p:nvPicPr>
            <p:cNvPr id="81" name="CustomIcon">
              <a:extLst>
                <a:ext uri="{FF2B5EF4-FFF2-40B4-BE49-F238E27FC236}">
                  <a16:creationId xmlns:a16="http://schemas.microsoft.com/office/drawing/2014/main" id="{C945B48E-3072-443E-9916-FEAFE609DEE6}"/>
                </a:ext>
              </a:extLst>
            </p:cNvPr>
            <p:cNvPicPr>
              <a:picLocks noChangeAspect="1"/>
            </p:cNvPicPr>
            <p:nvPr>
              <p:custDataLst>
                <p:tags r:id="rId69"/>
              </p:custDataLst>
            </p:nvPr>
          </p:nvPicPr>
          <p:blipFill>
            <a:blip r:embed="rId96">
              <a:extLst>
                <a:ext uri="{96DAC541-7B7A-43D3-8B79-37D633B846F1}">
                  <asvg:svgBlip xmlns:asvg="http://schemas.microsoft.com/office/drawing/2016/SVG/main" r:embed="rId97"/>
                </a:ext>
              </a:extLst>
            </a:blip>
            <a:stretch>
              <a:fillRect/>
            </a:stretch>
          </p:blipFill>
          <p:spPr>
            <a:xfrm>
              <a:off x="1502455" y="1684333"/>
              <a:ext cx="209875" cy="209875"/>
            </a:xfrm>
            <a:prstGeom prst="rect">
              <a:avLst/>
            </a:prstGeom>
          </p:spPr>
        </p:pic>
        <p:pic>
          <p:nvPicPr>
            <p:cNvPr id="82" name="CustomIcon">
              <a:extLst>
                <a:ext uri="{FF2B5EF4-FFF2-40B4-BE49-F238E27FC236}">
                  <a16:creationId xmlns:a16="http://schemas.microsoft.com/office/drawing/2014/main" id="{43141604-6936-4125-A453-3FE477F81CD5}"/>
                </a:ext>
              </a:extLst>
            </p:cNvPr>
            <p:cNvPicPr>
              <a:picLocks noChangeAspect="1"/>
            </p:cNvPicPr>
            <p:nvPr>
              <p:custDataLst>
                <p:tags r:id="rId70"/>
              </p:custDataLst>
            </p:nvPr>
          </p:nvPicPr>
          <p:blipFill>
            <a:blip r:embed="rId96">
              <a:extLst>
                <a:ext uri="{96DAC541-7B7A-43D3-8B79-37D633B846F1}">
                  <asvg:svgBlip xmlns:asvg="http://schemas.microsoft.com/office/drawing/2016/SVG/main" r:embed="rId97"/>
                </a:ext>
              </a:extLst>
            </a:blip>
            <a:stretch>
              <a:fillRect/>
            </a:stretch>
          </p:blipFill>
          <p:spPr>
            <a:xfrm>
              <a:off x="1610039" y="1684333"/>
              <a:ext cx="209875" cy="209875"/>
            </a:xfrm>
            <a:prstGeom prst="rect">
              <a:avLst/>
            </a:prstGeom>
          </p:spPr>
        </p:pic>
        <p:pic>
          <p:nvPicPr>
            <p:cNvPr id="83" name="CustomIcon">
              <a:extLst>
                <a:ext uri="{FF2B5EF4-FFF2-40B4-BE49-F238E27FC236}">
                  <a16:creationId xmlns:a16="http://schemas.microsoft.com/office/drawing/2014/main" id="{D840CE46-B9E7-416E-9141-69DB748FE3A6}"/>
                </a:ext>
              </a:extLst>
            </p:cNvPr>
            <p:cNvPicPr>
              <a:picLocks noChangeAspect="1"/>
            </p:cNvPicPr>
            <p:nvPr>
              <p:custDataLst>
                <p:tags r:id="rId71"/>
              </p:custDataLst>
            </p:nvPr>
          </p:nvPicPr>
          <p:blipFill>
            <a:blip r:embed="rId96">
              <a:extLst>
                <a:ext uri="{96DAC541-7B7A-43D3-8B79-37D633B846F1}">
                  <asvg:svgBlip xmlns:asvg="http://schemas.microsoft.com/office/drawing/2016/SVG/main" r:embed="rId97"/>
                </a:ext>
              </a:extLst>
            </a:blip>
            <a:stretch>
              <a:fillRect/>
            </a:stretch>
          </p:blipFill>
          <p:spPr>
            <a:xfrm>
              <a:off x="1717623" y="1684333"/>
              <a:ext cx="209875" cy="209875"/>
            </a:xfrm>
            <a:prstGeom prst="rect">
              <a:avLst/>
            </a:prstGeom>
          </p:spPr>
        </p:pic>
        <p:pic>
          <p:nvPicPr>
            <p:cNvPr id="84" name="CustomIcon">
              <a:extLst>
                <a:ext uri="{FF2B5EF4-FFF2-40B4-BE49-F238E27FC236}">
                  <a16:creationId xmlns:a16="http://schemas.microsoft.com/office/drawing/2014/main" id="{46053DA3-B860-470B-942D-C317C4BD0312}"/>
                </a:ext>
              </a:extLst>
            </p:cNvPr>
            <p:cNvPicPr>
              <a:picLocks noChangeAspect="1"/>
            </p:cNvPicPr>
            <p:nvPr>
              <p:custDataLst>
                <p:tags r:id="rId72"/>
              </p:custDataLst>
            </p:nvPr>
          </p:nvPicPr>
          <p:blipFill>
            <a:blip r:embed="rId96">
              <a:extLst>
                <a:ext uri="{96DAC541-7B7A-43D3-8B79-37D633B846F1}">
                  <asvg:svgBlip xmlns:asvg="http://schemas.microsoft.com/office/drawing/2016/SVG/main" r:embed="rId97"/>
                </a:ext>
              </a:extLst>
            </a:blip>
            <a:stretch>
              <a:fillRect/>
            </a:stretch>
          </p:blipFill>
          <p:spPr>
            <a:xfrm>
              <a:off x="1825208" y="1684333"/>
              <a:ext cx="209875" cy="209875"/>
            </a:xfrm>
            <a:prstGeom prst="rect">
              <a:avLst/>
            </a:prstGeom>
          </p:spPr>
        </p:pic>
        <p:pic>
          <p:nvPicPr>
            <p:cNvPr id="85" name="CustomIcon">
              <a:extLst>
                <a:ext uri="{FF2B5EF4-FFF2-40B4-BE49-F238E27FC236}">
                  <a16:creationId xmlns:a16="http://schemas.microsoft.com/office/drawing/2014/main" id="{A475140D-B3A3-4C18-A1BC-F32DA89B924C}"/>
                </a:ext>
              </a:extLst>
            </p:cNvPr>
            <p:cNvPicPr>
              <a:picLocks noChangeAspect="1"/>
            </p:cNvPicPr>
            <p:nvPr>
              <p:custDataLst>
                <p:tags r:id="rId73"/>
              </p:custDataLst>
            </p:nvPr>
          </p:nvPicPr>
          <p:blipFill>
            <a:blip r:embed="rId96">
              <a:extLst>
                <a:ext uri="{96DAC541-7B7A-43D3-8B79-37D633B846F1}">
                  <asvg:svgBlip xmlns:asvg="http://schemas.microsoft.com/office/drawing/2016/SVG/main" r:embed="rId97"/>
                </a:ext>
              </a:extLst>
            </a:blip>
            <a:stretch>
              <a:fillRect/>
            </a:stretch>
          </p:blipFill>
          <p:spPr>
            <a:xfrm>
              <a:off x="1556247" y="1487339"/>
              <a:ext cx="209875" cy="209875"/>
            </a:xfrm>
            <a:prstGeom prst="rect">
              <a:avLst/>
            </a:prstGeom>
          </p:spPr>
        </p:pic>
        <p:pic>
          <p:nvPicPr>
            <p:cNvPr id="86" name="CustomIcon">
              <a:extLst>
                <a:ext uri="{FF2B5EF4-FFF2-40B4-BE49-F238E27FC236}">
                  <a16:creationId xmlns:a16="http://schemas.microsoft.com/office/drawing/2014/main" id="{6EDDA90B-C742-4DAA-B7A6-914BE89DFCCF}"/>
                </a:ext>
              </a:extLst>
            </p:cNvPr>
            <p:cNvPicPr>
              <a:picLocks noChangeAspect="1"/>
            </p:cNvPicPr>
            <p:nvPr>
              <p:custDataLst>
                <p:tags r:id="rId74"/>
              </p:custDataLst>
            </p:nvPr>
          </p:nvPicPr>
          <p:blipFill>
            <a:blip r:embed="rId96">
              <a:extLst>
                <a:ext uri="{96DAC541-7B7A-43D3-8B79-37D633B846F1}">
                  <asvg:svgBlip xmlns:asvg="http://schemas.microsoft.com/office/drawing/2016/SVG/main" r:embed="rId97"/>
                </a:ext>
              </a:extLst>
            </a:blip>
            <a:stretch>
              <a:fillRect/>
            </a:stretch>
          </p:blipFill>
          <p:spPr>
            <a:xfrm>
              <a:off x="1663831" y="1487339"/>
              <a:ext cx="209875" cy="209875"/>
            </a:xfrm>
            <a:prstGeom prst="rect">
              <a:avLst/>
            </a:prstGeom>
          </p:spPr>
        </p:pic>
        <p:pic>
          <p:nvPicPr>
            <p:cNvPr id="87" name="CustomIcon">
              <a:extLst>
                <a:ext uri="{FF2B5EF4-FFF2-40B4-BE49-F238E27FC236}">
                  <a16:creationId xmlns:a16="http://schemas.microsoft.com/office/drawing/2014/main" id="{06B9F838-65C9-4F9F-B491-8257F3A51F00}"/>
                </a:ext>
              </a:extLst>
            </p:cNvPr>
            <p:cNvPicPr>
              <a:picLocks noChangeAspect="1"/>
            </p:cNvPicPr>
            <p:nvPr>
              <p:custDataLst>
                <p:tags r:id="rId75"/>
              </p:custDataLst>
            </p:nvPr>
          </p:nvPicPr>
          <p:blipFill>
            <a:blip r:embed="rId96">
              <a:extLst>
                <a:ext uri="{96DAC541-7B7A-43D3-8B79-37D633B846F1}">
                  <asvg:svgBlip xmlns:asvg="http://schemas.microsoft.com/office/drawing/2016/SVG/main" r:embed="rId97"/>
                </a:ext>
              </a:extLst>
            </a:blip>
            <a:stretch>
              <a:fillRect/>
            </a:stretch>
          </p:blipFill>
          <p:spPr>
            <a:xfrm>
              <a:off x="1771415" y="1487339"/>
              <a:ext cx="209875" cy="209875"/>
            </a:xfrm>
            <a:prstGeom prst="rect">
              <a:avLst/>
            </a:prstGeom>
          </p:spPr>
        </p:pic>
      </p:grpSp>
      <p:grpSp>
        <p:nvGrpSpPr>
          <p:cNvPr id="88" name="Group 87">
            <a:extLst>
              <a:ext uri="{FF2B5EF4-FFF2-40B4-BE49-F238E27FC236}">
                <a16:creationId xmlns:a16="http://schemas.microsoft.com/office/drawing/2014/main" id="{704CA7EF-2C20-40D1-B46B-157A2DE87042}"/>
              </a:ext>
            </a:extLst>
          </p:cNvPr>
          <p:cNvGrpSpPr/>
          <p:nvPr/>
        </p:nvGrpSpPr>
        <p:grpSpPr>
          <a:xfrm>
            <a:off x="10610056" y="3386849"/>
            <a:ext cx="491401" cy="375376"/>
            <a:chOff x="1502455" y="1487339"/>
            <a:chExt cx="532628" cy="406869"/>
          </a:xfrm>
        </p:grpSpPr>
        <p:pic>
          <p:nvPicPr>
            <p:cNvPr id="89" name="CustomIcon">
              <a:extLst>
                <a:ext uri="{FF2B5EF4-FFF2-40B4-BE49-F238E27FC236}">
                  <a16:creationId xmlns:a16="http://schemas.microsoft.com/office/drawing/2014/main" id="{96E5BF25-2597-46DA-94BD-F3EA2CB7B1B0}"/>
                </a:ext>
              </a:extLst>
            </p:cNvPr>
            <p:cNvPicPr>
              <a:picLocks noChangeAspect="1"/>
            </p:cNvPicPr>
            <p:nvPr>
              <p:custDataLst>
                <p:tags r:id="rId62"/>
              </p:custDataLst>
            </p:nvPr>
          </p:nvPicPr>
          <p:blipFill>
            <a:blip r:embed="rId96">
              <a:extLst>
                <a:ext uri="{96DAC541-7B7A-43D3-8B79-37D633B846F1}">
                  <asvg:svgBlip xmlns:asvg="http://schemas.microsoft.com/office/drawing/2016/SVG/main" r:embed="rId97"/>
                </a:ext>
              </a:extLst>
            </a:blip>
            <a:stretch>
              <a:fillRect/>
            </a:stretch>
          </p:blipFill>
          <p:spPr>
            <a:xfrm>
              <a:off x="1502455" y="1684333"/>
              <a:ext cx="209875" cy="209875"/>
            </a:xfrm>
            <a:prstGeom prst="rect">
              <a:avLst/>
            </a:prstGeom>
          </p:spPr>
        </p:pic>
        <p:pic>
          <p:nvPicPr>
            <p:cNvPr id="90" name="CustomIcon">
              <a:extLst>
                <a:ext uri="{FF2B5EF4-FFF2-40B4-BE49-F238E27FC236}">
                  <a16:creationId xmlns:a16="http://schemas.microsoft.com/office/drawing/2014/main" id="{1AE54925-633B-4033-A4B8-C7882AD9E4B0}"/>
                </a:ext>
              </a:extLst>
            </p:cNvPr>
            <p:cNvPicPr>
              <a:picLocks noChangeAspect="1"/>
            </p:cNvPicPr>
            <p:nvPr>
              <p:custDataLst>
                <p:tags r:id="rId63"/>
              </p:custDataLst>
            </p:nvPr>
          </p:nvPicPr>
          <p:blipFill>
            <a:blip r:embed="rId96">
              <a:extLst>
                <a:ext uri="{96DAC541-7B7A-43D3-8B79-37D633B846F1}">
                  <asvg:svgBlip xmlns:asvg="http://schemas.microsoft.com/office/drawing/2016/SVG/main" r:embed="rId97"/>
                </a:ext>
              </a:extLst>
            </a:blip>
            <a:stretch>
              <a:fillRect/>
            </a:stretch>
          </p:blipFill>
          <p:spPr>
            <a:xfrm>
              <a:off x="1610039" y="1684333"/>
              <a:ext cx="209875" cy="209875"/>
            </a:xfrm>
            <a:prstGeom prst="rect">
              <a:avLst/>
            </a:prstGeom>
          </p:spPr>
        </p:pic>
        <p:pic>
          <p:nvPicPr>
            <p:cNvPr id="91" name="CustomIcon">
              <a:extLst>
                <a:ext uri="{FF2B5EF4-FFF2-40B4-BE49-F238E27FC236}">
                  <a16:creationId xmlns:a16="http://schemas.microsoft.com/office/drawing/2014/main" id="{A0E2A4E9-7CC3-4891-9581-C43F3A34C12F}"/>
                </a:ext>
              </a:extLst>
            </p:cNvPr>
            <p:cNvPicPr>
              <a:picLocks noChangeAspect="1"/>
            </p:cNvPicPr>
            <p:nvPr>
              <p:custDataLst>
                <p:tags r:id="rId64"/>
              </p:custDataLst>
            </p:nvPr>
          </p:nvPicPr>
          <p:blipFill>
            <a:blip r:embed="rId96">
              <a:extLst>
                <a:ext uri="{96DAC541-7B7A-43D3-8B79-37D633B846F1}">
                  <asvg:svgBlip xmlns:asvg="http://schemas.microsoft.com/office/drawing/2016/SVG/main" r:embed="rId97"/>
                </a:ext>
              </a:extLst>
            </a:blip>
            <a:stretch>
              <a:fillRect/>
            </a:stretch>
          </p:blipFill>
          <p:spPr>
            <a:xfrm>
              <a:off x="1717623" y="1684333"/>
              <a:ext cx="209875" cy="209875"/>
            </a:xfrm>
            <a:prstGeom prst="rect">
              <a:avLst/>
            </a:prstGeom>
          </p:spPr>
        </p:pic>
        <p:pic>
          <p:nvPicPr>
            <p:cNvPr id="92" name="CustomIcon">
              <a:extLst>
                <a:ext uri="{FF2B5EF4-FFF2-40B4-BE49-F238E27FC236}">
                  <a16:creationId xmlns:a16="http://schemas.microsoft.com/office/drawing/2014/main" id="{C61E3DD0-D16E-402F-8070-79688B6A0867}"/>
                </a:ext>
              </a:extLst>
            </p:cNvPr>
            <p:cNvPicPr>
              <a:picLocks noChangeAspect="1"/>
            </p:cNvPicPr>
            <p:nvPr>
              <p:custDataLst>
                <p:tags r:id="rId65"/>
              </p:custDataLst>
            </p:nvPr>
          </p:nvPicPr>
          <p:blipFill>
            <a:blip r:embed="rId96">
              <a:extLst>
                <a:ext uri="{96DAC541-7B7A-43D3-8B79-37D633B846F1}">
                  <asvg:svgBlip xmlns:asvg="http://schemas.microsoft.com/office/drawing/2016/SVG/main" r:embed="rId97"/>
                </a:ext>
              </a:extLst>
            </a:blip>
            <a:stretch>
              <a:fillRect/>
            </a:stretch>
          </p:blipFill>
          <p:spPr>
            <a:xfrm>
              <a:off x="1825208" y="1684333"/>
              <a:ext cx="209875" cy="209875"/>
            </a:xfrm>
            <a:prstGeom prst="rect">
              <a:avLst/>
            </a:prstGeom>
          </p:spPr>
        </p:pic>
        <p:pic>
          <p:nvPicPr>
            <p:cNvPr id="93" name="CustomIcon">
              <a:extLst>
                <a:ext uri="{FF2B5EF4-FFF2-40B4-BE49-F238E27FC236}">
                  <a16:creationId xmlns:a16="http://schemas.microsoft.com/office/drawing/2014/main" id="{34986D97-8A32-4C21-84E8-5BB08D7B62D8}"/>
                </a:ext>
              </a:extLst>
            </p:cNvPr>
            <p:cNvPicPr>
              <a:picLocks noChangeAspect="1"/>
            </p:cNvPicPr>
            <p:nvPr>
              <p:custDataLst>
                <p:tags r:id="rId66"/>
              </p:custDataLst>
            </p:nvPr>
          </p:nvPicPr>
          <p:blipFill>
            <a:blip r:embed="rId96">
              <a:extLst>
                <a:ext uri="{96DAC541-7B7A-43D3-8B79-37D633B846F1}">
                  <asvg:svgBlip xmlns:asvg="http://schemas.microsoft.com/office/drawing/2016/SVG/main" r:embed="rId97"/>
                </a:ext>
              </a:extLst>
            </a:blip>
            <a:stretch>
              <a:fillRect/>
            </a:stretch>
          </p:blipFill>
          <p:spPr>
            <a:xfrm>
              <a:off x="1556247" y="1487339"/>
              <a:ext cx="209875" cy="209875"/>
            </a:xfrm>
            <a:prstGeom prst="rect">
              <a:avLst/>
            </a:prstGeom>
          </p:spPr>
        </p:pic>
        <p:pic>
          <p:nvPicPr>
            <p:cNvPr id="94" name="CustomIcon">
              <a:extLst>
                <a:ext uri="{FF2B5EF4-FFF2-40B4-BE49-F238E27FC236}">
                  <a16:creationId xmlns:a16="http://schemas.microsoft.com/office/drawing/2014/main" id="{B2D2195B-FD26-433C-99B5-32A1DE86A9AD}"/>
                </a:ext>
              </a:extLst>
            </p:cNvPr>
            <p:cNvPicPr>
              <a:picLocks noChangeAspect="1"/>
            </p:cNvPicPr>
            <p:nvPr>
              <p:custDataLst>
                <p:tags r:id="rId67"/>
              </p:custDataLst>
            </p:nvPr>
          </p:nvPicPr>
          <p:blipFill>
            <a:blip r:embed="rId96">
              <a:extLst>
                <a:ext uri="{96DAC541-7B7A-43D3-8B79-37D633B846F1}">
                  <asvg:svgBlip xmlns:asvg="http://schemas.microsoft.com/office/drawing/2016/SVG/main" r:embed="rId97"/>
                </a:ext>
              </a:extLst>
            </a:blip>
            <a:stretch>
              <a:fillRect/>
            </a:stretch>
          </p:blipFill>
          <p:spPr>
            <a:xfrm>
              <a:off x="1663831" y="1487339"/>
              <a:ext cx="209875" cy="209875"/>
            </a:xfrm>
            <a:prstGeom prst="rect">
              <a:avLst/>
            </a:prstGeom>
          </p:spPr>
        </p:pic>
        <p:pic>
          <p:nvPicPr>
            <p:cNvPr id="95" name="CustomIcon">
              <a:extLst>
                <a:ext uri="{FF2B5EF4-FFF2-40B4-BE49-F238E27FC236}">
                  <a16:creationId xmlns:a16="http://schemas.microsoft.com/office/drawing/2014/main" id="{59E1F069-A99D-4269-B4A8-C7A112251811}"/>
                </a:ext>
              </a:extLst>
            </p:cNvPr>
            <p:cNvPicPr>
              <a:picLocks noChangeAspect="1"/>
            </p:cNvPicPr>
            <p:nvPr>
              <p:custDataLst>
                <p:tags r:id="rId68"/>
              </p:custDataLst>
            </p:nvPr>
          </p:nvPicPr>
          <p:blipFill>
            <a:blip r:embed="rId96">
              <a:extLst>
                <a:ext uri="{96DAC541-7B7A-43D3-8B79-37D633B846F1}">
                  <asvg:svgBlip xmlns:asvg="http://schemas.microsoft.com/office/drawing/2016/SVG/main" r:embed="rId97"/>
                </a:ext>
              </a:extLst>
            </a:blip>
            <a:stretch>
              <a:fillRect/>
            </a:stretch>
          </p:blipFill>
          <p:spPr>
            <a:xfrm>
              <a:off x="1771415" y="1487339"/>
              <a:ext cx="209875" cy="209875"/>
            </a:xfrm>
            <a:prstGeom prst="rect">
              <a:avLst/>
            </a:prstGeom>
          </p:spPr>
        </p:pic>
      </p:grpSp>
      <p:grpSp>
        <p:nvGrpSpPr>
          <p:cNvPr id="96" name="Group 95">
            <a:extLst>
              <a:ext uri="{FF2B5EF4-FFF2-40B4-BE49-F238E27FC236}">
                <a16:creationId xmlns:a16="http://schemas.microsoft.com/office/drawing/2014/main" id="{96095160-9AB2-4C6D-B14B-FE906C069057}"/>
              </a:ext>
            </a:extLst>
          </p:cNvPr>
          <p:cNvGrpSpPr/>
          <p:nvPr/>
        </p:nvGrpSpPr>
        <p:grpSpPr>
          <a:xfrm>
            <a:off x="10388085" y="4496350"/>
            <a:ext cx="491401" cy="375376"/>
            <a:chOff x="1502455" y="1487339"/>
            <a:chExt cx="532628" cy="406869"/>
          </a:xfrm>
        </p:grpSpPr>
        <p:pic>
          <p:nvPicPr>
            <p:cNvPr id="97" name="CustomIcon">
              <a:extLst>
                <a:ext uri="{FF2B5EF4-FFF2-40B4-BE49-F238E27FC236}">
                  <a16:creationId xmlns:a16="http://schemas.microsoft.com/office/drawing/2014/main" id="{CE01423A-D188-46E6-8834-EBCC1F64F0B3}"/>
                </a:ext>
              </a:extLst>
            </p:cNvPr>
            <p:cNvPicPr>
              <a:picLocks noChangeAspect="1"/>
            </p:cNvPicPr>
            <p:nvPr>
              <p:custDataLst>
                <p:tags r:id="rId55"/>
              </p:custDataLst>
            </p:nvPr>
          </p:nvPicPr>
          <p:blipFill>
            <a:blip r:embed="rId96">
              <a:extLst>
                <a:ext uri="{96DAC541-7B7A-43D3-8B79-37D633B846F1}">
                  <asvg:svgBlip xmlns:asvg="http://schemas.microsoft.com/office/drawing/2016/SVG/main" r:embed="rId97"/>
                </a:ext>
              </a:extLst>
            </a:blip>
            <a:stretch>
              <a:fillRect/>
            </a:stretch>
          </p:blipFill>
          <p:spPr>
            <a:xfrm>
              <a:off x="1502455" y="1684333"/>
              <a:ext cx="209875" cy="209875"/>
            </a:xfrm>
            <a:prstGeom prst="rect">
              <a:avLst/>
            </a:prstGeom>
          </p:spPr>
        </p:pic>
        <p:pic>
          <p:nvPicPr>
            <p:cNvPr id="98" name="CustomIcon">
              <a:extLst>
                <a:ext uri="{FF2B5EF4-FFF2-40B4-BE49-F238E27FC236}">
                  <a16:creationId xmlns:a16="http://schemas.microsoft.com/office/drawing/2014/main" id="{E3ADB8BC-FEC1-419A-B1DF-545943FAF0F6}"/>
                </a:ext>
              </a:extLst>
            </p:cNvPr>
            <p:cNvPicPr>
              <a:picLocks noChangeAspect="1"/>
            </p:cNvPicPr>
            <p:nvPr>
              <p:custDataLst>
                <p:tags r:id="rId56"/>
              </p:custDataLst>
            </p:nvPr>
          </p:nvPicPr>
          <p:blipFill>
            <a:blip r:embed="rId96">
              <a:extLst>
                <a:ext uri="{96DAC541-7B7A-43D3-8B79-37D633B846F1}">
                  <asvg:svgBlip xmlns:asvg="http://schemas.microsoft.com/office/drawing/2016/SVG/main" r:embed="rId97"/>
                </a:ext>
              </a:extLst>
            </a:blip>
            <a:stretch>
              <a:fillRect/>
            </a:stretch>
          </p:blipFill>
          <p:spPr>
            <a:xfrm>
              <a:off x="1610039" y="1684333"/>
              <a:ext cx="209875" cy="209875"/>
            </a:xfrm>
            <a:prstGeom prst="rect">
              <a:avLst/>
            </a:prstGeom>
          </p:spPr>
        </p:pic>
        <p:pic>
          <p:nvPicPr>
            <p:cNvPr id="99" name="CustomIcon">
              <a:extLst>
                <a:ext uri="{FF2B5EF4-FFF2-40B4-BE49-F238E27FC236}">
                  <a16:creationId xmlns:a16="http://schemas.microsoft.com/office/drawing/2014/main" id="{19023939-D118-401E-889F-5569A92BA882}"/>
                </a:ext>
              </a:extLst>
            </p:cNvPr>
            <p:cNvPicPr>
              <a:picLocks noChangeAspect="1"/>
            </p:cNvPicPr>
            <p:nvPr>
              <p:custDataLst>
                <p:tags r:id="rId57"/>
              </p:custDataLst>
            </p:nvPr>
          </p:nvPicPr>
          <p:blipFill>
            <a:blip r:embed="rId96">
              <a:extLst>
                <a:ext uri="{96DAC541-7B7A-43D3-8B79-37D633B846F1}">
                  <asvg:svgBlip xmlns:asvg="http://schemas.microsoft.com/office/drawing/2016/SVG/main" r:embed="rId97"/>
                </a:ext>
              </a:extLst>
            </a:blip>
            <a:stretch>
              <a:fillRect/>
            </a:stretch>
          </p:blipFill>
          <p:spPr>
            <a:xfrm>
              <a:off x="1717623" y="1684333"/>
              <a:ext cx="209875" cy="209875"/>
            </a:xfrm>
            <a:prstGeom prst="rect">
              <a:avLst/>
            </a:prstGeom>
          </p:spPr>
        </p:pic>
        <p:pic>
          <p:nvPicPr>
            <p:cNvPr id="100" name="CustomIcon">
              <a:extLst>
                <a:ext uri="{FF2B5EF4-FFF2-40B4-BE49-F238E27FC236}">
                  <a16:creationId xmlns:a16="http://schemas.microsoft.com/office/drawing/2014/main" id="{972DD34C-8B15-4CF4-8B3E-E3F06A6400A5}"/>
                </a:ext>
              </a:extLst>
            </p:cNvPr>
            <p:cNvPicPr>
              <a:picLocks noChangeAspect="1"/>
            </p:cNvPicPr>
            <p:nvPr>
              <p:custDataLst>
                <p:tags r:id="rId58"/>
              </p:custDataLst>
            </p:nvPr>
          </p:nvPicPr>
          <p:blipFill>
            <a:blip r:embed="rId96">
              <a:extLst>
                <a:ext uri="{96DAC541-7B7A-43D3-8B79-37D633B846F1}">
                  <asvg:svgBlip xmlns:asvg="http://schemas.microsoft.com/office/drawing/2016/SVG/main" r:embed="rId97"/>
                </a:ext>
              </a:extLst>
            </a:blip>
            <a:stretch>
              <a:fillRect/>
            </a:stretch>
          </p:blipFill>
          <p:spPr>
            <a:xfrm>
              <a:off x="1825208" y="1684333"/>
              <a:ext cx="209875" cy="209875"/>
            </a:xfrm>
            <a:prstGeom prst="rect">
              <a:avLst/>
            </a:prstGeom>
          </p:spPr>
        </p:pic>
        <p:pic>
          <p:nvPicPr>
            <p:cNvPr id="101" name="CustomIcon">
              <a:extLst>
                <a:ext uri="{FF2B5EF4-FFF2-40B4-BE49-F238E27FC236}">
                  <a16:creationId xmlns:a16="http://schemas.microsoft.com/office/drawing/2014/main" id="{8941C9AB-73EE-4C64-89CF-9C347D3BC426}"/>
                </a:ext>
              </a:extLst>
            </p:cNvPr>
            <p:cNvPicPr>
              <a:picLocks noChangeAspect="1"/>
            </p:cNvPicPr>
            <p:nvPr>
              <p:custDataLst>
                <p:tags r:id="rId59"/>
              </p:custDataLst>
            </p:nvPr>
          </p:nvPicPr>
          <p:blipFill>
            <a:blip r:embed="rId96">
              <a:extLst>
                <a:ext uri="{96DAC541-7B7A-43D3-8B79-37D633B846F1}">
                  <asvg:svgBlip xmlns:asvg="http://schemas.microsoft.com/office/drawing/2016/SVG/main" r:embed="rId97"/>
                </a:ext>
              </a:extLst>
            </a:blip>
            <a:stretch>
              <a:fillRect/>
            </a:stretch>
          </p:blipFill>
          <p:spPr>
            <a:xfrm>
              <a:off x="1556247" y="1487339"/>
              <a:ext cx="209875" cy="209875"/>
            </a:xfrm>
            <a:prstGeom prst="rect">
              <a:avLst/>
            </a:prstGeom>
          </p:spPr>
        </p:pic>
        <p:pic>
          <p:nvPicPr>
            <p:cNvPr id="102" name="CustomIcon">
              <a:extLst>
                <a:ext uri="{FF2B5EF4-FFF2-40B4-BE49-F238E27FC236}">
                  <a16:creationId xmlns:a16="http://schemas.microsoft.com/office/drawing/2014/main" id="{2276E2DF-39C8-454C-9624-AE9AF1B281CC}"/>
                </a:ext>
              </a:extLst>
            </p:cNvPr>
            <p:cNvPicPr>
              <a:picLocks noChangeAspect="1"/>
            </p:cNvPicPr>
            <p:nvPr>
              <p:custDataLst>
                <p:tags r:id="rId60"/>
              </p:custDataLst>
            </p:nvPr>
          </p:nvPicPr>
          <p:blipFill>
            <a:blip r:embed="rId96">
              <a:extLst>
                <a:ext uri="{96DAC541-7B7A-43D3-8B79-37D633B846F1}">
                  <asvg:svgBlip xmlns:asvg="http://schemas.microsoft.com/office/drawing/2016/SVG/main" r:embed="rId97"/>
                </a:ext>
              </a:extLst>
            </a:blip>
            <a:stretch>
              <a:fillRect/>
            </a:stretch>
          </p:blipFill>
          <p:spPr>
            <a:xfrm>
              <a:off x="1663831" y="1487339"/>
              <a:ext cx="209875" cy="209875"/>
            </a:xfrm>
            <a:prstGeom prst="rect">
              <a:avLst/>
            </a:prstGeom>
          </p:spPr>
        </p:pic>
        <p:pic>
          <p:nvPicPr>
            <p:cNvPr id="103" name="CustomIcon">
              <a:extLst>
                <a:ext uri="{FF2B5EF4-FFF2-40B4-BE49-F238E27FC236}">
                  <a16:creationId xmlns:a16="http://schemas.microsoft.com/office/drawing/2014/main" id="{7292CD55-D0B3-4F47-939D-7DBC539C06F1}"/>
                </a:ext>
              </a:extLst>
            </p:cNvPr>
            <p:cNvPicPr>
              <a:picLocks noChangeAspect="1"/>
            </p:cNvPicPr>
            <p:nvPr>
              <p:custDataLst>
                <p:tags r:id="rId61"/>
              </p:custDataLst>
            </p:nvPr>
          </p:nvPicPr>
          <p:blipFill>
            <a:blip r:embed="rId96">
              <a:extLst>
                <a:ext uri="{96DAC541-7B7A-43D3-8B79-37D633B846F1}">
                  <asvg:svgBlip xmlns:asvg="http://schemas.microsoft.com/office/drawing/2016/SVG/main" r:embed="rId97"/>
                </a:ext>
              </a:extLst>
            </a:blip>
            <a:stretch>
              <a:fillRect/>
            </a:stretch>
          </p:blipFill>
          <p:spPr>
            <a:xfrm>
              <a:off x="1771415" y="1487339"/>
              <a:ext cx="209875" cy="209875"/>
            </a:xfrm>
            <a:prstGeom prst="rect">
              <a:avLst/>
            </a:prstGeom>
          </p:spPr>
        </p:pic>
      </p:grpSp>
      <p:grpSp>
        <p:nvGrpSpPr>
          <p:cNvPr id="104" name="Group 103">
            <a:extLst>
              <a:ext uri="{FF2B5EF4-FFF2-40B4-BE49-F238E27FC236}">
                <a16:creationId xmlns:a16="http://schemas.microsoft.com/office/drawing/2014/main" id="{BB26E01F-E9B2-4935-9FE2-CFB915B729A4}"/>
              </a:ext>
            </a:extLst>
          </p:cNvPr>
          <p:cNvGrpSpPr/>
          <p:nvPr/>
        </p:nvGrpSpPr>
        <p:grpSpPr>
          <a:xfrm>
            <a:off x="9172873" y="3905662"/>
            <a:ext cx="491401" cy="375376"/>
            <a:chOff x="1502455" y="1487339"/>
            <a:chExt cx="532628" cy="406869"/>
          </a:xfrm>
        </p:grpSpPr>
        <p:pic>
          <p:nvPicPr>
            <p:cNvPr id="105" name="CustomIcon">
              <a:extLst>
                <a:ext uri="{FF2B5EF4-FFF2-40B4-BE49-F238E27FC236}">
                  <a16:creationId xmlns:a16="http://schemas.microsoft.com/office/drawing/2014/main" id="{41DCED28-25CA-4ABC-86B6-5F5A3276622F}"/>
                </a:ext>
              </a:extLst>
            </p:cNvPr>
            <p:cNvPicPr>
              <a:picLocks noChangeAspect="1"/>
            </p:cNvPicPr>
            <p:nvPr>
              <p:custDataLst>
                <p:tags r:id="rId48"/>
              </p:custDataLst>
            </p:nvPr>
          </p:nvPicPr>
          <p:blipFill>
            <a:blip r:embed="rId96">
              <a:extLst>
                <a:ext uri="{96DAC541-7B7A-43D3-8B79-37D633B846F1}">
                  <asvg:svgBlip xmlns:asvg="http://schemas.microsoft.com/office/drawing/2016/SVG/main" r:embed="rId97"/>
                </a:ext>
              </a:extLst>
            </a:blip>
            <a:stretch>
              <a:fillRect/>
            </a:stretch>
          </p:blipFill>
          <p:spPr>
            <a:xfrm>
              <a:off x="1502455" y="1684333"/>
              <a:ext cx="209875" cy="209875"/>
            </a:xfrm>
            <a:prstGeom prst="rect">
              <a:avLst/>
            </a:prstGeom>
          </p:spPr>
        </p:pic>
        <p:pic>
          <p:nvPicPr>
            <p:cNvPr id="106" name="CustomIcon">
              <a:extLst>
                <a:ext uri="{FF2B5EF4-FFF2-40B4-BE49-F238E27FC236}">
                  <a16:creationId xmlns:a16="http://schemas.microsoft.com/office/drawing/2014/main" id="{2B811D7E-C448-4BE4-8327-7B8753CF60FD}"/>
                </a:ext>
              </a:extLst>
            </p:cNvPr>
            <p:cNvPicPr>
              <a:picLocks noChangeAspect="1"/>
            </p:cNvPicPr>
            <p:nvPr>
              <p:custDataLst>
                <p:tags r:id="rId49"/>
              </p:custDataLst>
            </p:nvPr>
          </p:nvPicPr>
          <p:blipFill>
            <a:blip r:embed="rId96">
              <a:extLst>
                <a:ext uri="{96DAC541-7B7A-43D3-8B79-37D633B846F1}">
                  <asvg:svgBlip xmlns:asvg="http://schemas.microsoft.com/office/drawing/2016/SVG/main" r:embed="rId97"/>
                </a:ext>
              </a:extLst>
            </a:blip>
            <a:stretch>
              <a:fillRect/>
            </a:stretch>
          </p:blipFill>
          <p:spPr>
            <a:xfrm>
              <a:off x="1610039" y="1684333"/>
              <a:ext cx="209875" cy="209875"/>
            </a:xfrm>
            <a:prstGeom prst="rect">
              <a:avLst/>
            </a:prstGeom>
          </p:spPr>
        </p:pic>
        <p:pic>
          <p:nvPicPr>
            <p:cNvPr id="107" name="CustomIcon">
              <a:extLst>
                <a:ext uri="{FF2B5EF4-FFF2-40B4-BE49-F238E27FC236}">
                  <a16:creationId xmlns:a16="http://schemas.microsoft.com/office/drawing/2014/main" id="{863831E6-2B48-40CC-97BC-8F0CEB175303}"/>
                </a:ext>
              </a:extLst>
            </p:cNvPr>
            <p:cNvPicPr>
              <a:picLocks noChangeAspect="1"/>
            </p:cNvPicPr>
            <p:nvPr>
              <p:custDataLst>
                <p:tags r:id="rId50"/>
              </p:custDataLst>
            </p:nvPr>
          </p:nvPicPr>
          <p:blipFill>
            <a:blip r:embed="rId96">
              <a:extLst>
                <a:ext uri="{96DAC541-7B7A-43D3-8B79-37D633B846F1}">
                  <asvg:svgBlip xmlns:asvg="http://schemas.microsoft.com/office/drawing/2016/SVG/main" r:embed="rId97"/>
                </a:ext>
              </a:extLst>
            </a:blip>
            <a:stretch>
              <a:fillRect/>
            </a:stretch>
          </p:blipFill>
          <p:spPr>
            <a:xfrm>
              <a:off x="1717623" y="1684333"/>
              <a:ext cx="209875" cy="209875"/>
            </a:xfrm>
            <a:prstGeom prst="rect">
              <a:avLst/>
            </a:prstGeom>
          </p:spPr>
        </p:pic>
        <p:pic>
          <p:nvPicPr>
            <p:cNvPr id="108" name="CustomIcon">
              <a:extLst>
                <a:ext uri="{FF2B5EF4-FFF2-40B4-BE49-F238E27FC236}">
                  <a16:creationId xmlns:a16="http://schemas.microsoft.com/office/drawing/2014/main" id="{11AE1018-0F72-4FE5-B040-E8B1195BC25B}"/>
                </a:ext>
              </a:extLst>
            </p:cNvPr>
            <p:cNvPicPr>
              <a:picLocks noChangeAspect="1"/>
            </p:cNvPicPr>
            <p:nvPr>
              <p:custDataLst>
                <p:tags r:id="rId51"/>
              </p:custDataLst>
            </p:nvPr>
          </p:nvPicPr>
          <p:blipFill>
            <a:blip r:embed="rId96">
              <a:extLst>
                <a:ext uri="{96DAC541-7B7A-43D3-8B79-37D633B846F1}">
                  <asvg:svgBlip xmlns:asvg="http://schemas.microsoft.com/office/drawing/2016/SVG/main" r:embed="rId97"/>
                </a:ext>
              </a:extLst>
            </a:blip>
            <a:stretch>
              <a:fillRect/>
            </a:stretch>
          </p:blipFill>
          <p:spPr>
            <a:xfrm>
              <a:off x="1825208" y="1684333"/>
              <a:ext cx="209875" cy="209875"/>
            </a:xfrm>
            <a:prstGeom prst="rect">
              <a:avLst/>
            </a:prstGeom>
          </p:spPr>
        </p:pic>
        <p:pic>
          <p:nvPicPr>
            <p:cNvPr id="109" name="CustomIcon">
              <a:extLst>
                <a:ext uri="{FF2B5EF4-FFF2-40B4-BE49-F238E27FC236}">
                  <a16:creationId xmlns:a16="http://schemas.microsoft.com/office/drawing/2014/main" id="{C59F37F5-6584-4936-B09B-4592917372E7}"/>
                </a:ext>
              </a:extLst>
            </p:cNvPr>
            <p:cNvPicPr>
              <a:picLocks noChangeAspect="1"/>
            </p:cNvPicPr>
            <p:nvPr>
              <p:custDataLst>
                <p:tags r:id="rId52"/>
              </p:custDataLst>
            </p:nvPr>
          </p:nvPicPr>
          <p:blipFill>
            <a:blip r:embed="rId96">
              <a:extLst>
                <a:ext uri="{96DAC541-7B7A-43D3-8B79-37D633B846F1}">
                  <asvg:svgBlip xmlns:asvg="http://schemas.microsoft.com/office/drawing/2016/SVG/main" r:embed="rId97"/>
                </a:ext>
              </a:extLst>
            </a:blip>
            <a:stretch>
              <a:fillRect/>
            </a:stretch>
          </p:blipFill>
          <p:spPr>
            <a:xfrm>
              <a:off x="1556247" y="1487339"/>
              <a:ext cx="209875" cy="209875"/>
            </a:xfrm>
            <a:prstGeom prst="rect">
              <a:avLst/>
            </a:prstGeom>
          </p:spPr>
        </p:pic>
        <p:pic>
          <p:nvPicPr>
            <p:cNvPr id="110" name="CustomIcon">
              <a:extLst>
                <a:ext uri="{FF2B5EF4-FFF2-40B4-BE49-F238E27FC236}">
                  <a16:creationId xmlns:a16="http://schemas.microsoft.com/office/drawing/2014/main" id="{29E8B3F3-FC6E-412E-80DF-57B87CC0F620}"/>
                </a:ext>
              </a:extLst>
            </p:cNvPr>
            <p:cNvPicPr>
              <a:picLocks noChangeAspect="1"/>
            </p:cNvPicPr>
            <p:nvPr>
              <p:custDataLst>
                <p:tags r:id="rId53"/>
              </p:custDataLst>
            </p:nvPr>
          </p:nvPicPr>
          <p:blipFill>
            <a:blip r:embed="rId96">
              <a:extLst>
                <a:ext uri="{96DAC541-7B7A-43D3-8B79-37D633B846F1}">
                  <asvg:svgBlip xmlns:asvg="http://schemas.microsoft.com/office/drawing/2016/SVG/main" r:embed="rId97"/>
                </a:ext>
              </a:extLst>
            </a:blip>
            <a:stretch>
              <a:fillRect/>
            </a:stretch>
          </p:blipFill>
          <p:spPr>
            <a:xfrm>
              <a:off x="1663831" y="1487339"/>
              <a:ext cx="209875" cy="209875"/>
            </a:xfrm>
            <a:prstGeom prst="rect">
              <a:avLst/>
            </a:prstGeom>
          </p:spPr>
        </p:pic>
        <p:pic>
          <p:nvPicPr>
            <p:cNvPr id="111" name="CustomIcon">
              <a:extLst>
                <a:ext uri="{FF2B5EF4-FFF2-40B4-BE49-F238E27FC236}">
                  <a16:creationId xmlns:a16="http://schemas.microsoft.com/office/drawing/2014/main" id="{EE9B54BB-DADC-4D5C-A1A6-5A52AC92BD51}"/>
                </a:ext>
              </a:extLst>
            </p:cNvPr>
            <p:cNvPicPr>
              <a:picLocks noChangeAspect="1"/>
            </p:cNvPicPr>
            <p:nvPr>
              <p:custDataLst>
                <p:tags r:id="rId54"/>
              </p:custDataLst>
            </p:nvPr>
          </p:nvPicPr>
          <p:blipFill>
            <a:blip r:embed="rId96">
              <a:extLst>
                <a:ext uri="{96DAC541-7B7A-43D3-8B79-37D633B846F1}">
                  <asvg:svgBlip xmlns:asvg="http://schemas.microsoft.com/office/drawing/2016/SVG/main" r:embed="rId97"/>
                </a:ext>
              </a:extLst>
            </a:blip>
            <a:stretch>
              <a:fillRect/>
            </a:stretch>
          </p:blipFill>
          <p:spPr>
            <a:xfrm>
              <a:off x="1771415" y="1487339"/>
              <a:ext cx="209875" cy="209875"/>
            </a:xfrm>
            <a:prstGeom prst="rect">
              <a:avLst/>
            </a:prstGeom>
          </p:spPr>
        </p:pic>
      </p:grpSp>
      <p:grpSp>
        <p:nvGrpSpPr>
          <p:cNvPr id="112" name="Group 111">
            <a:extLst>
              <a:ext uri="{FF2B5EF4-FFF2-40B4-BE49-F238E27FC236}">
                <a16:creationId xmlns:a16="http://schemas.microsoft.com/office/drawing/2014/main" id="{50CDE787-A339-4592-B14F-AD573E7ECA06}"/>
              </a:ext>
            </a:extLst>
          </p:cNvPr>
          <p:cNvGrpSpPr/>
          <p:nvPr/>
        </p:nvGrpSpPr>
        <p:grpSpPr>
          <a:xfrm>
            <a:off x="8777288" y="3574537"/>
            <a:ext cx="491401" cy="375376"/>
            <a:chOff x="1502455" y="1487339"/>
            <a:chExt cx="532628" cy="406869"/>
          </a:xfrm>
        </p:grpSpPr>
        <p:pic>
          <p:nvPicPr>
            <p:cNvPr id="113" name="CustomIcon">
              <a:extLst>
                <a:ext uri="{FF2B5EF4-FFF2-40B4-BE49-F238E27FC236}">
                  <a16:creationId xmlns:a16="http://schemas.microsoft.com/office/drawing/2014/main" id="{35D70361-C83E-435A-A8DB-8CEEA60AF1CB}"/>
                </a:ext>
              </a:extLst>
            </p:cNvPr>
            <p:cNvPicPr>
              <a:picLocks noChangeAspect="1"/>
            </p:cNvPicPr>
            <p:nvPr>
              <p:custDataLst>
                <p:tags r:id="rId41"/>
              </p:custDataLst>
            </p:nvPr>
          </p:nvPicPr>
          <p:blipFill>
            <a:blip r:embed="rId96">
              <a:extLst>
                <a:ext uri="{96DAC541-7B7A-43D3-8B79-37D633B846F1}">
                  <asvg:svgBlip xmlns:asvg="http://schemas.microsoft.com/office/drawing/2016/SVG/main" r:embed="rId97"/>
                </a:ext>
              </a:extLst>
            </a:blip>
            <a:stretch>
              <a:fillRect/>
            </a:stretch>
          </p:blipFill>
          <p:spPr>
            <a:xfrm>
              <a:off x="1502455" y="1684333"/>
              <a:ext cx="209875" cy="209875"/>
            </a:xfrm>
            <a:prstGeom prst="rect">
              <a:avLst/>
            </a:prstGeom>
          </p:spPr>
        </p:pic>
        <p:pic>
          <p:nvPicPr>
            <p:cNvPr id="114" name="CustomIcon">
              <a:extLst>
                <a:ext uri="{FF2B5EF4-FFF2-40B4-BE49-F238E27FC236}">
                  <a16:creationId xmlns:a16="http://schemas.microsoft.com/office/drawing/2014/main" id="{16CA105F-7E56-42DD-9A56-B791E13EBFA6}"/>
                </a:ext>
              </a:extLst>
            </p:cNvPr>
            <p:cNvPicPr>
              <a:picLocks noChangeAspect="1"/>
            </p:cNvPicPr>
            <p:nvPr>
              <p:custDataLst>
                <p:tags r:id="rId42"/>
              </p:custDataLst>
            </p:nvPr>
          </p:nvPicPr>
          <p:blipFill>
            <a:blip r:embed="rId96">
              <a:extLst>
                <a:ext uri="{96DAC541-7B7A-43D3-8B79-37D633B846F1}">
                  <asvg:svgBlip xmlns:asvg="http://schemas.microsoft.com/office/drawing/2016/SVG/main" r:embed="rId97"/>
                </a:ext>
              </a:extLst>
            </a:blip>
            <a:stretch>
              <a:fillRect/>
            </a:stretch>
          </p:blipFill>
          <p:spPr>
            <a:xfrm>
              <a:off x="1610039" y="1684333"/>
              <a:ext cx="209875" cy="209875"/>
            </a:xfrm>
            <a:prstGeom prst="rect">
              <a:avLst/>
            </a:prstGeom>
          </p:spPr>
        </p:pic>
        <p:pic>
          <p:nvPicPr>
            <p:cNvPr id="115" name="CustomIcon">
              <a:extLst>
                <a:ext uri="{FF2B5EF4-FFF2-40B4-BE49-F238E27FC236}">
                  <a16:creationId xmlns:a16="http://schemas.microsoft.com/office/drawing/2014/main" id="{7C0FA6F1-CE77-4370-9786-18285A6AE5B9}"/>
                </a:ext>
              </a:extLst>
            </p:cNvPr>
            <p:cNvPicPr>
              <a:picLocks noChangeAspect="1"/>
            </p:cNvPicPr>
            <p:nvPr>
              <p:custDataLst>
                <p:tags r:id="rId43"/>
              </p:custDataLst>
            </p:nvPr>
          </p:nvPicPr>
          <p:blipFill>
            <a:blip r:embed="rId96">
              <a:extLst>
                <a:ext uri="{96DAC541-7B7A-43D3-8B79-37D633B846F1}">
                  <asvg:svgBlip xmlns:asvg="http://schemas.microsoft.com/office/drawing/2016/SVG/main" r:embed="rId97"/>
                </a:ext>
              </a:extLst>
            </a:blip>
            <a:stretch>
              <a:fillRect/>
            </a:stretch>
          </p:blipFill>
          <p:spPr>
            <a:xfrm>
              <a:off x="1717623" y="1684333"/>
              <a:ext cx="209875" cy="209875"/>
            </a:xfrm>
            <a:prstGeom prst="rect">
              <a:avLst/>
            </a:prstGeom>
          </p:spPr>
        </p:pic>
        <p:pic>
          <p:nvPicPr>
            <p:cNvPr id="116" name="CustomIcon">
              <a:extLst>
                <a:ext uri="{FF2B5EF4-FFF2-40B4-BE49-F238E27FC236}">
                  <a16:creationId xmlns:a16="http://schemas.microsoft.com/office/drawing/2014/main" id="{2C63EBDA-BB90-417D-A34B-597577503DA4}"/>
                </a:ext>
              </a:extLst>
            </p:cNvPr>
            <p:cNvPicPr>
              <a:picLocks noChangeAspect="1"/>
            </p:cNvPicPr>
            <p:nvPr>
              <p:custDataLst>
                <p:tags r:id="rId44"/>
              </p:custDataLst>
            </p:nvPr>
          </p:nvPicPr>
          <p:blipFill>
            <a:blip r:embed="rId96">
              <a:extLst>
                <a:ext uri="{96DAC541-7B7A-43D3-8B79-37D633B846F1}">
                  <asvg:svgBlip xmlns:asvg="http://schemas.microsoft.com/office/drawing/2016/SVG/main" r:embed="rId97"/>
                </a:ext>
              </a:extLst>
            </a:blip>
            <a:stretch>
              <a:fillRect/>
            </a:stretch>
          </p:blipFill>
          <p:spPr>
            <a:xfrm>
              <a:off x="1825208" y="1684333"/>
              <a:ext cx="209875" cy="209875"/>
            </a:xfrm>
            <a:prstGeom prst="rect">
              <a:avLst/>
            </a:prstGeom>
          </p:spPr>
        </p:pic>
        <p:pic>
          <p:nvPicPr>
            <p:cNvPr id="117" name="CustomIcon">
              <a:extLst>
                <a:ext uri="{FF2B5EF4-FFF2-40B4-BE49-F238E27FC236}">
                  <a16:creationId xmlns:a16="http://schemas.microsoft.com/office/drawing/2014/main" id="{F9DE4EAC-B0B7-4474-B65D-C86D45E8D1B1}"/>
                </a:ext>
              </a:extLst>
            </p:cNvPr>
            <p:cNvPicPr>
              <a:picLocks noChangeAspect="1"/>
            </p:cNvPicPr>
            <p:nvPr>
              <p:custDataLst>
                <p:tags r:id="rId45"/>
              </p:custDataLst>
            </p:nvPr>
          </p:nvPicPr>
          <p:blipFill>
            <a:blip r:embed="rId96">
              <a:extLst>
                <a:ext uri="{96DAC541-7B7A-43D3-8B79-37D633B846F1}">
                  <asvg:svgBlip xmlns:asvg="http://schemas.microsoft.com/office/drawing/2016/SVG/main" r:embed="rId97"/>
                </a:ext>
              </a:extLst>
            </a:blip>
            <a:stretch>
              <a:fillRect/>
            </a:stretch>
          </p:blipFill>
          <p:spPr>
            <a:xfrm>
              <a:off x="1556247" y="1487339"/>
              <a:ext cx="209875" cy="209875"/>
            </a:xfrm>
            <a:prstGeom prst="rect">
              <a:avLst/>
            </a:prstGeom>
          </p:spPr>
        </p:pic>
        <p:pic>
          <p:nvPicPr>
            <p:cNvPr id="118" name="CustomIcon">
              <a:extLst>
                <a:ext uri="{FF2B5EF4-FFF2-40B4-BE49-F238E27FC236}">
                  <a16:creationId xmlns:a16="http://schemas.microsoft.com/office/drawing/2014/main" id="{126CE696-AC34-432C-8EC1-270D1870DE0E}"/>
                </a:ext>
              </a:extLst>
            </p:cNvPr>
            <p:cNvPicPr>
              <a:picLocks noChangeAspect="1"/>
            </p:cNvPicPr>
            <p:nvPr>
              <p:custDataLst>
                <p:tags r:id="rId46"/>
              </p:custDataLst>
            </p:nvPr>
          </p:nvPicPr>
          <p:blipFill>
            <a:blip r:embed="rId96">
              <a:extLst>
                <a:ext uri="{96DAC541-7B7A-43D3-8B79-37D633B846F1}">
                  <asvg:svgBlip xmlns:asvg="http://schemas.microsoft.com/office/drawing/2016/SVG/main" r:embed="rId97"/>
                </a:ext>
              </a:extLst>
            </a:blip>
            <a:stretch>
              <a:fillRect/>
            </a:stretch>
          </p:blipFill>
          <p:spPr>
            <a:xfrm>
              <a:off x="1663831" y="1487339"/>
              <a:ext cx="209875" cy="209875"/>
            </a:xfrm>
            <a:prstGeom prst="rect">
              <a:avLst/>
            </a:prstGeom>
          </p:spPr>
        </p:pic>
        <p:pic>
          <p:nvPicPr>
            <p:cNvPr id="119" name="CustomIcon">
              <a:extLst>
                <a:ext uri="{FF2B5EF4-FFF2-40B4-BE49-F238E27FC236}">
                  <a16:creationId xmlns:a16="http://schemas.microsoft.com/office/drawing/2014/main" id="{96CCA80B-60B9-4512-B9E5-ADA79A9BE026}"/>
                </a:ext>
              </a:extLst>
            </p:cNvPr>
            <p:cNvPicPr>
              <a:picLocks noChangeAspect="1"/>
            </p:cNvPicPr>
            <p:nvPr>
              <p:custDataLst>
                <p:tags r:id="rId47"/>
              </p:custDataLst>
            </p:nvPr>
          </p:nvPicPr>
          <p:blipFill>
            <a:blip r:embed="rId96">
              <a:extLst>
                <a:ext uri="{96DAC541-7B7A-43D3-8B79-37D633B846F1}">
                  <asvg:svgBlip xmlns:asvg="http://schemas.microsoft.com/office/drawing/2016/SVG/main" r:embed="rId97"/>
                </a:ext>
              </a:extLst>
            </a:blip>
            <a:stretch>
              <a:fillRect/>
            </a:stretch>
          </p:blipFill>
          <p:spPr>
            <a:xfrm>
              <a:off x="1771415" y="1487339"/>
              <a:ext cx="209875" cy="209875"/>
            </a:xfrm>
            <a:prstGeom prst="rect">
              <a:avLst/>
            </a:prstGeom>
          </p:spPr>
        </p:pic>
      </p:grpSp>
      <p:grpSp>
        <p:nvGrpSpPr>
          <p:cNvPr id="120" name="Group 119">
            <a:extLst>
              <a:ext uri="{FF2B5EF4-FFF2-40B4-BE49-F238E27FC236}">
                <a16:creationId xmlns:a16="http://schemas.microsoft.com/office/drawing/2014/main" id="{1EC28A4E-8F34-4F50-B750-6F93F80C7768}"/>
              </a:ext>
            </a:extLst>
          </p:cNvPr>
          <p:cNvGrpSpPr/>
          <p:nvPr/>
        </p:nvGrpSpPr>
        <p:grpSpPr>
          <a:xfrm>
            <a:off x="9201011" y="5513600"/>
            <a:ext cx="491401" cy="375376"/>
            <a:chOff x="1502455" y="1487339"/>
            <a:chExt cx="532628" cy="406869"/>
          </a:xfrm>
        </p:grpSpPr>
        <p:pic>
          <p:nvPicPr>
            <p:cNvPr id="121" name="CustomIcon">
              <a:extLst>
                <a:ext uri="{FF2B5EF4-FFF2-40B4-BE49-F238E27FC236}">
                  <a16:creationId xmlns:a16="http://schemas.microsoft.com/office/drawing/2014/main" id="{F22DFE1E-B0CC-490E-B750-409B05498E74}"/>
                </a:ext>
              </a:extLst>
            </p:cNvPr>
            <p:cNvPicPr>
              <a:picLocks noChangeAspect="1"/>
            </p:cNvPicPr>
            <p:nvPr>
              <p:custDataLst>
                <p:tags r:id="rId34"/>
              </p:custDataLst>
            </p:nvPr>
          </p:nvPicPr>
          <p:blipFill>
            <a:blip r:embed="rId96">
              <a:extLst>
                <a:ext uri="{96DAC541-7B7A-43D3-8B79-37D633B846F1}">
                  <asvg:svgBlip xmlns:asvg="http://schemas.microsoft.com/office/drawing/2016/SVG/main" r:embed="rId97"/>
                </a:ext>
              </a:extLst>
            </a:blip>
            <a:stretch>
              <a:fillRect/>
            </a:stretch>
          </p:blipFill>
          <p:spPr>
            <a:xfrm>
              <a:off x="1502455" y="1684333"/>
              <a:ext cx="209875" cy="209875"/>
            </a:xfrm>
            <a:prstGeom prst="rect">
              <a:avLst/>
            </a:prstGeom>
          </p:spPr>
        </p:pic>
        <p:pic>
          <p:nvPicPr>
            <p:cNvPr id="122" name="CustomIcon">
              <a:extLst>
                <a:ext uri="{FF2B5EF4-FFF2-40B4-BE49-F238E27FC236}">
                  <a16:creationId xmlns:a16="http://schemas.microsoft.com/office/drawing/2014/main" id="{692EE344-4D3A-4811-A054-D13D234C9D18}"/>
                </a:ext>
              </a:extLst>
            </p:cNvPr>
            <p:cNvPicPr>
              <a:picLocks noChangeAspect="1"/>
            </p:cNvPicPr>
            <p:nvPr>
              <p:custDataLst>
                <p:tags r:id="rId35"/>
              </p:custDataLst>
            </p:nvPr>
          </p:nvPicPr>
          <p:blipFill>
            <a:blip r:embed="rId96">
              <a:extLst>
                <a:ext uri="{96DAC541-7B7A-43D3-8B79-37D633B846F1}">
                  <asvg:svgBlip xmlns:asvg="http://schemas.microsoft.com/office/drawing/2016/SVG/main" r:embed="rId97"/>
                </a:ext>
              </a:extLst>
            </a:blip>
            <a:stretch>
              <a:fillRect/>
            </a:stretch>
          </p:blipFill>
          <p:spPr>
            <a:xfrm>
              <a:off x="1610039" y="1684333"/>
              <a:ext cx="209875" cy="209875"/>
            </a:xfrm>
            <a:prstGeom prst="rect">
              <a:avLst/>
            </a:prstGeom>
          </p:spPr>
        </p:pic>
        <p:pic>
          <p:nvPicPr>
            <p:cNvPr id="123" name="CustomIcon">
              <a:extLst>
                <a:ext uri="{FF2B5EF4-FFF2-40B4-BE49-F238E27FC236}">
                  <a16:creationId xmlns:a16="http://schemas.microsoft.com/office/drawing/2014/main" id="{F18D87A5-08BF-4A95-9B14-79D2F362DA78}"/>
                </a:ext>
              </a:extLst>
            </p:cNvPr>
            <p:cNvPicPr>
              <a:picLocks noChangeAspect="1"/>
            </p:cNvPicPr>
            <p:nvPr>
              <p:custDataLst>
                <p:tags r:id="rId36"/>
              </p:custDataLst>
            </p:nvPr>
          </p:nvPicPr>
          <p:blipFill>
            <a:blip r:embed="rId96">
              <a:extLst>
                <a:ext uri="{96DAC541-7B7A-43D3-8B79-37D633B846F1}">
                  <asvg:svgBlip xmlns:asvg="http://schemas.microsoft.com/office/drawing/2016/SVG/main" r:embed="rId97"/>
                </a:ext>
              </a:extLst>
            </a:blip>
            <a:stretch>
              <a:fillRect/>
            </a:stretch>
          </p:blipFill>
          <p:spPr>
            <a:xfrm>
              <a:off x="1717623" y="1684333"/>
              <a:ext cx="209875" cy="209875"/>
            </a:xfrm>
            <a:prstGeom prst="rect">
              <a:avLst/>
            </a:prstGeom>
          </p:spPr>
        </p:pic>
        <p:pic>
          <p:nvPicPr>
            <p:cNvPr id="124" name="CustomIcon">
              <a:extLst>
                <a:ext uri="{FF2B5EF4-FFF2-40B4-BE49-F238E27FC236}">
                  <a16:creationId xmlns:a16="http://schemas.microsoft.com/office/drawing/2014/main" id="{8C727CAB-2960-4A05-B196-FA9EDA436A54}"/>
                </a:ext>
              </a:extLst>
            </p:cNvPr>
            <p:cNvPicPr>
              <a:picLocks noChangeAspect="1"/>
            </p:cNvPicPr>
            <p:nvPr>
              <p:custDataLst>
                <p:tags r:id="rId37"/>
              </p:custDataLst>
            </p:nvPr>
          </p:nvPicPr>
          <p:blipFill>
            <a:blip r:embed="rId96">
              <a:extLst>
                <a:ext uri="{96DAC541-7B7A-43D3-8B79-37D633B846F1}">
                  <asvg:svgBlip xmlns:asvg="http://schemas.microsoft.com/office/drawing/2016/SVG/main" r:embed="rId97"/>
                </a:ext>
              </a:extLst>
            </a:blip>
            <a:stretch>
              <a:fillRect/>
            </a:stretch>
          </p:blipFill>
          <p:spPr>
            <a:xfrm>
              <a:off x="1825208" y="1684333"/>
              <a:ext cx="209875" cy="209875"/>
            </a:xfrm>
            <a:prstGeom prst="rect">
              <a:avLst/>
            </a:prstGeom>
          </p:spPr>
        </p:pic>
        <p:pic>
          <p:nvPicPr>
            <p:cNvPr id="125" name="CustomIcon">
              <a:extLst>
                <a:ext uri="{FF2B5EF4-FFF2-40B4-BE49-F238E27FC236}">
                  <a16:creationId xmlns:a16="http://schemas.microsoft.com/office/drawing/2014/main" id="{32F9238F-31B1-499C-9A3F-8F5985408A56}"/>
                </a:ext>
              </a:extLst>
            </p:cNvPr>
            <p:cNvPicPr>
              <a:picLocks noChangeAspect="1"/>
            </p:cNvPicPr>
            <p:nvPr>
              <p:custDataLst>
                <p:tags r:id="rId38"/>
              </p:custDataLst>
            </p:nvPr>
          </p:nvPicPr>
          <p:blipFill>
            <a:blip r:embed="rId96">
              <a:extLst>
                <a:ext uri="{96DAC541-7B7A-43D3-8B79-37D633B846F1}">
                  <asvg:svgBlip xmlns:asvg="http://schemas.microsoft.com/office/drawing/2016/SVG/main" r:embed="rId97"/>
                </a:ext>
              </a:extLst>
            </a:blip>
            <a:stretch>
              <a:fillRect/>
            </a:stretch>
          </p:blipFill>
          <p:spPr>
            <a:xfrm>
              <a:off x="1556247" y="1487339"/>
              <a:ext cx="209875" cy="209875"/>
            </a:xfrm>
            <a:prstGeom prst="rect">
              <a:avLst/>
            </a:prstGeom>
          </p:spPr>
        </p:pic>
        <p:pic>
          <p:nvPicPr>
            <p:cNvPr id="126" name="CustomIcon">
              <a:extLst>
                <a:ext uri="{FF2B5EF4-FFF2-40B4-BE49-F238E27FC236}">
                  <a16:creationId xmlns:a16="http://schemas.microsoft.com/office/drawing/2014/main" id="{1236B385-5BF5-4429-809C-95DD445B42DB}"/>
                </a:ext>
              </a:extLst>
            </p:cNvPr>
            <p:cNvPicPr>
              <a:picLocks noChangeAspect="1"/>
            </p:cNvPicPr>
            <p:nvPr>
              <p:custDataLst>
                <p:tags r:id="rId39"/>
              </p:custDataLst>
            </p:nvPr>
          </p:nvPicPr>
          <p:blipFill>
            <a:blip r:embed="rId96">
              <a:extLst>
                <a:ext uri="{96DAC541-7B7A-43D3-8B79-37D633B846F1}">
                  <asvg:svgBlip xmlns:asvg="http://schemas.microsoft.com/office/drawing/2016/SVG/main" r:embed="rId97"/>
                </a:ext>
              </a:extLst>
            </a:blip>
            <a:stretch>
              <a:fillRect/>
            </a:stretch>
          </p:blipFill>
          <p:spPr>
            <a:xfrm>
              <a:off x="1663831" y="1487339"/>
              <a:ext cx="209875" cy="209875"/>
            </a:xfrm>
            <a:prstGeom prst="rect">
              <a:avLst/>
            </a:prstGeom>
          </p:spPr>
        </p:pic>
        <p:pic>
          <p:nvPicPr>
            <p:cNvPr id="127" name="CustomIcon">
              <a:extLst>
                <a:ext uri="{FF2B5EF4-FFF2-40B4-BE49-F238E27FC236}">
                  <a16:creationId xmlns:a16="http://schemas.microsoft.com/office/drawing/2014/main" id="{8D0306EC-D6CF-4FE7-8461-F0AA628560C1}"/>
                </a:ext>
              </a:extLst>
            </p:cNvPr>
            <p:cNvPicPr>
              <a:picLocks noChangeAspect="1"/>
            </p:cNvPicPr>
            <p:nvPr>
              <p:custDataLst>
                <p:tags r:id="rId40"/>
              </p:custDataLst>
            </p:nvPr>
          </p:nvPicPr>
          <p:blipFill>
            <a:blip r:embed="rId96">
              <a:extLst>
                <a:ext uri="{96DAC541-7B7A-43D3-8B79-37D633B846F1}">
                  <asvg:svgBlip xmlns:asvg="http://schemas.microsoft.com/office/drawing/2016/SVG/main" r:embed="rId97"/>
                </a:ext>
              </a:extLst>
            </a:blip>
            <a:stretch>
              <a:fillRect/>
            </a:stretch>
          </p:blipFill>
          <p:spPr>
            <a:xfrm>
              <a:off x="1771415" y="1487339"/>
              <a:ext cx="209875" cy="209875"/>
            </a:xfrm>
            <a:prstGeom prst="rect">
              <a:avLst/>
            </a:prstGeom>
          </p:spPr>
        </p:pic>
      </p:grpSp>
      <p:grpSp>
        <p:nvGrpSpPr>
          <p:cNvPr id="128" name="Group 127">
            <a:extLst>
              <a:ext uri="{FF2B5EF4-FFF2-40B4-BE49-F238E27FC236}">
                <a16:creationId xmlns:a16="http://schemas.microsoft.com/office/drawing/2014/main" id="{C1ACE098-9F2D-4B5A-AA6B-BCF387876D6E}"/>
              </a:ext>
            </a:extLst>
          </p:cNvPr>
          <p:cNvGrpSpPr/>
          <p:nvPr/>
        </p:nvGrpSpPr>
        <p:grpSpPr>
          <a:xfrm>
            <a:off x="9838961" y="5529044"/>
            <a:ext cx="491401" cy="375376"/>
            <a:chOff x="1502455" y="1487339"/>
            <a:chExt cx="532628" cy="406869"/>
          </a:xfrm>
        </p:grpSpPr>
        <p:pic>
          <p:nvPicPr>
            <p:cNvPr id="129" name="CustomIcon">
              <a:extLst>
                <a:ext uri="{FF2B5EF4-FFF2-40B4-BE49-F238E27FC236}">
                  <a16:creationId xmlns:a16="http://schemas.microsoft.com/office/drawing/2014/main" id="{8F60EF3E-ABE2-4B0D-8DA2-D5B963CD2969}"/>
                </a:ext>
              </a:extLst>
            </p:cNvPr>
            <p:cNvPicPr>
              <a:picLocks noChangeAspect="1"/>
            </p:cNvPicPr>
            <p:nvPr>
              <p:custDataLst>
                <p:tags r:id="rId27"/>
              </p:custDataLst>
            </p:nvPr>
          </p:nvPicPr>
          <p:blipFill>
            <a:blip r:embed="rId96">
              <a:extLst>
                <a:ext uri="{96DAC541-7B7A-43D3-8B79-37D633B846F1}">
                  <asvg:svgBlip xmlns:asvg="http://schemas.microsoft.com/office/drawing/2016/SVG/main" r:embed="rId97"/>
                </a:ext>
              </a:extLst>
            </a:blip>
            <a:stretch>
              <a:fillRect/>
            </a:stretch>
          </p:blipFill>
          <p:spPr>
            <a:xfrm>
              <a:off x="1502455" y="1684333"/>
              <a:ext cx="209875" cy="209875"/>
            </a:xfrm>
            <a:prstGeom prst="rect">
              <a:avLst/>
            </a:prstGeom>
          </p:spPr>
        </p:pic>
        <p:pic>
          <p:nvPicPr>
            <p:cNvPr id="130" name="CustomIcon">
              <a:extLst>
                <a:ext uri="{FF2B5EF4-FFF2-40B4-BE49-F238E27FC236}">
                  <a16:creationId xmlns:a16="http://schemas.microsoft.com/office/drawing/2014/main" id="{10A77716-3BCC-4734-815E-65FD69FF9F67}"/>
                </a:ext>
              </a:extLst>
            </p:cNvPr>
            <p:cNvPicPr>
              <a:picLocks noChangeAspect="1"/>
            </p:cNvPicPr>
            <p:nvPr>
              <p:custDataLst>
                <p:tags r:id="rId28"/>
              </p:custDataLst>
            </p:nvPr>
          </p:nvPicPr>
          <p:blipFill>
            <a:blip r:embed="rId96">
              <a:extLst>
                <a:ext uri="{96DAC541-7B7A-43D3-8B79-37D633B846F1}">
                  <asvg:svgBlip xmlns:asvg="http://schemas.microsoft.com/office/drawing/2016/SVG/main" r:embed="rId97"/>
                </a:ext>
              </a:extLst>
            </a:blip>
            <a:stretch>
              <a:fillRect/>
            </a:stretch>
          </p:blipFill>
          <p:spPr>
            <a:xfrm>
              <a:off x="1610039" y="1684333"/>
              <a:ext cx="209875" cy="209875"/>
            </a:xfrm>
            <a:prstGeom prst="rect">
              <a:avLst/>
            </a:prstGeom>
          </p:spPr>
        </p:pic>
        <p:pic>
          <p:nvPicPr>
            <p:cNvPr id="131" name="CustomIcon">
              <a:extLst>
                <a:ext uri="{FF2B5EF4-FFF2-40B4-BE49-F238E27FC236}">
                  <a16:creationId xmlns:a16="http://schemas.microsoft.com/office/drawing/2014/main" id="{CC65C6FB-3C67-4306-A78B-21A918A0E359}"/>
                </a:ext>
              </a:extLst>
            </p:cNvPr>
            <p:cNvPicPr>
              <a:picLocks noChangeAspect="1"/>
            </p:cNvPicPr>
            <p:nvPr>
              <p:custDataLst>
                <p:tags r:id="rId29"/>
              </p:custDataLst>
            </p:nvPr>
          </p:nvPicPr>
          <p:blipFill>
            <a:blip r:embed="rId96">
              <a:extLst>
                <a:ext uri="{96DAC541-7B7A-43D3-8B79-37D633B846F1}">
                  <asvg:svgBlip xmlns:asvg="http://schemas.microsoft.com/office/drawing/2016/SVG/main" r:embed="rId97"/>
                </a:ext>
              </a:extLst>
            </a:blip>
            <a:stretch>
              <a:fillRect/>
            </a:stretch>
          </p:blipFill>
          <p:spPr>
            <a:xfrm>
              <a:off x="1717623" y="1684333"/>
              <a:ext cx="209875" cy="209875"/>
            </a:xfrm>
            <a:prstGeom prst="rect">
              <a:avLst/>
            </a:prstGeom>
          </p:spPr>
        </p:pic>
        <p:pic>
          <p:nvPicPr>
            <p:cNvPr id="132" name="CustomIcon">
              <a:extLst>
                <a:ext uri="{FF2B5EF4-FFF2-40B4-BE49-F238E27FC236}">
                  <a16:creationId xmlns:a16="http://schemas.microsoft.com/office/drawing/2014/main" id="{DFC608B4-E70C-4EF2-A461-C17C9F4A47C8}"/>
                </a:ext>
              </a:extLst>
            </p:cNvPr>
            <p:cNvPicPr>
              <a:picLocks noChangeAspect="1"/>
            </p:cNvPicPr>
            <p:nvPr>
              <p:custDataLst>
                <p:tags r:id="rId30"/>
              </p:custDataLst>
            </p:nvPr>
          </p:nvPicPr>
          <p:blipFill>
            <a:blip r:embed="rId96">
              <a:extLst>
                <a:ext uri="{96DAC541-7B7A-43D3-8B79-37D633B846F1}">
                  <asvg:svgBlip xmlns:asvg="http://schemas.microsoft.com/office/drawing/2016/SVG/main" r:embed="rId97"/>
                </a:ext>
              </a:extLst>
            </a:blip>
            <a:stretch>
              <a:fillRect/>
            </a:stretch>
          </p:blipFill>
          <p:spPr>
            <a:xfrm>
              <a:off x="1825208" y="1684333"/>
              <a:ext cx="209875" cy="209875"/>
            </a:xfrm>
            <a:prstGeom prst="rect">
              <a:avLst/>
            </a:prstGeom>
          </p:spPr>
        </p:pic>
        <p:pic>
          <p:nvPicPr>
            <p:cNvPr id="133" name="CustomIcon">
              <a:extLst>
                <a:ext uri="{FF2B5EF4-FFF2-40B4-BE49-F238E27FC236}">
                  <a16:creationId xmlns:a16="http://schemas.microsoft.com/office/drawing/2014/main" id="{C25B522F-2A33-4BF0-8BF0-61BD4310C806}"/>
                </a:ext>
              </a:extLst>
            </p:cNvPr>
            <p:cNvPicPr>
              <a:picLocks noChangeAspect="1"/>
            </p:cNvPicPr>
            <p:nvPr>
              <p:custDataLst>
                <p:tags r:id="rId31"/>
              </p:custDataLst>
            </p:nvPr>
          </p:nvPicPr>
          <p:blipFill>
            <a:blip r:embed="rId96">
              <a:extLst>
                <a:ext uri="{96DAC541-7B7A-43D3-8B79-37D633B846F1}">
                  <asvg:svgBlip xmlns:asvg="http://schemas.microsoft.com/office/drawing/2016/SVG/main" r:embed="rId97"/>
                </a:ext>
              </a:extLst>
            </a:blip>
            <a:stretch>
              <a:fillRect/>
            </a:stretch>
          </p:blipFill>
          <p:spPr>
            <a:xfrm>
              <a:off x="1556247" y="1487339"/>
              <a:ext cx="209875" cy="209875"/>
            </a:xfrm>
            <a:prstGeom prst="rect">
              <a:avLst/>
            </a:prstGeom>
          </p:spPr>
        </p:pic>
        <p:pic>
          <p:nvPicPr>
            <p:cNvPr id="134" name="CustomIcon">
              <a:extLst>
                <a:ext uri="{FF2B5EF4-FFF2-40B4-BE49-F238E27FC236}">
                  <a16:creationId xmlns:a16="http://schemas.microsoft.com/office/drawing/2014/main" id="{C90DFFBC-7D46-426F-AFAD-19F05DC38B26}"/>
                </a:ext>
              </a:extLst>
            </p:cNvPr>
            <p:cNvPicPr>
              <a:picLocks noChangeAspect="1"/>
            </p:cNvPicPr>
            <p:nvPr>
              <p:custDataLst>
                <p:tags r:id="rId32"/>
              </p:custDataLst>
            </p:nvPr>
          </p:nvPicPr>
          <p:blipFill>
            <a:blip r:embed="rId96">
              <a:extLst>
                <a:ext uri="{96DAC541-7B7A-43D3-8B79-37D633B846F1}">
                  <asvg:svgBlip xmlns:asvg="http://schemas.microsoft.com/office/drawing/2016/SVG/main" r:embed="rId97"/>
                </a:ext>
              </a:extLst>
            </a:blip>
            <a:stretch>
              <a:fillRect/>
            </a:stretch>
          </p:blipFill>
          <p:spPr>
            <a:xfrm>
              <a:off x="1663831" y="1487339"/>
              <a:ext cx="209875" cy="209875"/>
            </a:xfrm>
            <a:prstGeom prst="rect">
              <a:avLst/>
            </a:prstGeom>
          </p:spPr>
        </p:pic>
        <p:pic>
          <p:nvPicPr>
            <p:cNvPr id="135" name="CustomIcon">
              <a:extLst>
                <a:ext uri="{FF2B5EF4-FFF2-40B4-BE49-F238E27FC236}">
                  <a16:creationId xmlns:a16="http://schemas.microsoft.com/office/drawing/2014/main" id="{8EBEE526-1719-4E81-982B-DB65F2D82050}"/>
                </a:ext>
              </a:extLst>
            </p:cNvPr>
            <p:cNvPicPr>
              <a:picLocks noChangeAspect="1"/>
            </p:cNvPicPr>
            <p:nvPr>
              <p:custDataLst>
                <p:tags r:id="rId33"/>
              </p:custDataLst>
            </p:nvPr>
          </p:nvPicPr>
          <p:blipFill>
            <a:blip r:embed="rId96">
              <a:extLst>
                <a:ext uri="{96DAC541-7B7A-43D3-8B79-37D633B846F1}">
                  <asvg:svgBlip xmlns:asvg="http://schemas.microsoft.com/office/drawing/2016/SVG/main" r:embed="rId97"/>
                </a:ext>
              </a:extLst>
            </a:blip>
            <a:stretch>
              <a:fillRect/>
            </a:stretch>
          </p:blipFill>
          <p:spPr>
            <a:xfrm>
              <a:off x="1771415" y="1487339"/>
              <a:ext cx="209875" cy="209875"/>
            </a:xfrm>
            <a:prstGeom prst="rect">
              <a:avLst/>
            </a:prstGeom>
          </p:spPr>
        </p:pic>
      </p:grpSp>
      <p:sp>
        <p:nvSpPr>
          <p:cNvPr id="7" name="Oval 6">
            <a:extLst>
              <a:ext uri="{FF2B5EF4-FFF2-40B4-BE49-F238E27FC236}">
                <a16:creationId xmlns:a16="http://schemas.microsoft.com/office/drawing/2014/main" id="{97415B72-E5C1-4BF5-8547-CBB4A25EDC8D}"/>
              </a:ext>
            </a:extLst>
          </p:cNvPr>
          <p:cNvSpPr/>
          <p:nvPr/>
        </p:nvSpPr>
        <p:spPr>
          <a:xfrm>
            <a:off x="10066091" y="2216265"/>
            <a:ext cx="1096825" cy="1096825"/>
          </a:xfrm>
          <a:prstGeom prst="ellipse">
            <a:avLst/>
          </a:prstGeom>
          <a:noFill/>
          <a:ln w="3492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 name="Freeform: Shape 7">
            <a:extLst>
              <a:ext uri="{FF2B5EF4-FFF2-40B4-BE49-F238E27FC236}">
                <a16:creationId xmlns:a16="http://schemas.microsoft.com/office/drawing/2014/main" id="{BBB37639-BAC3-4B70-B03C-F361C5E773C9}"/>
              </a:ext>
            </a:extLst>
          </p:cNvPr>
          <p:cNvSpPr/>
          <p:nvPr/>
        </p:nvSpPr>
        <p:spPr>
          <a:xfrm>
            <a:off x="9179031" y="2128978"/>
            <a:ext cx="892410" cy="635842"/>
          </a:xfrm>
          <a:custGeom>
            <a:avLst/>
            <a:gdLst>
              <a:gd name="connsiteX0" fmla="*/ 762000 w 762000"/>
              <a:gd name="connsiteY0" fmla="*/ 542925 h 542925"/>
              <a:gd name="connsiteX1" fmla="*/ 300038 w 762000"/>
              <a:gd name="connsiteY1" fmla="*/ 409575 h 542925"/>
              <a:gd name="connsiteX2" fmla="*/ 0 w 762000"/>
              <a:gd name="connsiteY2" fmla="*/ 0 h 542925"/>
            </a:gdLst>
            <a:ahLst/>
            <a:cxnLst>
              <a:cxn ang="0">
                <a:pos x="connsiteX0" y="connsiteY0"/>
              </a:cxn>
              <a:cxn ang="0">
                <a:pos x="connsiteX1" y="connsiteY1"/>
              </a:cxn>
              <a:cxn ang="0">
                <a:pos x="connsiteX2" y="connsiteY2"/>
              </a:cxn>
            </a:cxnLst>
            <a:rect l="l" t="t" r="r" b="b"/>
            <a:pathLst>
              <a:path w="762000" h="542925">
                <a:moveTo>
                  <a:pt x="762000" y="542925"/>
                </a:moveTo>
                <a:cubicBezTo>
                  <a:pt x="594519" y="521493"/>
                  <a:pt x="427038" y="500062"/>
                  <a:pt x="300038" y="409575"/>
                </a:cubicBezTo>
                <a:cubicBezTo>
                  <a:pt x="173038" y="319088"/>
                  <a:pt x="86519" y="159544"/>
                  <a:pt x="0" y="0"/>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DEAC933F-5D47-4DEF-B700-B7431908A32A}"/>
              </a:ext>
            </a:extLst>
          </p:cNvPr>
          <p:cNvSpPr/>
          <p:nvPr/>
        </p:nvSpPr>
        <p:spPr>
          <a:xfrm>
            <a:off x="7918501" y="2458055"/>
            <a:ext cx="2147363" cy="379274"/>
          </a:xfrm>
          <a:custGeom>
            <a:avLst/>
            <a:gdLst>
              <a:gd name="connsiteX0" fmla="*/ 1833563 w 1833563"/>
              <a:gd name="connsiteY0" fmla="*/ 323850 h 323850"/>
              <a:gd name="connsiteX1" fmla="*/ 647700 w 1833563"/>
              <a:gd name="connsiteY1" fmla="*/ 209550 h 323850"/>
              <a:gd name="connsiteX2" fmla="*/ 0 w 1833563"/>
              <a:gd name="connsiteY2" fmla="*/ 0 h 323850"/>
            </a:gdLst>
            <a:ahLst/>
            <a:cxnLst>
              <a:cxn ang="0">
                <a:pos x="connsiteX0" y="connsiteY0"/>
              </a:cxn>
              <a:cxn ang="0">
                <a:pos x="connsiteX1" y="connsiteY1"/>
              </a:cxn>
              <a:cxn ang="0">
                <a:pos x="connsiteX2" y="connsiteY2"/>
              </a:cxn>
            </a:cxnLst>
            <a:rect l="l" t="t" r="r" b="b"/>
            <a:pathLst>
              <a:path w="1833563" h="323850">
                <a:moveTo>
                  <a:pt x="1833563" y="323850"/>
                </a:moveTo>
                <a:cubicBezTo>
                  <a:pt x="1393428" y="293687"/>
                  <a:pt x="953294" y="263525"/>
                  <a:pt x="647700" y="209550"/>
                </a:cubicBezTo>
                <a:cubicBezTo>
                  <a:pt x="342106" y="155575"/>
                  <a:pt x="171053" y="77787"/>
                  <a:pt x="0" y="0"/>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99A999EE-BBC7-43B3-9C61-CFADCC1A3642}"/>
              </a:ext>
            </a:extLst>
          </p:cNvPr>
          <p:cNvSpPr/>
          <p:nvPr/>
        </p:nvSpPr>
        <p:spPr>
          <a:xfrm>
            <a:off x="9446754" y="2945285"/>
            <a:ext cx="658153" cy="81681"/>
          </a:xfrm>
          <a:custGeom>
            <a:avLst/>
            <a:gdLst>
              <a:gd name="connsiteX0" fmla="*/ 561975 w 561975"/>
              <a:gd name="connsiteY0" fmla="*/ 17357 h 69745"/>
              <a:gd name="connsiteX1" fmla="*/ 328613 w 561975"/>
              <a:gd name="connsiteY1" fmla="*/ 3070 h 69745"/>
              <a:gd name="connsiteX2" fmla="*/ 0 w 561975"/>
              <a:gd name="connsiteY2" fmla="*/ 69745 h 69745"/>
              <a:gd name="connsiteX3" fmla="*/ 0 w 561975"/>
              <a:gd name="connsiteY3" fmla="*/ 69745 h 69745"/>
            </a:gdLst>
            <a:ahLst/>
            <a:cxnLst>
              <a:cxn ang="0">
                <a:pos x="connsiteX0" y="connsiteY0"/>
              </a:cxn>
              <a:cxn ang="0">
                <a:pos x="connsiteX1" y="connsiteY1"/>
              </a:cxn>
              <a:cxn ang="0">
                <a:pos x="connsiteX2" y="connsiteY2"/>
              </a:cxn>
              <a:cxn ang="0">
                <a:pos x="connsiteX3" y="connsiteY3"/>
              </a:cxn>
            </a:cxnLst>
            <a:rect l="l" t="t" r="r" b="b"/>
            <a:pathLst>
              <a:path w="561975" h="69745">
                <a:moveTo>
                  <a:pt x="561975" y="17357"/>
                </a:moveTo>
                <a:cubicBezTo>
                  <a:pt x="492125" y="5848"/>
                  <a:pt x="422275" y="-5661"/>
                  <a:pt x="328613" y="3070"/>
                </a:cubicBezTo>
                <a:cubicBezTo>
                  <a:pt x="234950" y="11801"/>
                  <a:pt x="0" y="69745"/>
                  <a:pt x="0" y="69745"/>
                </a:cubicBezTo>
                <a:lnTo>
                  <a:pt x="0" y="69745"/>
                </a:ln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33F2BCCA-4816-43BB-B79D-7180AC0AA062}"/>
              </a:ext>
            </a:extLst>
          </p:cNvPr>
          <p:cNvSpPr/>
          <p:nvPr/>
        </p:nvSpPr>
        <p:spPr>
          <a:xfrm>
            <a:off x="8136027" y="1521024"/>
            <a:ext cx="858945" cy="429472"/>
          </a:xfrm>
          <a:custGeom>
            <a:avLst/>
            <a:gdLst>
              <a:gd name="connsiteX0" fmla="*/ 733425 w 733425"/>
              <a:gd name="connsiteY0" fmla="*/ 366712 h 366712"/>
              <a:gd name="connsiteX1" fmla="*/ 390525 w 733425"/>
              <a:gd name="connsiteY1" fmla="*/ 300037 h 366712"/>
              <a:gd name="connsiteX2" fmla="*/ 0 w 733425"/>
              <a:gd name="connsiteY2" fmla="*/ 0 h 366712"/>
            </a:gdLst>
            <a:ahLst/>
            <a:cxnLst>
              <a:cxn ang="0">
                <a:pos x="connsiteX0" y="connsiteY0"/>
              </a:cxn>
              <a:cxn ang="0">
                <a:pos x="connsiteX1" y="connsiteY1"/>
              </a:cxn>
              <a:cxn ang="0">
                <a:pos x="connsiteX2" y="connsiteY2"/>
              </a:cxn>
            </a:cxnLst>
            <a:rect l="l" t="t" r="r" b="b"/>
            <a:pathLst>
              <a:path w="733425" h="366712">
                <a:moveTo>
                  <a:pt x="733425" y="366712"/>
                </a:moveTo>
                <a:cubicBezTo>
                  <a:pt x="623093" y="363934"/>
                  <a:pt x="512762" y="361156"/>
                  <a:pt x="390525" y="300037"/>
                </a:cubicBezTo>
                <a:cubicBezTo>
                  <a:pt x="268288" y="238918"/>
                  <a:pt x="134144" y="119459"/>
                  <a:pt x="0" y="0"/>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F073C4EB-3371-403F-AD41-1D8C3AD69AFF}"/>
              </a:ext>
            </a:extLst>
          </p:cNvPr>
          <p:cNvSpPr/>
          <p:nvPr/>
        </p:nvSpPr>
        <p:spPr>
          <a:xfrm>
            <a:off x="8923886" y="1336964"/>
            <a:ext cx="913298" cy="474093"/>
          </a:xfrm>
          <a:custGeom>
            <a:avLst/>
            <a:gdLst>
              <a:gd name="connsiteX0" fmla="*/ 136898 w 779835"/>
              <a:gd name="connsiteY0" fmla="*/ 404813 h 404813"/>
              <a:gd name="connsiteX1" fmla="*/ 46410 w 779835"/>
              <a:gd name="connsiteY1" fmla="*/ 238125 h 404813"/>
              <a:gd name="connsiteX2" fmla="*/ 779835 w 779835"/>
              <a:gd name="connsiteY2" fmla="*/ 0 h 404813"/>
            </a:gdLst>
            <a:ahLst/>
            <a:cxnLst>
              <a:cxn ang="0">
                <a:pos x="connsiteX0" y="connsiteY0"/>
              </a:cxn>
              <a:cxn ang="0">
                <a:pos x="connsiteX1" y="connsiteY1"/>
              </a:cxn>
              <a:cxn ang="0">
                <a:pos x="connsiteX2" y="connsiteY2"/>
              </a:cxn>
            </a:cxnLst>
            <a:rect l="l" t="t" r="r" b="b"/>
            <a:pathLst>
              <a:path w="779835" h="404813">
                <a:moveTo>
                  <a:pt x="136898" y="404813"/>
                </a:moveTo>
                <a:cubicBezTo>
                  <a:pt x="38076" y="355203"/>
                  <a:pt x="-60746" y="305594"/>
                  <a:pt x="46410" y="238125"/>
                </a:cubicBezTo>
                <a:cubicBezTo>
                  <a:pt x="153566" y="170656"/>
                  <a:pt x="466700" y="85328"/>
                  <a:pt x="779835" y="0"/>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BB2C512F-D7DD-458D-B6EF-E6960C627A75}"/>
              </a:ext>
            </a:extLst>
          </p:cNvPr>
          <p:cNvSpPr/>
          <p:nvPr/>
        </p:nvSpPr>
        <p:spPr>
          <a:xfrm>
            <a:off x="9357513" y="1787834"/>
            <a:ext cx="903565" cy="196128"/>
          </a:xfrm>
          <a:custGeom>
            <a:avLst/>
            <a:gdLst>
              <a:gd name="connsiteX0" fmla="*/ 0 w 771525"/>
              <a:gd name="connsiteY0" fmla="*/ 167467 h 167467"/>
              <a:gd name="connsiteX1" fmla="*/ 442913 w 771525"/>
              <a:gd name="connsiteY1" fmla="*/ 19830 h 167467"/>
              <a:gd name="connsiteX2" fmla="*/ 771525 w 771525"/>
              <a:gd name="connsiteY2" fmla="*/ 5542 h 167467"/>
            </a:gdLst>
            <a:ahLst/>
            <a:cxnLst>
              <a:cxn ang="0">
                <a:pos x="connsiteX0" y="connsiteY0"/>
              </a:cxn>
              <a:cxn ang="0">
                <a:pos x="connsiteX1" y="connsiteY1"/>
              </a:cxn>
              <a:cxn ang="0">
                <a:pos x="connsiteX2" y="connsiteY2"/>
              </a:cxn>
            </a:cxnLst>
            <a:rect l="l" t="t" r="r" b="b"/>
            <a:pathLst>
              <a:path w="771525" h="167467">
                <a:moveTo>
                  <a:pt x="0" y="167467"/>
                </a:moveTo>
                <a:cubicBezTo>
                  <a:pt x="157163" y="107142"/>
                  <a:pt x="314326" y="46817"/>
                  <a:pt x="442913" y="19830"/>
                </a:cubicBezTo>
                <a:cubicBezTo>
                  <a:pt x="571501" y="-7158"/>
                  <a:pt x="671513" y="-808"/>
                  <a:pt x="771525" y="5542"/>
                </a:cubicBezTo>
              </a:path>
            </a:pathLst>
          </a:cu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EE8526D4-B846-45C4-A4A0-05DE85DF6679}"/>
              </a:ext>
            </a:extLst>
          </p:cNvPr>
          <p:cNvSpPr/>
          <p:nvPr/>
        </p:nvSpPr>
        <p:spPr>
          <a:xfrm>
            <a:off x="9681012" y="3093896"/>
            <a:ext cx="474094" cy="1533829"/>
          </a:xfrm>
          <a:custGeom>
            <a:avLst/>
            <a:gdLst>
              <a:gd name="connsiteX0" fmla="*/ 376238 w 376238"/>
              <a:gd name="connsiteY0" fmla="*/ 0 h 1300162"/>
              <a:gd name="connsiteX1" fmla="*/ 104775 w 376238"/>
              <a:gd name="connsiteY1" fmla="*/ 419100 h 1300162"/>
              <a:gd name="connsiteX2" fmla="*/ 0 w 376238"/>
              <a:gd name="connsiteY2" fmla="*/ 1300162 h 1300162"/>
              <a:gd name="connsiteX0" fmla="*/ 404813 w 404813"/>
              <a:gd name="connsiteY0" fmla="*/ 0 h 1309687"/>
              <a:gd name="connsiteX1" fmla="*/ 104775 w 404813"/>
              <a:gd name="connsiteY1" fmla="*/ 428625 h 1309687"/>
              <a:gd name="connsiteX2" fmla="*/ 0 w 404813"/>
              <a:gd name="connsiteY2" fmla="*/ 1309687 h 1309687"/>
            </a:gdLst>
            <a:ahLst/>
            <a:cxnLst>
              <a:cxn ang="0">
                <a:pos x="connsiteX0" y="connsiteY0"/>
              </a:cxn>
              <a:cxn ang="0">
                <a:pos x="connsiteX1" y="connsiteY1"/>
              </a:cxn>
              <a:cxn ang="0">
                <a:pos x="connsiteX2" y="connsiteY2"/>
              </a:cxn>
            </a:cxnLst>
            <a:rect l="l" t="t" r="r" b="b"/>
            <a:pathLst>
              <a:path w="404813" h="1309687">
                <a:moveTo>
                  <a:pt x="404813" y="0"/>
                </a:moveTo>
                <a:cubicBezTo>
                  <a:pt x="300434" y="101203"/>
                  <a:pt x="167481" y="211931"/>
                  <a:pt x="104775" y="428625"/>
                </a:cubicBezTo>
                <a:cubicBezTo>
                  <a:pt x="42069" y="645319"/>
                  <a:pt x="21034" y="977503"/>
                  <a:pt x="0" y="1309687"/>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267B9C6E-4C54-4BAF-A6A5-9A92DABF81CC}"/>
              </a:ext>
            </a:extLst>
          </p:cNvPr>
          <p:cNvSpPr/>
          <p:nvPr/>
        </p:nvSpPr>
        <p:spPr>
          <a:xfrm>
            <a:off x="10138336" y="3219392"/>
            <a:ext cx="139476" cy="209159"/>
          </a:xfrm>
          <a:custGeom>
            <a:avLst/>
            <a:gdLst>
              <a:gd name="connsiteX0" fmla="*/ 72155 w 72155"/>
              <a:gd name="connsiteY0" fmla="*/ 0 h 161925"/>
              <a:gd name="connsiteX1" fmla="*/ 10243 w 72155"/>
              <a:gd name="connsiteY1" fmla="*/ 66675 h 161925"/>
              <a:gd name="connsiteX2" fmla="*/ 718 w 72155"/>
              <a:gd name="connsiteY2" fmla="*/ 161925 h 161925"/>
              <a:gd name="connsiteX0" fmla="*/ 104806 w 104806"/>
              <a:gd name="connsiteY0" fmla="*/ 0 h 161925"/>
              <a:gd name="connsiteX1" fmla="*/ 42894 w 104806"/>
              <a:gd name="connsiteY1" fmla="*/ 66675 h 161925"/>
              <a:gd name="connsiteX2" fmla="*/ 32 w 104806"/>
              <a:gd name="connsiteY2" fmla="*/ 161925 h 161925"/>
              <a:gd name="connsiteX0" fmla="*/ 119094 w 119094"/>
              <a:gd name="connsiteY0" fmla="*/ 0 h 178594"/>
              <a:gd name="connsiteX1" fmla="*/ 42894 w 119094"/>
              <a:gd name="connsiteY1" fmla="*/ 83344 h 178594"/>
              <a:gd name="connsiteX2" fmla="*/ 32 w 119094"/>
              <a:gd name="connsiteY2" fmla="*/ 178594 h 178594"/>
            </a:gdLst>
            <a:ahLst/>
            <a:cxnLst>
              <a:cxn ang="0">
                <a:pos x="connsiteX0" y="connsiteY0"/>
              </a:cxn>
              <a:cxn ang="0">
                <a:pos x="connsiteX1" y="connsiteY1"/>
              </a:cxn>
              <a:cxn ang="0">
                <a:pos x="connsiteX2" y="connsiteY2"/>
              </a:cxn>
            </a:cxnLst>
            <a:rect l="l" t="t" r="r" b="b"/>
            <a:pathLst>
              <a:path w="119094" h="178594">
                <a:moveTo>
                  <a:pt x="119094" y="0"/>
                </a:moveTo>
                <a:cubicBezTo>
                  <a:pt x="94091" y="19844"/>
                  <a:pt x="54800" y="56357"/>
                  <a:pt x="42894" y="83344"/>
                </a:cubicBezTo>
                <a:cubicBezTo>
                  <a:pt x="30988" y="110331"/>
                  <a:pt x="-1159" y="144462"/>
                  <a:pt x="32" y="178594"/>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3EA20734-0E44-4B40-B7FE-65827954AAB0}"/>
              </a:ext>
            </a:extLst>
          </p:cNvPr>
          <p:cNvSpPr/>
          <p:nvPr/>
        </p:nvSpPr>
        <p:spPr>
          <a:xfrm>
            <a:off x="10316730" y="3511135"/>
            <a:ext cx="373697" cy="91474"/>
          </a:xfrm>
          <a:custGeom>
            <a:avLst/>
            <a:gdLst>
              <a:gd name="connsiteX0" fmla="*/ 0 w 319088"/>
              <a:gd name="connsiteY0" fmla="*/ 78107 h 78107"/>
              <a:gd name="connsiteX1" fmla="*/ 161925 w 319088"/>
              <a:gd name="connsiteY1" fmla="*/ 1907 h 78107"/>
              <a:gd name="connsiteX2" fmla="*/ 319088 w 319088"/>
              <a:gd name="connsiteY2" fmla="*/ 30482 h 78107"/>
            </a:gdLst>
            <a:ahLst/>
            <a:cxnLst>
              <a:cxn ang="0">
                <a:pos x="connsiteX0" y="connsiteY0"/>
              </a:cxn>
              <a:cxn ang="0">
                <a:pos x="connsiteX1" y="connsiteY1"/>
              </a:cxn>
              <a:cxn ang="0">
                <a:pos x="connsiteX2" y="connsiteY2"/>
              </a:cxn>
            </a:cxnLst>
            <a:rect l="l" t="t" r="r" b="b"/>
            <a:pathLst>
              <a:path w="319088" h="78107">
                <a:moveTo>
                  <a:pt x="0" y="78107"/>
                </a:moveTo>
                <a:cubicBezTo>
                  <a:pt x="54372" y="43975"/>
                  <a:pt x="108744" y="9844"/>
                  <a:pt x="161925" y="1907"/>
                </a:cubicBezTo>
                <a:cubicBezTo>
                  <a:pt x="215106" y="-6030"/>
                  <a:pt x="267097" y="12226"/>
                  <a:pt x="319088" y="30482"/>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1A856021-066B-4289-AD41-77B8FBCE7C81}"/>
              </a:ext>
            </a:extLst>
          </p:cNvPr>
          <p:cNvSpPr/>
          <p:nvPr/>
        </p:nvSpPr>
        <p:spPr>
          <a:xfrm>
            <a:off x="10129745" y="3721371"/>
            <a:ext cx="602666" cy="755760"/>
          </a:xfrm>
          <a:custGeom>
            <a:avLst/>
            <a:gdLst>
              <a:gd name="connsiteX0" fmla="*/ 1296 w 475190"/>
              <a:gd name="connsiteY0" fmla="*/ 0 h 642938"/>
              <a:gd name="connsiteX1" fmla="*/ 67971 w 475190"/>
              <a:gd name="connsiteY1" fmla="*/ 266700 h 642938"/>
              <a:gd name="connsiteX2" fmla="*/ 439446 w 475190"/>
              <a:gd name="connsiteY2" fmla="*/ 442913 h 642938"/>
              <a:gd name="connsiteX3" fmla="*/ 439446 w 475190"/>
              <a:gd name="connsiteY3" fmla="*/ 642938 h 642938"/>
              <a:gd name="connsiteX0" fmla="*/ 222 w 514597"/>
              <a:gd name="connsiteY0" fmla="*/ 0 h 645319"/>
              <a:gd name="connsiteX1" fmla="*/ 107378 w 514597"/>
              <a:gd name="connsiteY1" fmla="*/ 269081 h 645319"/>
              <a:gd name="connsiteX2" fmla="*/ 478853 w 514597"/>
              <a:gd name="connsiteY2" fmla="*/ 445294 h 645319"/>
              <a:gd name="connsiteX3" fmla="*/ 478853 w 514597"/>
              <a:gd name="connsiteY3" fmla="*/ 645319 h 645319"/>
            </a:gdLst>
            <a:ahLst/>
            <a:cxnLst>
              <a:cxn ang="0">
                <a:pos x="connsiteX0" y="connsiteY0"/>
              </a:cxn>
              <a:cxn ang="0">
                <a:pos x="connsiteX1" y="connsiteY1"/>
              </a:cxn>
              <a:cxn ang="0">
                <a:pos x="connsiteX2" y="connsiteY2"/>
              </a:cxn>
              <a:cxn ang="0">
                <a:pos x="connsiteX3" y="connsiteY3"/>
              </a:cxn>
            </a:cxnLst>
            <a:rect l="l" t="t" r="r" b="b"/>
            <a:pathLst>
              <a:path w="514597" h="645319">
                <a:moveTo>
                  <a:pt x="222" y="0"/>
                </a:moveTo>
                <a:cubicBezTo>
                  <a:pt x="-2953" y="96440"/>
                  <a:pt x="27606" y="194865"/>
                  <a:pt x="107378" y="269081"/>
                </a:cubicBezTo>
                <a:cubicBezTo>
                  <a:pt x="187150" y="343297"/>
                  <a:pt x="416941" y="382588"/>
                  <a:pt x="478853" y="445294"/>
                </a:cubicBezTo>
                <a:cubicBezTo>
                  <a:pt x="540765" y="508000"/>
                  <a:pt x="509809" y="576659"/>
                  <a:pt x="478853" y="645319"/>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0CD7AC96-3DD9-43AD-B245-DA823E83FD5D}"/>
              </a:ext>
            </a:extLst>
          </p:cNvPr>
          <p:cNvSpPr/>
          <p:nvPr/>
        </p:nvSpPr>
        <p:spPr>
          <a:xfrm>
            <a:off x="9731210" y="4951225"/>
            <a:ext cx="351386" cy="524291"/>
          </a:xfrm>
          <a:custGeom>
            <a:avLst/>
            <a:gdLst>
              <a:gd name="connsiteX0" fmla="*/ 0 w 300037"/>
              <a:gd name="connsiteY0" fmla="*/ 0 h 447675"/>
              <a:gd name="connsiteX1" fmla="*/ 90487 w 300037"/>
              <a:gd name="connsiteY1" fmla="*/ 280988 h 447675"/>
              <a:gd name="connsiteX2" fmla="*/ 300037 w 300037"/>
              <a:gd name="connsiteY2" fmla="*/ 447675 h 447675"/>
            </a:gdLst>
            <a:ahLst/>
            <a:cxnLst>
              <a:cxn ang="0">
                <a:pos x="connsiteX0" y="connsiteY0"/>
              </a:cxn>
              <a:cxn ang="0">
                <a:pos x="connsiteX1" y="connsiteY1"/>
              </a:cxn>
              <a:cxn ang="0">
                <a:pos x="connsiteX2" y="connsiteY2"/>
              </a:cxn>
            </a:cxnLst>
            <a:rect l="l" t="t" r="r" b="b"/>
            <a:pathLst>
              <a:path w="300037" h="447675">
                <a:moveTo>
                  <a:pt x="0" y="0"/>
                </a:moveTo>
                <a:cubicBezTo>
                  <a:pt x="20240" y="103188"/>
                  <a:pt x="40481" y="206376"/>
                  <a:pt x="90487" y="280988"/>
                </a:cubicBezTo>
                <a:cubicBezTo>
                  <a:pt x="140493" y="355601"/>
                  <a:pt x="220265" y="401638"/>
                  <a:pt x="300037" y="447675"/>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DC7CB3AE-9C9E-4367-99C1-1695499C227B}"/>
              </a:ext>
            </a:extLst>
          </p:cNvPr>
          <p:cNvSpPr/>
          <p:nvPr/>
        </p:nvSpPr>
        <p:spPr>
          <a:xfrm>
            <a:off x="9301737" y="4962380"/>
            <a:ext cx="312344" cy="524291"/>
          </a:xfrm>
          <a:custGeom>
            <a:avLst/>
            <a:gdLst>
              <a:gd name="connsiteX0" fmla="*/ 266700 w 266700"/>
              <a:gd name="connsiteY0" fmla="*/ 0 h 447675"/>
              <a:gd name="connsiteX1" fmla="*/ 171450 w 266700"/>
              <a:gd name="connsiteY1" fmla="*/ 223838 h 447675"/>
              <a:gd name="connsiteX2" fmla="*/ 0 w 266700"/>
              <a:gd name="connsiteY2" fmla="*/ 447675 h 447675"/>
            </a:gdLst>
            <a:ahLst/>
            <a:cxnLst>
              <a:cxn ang="0">
                <a:pos x="connsiteX0" y="connsiteY0"/>
              </a:cxn>
              <a:cxn ang="0">
                <a:pos x="connsiteX1" y="connsiteY1"/>
              </a:cxn>
              <a:cxn ang="0">
                <a:pos x="connsiteX2" y="connsiteY2"/>
              </a:cxn>
            </a:cxnLst>
            <a:rect l="l" t="t" r="r" b="b"/>
            <a:pathLst>
              <a:path w="266700" h="447675">
                <a:moveTo>
                  <a:pt x="266700" y="0"/>
                </a:moveTo>
                <a:cubicBezTo>
                  <a:pt x="241300" y="74612"/>
                  <a:pt x="215900" y="149225"/>
                  <a:pt x="171450" y="223838"/>
                </a:cubicBezTo>
                <a:cubicBezTo>
                  <a:pt x="127000" y="298451"/>
                  <a:pt x="63500" y="373063"/>
                  <a:pt x="0" y="447675"/>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63046C69-2A36-41A3-897D-07888E879317}"/>
              </a:ext>
            </a:extLst>
          </p:cNvPr>
          <p:cNvSpPr/>
          <p:nvPr/>
        </p:nvSpPr>
        <p:spPr>
          <a:xfrm>
            <a:off x="9285005" y="3132939"/>
            <a:ext cx="169272" cy="725083"/>
          </a:xfrm>
          <a:custGeom>
            <a:avLst/>
            <a:gdLst>
              <a:gd name="connsiteX0" fmla="*/ 0 w 144536"/>
              <a:gd name="connsiteY0" fmla="*/ 0 h 619125"/>
              <a:gd name="connsiteX1" fmla="*/ 128587 w 144536"/>
              <a:gd name="connsiteY1" fmla="*/ 190500 h 619125"/>
              <a:gd name="connsiteX2" fmla="*/ 138112 w 144536"/>
              <a:gd name="connsiteY2" fmla="*/ 619125 h 619125"/>
            </a:gdLst>
            <a:ahLst/>
            <a:cxnLst>
              <a:cxn ang="0">
                <a:pos x="connsiteX0" y="connsiteY0"/>
              </a:cxn>
              <a:cxn ang="0">
                <a:pos x="connsiteX1" y="connsiteY1"/>
              </a:cxn>
              <a:cxn ang="0">
                <a:pos x="connsiteX2" y="connsiteY2"/>
              </a:cxn>
            </a:cxnLst>
            <a:rect l="l" t="t" r="r" b="b"/>
            <a:pathLst>
              <a:path w="144536" h="619125">
                <a:moveTo>
                  <a:pt x="0" y="0"/>
                </a:moveTo>
                <a:cubicBezTo>
                  <a:pt x="52784" y="43656"/>
                  <a:pt x="105568" y="87312"/>
                  <a:pt x="128587" y="190500"/>
                </a:cubicBezTo>
                <a:cubicBezTo>
                  <a:pt x="151606" y="293688"/>
                  <a:pt x="144859" y="456406"/>
                  <a:pt x="138112" y="619125"/>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A6BBE4FD-5A9A-4C70-8204-EDD02702CE62}"/>
              </a:ext>
            </a:extLst>
          </p:cNvPr>
          <p:cNvSpPr/>
          <p:nvPr/>
        </p:nvSpPr>
        <p:spPr>
          <a:xfrm>
            <a:off x="8944773" y="3105052"/>
            <a:ext cx="256568" cy="407162"/>
          </a:xfrm>
          <a:custGeom>
            <a:avLst/>
            <a:gdLst>
              <a:gd name="connsiteX0" fmla="*/ 219075 w 219075"/>
              <a:gd name="connsiteY0" fmla="*/ 0 h 347662"/>
              <a:gd name="connsiteX1" fmla="*/ 66675 w 219075"/>
              <a:gd name="connsiteY1" fmla="*/ 166687 h 347662"/>
              <a:gd name="connsiteX2" fmla="*/ 0 w 219075"/>
              <a:gd name="connsiteY2" fmla="*/ 347662 h 347662"/>
            </a:gdLst>
            <a:ahLst/>
            <a:cxnLst>
              <a:cxn ang="0">
                <a:pos x="connsiteX0" y="connsiteY0"/>
              </a:cxn>
              <a:cxn ang="0">
                <a:pos x="connsiteX1" y="connsiteY1"/>
              </a:cxn>
              <a:cxn ang="0">
                <a:pos x="connsiteX2" y="connsiteY2"/>
              </a:cxn>
            </a:cxnLst>
            <a:rect l="l" t="t" r="r" b="b"/>
            <a:pathLst>
              <a:path w="219075" h="347662">
                <a:moveTo>
                  <a:pt x="219075" y="0"/>
                </a:moveTo>
                <a:cubicBezTo>
                  <a:pt x="161131" y="54371"/>
                  <a:pt x="103187" y="108743"/>
                  <a:pt x="66675" y="166687"/>
                </a:cubicBezTo>
                <a:cubicBezTo>
                  <a:pt x="30163" y="224631"/>
                  <a:pt x="15081" y="286146"/>
                  <a:pt x="0" y="347662"/>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52" name="Group 151">
            <a:extLst>
              <a:ext uri="{FF2B5EF4-FFF2-40B4-BE49-F238E27FC236}">
                <a16:creationId xmlns:a16="http://schemas.microsoft.com/office/drawing/2014/main" id="{A7E68A8E-51F9-4AE2-8405-C0042E6ECB9F}"/>
              </a:ext>
            </a:extLst>
          </p:cNvPr>
          <p:cNvGrpSpPr/>
          <p:nvPr/>
        </p:nvGrpSpPr>
        <p:grpSpPr>
          <a:xfrm>
            <a:off x="6727418" y="1815340"/>
            <a:ext cx="491401" cy="375376"/>
            <a:chOff x="1502455" y="1487339"/>
            <a:chExt cx="532628" cy="406869"/>
          </a:xfrm>
        </p:grpSpPr>
        <p:pic>
          <p:nvPicPr>
            <p:cNvPr id="153" name="CustomIcon">
              <a:extLst>
                <a:ext uri="{FF2B5EF4-FFF2-40B4-BE49-F238E27FC236}">
                  <a16:creationId xmlns:a16="http://schemas.microsoft.com/office/drawing/2014/main" id="{EEBC0558-CC01-4C8C-A05B-CC1FFDFDF08D}"/>
                </a:ext>
              </a:extLst>
            </p:cNvPr>
            <p:cNvPicPr>
              <a:picLocks noChangeAspect="1"/>
            </p:cNvPicPr>
            <p:nvPr>
              <p:custDataLst>
                <p:tags r:id="rId20"/>
              </p:custDataLst>
            </p:nvPr>
          </p:nvPicPr>
          <p:blipFill>
            <a:blip r:embed="rId96">
              <a:extLst>
                <a:ext uri="{96DAC541-7B7A-43D3-8B79-37D633B846F1}">
                  <asvg:svgBlip xmlns:asvg="http://schemas.microsoft.com/office/drawing/2016/SVG/main" r:embed="rId97"/>
                </a:ext>
              </a:extLst>
            </a:blip>
            <a:stretch>
              <a:fillRect/>
            </a:stretch>
          </p:blipFill>
          <p:spPr>
            <a:xfrm>
              <a:off x="1502455" y="1684333"/>
              <a:ext cx="209875" cy="209875"/>
            </a:xfrm>
            <a:prstGeom prst="rect">
              <a:avLst/>
            </a:prstGeom>
          </p:spPr>
        </p:pic>
        <p:pic>
          <p:nvPicPr>
            <p:cNvPr id="154" name="CustomIcon">
              <a:extLst>
                <a:ext uri="{FF2B5EF4-FFF2-40B4-BE49-F238E27FC236}">
                  <a16:creationId xmlns:a16="http://schemas.microsoft.com/office/drawing/2014/main" id="{8567EEC0-69D2-4967-87B4-7361984C3FCC}"/>
                </a:ext>
              </a:extLst>
            </p:cNvPr>
            <p:cNvPicPr>
              <a:picLocks noChangeAspect="1"/>
            </p:cNvPicPr>
            <p:nvPr>
              <p:custDataLst>
                <p:tags r:id="rId21"/>
              </p:custDataLst>
            </p:nvPr>
          </p:nvPicPr>
          <p:blipFill>
            <a:blip r:embed="rId96">
              <a:extLst>
                <a:ext uri="{96DAC541-7B7A-43D3-8B79-37D633B846F1}">
                  <asvg:svgBlip xmlns:asvg="http://schemas.microsoft.com/office/drawing/2016/SVG/main" r:embed="rId97"/>
                </a:ext>
              </a:extLst>
            </a:blip>
            <a:stretch>
              <a:fillRect/>
            </a:stretch>
          </p:blipFill>
          <p:spPr>
            <a:xfrm>
              <a:off x="1610039" y="1684333"/>
              <a:ext cx="209875" cy="209875"/>
            </a:xfrm>
            <a:prstGeom prst="rect">
              <a:avLst/>
            </a:prstGeom>
          </p:spPr>
        </p:pic>
        <p:pic>
          <p:nvPicPr>
            <p:cNvPr id="155" name="CustomIcon">
              <a:extLst>
                <a:ext uri="{FF2B5EF4-FFF2-40B4-BE49-F238E27FC236}">
                  <a16:creationId xmlns:a16="http://schemas.microsoft.com/office/drawing/2014/main" id="{98F47580-CD6F-4218-A0AE-71ADF11071F7}"/>
                </a:ext>
              </a:extLst>
            </p:cNvPr>
            <p:cNvPicPr>
              <a:picLocks noChangeAspect="1"/>
            </p:cNvPicPr>
            <p:nvPr>
              <p:custDataLst>
                <p:tags r:id="rId22"/>
              </p:custDataLst>
            </p:nvPr>
          </p:nvPicPr>
          <p:blipFill>
            <a:blip r:embed="rId96">
              <a:extLst>
                <a:ext uri="{96DAC541-7B7A-43D3-8B79-37D633B846F1}">
                  <asvg:svgBlip xmlns:asvg="http://schemas.microsoft.com/office/drawing/2016/SVG/main" r:embed="rId97"/>
                </a:ext>
              </a:extLst>
            </a:blip>
            <a:stretch>
              <a:fillRect/>
            </a:stretch>
          </p:blipFill>
          <p:spPr>
            <a:xfrm>
              <a:off x="1717623" y="1684333"/>
              <a:ext cx="209875" cy="209875"/>
            </a:xfrm>
            <a:prstGeom prst="rect">
              <a:avLst/>
            </a:prstGeom>
          </p:spPr>
        </p:pic>
        <p:pic>
          <p:nvPicPr>
            <p:cNvPr id="156" name="CustomIcon">
              <a:extLst>
                <a:ext uri="{FF2B5EF4-FFF2-40B4-BE49-F238E27FC236}">
                  <a16:creationId xmlns:a16="http://schemas.microsoft.com/office/drawing/2014/main" id="{7DCABADB-8BC7-4725-8AA3-60551CD3AF5C}"/>
                </a:ext>
              </a:extLst>
            </p:cNvPr>
            <p:cNvPicPr>
              <a:picLocks noChangeAspect="1"/>
            </p:cNvPicPr>
            <p:nvPr>
              <p:custDataLst>
                <p:tags r:id="rId23"/>
              </p:custDataLst>
            </p:nvPr>
          </p:nvPicPr>
          <p:blipFill>
            <a:blip r:embed="rId96">
              <a:extLst>
                <a:ext uri="{96DAC541-7B7A-43D3-8B79-37D633B846F1}">
                  <asvg:svgBlip xmlns:asvg="http://schemas.microsoft.com/office/drawing/2016/SVG/main" r:embed="rId97"/>
                </a:ext>
              </a:extLst>
            </a:blip>
            <a:stretch>
              <a:fillRect/>
            </a:stretch>
          </p:blipFill>
          <p:spPr>
            <a:xfrm>
              <a:off x="1825208" y="1684333"/>
              <a:ext cx="209875" cy="209875"/>
            </a:xfrm>
            <a:prstGeom prst="rect">
              <a:avLst/>
            </a:prstGeom>
          </p:spPr>
        </p:pic>
        <p:pic>
          <p:nvPicPr>
            <p:cNvPr id="157" name="CustomIcon">
              <a:extLst>
                <a:ext uri="{FF2B5EF4-FFF2-40B4-BE49-F238E27FC236}">
                  <a16:creationId xmlns:a16="http://schemas.microsoft.com/office/drawing/2014/main" id="{E39F0C2F-CA0F-4E13-9570-C677348A4467}"/>
                </a:ext>
              </a:extLst>
            </p:cNvPr>
            <p:cNvPicPr>
              <a:picLocks noChangeAspect="1"/>
            </p:cNvPicPr>
            <p:nvPr>
              <p:custDataLst>
                <p:tags r:id="rId24"/>
              </p:custDataLst>
            </p:nvPr>
          </p:nvPicPr>
          <p:blipFill>
            <a:blip r:embed="rId96">
              <a:extLst>
                <a:ext uri="{96DAC541-7B7A-43D3-8B79-37D633B846F1}">
                  <asvg:svgBlip xmlns:asvg="http://schemas.microsoft.com/office/drawing/2016/SVG/main" r:embed="rId97"/>
                </a:ext>
              </a:extLst>
            </a:blip>
            <a:stretch>
              <a:fillRect/>
            </a:stretch>
          </p:blipFill>
          <p:spPr>
            <a:xfrm>
              <a:off x="1556247" y="1487339"/>
              <a:ext cx="209875" cy="209875"/>
            </a:xfrm>
            <a:prstGeom prst="rect">
              <a:avLst/>
            </a:prstGeom>
          </p:spPr>
        </p:pic>
        <p:pic>
          <p:nvPicPr>
            <p:cNvPr id="158" name="CustomIcon">
              <a:extLst>
                <a:ext uri="{FF2B5EF4-FFF2-40B4-BE49-F238E27FC236}">
                  <a16:creationId xmlns:a16="http://schemas.microsoft.com/office/drawing/2014/main" id="{6329310B-F9F2-43DE-8C2A-7E8C0C22DB6A}"/>
                </a:ext>
              </a:extLst>
            </p:cNvPr>
            <p:cNvPicPr>
              <a:picLocks noChangeAspect="1"/>
            </p:cNvPicPr>
            <p:nvPr>
              <p:custDataLst>
                <p:tags r:id="rId25"/>
              </p:custDataLst>
            </p:nvPr>
          </p:nvPicPr>
          <p:blipFill>
            <a:blip r:embed="rId96">
              <a:extLst>
                <a:ext uri="{96DAC541-7B7A-43D3-8B79-37D633B846F1}">
                  <asvg:svgBlip xmlns:asvg="http://schemas.microsoft.com/office/drawing/2016/SVG/main" r:embed="rId97"/>
                </a:ext>
              </a:extLst>
            </a:blip>
            <a:stretch>
              <a:fillRect/>
            </a:stretch>
          </p:blipFill>
          <p:spPr>
            <a:xfrm>
              <a:off x="1663831" y="1487339"/>
              <a:ext cx="209875" cy="209875"/>
            </a:xfrm>
            <a:prstGeom prst="rect">
              <a:avLst/>
            </a:prstGeom>
          </p:spPr>
        </p:pic>
        <p:pic>
          <p:nvPicPr>
            <p:cNvPr id="159" name="CustomIcon">
              <a:extLst>
                <a:ext uri="{FF2B5EF4-FFF2-40B4-BE49-F238E27FC236}">
                  <a16:creationId xmlns:a16="http://schemas.microsoft.com/office/drawing/2014/main" id="{15318802-F5A3-4896-B288-3ADBCBB1D409}"/>
                </a:ext>
              </a:extLst>
            </p:cNvPr>
            <p:cNvPicPr>
              <a:picLocks noChangeAspect="1"/>
            </p:cNvPicPr>
            <p:nvPr>
              <p:custDataLst>
                <p:tags r:id="rId26"/>
              </p:custDataLst>
            </p:nvPr>
          </p:nvPicPr>
          <p:blipFill>
            <a:blip r:embed="rId96">
              <a:extLst>
                <a:ext uri="{96DAC541-7B7A-43D3-8B79-37D633B846F1}">
                  <asvg:svgBlip xmlns:asvg="http://schemas.microsoft.com/office/drawing/2016/SVG/main" r:embed="rId97"/>
                </a:ext>
              </a:extLst>
            </a:blip>
            <a:stretch>
              <a:fillRect/>
            </a:stretch>
          </p:blipFill>
          <p:spPr>
            <a:xfrm>
              <a:off x="1771415" y="1487339"/>
              <a:ext cx="209875" cy="209875"/>
            </a:xfrm>
            <a:prstGeom prst="rect">
              <a:avLst/>
            </a:prstGeom>
          </p:spPr>
        </p:pic>
      </p:grpSp>
      <p:grpSp>
        <p:nvGrpSpPr>
          <p:cNvPr id="160" name="Group 159">
            <a:extLst>
              <a:ext uri="{FF2B5EF4-FFF2-40B4-BE49-F238E27FC236}">
                <a16:creationId xmlns:a16="http://schemas.microsoft.com/office/drawing/2014/main" id="{575611F7-F558-4BAB-96E9-516E9C2B55B5}"/>
              </a:ext>
            </a:extLst>
          </p:cNvPr>
          <p:cNvGrpSpPr/>
          <p:nvPr/>
        </p:nvGrpSpPr>
        <p:grpSpPr>
          <a:xfrm>
            <a:off x="6853284" y="2426718"/>
            <a:ext cx="491401" cy="375376"/>
            <a:chOff x="1502455" y="1487339"/>
            <a:chExt cx="532628" cy="406869"/>
          </a:xfrm>
        </p:grpSpPr>
        <p:pic>
          <p:nvPicPr>
            <p:cNvPr id="161" name="CustomIcon">
              <a:extLst>
                <a:ext uri="{FF2B5EF4-FFF2-40B4-BE49-F238E27FC236}">
                  <a16:creationId xmlns:a16="http://schemas.microsoft.com/office/drawing/2014/main" id="{8D61795B-688D-4332-A990-1240AC259D07}"/>
                </a:ext>
              </a:extLst>
            </p:cNvPr>
            <p:cNvPicPr>
              <a:picLocks noChangeAspect="1"/>
            </p:cNvPicPr>
            <p:nvPr>
              <p:custDataLst>
                <p:tags r:id="rId13"/>
              </p:custDataLst>
            </p:nvPr>
          </p:nvPicPr>
          <p:blipFill>
            <a:blip r:embed="rId96">
              <a:extLst>
                <a:ext uri="{96DAC541-7B7A-43D3-8B79-37D633B846F1}">
                  <asvg:svgBlip xmlns:asvg="http://schemas.microsoft.com/office/drawing/2016/SVG/main" r:embed="rId97"/>
                </a:ext>
              </a:extLst>
            </a:blip>
            <a:stretch>
              <a:fillRect/>
            </a:stretch>
          </p:blipFill>
          <p:spPr>
            <a:xfrm>
              <a:off x="1502455" y="1684333"/>
              <a:ext cx="209875" cy="209875"/>
            </a:xfrm>
            <a:prstGeom prst="rect">
              <a:avLst/>
            </a:prstGeom>
          </p:spPr>
        </p:pic>
        <p:pic>
          <p:nvPicPr>
            <p:cNvPr id="162" name="CustomIcon">
              <a:extLst>
                <a:ext uri="{FF2B5EF4-FFF2-40B4-BE49-F238E27FC236}">
                  <a16:creationId xmlns:a16="http://schemas.microsoft.com/office/drawing/2014/main" id="{885F6ACD-6D93-40BD-993C-5CD8270153AE}"/>
                </a:ext>
              </a:extLst>
            </p:cNvPr>
            <p:cNvPicPr>
              <a:picLocks noChangeAspect="1"/>
            </p:cNvPicPr>
            <p:nvPr>
              <p:custDataLst>
                <p:tags r:id="rId14"/>
              </p:custDataLst>
            </p:nvPr>
          </p:nvPicPr>
          <p:blipFill>
            <a:blip r:embed="rId96">
              <a:extLst>
                <a:ext uri="{96DAC541-7B7A-43D3-8B79-37D633B846F1}">
                  <asvg:svgBlip xmlns:asvg="http://schemas.microsoft.com/office/drawing/2016/SVG/main" r:embed="rId97"/>
                </a:ext>
              </a:extLst>
            </a:blip>
            <a:stretch>
              <a:fillRect/>
            </a:stretch>
          </p:blipFill>
          <p:spPr>
            <a:xfrm>
              <a:off x="1610039" y="1684333"/>
              <a:ext cx="209875" cy="209875"/>
            </a:xfrm>
            <a:prstGeom prst="rect">
              <a:avLst/>
            </a:prstGeom>
          </p:spPr>
        </p:pic>
        <p:pic>
          <p:nvPicPr>
            <p:cNvPr id="163" name="CustomIcon">
              <a:extLst>
                <a:ext uri="{FF2B5EF4-FFF2-40B4-BE49-F238E27FC236}">
                  <a16:creationId xmlns:a16="http://schemas.microsoft.com/office/drawing/2014/main" id="{3A08DDA9-D436-48E4-A216-905EC63000CF}"/>
                </a:ext>
              </a:extLst>
            </p:cNvPr>
            <p:cNvPicPr>
              <a:picLocks noChangeAspect="1"/>
            </p:cNvPicPr>
            <p:nvPr>
              <p:custDataLst>
                <p:tags r:id="rId15"/>
              </p:custDataLst>
            </p:nvPr>
          </p:nvPicPr>
          <p:blipFill>
            <a:blip r:embed="rId96">
              <a:extLst>
                <a:ext uri="{96DAC541-7B7A-43D3-8B79-37D633B846F1}">
                  <asvg:svgBlip xmlns:asvg="http://schemas.microsoft.com/office/drawing/2016/SVG/main" r:embed="rId97"/>
                </a:ext>
              </a:extLst>
            </a:blip>
            <a:stretch>
              <a:fillRect/>
            </a:stretch>
          </p:blipFill>
          <p:spPr>
            <a:xfrm>
              <a:off x="1717623" y="1684333"/>
              <a:ext cx="209875" cy="209875"/>
            </a:xfrm>
            <a:prstGeom prst="rect">
              <a:avLst/>
            </a:prstGeom>
          </p:spPr>
        </p:pic>
        <p:pic>
          <p:nvPicPr>
            <p:cNvPr id="164" name="CustomIcon">
              <a:extLst>
                <a:ext uri="{FF2B5EF4-FFF2-40B4-BE49-F238E27FC236}">
                  <a16:creationId xmlns:a16="http://schemas.microsoft.com/office/drawing/2014/main" id="{FC2DA3BB-96ED-45C8-84CC-59C81ABCC7A7}"/>
                </a:ext>
              </a:extLst>
            </p:cNvPr>
            <p:cNvPicPr>
              <a:picLocks noChangeAspect="1"/>
            </p:cNvPicPr>
            <p:nvPr>
              <p:custDataLst>
                <p:tags r:id="rId16"/>
              </p:custDataLst>
            </p:nvPr>
          </p:nvPicPr>
          <p:blipFill>
            <a:blip r:embed="rId96">
              <a:extLst>
                <a:ext uri="{96DAC541-7B7A-43D3-8B79-37D633B846F1}">
                  <asvg:svgBlip xmlns:asvg="http://schemas.microsoft.com/office/drawing/2016/SVG/main" r:embed="rId97"/>
                </a:ext>
              </a:extLst>
            </a:blip>
            <a:stretch>
              <a:fillRect/>
            </a:stretch>
          </p:blipFill>
          <p:spPr>
            <a:xfrm>
              <a:off x="1825208" y="1684333"/>
              <a:ext cx="209875" cy="209875"/>
            </a:xfrm>
            <a:prstGeom prst="rect">
              <a:avLst/>
            </a:prstGeom>
          </p:spPr>
        </p:pic>
        <p:pic>
          <p:nvPicPr>
            <p:cNvPr id="165" name="CustomIcon">
              <a:extLst>
                <a:ext uri="{FF2B5EF4-FFF2-40B4-BE49-F238E27FC236}">
                  <a16:creationId xmlns:a16="http://schemas.microsoft.com/office/drawing/2014/main" id="{BF9548A4-3B65-4A19-9A4D-6E3C0CE8F713}"/>
                </a:ext>
              </a:extLst>
            </p:cNvPr>
            <p:cNvPicPr>
              <a:picLocks noChangeAspect="1"/>
            </p:cNvPicPr>
            <p:nvPr>
              <p:custDataLst>
                <p:tags r:id="rId17"/>
              </p:custDataLst>
            </p:nvPr>
          </p:nvPicPr>
          <p:blipFill>
            <a:blip r:embed="rId96">
              <a:extLst>
                <a:ext uri="{96DAC541-7B7A-43D3-8B79-37D633B846F1}">
                  <asvg:svgBlip xmlns:asvg="http://schemas.microsoft.com/office/drawing/2016/SVG/main" r:embed="rId97"/>
                </a:ext>
              </a:extLst>
            </a:blip>
            <a:stretch>
              <a:fillRect/>
            </a:stretch>
          </p:blipFill>
          <p:spPr>
            <a:xfrm>
              <a:off x="1556247" y="1487339"/>
              <a:ext cx="209875" cy="209875"/>
            </a:xfrm>
            <a:prstGeom prst="rect">
              <a:avLst/>
            </a:prstGeom>
          </p:spPr>
        </p:pic>
        <p:pic>
          <p:nvPicPr>
            <p:cNvPr id="166" name="CustomIcon">
              <a:extLst>
                <a:ext uri="{FF2B5EF4-FFF2-40B4-BE49-F238E27FC236}">
                  <a16:creationId xmlns:a16="http://schemas.microsoft.com/office/drawing/2014/main" id="{8972F7C3-E730-43F9-ADDD-4CE868C7A5A4}"/>
                </a:ext>
              </a:extLst>
            </p:cNvPr>
            <p:cNvPicPr>
              <a:picLocks noChangeAspect="1"/>
            </p:cNvPicPr>
            <p:nvPr>
              <p:custDataLst>
                <p:tags r:id="rId18"/>
              </p:custDataLst>
            </p:nvPr>
          </p:nvPicPr>
          <p:blipFill>
            <a:blip r:embed="rId96">
              <a:extLst>
                <a:ext uri="{96DAC541-7B7A-43D3-8B79-37D633B846F1}">
                  <asvg:svgBlip xmlns:asvg="http://schemas.microsoft.com/office/drawing/2016/SVG/main" r:embed="rId97"/>
                </a:ext>
              </a:extLst>
            </a:blip>
            <a:stretch>
              <a:fillRect/>
            </a:stretch>
          </p:blipFill>
          <p:spPr>
            <a:xfrm>
              <a:off x="1663831" y="1487339"/>
              <a:ext cx="209875" cy="209875"/>
            </a:xfrm>
            <a:prstGeom prst="rect">
              <a:avLst/>
            </a:prstGeom>
          </p:spPr>
        </p:pic>
        <p:pic>
          <p:nvPicPr>
            <p:cNvPr id="167" name="CustomIcon">
              <a:extLst>
                <a:ext uri="{FF2B5EF4-FFF2-40B4-BE49-F238E27FC236}">
                  <a16:creationId xmlns:a16="http://schemas.microsoft.com/office/drawing/2014/main" id="{7AFA54CE-6E89-40FB-A202-80DAB4E874DB}"/>
                </a:ext>
              </a:extLst>
            </p:cNvPr>
            <p:cNvPicPr>
              <a:picLocks noChangeAspect="1"/>
            </p:cNvPicPr>
            <p:nvPr>
              <p:custDataLst>
                <p:tags r:id="rId19"/>
              </p:custDataLst>
            </p:nvPr>
          </p:nvPicPr>
          <p:blipFill>
            <a:blip r:embed="rId96">
              <a:extLst>
                <a:ext uri="{96DAC541-7B7A-43D3-8B79-37D633B846F1}">
                  <asvg:svgBlip xmlns:asvg="http://schemas.microsoft.com/office/drawing/2016/SVG/main" r:embed="rId97"/>
                </a:ext>
              </a:extLst>
            </a:blip>
            <a:stretch>
              <a:fillRect/>
            </a:stretch>
          </p:blipFill>
          <p:spPr>
            <a:xfrm>
              <a:off x="1771415" y="1487339"/>
              <a:ext cx="209875" cy="209875"/>
            </a:xfrm>
            <a:prstGeom prst="rect">
              <a:avLst/>
            </a:prstGeom>
          </p:spPr>
        </p:pic>
      </p:grpSp>
      <p:sp>
        <p:nvSpPr>
          <p:cNvPr id="23" name="Freeform: Shape 22">
            <a:extLst>
              <a:ext uri="{FF2B5EF4-FFF2-40B4-BE49-F238E27FC236}">
                <a16:creationId xmlns:a16="http://schemas.microsoft.com/office/drawing/2014/main" id="{3AA5A6A3-18F5-41A4-B70E-5D41CB217620}"/>
              </a:ext>
            </a:extLst>
          </p:cNvPr>
          <p:cNvSpPr/>
          <p:nvPr/>
        </p:nvSpPr>
        <p:spPr>
          <a:xfrm>
            <a:off x="7197136" y="2043455"/>
            <a:ext cx="394148" cy="249131"/>
          </a:xfrm>
          <a:custGeom>
            <a:avLst/>
            <a:gdLst>
              <a:gd name="connsiteX0" fmla="*/ 336550 w 336550"/>
              <a:gd name="connsiteY0" fmla="*/ 212725 h 212725"/>
              <a:gd name="connsiteX1" fmla="*/ 187325 w 336550"/>
              <a:gd name="connsiteY1" fmla="*/ 85725 h 212725"/>
              <a:gd name="connsiteX2" fmla="*/ 0 w 336550"/>
              <a:gd name="connsiteY2" fmla="*/ 0 h 212725"/>
            </a:gdLst>
            <a:ahLst/>
            <a:cxnLst>
              <a:cxn ang="0">
                <a:pos x="connsiteX0" y="connsiteY0"/>
              </a:cxn>
              <a:cxn ang="0">
                <a:pos x="connsiteX1" y="connsiteY1"/>
              </a:cxn>
              <a:cxn ang="0">
                <a:pos x="connsiteX2" y="connsiteY2"/>
              </a:cxn>
            </a:cxnLst>
            <a:rect l="l" t="t" r="r" b="b"/>
            <a:pathLst>
              <a:path w="336550" h="212725">
                <a:moveTo>
                  <a:pt x="336550" y="212725"/>
                </a:moveTo>
                <a:cubicBezTo>
                  <a:pt x="289983" y="166952"/>
                  <a:pt x="243417" y="121179"/>
                  <a:pt x="187325" y="85725"/>
                </a:cubicBezTo>
                <a:cubicBezTo>
                  <a:pt x="131233" y="50271"/>
                  <a:pt x="65616" y="25135"/>
                  <a:pt x="0" y="0"/>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F1F488CC-343F-4242-BBEC-120972EFBC89}"/>
              </a:ext>
            </a:extLst>
          </p:cNvPr>
          <p:cNvSpPr/>
          <p:nvPr/>
        </p:nvSpPr>
        <p:spPr>
          <a:xfrm>
            <a:off x="7308687" y="2549153"/>
            <a:ext cx="412740" cy="233272"/>
          </a:xfrm>
          <a:custGeom>
            <a:avLst/>
            <a:gdLst>
              <a:gd name="connsiteX0" fmla="*/ 390525 w 395017"/>
              <a:gd name="connsiteY0" fmla="*/ 0 h 225224"/>
              <a:gd name="connsiteX1" fmla="*/ 339725 w 395017"/>
              <a:gd name="connsiteY1" fmla="*/ 206375 h 225224"/>
              <a:gd name="connsiteX2" fmla="*/ 0 w 395017"/>
              <a:gd name="connsiteY2" fmla="*/ 203200 h 225224"/>
              <a:gd name="connsiteX0" fmla="*/ 352425 w 374374"/>
              <a:gd name="connsiteY0" fmla="*/ 0 h 253799"/>
              <a:gd name="connsiteX1" fmla="*/ 339725 w 374374"/>
              <a:gd name="connsiteY1" fmla="*/ 234950 h 253799"/>
              <a:gd name="connsiteX2" fmla="*/ 0 w 374374"/>
              <a:gd name="connsiteY2" fmla="*/ 231775 h 253799"/>
              <a:gd name="connsiteX0" fmla="*/ 342900 w 364849"/>
              <a:gd name="connsiteY0" fmla="*/ 0 h 245533"/>
              <a:gd name="connsiteX1" fmla="*/ 330200 w 364849"/>
              <a:gd name="connsiteY1" fmla="*/ 234950 h 245533"/>
              <a:gd name="connsiteX2" fmla="*/ 0 w 364849"/>
              <a:gd name="connsiteY2" fmla="*/ 193675 h 245533"/>
              <a:gd name="connsiteX0" fmla="*/ 342900 w 344726"/>
              <a:gd name="connsiteY0" fmla="*/ 0 h 199085"/>
              <a:gd name="connsiteX1" fmla="*/ 273050 w 344726"/>
              <a:gd name="connsiteY1" fmla="*/ 146050 h 199085"/>
              <a:gd name="connsiteX2" fmla="*/ 0 w 344726"/>
              <a:gd name="connsiteY2" fmla="*/ 193675 h 199085"/>
              <a:gd name="connsiteX0" fmla="*/ 342900 w 342900"/>
              <a:gd name="connsiteY0" fmla="*/ 0 h 199085"/>
              <a:gd name="connsiteX1" fmla="*/ 273050 w 342900"/>
              <a:gd name="connsiteY1" fmla="*/ 146050 h 199085"/>
              <a:gd name="connsiteX2" fmla="*/ 0 w 342900"/>
              <a:gd name="connsiteY2" fmla="*/ 193675 h 199085"/>
              <a:gd name="connsiteX0" fmla="*/ 342900 w 342900"/>
              <a:gd name="connsiteY0" fmla="*/ 0 h 201100"/>
              <a:gd name="connsiteX1" fmla="*/ 242094 w 342900"/>
              <a:gd name="connsiteY1" fmla="*/ 160338 h 201100"/>
              <a:gd name="connsiteX2" fmla="*/ 0 w 342900"/>
              <a:gd name="connsiteY2" fmla="*/ 193675 h 201100"/>
              <a:gd name="connsiteX0" fmla="*/ 352425 w 352425"/>
              <a:gd name="connsiteY0" fmla="*/ 0 h 199183"/>
              <a:gd name="connsiteX1" fmla="*/ 251619 w 352425"/>
              <a:gd name="connsiteY1" fmla="*/ 160338 h 199183"/>
              <a:gd name="connsiteX2" fmla="*/ 0 w 352425"/>
              <a:gd name="connsiteY2" fmla="*/ 191294 h 199183"/>
              <a:gd name="connsiteX0" fmla="*/ 352425 w 352425"/>
              <a:gd name="connsiteY0" fmla="*/ 0 h 199183"/>
              <a:gd name="connsiteX1" fmla="*/ 251619 w 352425"/>
              <a:gd name="connsiteY1" fmla="*/ 160338 h 199183"/>
              <a:gd name="connsiteX2" fmla="*/ 0 w 352425"/>
              <a:gd name="connsiteY2" fmla="*/ 191294 h 199183"/>
            </a:gdLst>
            <a:ahLst/>
            <a:cxnLst>
              <a:cxn ang="0">
                <a:pos x="connsiteX0" y="connsiteY0"/>
              </a:cxn>
              <a:cxn ang="0">
                <a:pos x="connsiteX1" y="connsiteY1"/>
              </a:cxn>
              <a:cxn ang="0">
                <a:pos x="connsiteX2" y="connsiteY2"/>
              </a:cxn>
            </a:cxnLst>
            <a:rect l="l" t="t" r="r" b="b"/>
            <a:pathLst>
              <a:path w="352425" h="199183">
                <a:moveTo>
                  <a:pt x="352425" y="0"/>
                </a:moveTo>
                <a:cubicBezTo>
                  <a:pt x="335756" y="98160"/>
                  <a:pt x="316706" y="126471"/>
                  <a:pt x="251619" y="160338"/>
                </a:cubicBezTo>
                <a:cubicBezTo>
                  <a:pt x="186532" y="194205"/>
                  <a:pt x="137319" y="209815"/>
                  <a:pt x="0" y="191294"/>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203" name="Graphic 202">
            <a:extLst>
              <a:ext uri="{FF2B5EF4-FFF2-40B4-BE49-F238E27FC236}">
                <a16:creationId xmlns:a16="http://schemas.microsoft.com/office/drawing/2014/main" id="{855E679E-16E4-4073-9F7C-4D6753FFB5CA}"/>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7295450" y="2614407"/>
            <a:ext cx="375376" cy="375376"/>
          </a:xfrm>
          <a:prstGeom prst="rect">
            <a:avLst/>
          </a:prstGeom>
        </p:spPr>
      </p:pic>
      <p:pic>
        <p:nvPicPr>
          <p:cNvPr id="204" name="Graphic 203">
            <a:extLst>
              <a:ext uri="{FF2B5EF4-FFF2-40B4-BE49-F238E27FC236}">
                <a16:creationId xmlns:a16="http://schemas.microsoft.com/office/drawing/2014/main" id="{BC5B33F0-407C-426D-ACE2-E33103DCC173}"/>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7173822" y="2018497"/>
            <a:ext cx="375376" cy="375376"/>
          </a:xfrm>
          <a:prstGeom prst="rect">
            <a:avLst/>
          </a:prstGeom>
        </p:spPr>
      </p:pic>
      <p:pic>
        <p:nvPicPr>
          <p:cNvPr id="197" name="Graphic 196">
            <a:extLst>
              <a:ext uri="{FF2B5EF4-FFF2-40B4-BE49-F238E27FC236}">
                <a16:creationId xmlns:a16="http://schemas.microsoft.com/office/drawing/2014/main" id="{57B8009A-B206-4EF5-9396-F9E62C8E54DE}"/>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9052552" y="1287839"/>
            <a:ext cx="375376" cy="375376"/>
          </a:xfrm>
          <a:prstGeom prst="rect">
            <a:avLst/>
          </a:prstGeom>
        </p:spPr>
      </p:pic>
      <p:pic>
        <p:nvPicPr>
          <p:cNvPr id="239" name="Graphic 238">
            <a:extLst>
              <a:ext uri="{FF2B5EF4-FFF2-40B4-BE49-F238E27FC236}">
                <a16:creationId xmlns:a16="http://schemas.microsoft.com/office/drawing/2014/main" id="{64E1D123-B057-4E3E-BAA6-002EA8C9148C}"/>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8444590" y="1654008"/>
            <a:ext cx="375376" cy="375376"/>
          </a:xfrm>
          <a:prstGeom prst="rect">
            <a:avLst/>
          </a:prstGeom>
        </p:spPr>
      </p:pic>
      <p:sp>
        <p:nvSpPr>
          <p:cNvPr id="26" name="Freeform: Shape 25">
            <a:extLst>
              <a:ext uri="{FF2B5EF4-FFF2-40B4-BE49-F238E27FC236}">
                <a16:creationId xmlns:a16="http://schemas.microsoft.com/office/drawing/2014/main" id="{4C3B0436-05F3-49FA-9864-842B21E98679}"/>
              </a:ext>
            </a:extLst>
          </p:cNvPr>
          <p:cNvSpPr/>
          <p:nvPr/>
        </p:nvSpPr>
        <p:spPr>
          <a:xfrm>
            <a:off x="9374246" y="1905875"/>
            <a:ext cx="842212" cy="94819"/>
          </a:xfrm>
          <a:custGeom>
            <a:avLst/>
            <a:gdLst>
              <a:gd name="connsiteX0" fmla="*/ 0 w 719137"/>
              <a:gd name="connsiteY0" fmla="*/ 80963 h 80963"/>
              <a:gd name="connsiteX1" fmla="*/ 219075 w 719137"/>
              <a:gd name="connsiteY1" fmla="*/ 14288 h 80963"/>
              <a:gd name="connsiteX2" fmla="*/ 719137 w 719137"/>
              <a:gd name="connsiteY2" fmla="*/ 0 h 80963"/>
            </a:gdLst>
            <a:ahLst/>
            <a:cxnLst>
              <a:cxn ang="0">
                <a:pos x="connsiteX0" y="connsiteY0"/>
              </a:cxn>
              <a:cxn ang="0">
                <a:pos x="connsiteX1" y="connsiteY1"/>
              </a:cxn>
              <a:cxn ang="0">
                <a:pos x="connsiteX2" y="connsiteY2"/>
              </a:cxn>
            </a:cxnLst>
            <a:rect l="l" t="t" r="r" b="b"/>
            <a:pathLst>
              <a:path w="719137" h="80963">
                <a:moveTo>
                  <a:pt x="0" y="80963"/>
                </a:moveTo>
                <a:cubicBezTo>
                  <a:pt x="49609" y="54372"/>
                  <a:pt x="99219" y="27782"/>
                  <a:pt x="219075" y="14288"/>
                </a:cubicBezTo>
                <a:cubicBezTo>
                  <a:pt x="338931" y="794"/>
                  <a:pt x="529034" y="397"/>
                  <a:pt x="719137" y="0"/>
                </a:cubicBezTo>
              </a:path>
            </a:pathLst>
          </a:custGeom>
          <a:no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198" name="Graphic 197">
            <a:extLst>
              <a:ext uri="{FF2B5EF4-FFF2-40B4-BE49-F238E27FC236}">
                <a16:creationId xmlns:a16="http://schemas.microsoft.com/office/drawing/2014/main" id="{71B9A4CA-4A96-4B68-95A4-6769DD82D665}"/>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9382614" y="1759283"/>
            <a:ext cx="375376" cy="375376"/>
          </a:xfrm>
          <a:prstGeom prst="rect">
            <a:avLst/>
          </a:prstGeom>
        </p:spPr>
      </p:pic>
      <p:pic>
        <p:nvPicPr>
          <p:cNvPr id="212" name="Graphic 211">
            <a:extLst>
              <a:ext uri="{FF2B5EF4-FFF2-40B4-BE49-F238E27FC236}">
                <a16:creationId xmlns:a16="http://schemas.microsoft.com/office/drawing/2014/main" id="{4FD3FBD9-1515-421B-AB68-C9CA47A1F41E}"/>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10317370" y="3386849"/>
            <a:ext cx="375376" cy="375376"/>
          </a:xfrm>
          <a:prstGeom prst="rect">
            <a:avLst/>
          </a:prstGeom>
        </p:spPr>
      </p:pic>
      <p:pic>
        <p:nvPicPr>
          <p:cNvPr id="213" name="Graphic 212">
            <a:extLst>
              <a:ext uri="{FF2B5EF4-FFF2-40B4-BE49-F238E27FC236}">
                <a16:creationId xmlns:a16="http://schemas.microsoft.com/office/drawing/2014/main" id="{A35AB928-BF0D-4CF8-A8EE-A874A6EDD0EC}"/>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10300470" y="3885603"/>
            <a:ext cx="375376" cy="375376"/>
          </a:xfrm>
          <a:prstGeom prst="rect">
            <a:avLst/>
          </a:prstGeom>
        </p:spPr>
      </p:pic>
      <p:pic>
        <p:nvPicPr>
          <p:cNvPr id="215" name="Graphic 214">
            <a:extLst>
              <a:ext uri="{FF2B5EF4-FFF2-40B4-BE49-F238E27FC236}">
                <a16:creationId xmlns:a16="http://schemas.microsoft.com/office/drawing/2014/main" id="{6E9881FC-5EA4-4F2E-901B-B1F00F4BFD35}"/>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8844584" y="3178282"/>
            <a:ext cx="375376" cy="375376"/>
          </a:xfrm>
          <a:prstGeom prst="rect">
            <a:avLst/>
          </a:prstGeom>
        </p:spPr>
      </p:pic>
      <p:pic>
        <p:nvPicPr>
          <p:cNvPr id="217" name="Graphic 216">
            <a:extLst>
              <a:ext uri="{FF2B5EF4-FFF2-40B4-BE49-F238E27FC236}">
                <a16:creationId xmlns:a16="http://schemas.microsoft.com/office/drawing/2014/main" id="{D28EE8C0-FAD4-41B0-BD41-8AF0298BB852}"/>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9258105" y="3415149"/>
            <a:ext cx="375376" cy="375376"/>
          </a:xfrm>
          <a:prstGeom prst="rect">
            <a:avLst/>
          </a:prstGeom>
        </p:spPr>
      </p:pic>
      <p:pic>
        <p:nvPicPr>
          <p:cNvPr id="207" name="Graphic 206">
            <a:extLst>
              <a:ext uri="{FF2B5EF4-FFF2-40B4-BE49-F238E27FC236}">
                <a16:creationId xmlns:a16="http://schemas.microsoft.com/office/drawing/2014/main" id="{A2B8E016-260E-499B-B9C4-BC3DEBC3E0CC}"/>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9259025" y="5021699"/>
            <a:ext cx="375376" cy="375376"/>
          </a:xfrm>
          <a:prstGeom prst="rect">
            <a:avLst/>
          </a:prstGeom>
        </p:spPr>
      </p:pic>
      <p:pic>
        <p:nvPicPr>
          <p:cNvPr id="209" name="Graphic 208">
            <a:extLst>
              <a:ext uri="{FF2B5EF4-FFF2-40B4-BE49-F238E27FC236}">
                <a16:creationId xmlns:a16="http://schemas.microsoft.com/office/drawing/2014/main" id="{BEDFBE13-DF37-4290-8720-43DCA9D0F8FC}"/>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9666240" y="5113561"/>
            <a:ext cx="375376" cy="375376"/>
          </a:xfrm>
          <a:prstGeom prst="rect">
            <a:avLst/>
          </a:prstGeom>
        </p:spPr>
      </p:pic>
      <p:sp>
        <p:nvSpPr>
          <p:cNvPr id="137" name="Freeform 9">
            <a:extLst>
              <a:ext uri="{FF2B5EF4-FFF2-40B4-BE49-F238E27FC236}">
                <a16:creationId xmlns:a16="http://schemas.microsoft.com/office/drawing/2014/main" id="{D928E96D-C5CE-4E2B-B24D-937BCA888543}"/>
              </a:ext>
            </a:extLst>
          </p:cNvPr>
          <p:cNvSpPr>
            <a:spLocks noEditPoints="1"/>
          </p:cNvSpPr>
          <p:nvPr/>
        </p:nvSpPr>
        <p:spPr bwMode="auto">
          <a:xfrm>
            <a:off x="6593964" y="5002593"/>
            <a:ext cx="320521" cy="219737"/>
          </a:xfrm>
          <a:custGeom>
            <a:avLst/>
            <a:gdLst>
              <a:gd name="T0" fmla="*/ 0 w 151"/>
              <a:gd name="T1" fmla="*/ 43 h 126"/>
              <a:gd name="T2" fmla="*/ 75 w 151"/>
              <a:gd name="T3" fmla="*/ 10 h 126"/>
              <a:gd name="T4" fmla="*/ 151 w 151"/>
              <a:gd name="T5" fmla="*/ 43 h 126"/>
              <a:gd name="T6" fmla="*/ 16 w 151"/>
              <a:gd name="T7" fmla="*/ 66 h 126"/>
              <a:gd name="T8" fmla="*/ 20 w 151"/>
              <a:gd name="T9" fmla="*/ 71 h 126"/>
              <a:gd name="T10" fmla="*/ 23 w 151"/>
              <a:gd name="T11" fmla="*/ 116 h 126"/>
              <a:gd name="T12" fmla="*/ 20 w 151"/>
              <a:gd name="T13" fmla="*/ 120 h 126"/>
              <a:gd name="T14" fmla="*/ 16 w 151"/>
              <a:gd name="T15" fmla="*/ 126 h 126"/>
              <a:gd name="T16" fmla="*/ 137 w 151"/>
              <a:gd name="T17" fmla="*/ 120 h 126"/>
              <a:gd name="T18" fmla="*/ 133 w 151"/>
              <a:gd name="T19" fmla="*/ 116 h 126"/>
              <a:gd name="T20" fmla="*/ 130 w 151"/>
              <a:gd name="T21" fmla="*/ 71 h 126"/>
              <a:gd name="T22" fmla="*/ 133 w 151"/>
              <a:gd name="T23" fmla="*/ 66 h 126"/>
              <a:gd name="T24" fmla="*/ 137 w 151"/>
              <a:gd name="T25" fmla="*/ 60 h 126"/>
              <a:gd name="T26" fmla="*/ 16 w 151"/>
              <a:gd name="T27" fmla="*/ 66 h 126"/>
              <a:gd name="T28" fmla="*/ 109 w 151"/>
              <a:gd name="T29" fmla="*/ 71 h 126"/>
              <a:gd name="T30" fmla="*/ 114 w 151"/>
              <a:gd name="T31" fmla="*/ 66 h 126"/>
              <a:gd name="T32" fmla="*/ 117 w 151"/>
              <a:gd name="T33" fmla="*/ 71 h 126"/>
              <a:gd name="T34" fmla="*/ 114 w 151"/>
              <a:gd name="T35" fmla="*/ 116 h 126"/>
              <a:gd name="T36" fmla="*/ 109 w 151"/>
              <a:gd name="T37" fmla="*/ 120 h 126"/>
              <a:gd name="T38" fmla="*/ 106 w 151"/>
              <a:gd name="T39" fmla="*/ 116 h 126"/>
              <a:gd name="T40" fmla="*/ 83 w 151"/>
              <a:gd name="T41" fmla="*/ 71 h 126"/>
              <a:gd name="T42" fmla="*/ 86 w 151"/>
              <a:gd name="T43" fmla="*/ 66 h 126"/>
              <a:gd name="T44" fmla="*/ 90 w 151"/>
              <a:gd name="T45" fmla="*/ 71 h 126"/>
              <a:gd name="T46" fmla="*/ 93 w 151"/>
              <a:gd name="T47" fmla="*/ 116 h 126"/>
              <a:gd name="T48" fmla="*/ 90 w 151"/>
              <a:gd name="T49" fmla="*/ 120 h 126"/>
              <a:gd name="T50" fmla="*/ 86 w 151"/>
              <a:gd name="T51" fmla="*/ 116 h 126"/>
              <a:gd name="T52" fmla="*/ 83 w 151"/>
              <a:gd name="T53" fmla="*/ 71 h 126"/>
              <a:gd name="T54" fmla="*/ 62 w 151"/>
              <a:gd name="T55" fmla="*/ 71 h 126"/>
              <a:gd name="T56" fmla="*/ 67 w 151"/>
              <a:gd name="T57" fmla="*/ 66 h 126"/>
              <a:gd name="T58" fmla="*/ 70 w 151"/>
              <a:gd name="T59" fmla="*/ 71 h 126"/>
              <a:gd name="T60" fmla="*/ 67 w 151"/>
              <a:gd name="T61" fmla="*/ 116 h 126"/>
              <a:gd name="T62" fmla="*/ 62 w 151"/>
              <a:gd name="T63" fmla="*/ 120 h 126"/>
              <a:gd name="T64" fmla="*/ 59 w 151"/>
              <a:gd name="T65" fmla="*/ 116 h 126"/>
              <a:gd name="T66" fmla="*/ 36 w 151"/>
              <a:gd name="T67" fmla="*/ 71 h 126"/>
              <a:gd name="T68" fmla="*/ 39 w 151"/>
              <a:gd name="T69" fmla="*/ 66 h 126"/>
              <a:gd name="T70" fmla="*/ 43 w 151"/>
              <a:gd name="T71" fmla="*/ 71 h 126"/>
              <a:gd name="T72" fmla="*/ 46 w 151"/>
              <a:gd name="T73" fmla="*/ 116 h 126"/>
              <a:gd name="T74" fmla="*/ 43 w 151"/>
              <a:gd name="T75" fmla="*/ 120 h 126"/>
              <a:gd name="T76" fmla="*/ 39 w 151"/>
              <a:gd name="T77" fmla="*/ 116 h 126"/>
              <a:gd name="T78" fmla="*/ 36 w 151"/>
              <a:gd name="T79" fmla="*/ 71 h 126"/>
              <a:gd name="T80" fmla="*/ 22 w 151"/>
              <a:gd name="T81" fmla="*/ 45 h 126"/>
              <a:gd name="T82" fmla="*/ 131 w 151"/>
              <a:gd name="T83" fmla="*/ 55 h 126"/>
              <a:gd name="T84" fmla="*/ 75 w 151"/>
              <a:gd name="T85" fmla="*/ 16 h 126"/>
              <a:gd name="T86" fmla="*/ 62 w 151"/>
              <a:gd name="T87" fmla="*/ 37 h 126"/>
              <a:gd name="T88" fmla="*/ 88 w 151"/>
              <a:gd name="T89" fmla="*/ 3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126">
                <a:moveTo>
                  <a:pt x="75" y="0"/>
                </a:moveTo>
                <a:cubicBezTo>
                  <a:pt x="0" y="43"/>
                  <a:pt x="0" y="43"/>
                  <a:pt x="0" y="43"/>
                </a:cubicBezTo>
                <a:cubicBezTo>
                  <a:pt x="4" y="49"/>
                  <a:pt x="4" y="49"/>
                  <a:pt x="4" y="49"/>
                </a:cubicBezTo>
                <a:cubicBezTo>
                  <a:pt x="75" y="10"/>
                  <a:pt x="75" y="10"/>
                  <a:pt x="75" y="10"/>
                </a:cubicBezTo>
                <a:cubicBezTo>
                  <a:pt x="146" y="49"/>
                  <a:pt x="146" y="49"/>
                  <a:pt x="146" y="49"/>
                </a:cubicBezTo>
                <a:cubicBezTo>
                  <a:pt x="151" y="43"/>
                  <a:pt x="151" y="43"/>
                  <a:pt x="151" y="43"/>
                </a:cubicBezTo>
                <a:lnTo>
                  <a:pt x="75" y="0"/>
                </a:lnTo>
                <a:close/>
                <a:moveTo>
                  <a:pt x="16" y="66"/>
                </a:moveTo>
                <a:cubicBezTo>
                  <a:pt x="20" y="66"/>
                  <a:pt x="20" y="66"/>
                  <a:pt x="20" y="66"/>
                </a:cubicBezTo>
                <a:cubicBezTo>
                  <a:pt x="20" y="71"/>
                  <a:pt x="20" y="71"/>
                  <a:pt x="20" y="71"/>
                </a:cubicBezTo>
                <a:cubicBezTo>
                  <a:pt x="23" y="71"/>
                  <a:pt x="23" y="71"/>
                  <a:pt x="23" y="71"/>
                </a:cubicBezTo>
                <a:cubicBezTo>
                  <a:pt x="23" y="116"/>
                  <a:pt x="23" y="116"/>
                  <a:pt x="23" y="116"/>
                </a:cubicBezTo>
                <a:cubicBezTo>
                  <a:pt x="20" y="116"/>
                  <a:pt x="20" y="116"/>
                  <a:pt x="20" y="116"/>
                </a:cubicBezTo>
                <a:cubicBezTo>
                  <a:pt x="20" y="120"/>
                  <a:pt x="20" y="120"/>
                  <a:pt x="20" y="120"/>
                </a:cubicBezTo>
                <a:cubicBezTo>
                  <a:pt x="16" y="120"/>
                  <a:pt x="16" y="120"/>
                  <a:pt x="16" y="120"/>
                </a:cubicBezTo>
                <a:cubicBezTo>
                  <a:pt x="16" y="126"/>
                  <a:pt x="16" y="126"/>
                  <a:pt x="16" y="126"/>
                </a:cubicBezTo>
                <a:cubicBezTo>
                  <a:pt x="137" y="126"/>
                  <a:pt x="137" y="126"/>
                  <a:pt x="137" y="126"/>
                </a:cubicBezTo>
                <a:cubicBezTo>
                  <a:pt x="137" y="120"/>
                  <a:pt x="137" y="120"/>
                  <a:pt x="137" y="120"/>
                </a:cubicBezTo>
                <a:cubicBezTo>
                  <a:pt x="133" y="120"/>
                  <a:pt x="133" y="120"/>
                  <a:pt x="133" y="120"/>
                </a:cubicBezTo>
                <a:cubicBezTo>
                  <a:pt x="133" y="116"/>
                  <a:pt x="133" y="116"/>
                  <a:pt x="133" y="116"/>
                </a:cubicBezTo>
                <a:cubicBezTo>
                  <a:pt x="130" y="116"/>
                  <a:pt x="130" y="116"/>
                  <a:pt x="130" y="116"/>
                </a:cubicBezTo>
                <a:cubicBezTo>
                  <a:pt x="130" y="71"/>
                  <a:pt x="130" y="71"/>
                  <a:pt x="130" y="71"/>
                </a:cubicBezTo>
                <a:cubicBezTo>
                  <a:pt x="133" y="71"/>
                  <a:pt x="133" y="71"/>
                  <a:pt x="133" y="71"/>
                </a:cubicBezTo>
                <a:cubicBezTo>
                  <a:pt x="133" y="66"/>
                  <a:pt x="133" y="66"/>
                  <a:pt x="133" y="66"/>
                </a:cubicBezTo>
                <a:cubicBezTo>
                  <a:pt x="137" y="66"/>
                  <a:pt x="137" y="66"/>
                  <a:pt x="137" y="66"/>
                </a:cubicBezTo>
                <a:cubicBezTo>
                  <a:pt x="137" y="60"/>
                  <a:pt x="137" y="60"/>
                  <a:pt x="137" y="60"/>
                </a:cubicBezTo>
                <a:cubicBezTo>
                  <a:pt x="16" y="60"/>
                  <a:pt x="16" y="60"/>
                  <a:pt x="16" y="60"/>
                </a:cubicBezTo>
                <a:lnTo>
                  <a:pt x="16" y="66"/>
                </a:lnTo>
                <a:close/>
                <a:moveTo>
                  <a:pt x="106" y="71"/>
                </a:moveTo>
                <a:cubicBezTo>
                  <a:pt x="109" y="71"/>
                  <a:pt x="109" y="71"/>
                  <a:pt x="109" y="71"/>
                </a:cubicBezTo>
                <a:cubicBezTo>
                  <a:pt x="109" y="66"/>
                  <a:pt x="109" y="66"/>
                  <a:pt x="109" y="66"/>
                </a:cubicBezTo>
                <a:cubicBezTo>
                  <a:pt x="114" y="66"/>
                  <a:pt x="114" y="66"/>
                  <a:pt x="114" y="66"/>
                </a:cubicBezTo>
                <a:cubicBezTo>
                  <a:pt x="114" y="71"/>
                  <a:pt x="114" y="71"/>
                  <a:pt x="114" y="71"/>
                </a:cubicBezTo>
                <a:cubicBezTo>
                  <a:pt x="117" y="71"/>
                  <a:pt x="117" y="71"/>
                  <a:pt x="117" y="71"/>
                </a:cubicBezTo>
                <a:cubicBezTo>
                  <a:pt x="117" y="116"/>
                  <a:pt x="117" y="116"/>
                  <a:pt x="117" y="116"/>
                </a:cubicBezTo>
                <a:cubicBezTo>
                  <a:pt x="114" y="116"/>
                  <a:pt x="114" y="116"/>
                  <a:pt x="114" y="116"/>
                </a:cubicBezTo>
                <a:cubicBezTo>
                  <a:pt x="114" y="120"/>
                  <a:pt x="114" y="120"/>
                  <a:pt x="114" y="120"/>
                </a:cubicBezTo>
                <a:cubicBezTo>
                  <a:pt x="109" y="120"/>
                  <a:pt x="109" y="120"/>
                  <a:pt x="109" y="120"/>
                </a:cubicBezTo>
                <a:cubicBezTo>
                  <a:pt x="109" y="116"/>
                  <a:pt x="109" y="116"/>
                  <a:pt x="109" y="116"/>
                </a:cubicBezTo>
                <a:cubicBezTo>
                  <a:pt x="106" y="116"/>
                  <a:pt x="106" y="116"/>
                  <a:pt x="106" y="116"/>
                </a:cubicBezTo>
                <a:lnTo>
                  <a:pt x="106" y="71"/>
                </a:lnTo>
                <a:close/>
                <a:moveTo>
                  <a:pt x="83" y="71"/>
                </a:moveTo>
                <a:cubicBezTo>
                  <a:pt x="86" y="71"/>
                  <a:pt x="86" y="71"/>
                  <a:pt x="86" y="71"/>
                </a:cubicBezTo>
                <a:cubicBezTo>
                  <a:pt x="86" y="66"/>
                  <a:pt x="86" y="66"/>
                  <a:pt x="86" y="66"/>
                </a:cubicBezTo>
                <a:cubicBezTo>
                  <a:pt x="90" y="66"/>
                  <a:pt x="90" y="66"/>
                  <a:pt x="90" y="66"/>
                </a:cubicBezTo>
                <a:cubicBezTo>
                  <a:pt x="90" y="71"/>
                  <a:pt x="90" y="71"/>
                  <a:pt x="90" y="71"/>
                </a:cubicBezTo>
                <a:cubicBezTo>
                  <a:pt x="93" y="71"/>
                  <a:pt x="93" y="71"/>
                  <a:pt x="93" y="71"/>
                </a:cubicBezTo>
                <a:cubicBezTo>
                  <a:pt x="93" y="116"/>
                  <a:pt x="93" y="116"/>
                  <a:pt x="93" y="116"/>
                </a:cubicBezTo>
                <a:cubicBezTo>
                  <a:pt x="90" y="116"/>
                  <a:pt x="90" y="116"/>
                  <a:pt x="90" y="116"/>
                </a:cubicBezTo>
                <a:cubicBezTo>
                  <a:pt x="90" y="120"/>
                  <a:pt x="90" y="120"/>
                  <a:pt x="90" y="120"/>
                </a:cubicBezTo>
                <a:cubicBezTo>
                  <a:pt x="86" y="120"/>
                  <a:pt x="86" y="120"/>
                  <a:pt x="86" y="120"/>
                </a:cubicBezTo>
                <a:cubicBezTo>
                  <a:pt x="86" y="116"/>
                  <a:pt x="86" y="116"/>
                  <a:pt x="86" y="116"/>
                </a:cubicBezTo>
                <a:cubicBezTo>
                  <a:pt x="83" y="116"/>
                  <a:pt x="83" y="116"/>
                  <a:pt x="83" y="116"/>
                </a:cubicBezTo>
                <a:lnTo>
                  <a:pt x="83" y="71"/>
                </a:lnTo>
                <a:close/>
                <a:moveTo>
                  <a:pt x="59" y="71"/>
                </a:moveTo>
                <a:cubicBezTo>
                  <a:pt x="62" y="71"/>
                  <a:pt x="62" y="71"/>
                  <a:pt x="62" y="71"/>
                </a:cubicBezTo>
                <a:cubicBezTo>
                  <a:pt x="62" y="66"/>
                  <a:pt x="62" y="66"/>
                  <a:pt x="62" y="66"/>
                </a:cubicBezTo>
                <a:cubicBezTo>
                  <a:pt x="67" y="66"/>
                  <a:pt x="67" y="66"/>
                  <a:pt x="67" y="66"/>
                </a:cubicBezTo>
                <a:cubicBezTo>
                  <a:pt x="67" y="71"/>
                  <a:pt x="67" y="71"/>
                  <a:pt x="67" y="71"/>
                </a:cubicBezTo>
                <a:cubicBezTo>
                  <a:pt x="70" y="71"/>
                  <a:pt x="70" y="71"/>
                  <a:pt x="70" y="71"/>
                </a:cubicBezTo>
                <a:cubicBezTo>
                  <a:pt x="70" y="116"/>
                  <a:pt x="70" y="116"/>
                  <a:pt x="70" y="116"/>
                </a:cubicBezTo>
                <a:cubicBezTo>
                  <a:pt x="67" y="116"/>
                  <a:pt x="67" y="116"/>
                  <a:pt x="67" y="116"/>
                </a:cubicBezTo>
                <a:cubicBezTo>
                  <a:pt x="67" y="120"/>
                  <a:pt x="67" y="120"/>
                  <a:pt x="67" y="120"/>
                </a:cubicBezTo>
                <a:cubicBezTo>
                  <a:pt x="62" y="120"/>
                  <a:pt x="62" y="120"/>
                  <a:pt x="62" y="120"/>
                </a:cubicBezTo>
                <a:cubicBezTo>
                  <a:pt x="62" y="116"/>
                  <a:pt x="62" y="116"/>
                  <a:pt x="62" y="116"/>
                </a:cubicBezTo>
                <a:cubicBezTo>
                  <a:pt x="59" y="116"/>
                  <a:pt x="59" y="116"/>
                  <a:pt x="59" y="116"/>
                </a:cubicBezTo>
                <a:lnTo>
                  <a:pt x="59" y="71"/>
                </a:lnTo>
                <a:close/>
                <a:moveTo>
                  <a:pt x="36" y="71"/>
                </a:moveTo>
                <a:cubicBezTo>
                  <a:pt x="39" y="71"/>
                  <a:pt x="39" y="71"/>
                  <a:pt x="39" y="71"/>
                </a:cubicBezTo>
                <a:cubicBezTo>
                  <a:pt x="39" y="66"/>
                  <a:pt x="39" y="66"/>
                  <a:pt x="39" y="66"/>
                </a:cubicBezTo>
                <a:cubicBezTo>
                  <a:pt x="43" y="66"/>
                  <a:pt x="43" y="66"/>
                  <a:pt x="43" y="66"/>
                </a:cubicBezTo>
                <a:cubicBezTo>
                  <a:pt x="43" y="71"/>
                  <a:pt x="43" y="71"/>
                  <a:pt x="43" y="71"/>
                </a:cubicBezTo>
                <a:cubicBezTo>
                  <a:pt x="46" y="71"/>
                  <a:pt x="46" y="71"/>
                  <a:pt x="46" y="71"/>
                </a:cubicBezTo>
                <a:cubicBezTo>
                  <a:pt x="46" y="116"/>
                  <a:pt x="46" y="116"/>
                  <a:pt x="46" y="116"/>
                </a:cubicBezTo>
                <a:cubicBezTo>
                  <a:pt x="43" y="116"/>
                  <a:pt x="43" y="116"/>
                  <a:pt x="43" y="116"/>
                </a:cubicBezTo>
                <a:cubicBezTo>
                  <a:pt x="43" y="120"/>
                  <a:pt x="43" y="120"/>
                  <a:pt x="43" y="120"/>
                </a:cubicBezTo>
                <a:cubicBezTo>
                  <a:pt x="39" y="120"/>
                  <a:pt x="39" y="120"/>
                  <a:pt x="39" y="120"/>
                </a:cubicBezTo>
                <a:cubicBezTo>
                  <a:pt x="39" y="116"/>
                  <a:pt x="39" y="116"/>
                  <a:pt x="39" y="116"/>
                </a:cubicBezTo>
                <a:cubicBezTo>
                  <a:pt x="36" y="116"/>
                  <a:pt x="36" y="116"/>
                  <a:pt x="36" y="116"/>
                </a:cubicBezTo>
                <a:lnTo>
                  <a:pt x="36" y="71"/>
                </a:lnTo>
                <a:close/>
                <a:moveTo>
                  <a:pt x="75" y="16"/>
                </a:moveTo>
                <a:cubicBezTo>
                  <a:pt x="22" y="45"/>
                  <a:pt x="22" y="45"/>
                  <a:pt x="22" y="45"/>
                </a:cubicBezTo>
                <a:cubicBezTo>
                  <a:pt x="22" y="55"/>
                  <a:pt x="22" y="55"/>
                  <a:pt x="22" y="55"/>
                </a:cubicBezTo>
                <a:cubicBezTo>
                  <a:pt x="131" y="55"/>
                  <a:pt x="131" y="55"/>
                  <a:pt x="131" y="55"/>
                </a:cubicBezTo>
                <a:cubicBezTo>
                  <a:pt x="131" y="46"/>
                  <a:pt x="131" y="46"/>
                  <a:pt x="131" y="46"/>
                </a:cubicBezTo>
                <a:lnTo>
                  <a:pt x="75" y="16"/>
                </a:lnTo>
                <a:close/>
                <a:moveTo>
                  <a:pt x="75" y="50"/>
                </a:moveTo>
                <a:cubicBezTo>
                  <a:pt x="68" y="50"/>
                  <a:pt x="62" y="44"/>
                  <a:pt x="62" y="37"/>
                </a:cubicBezTo>
                <a:cubicBezTo>
                  <a:pt x="62" y="30"/>
                  <a:pt x="68" y="24"/>
                  <a:pt x="75" y="24"/>
                </a:cubicBezTo>
                <a:cubicBezTo>
                  <a:pt x="82" y="24"/>
                  <a:pt x="88" y="30"/>
                  <a:pt x="88" y="37"/>
                </a:cubicBezTo>
                <a:cubicBezTo>
                  <a:pt x="88" y="44"/>
                  <a:pt x="82" y="50"/>
                  <a:pt x="75" y="50"/>
                </a:cubicBezTo>
                <a:close/>
              </a:path>
            </a:pathLst>
          </a:custGeom>
          <a:solidFill>
            <a:srgbClr val="911C39"/>
          </a:solidFill>
          <a:ln>
            <a:noFill/>
          </a:ln>
        </p:spPr>
        <p:txBody>
          <a:bodyPr vert="horz" wrap="square" lIns="86115" tIns="43058" rIns="86115" bIns="4305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000000"/>
              </a:solidFill>
              <a:effectLst/>
              <a:uLnTx/>
              <a:uFillTx/>
              <a:latin typeface="Arial"/>
              <a:ea typeface="+mn-ea"/>
              <a:cs typeface="+mn-cs"/>
            </a:endParaRPr>
          </a:p>
        </p:txBody>
      </p:sp>
      <p:pic>
        <p:nvPicPr>
          <p:cNvPr id="138" name="Graphic 137">
            <a:extLst>
              <a:ext uri="{FF2B5EF4-FFF2-40B4-BE49-F238E27FC236}">
                <a16:creationId xmlns:a16="http://schemas.microsoft.com/office/drawing/2014/main" id="{B759CCC6-4B42-4DFF-8E00-10B78B9E2A5C}"/>
              </a:ext>
            </a:extLst>
          </p:cNvPr>
          <p:cNvPicPr>
            <a:picLocks noChangeAspect="1"/>
          </p:cNvPicPr>
          <p:nvPr/>
        </p:nvPicPr>
        <p:blipFill>
          <a:blip r:embed="rId98">
            <a:extLst>
              <a:ext uri="{96DAC541-7B7A-43D3-8B79-37D633B846F1}">
                <asvg:svgBlip xmlns:asvg="http://schemas.microsoft.com/office/drawing/2016/SVG/main" r:embed="rId99"/>
              </a:ext>
            </a:extLst>
          </a:blip>
          <a:stretch>
            <a:fillRect/>
          </a:stretch>
        </p:blipFill>
        <p:spPr>
          <a:xfrm>
            <a:off x="6593963" y="5361489"/>
            <a:ext cx="320521" cy="320521"/>
          </a:xfrm>
          <a:prstGeom prst="rect">
            <a:avLst/>
          </a:prstGeom>
        </p:spPr>
      </p:pic>
      <p:grpSp>
        <p:nvGrpSpPr>
          <p:cNvPr id="139" name="Group 138">
            <a:extLst>
              <a:ext uri="{FF2B5EF4-FFF2-40B4-BE49-F238E27FC236}">
                <a16:creationId xmlns:a16="http://schemas.microsoft.com/office/drawing/2014/main" id="{F9CA32EE-057C-4B0B-931D-89D0115EBA77}"/>
              </a:ext>
            </a:extLst>
          </p:cNvPr>
          <p:cNvGrpSpPr/>
          <p:nvPr/>
        </p:nvGrpSpPr>
        <p:grpSpPr>
          <a:xfrm>
            <a:off x="6544427" y="5818260"/>
            <a:ext cx="419591" cy="320521"/>
            <a:chOff x="1502455" y="1487339"/>
            <a:chExt cx="532628" cy="406869"/>
          </a:xfrm>
        </p:grpSpPr>
        <p:pic>
          <p:nvPicPr>
            <p:cNvPr id="140" name="CustomIcon">
              <a:extLst>
                <a:ext uri="{FF2B5EF4-FFF2-40B4-BE49-F238E27FC236}">
                  <a16:creationId xmlns:a16="http://schemas.microsoft.com/office/drawing/2014/main" id="{42425DA3-F7B3-4820-B48B-C778BC6830BB}"/>
                </a:ext>
              </a:extLst>
            </p:cNvPr>
            <p:cNvPicPr>
              <a:picLocks noChangeAspect="1"/>
            </p:cNvPicPr>
            <p:nvPr>
              <p:custDataLst>
                <p:tags r:id="rId6"/>
              </p:custDataLst>
            </p:nvPr>
          </p:nvPicPr>
          <p:blipFill>
            <a:blip r:embed="rId100">
              <a:extLst>
                <a:ext uri="{96DAC541-7B7A-43D3-8B79-37D633B846F1}">
                  <asvg:svgBlip xmlns:asvg="http://schemas.microsoft.com/office/drawing/2016/SVG/main" r:embed="rId101"/>
                </a:ext>
              </a:extLst>
            </a:blip>
            <a:stretch>
              <a:fillRect/>
            </a:stretch>
          </p:blipFill>
          <p:spPr>
            <a:xfrm>
              <a:off x="1502455" y="1684333"/>
              <a:ext cx="209875" cy="209875"/>
            </a:xfrm>
            <a:prstGeom prst="rect">
              <a:avLst/>
            </a:prstGeom>
          </p:spPr>
        </p:pic>
        <p:pic>
          <p:nvPicPr>
            <p:cNvPr id="141" name="CustomIcon">
              <a:extLst>
                <a:ext uri="{FF2B5EF4-FFF2-40B4-BE49-F238E27FC236}">
                  <a16:creationId xmlns:a16="http://schemas.microsoft.com/office/drawing/2014/main" id="{3EEFBBF6-B4A3-48C9-900D-D9E8B55D9118}"/>
                </a:ext>
              </a:extLst>
            </p:cNvPr>
            <p:cNvPicPr>
              <a:picLocks noChangeAspect="1"/>
            </p:cNvPicPr>
            <p:nvPr>
              <p:custDataLst>
                <p:tags r:id="rId7"/>
              </p:custDataLst>
            </p:nvPr>
          </p:nvPicPr>
          <p:blipFill>
            <a:blip r:embed="rId100">
              <a:extLst>
                <a:ext uri="{96DAC541-7B7A-43D3-8B79-37D633B846F1}">
                  <asvg:svgBlip xmlns:asvg="http://schemas.microsoft.com/office/drawing/2016/SVG/main" r:embed="rId101"/>
                </a:ext>
              </a:extLst>
            </a:blip>
            <a:stretch>
              <a:fillRect/>
            </a:stretch>
          </p:blipFill>
          <p:spPr>
            <a:xfrm>
              <a:off x="1610039" y="1684333"/>
              <a:ext cx="209875" cy="209875"/>
            </a:xfrm>
            <a:prstGeom prst="rect">
              <a:avLst/>
            </a:prstGeom>
          </p:spPr>
        </p:pic>
        <p:pic>
          <p:nvPicPr>
            <p:cNvPr id="142" name="CustomIcon">
              <a:extLst>
                <a:ext uri="{FF2B5EF4-FFF2-40B4-BE49-F238E27FC236}">
                  <a16:creationId xmlns:a16="http://schemas.microsoft.com/office/drawing/2014/main" id="{9BA1205D-B6AA-4E88-BDDB-3B8474B4F1D1}"/>
                </a:ext>
              </a:extLst>
            </p:cNvPr>
            <p:cNvPicPr>
              <a:picLocks noChangeAspect="1"/>
            </p:cNvPicPr>
            <p:nvPr>
              <p:custDataLst>
                <p:tags r:id="rId8"/>
              </p:custDataLst>
            </p:nvPr>
          </p:nvPicPr>
          <p:blipFill>
            <a:blip r:embed="rId100">
              <a:extLst>
                <a:ext uri="{96DAC541-7B7A-43D3-8B79-37D633B846F1}">
                  <asvg:svgBlip xmlns:asvg="http://schemas.microsoft.com/office/drawing/2016/SVG/main" r:embed="rId101"/>
                </a:ext>
              </a:extLst>
            </a:blip>
            <a:stretch>
              <a:fillRect/>
            </a:stretch>
          </p:blipFill>
          <p:spPr>
            <a:xfrm>
              <a:off x="1717623" y="1684333"/>
              <a:ext cx="209875" cy="209875"/>
            </a:xfrm>
            <a:prstGeom prst="rect">
              <a:avLst/>
            </a:prstGeom>
          </p:spPr>
        </p:pic>
        <p:pic>
          <p:nvPicPr>
            <p:cNvPr id="143" name="CustomIcon">
              <a:extLst>
                <a:ext uri="{FF2B5EF4-FFF2-40B4-BE49-F238E27FC236}">
                  <a16:creationId xmlns:a16="http://schemas.microsoft.com/office/drawing/2014/main" id="{CC50EF26-09AF-4F96-A7F3-603610496E20}"/>
                </a:ext>
              </a:extLst>
            </p:cNvPr>
            <p:cNvPicPr>
              <a:picLocks noChangeAspect="1"/>
            </p:cNvPicPr>
            <p:nvPr>
              <p:custDataLst>
                <p:tags r:id="rId9"/>
              </p:custDataLst>
            </p:nvPr>
          </p:nvPicPr>
          <p:blipFill>
            <a:blip r:embed="rId100">
              <a:extLst>
                <a:ext uri="{96DAC541-7B7A-43D3-8B79-37D633B846F1}">
                  <asvg:svgBlip xmlns:asvg="http://schemas.microsoft.com/office/drawing/2016/SVG/main" r:embed="rId101"/>
                </a:ext>
              </a:extLst>
            </a:blip>
            <a:stretch>
              <a:fillRect/>
            </a:stretch>
          </p:blipFill>
          <p:spPr>
            <a:xfrm>
              <a:off x="1825208" y="1684333"/>
              <a:ext cx="209875" cy="209875"/>
            </a:xfrm>
            <a:prstGeom prst="rect">
              <a:avLst/>
            </a:prstGeom>
          </p:spPr>
        </p:pic>
        <p:pic>
          <p:nvPicPr>
            <p:cNvPr id="144" name="CustomIcon">
              <a:extLst>
                <a:ext uri="{FF2B5EF4-FFF2-40B4-BE49-F238E27FC236}">
                  <a16:creationId xmlns:a16="http://schemas.microsoft.com/office/drawing/2014/main" id="{9592F6EF-ADB7-44AB-98C1-B5B823007E59}"/>
                </a:ext>
              </a:extLst>
            </p:cNvPr>
            <p:cNvPicPr>
              <a:picLocks noChangeAspect="1"/>
            </p:cNvPicPr>
            <p:nvPr>
              <p:custDataLst>
                <p:tags r:id="rId10"/>
              </p:custDataLst>
            </p:nvPr>
          </p:nvPicPr>
          <p:blipFill>
            <a:blip r:embed="rId100">
              <a:extLst>
                <a:ext uri="{96DAC541-7B7A-43D3-8B79-37D633B846F1}">
                  <asvg:svgBlip xmlns:asvg="http://schemas.microsoft.com/office/drawing/2016/SVG/main" r:embed="rId101"/>
                </a:ext>
              </a:extLst>
            </a:blip>
            <a:stretch>
              <a:fillRect/>
            </a:stretch>
          </p:blipFill>
          <p:spPr>
            <a:xfrm>
              <a:off x="1556247" y="1487339"/>
              <a:ext cx="209875" cy="209875"/>
            </a:xfrm>
            <a:prstGeom prst="rect">
              <a:avLst/>
            </a:prstGeom>
          </p:spPr>
        </p:pic>
        <p:pic>
          <p:nvPicPr>
            <p:cNvPr id="145" name="CustomIcon">
              <a:extLst>
                <a:ext uri="{FF2B5EF4-FFF2-40B4-BE49-F238E27FC236}">
                  <a16:creationId xmlns:a16="http://schemas.microsoft.com/office/drawing/2014/main" id="{90A027BE-DF3B-47BD-9983-FE798CA70D20}"/>
                </a:ext>
              </a:extLst>
            </p:cNvPr>
            <p:cNvPicPr>
              <a:picLocks noChangeAspect="1"/>
            </p:cNvPicPr>
            <p:nvPr>
              <p:custDataLst>
                <p:tags r:id="rId11"/>
              </p:custDataLst>
            </p:nvPr>
          </p:nvPicPr>
          <p:blipFill>
            <a:blip r:embed="rId100">
              <a:extLst>
                <a:ext uri="{96DAC541-7B7A-43D3-8B79-37D633B846F1}">
                  <asvg:svgBlip xmlns:asvg="http://schemas.microsoft.com/office/drawing/2016/SVG/main" r:embed="rId101"/>
                </a:ext>
              </a:extLst>
            </a:blip>
            <a:stretch>
              <a:fillRect/>
            </a:stretch>
          </p:blipFill>
          <p:spPr>
            <a:xfrm>
              <a:off x="1663831" y="1487339"/>
              <a:ext cx="209875" cy="209875"/>
            </a:xfrm>
            <a:prstGeom prst="rect">
              <a:avLst/>
            </a:prstGeom>
          </p:spPr>
        </p:pic>
        <p:pic>
          <p:nvPicPr>
            <p:cNvPr id="146" name="CustomIcon">
              <a:extLst>
                <a:ext uri="{FF2B5EF4-FFF2-40B4-BE49-F238E27FC236}">
                  <a16:creationId xmlns:a16="http://schemas.microsoft.com/office/drawing/2014/main" id="{CAB3AF5A-58F6-4D52-84F7-6963C2248BE6}"/>
                </a:ext>
              </a:extLst>
            </p:cNvPr>
            <p:cNvPicPr>
              <a:picLocks noChangeAspect="1"/>
            </p:cNvPicPr>
            <p:nvPr>
              <p:custDataLst>
                <p:tags r:id="rId12"/>
              </p:custDataLst>
            </p:nvPr>
          </p:nvPicPr>
          <p:blipFill>
            <a:blip r:embed="rId100">
              <a:extLst>
                <a:ext uri="{96DAC541-7B7A-43D3-8B79-37D633B846F1}">
                  <asvg:svgBlip xmlns:asvg="http://schemas.microsoft.com/office/drawing/2016/SVG/main" r:embed="rId101"/>
                </a:ext>
              </a:extLst>
            </a:blip>
            <a:stretch>
              <a:fillRect/>
            </a:stretch>
          </p:blipFill>
          <p:spPr>
            <a:xfrm>
              <a:off x="1771415" y="1487339"/>
              <a:ext cx="209875" cy="209875"/>
            </a:xfrm>
            <a:prstGeom prst="rect">
              <a:avLst/>
            </a:prstGeom>
          </p:spPr>
        </p:pic>
      </p:grpSp>
      <p:sp>
        <p:nvSpPr>
          <p:cNvPr id="148" name="TextBox 147">
            <a:extLst>
              <a:ext uri="{FF2B5EF4-FFF2-40B4-BE49-F238E27FC236}">
                <a16:creationId xmlns:a16="http://schemas.microsoft.com/office/drawing/2014/main" id="{F0E8A097-B080-4D92-875A-7307ACEE2809}"/>
              </a:ext>
            </a:extLst>
          </p:cNvPr>
          <p:cNvSpPr txBox="1">
            <a:spLocks/>
          </p:cNvSpPr>
          <p:nvPr/>
        </p:nvSpPr>
        <p:spPr>
          <a:xfrm>
            <a:off x="6999611" y="5071882"/>
            <a:ext cx="2543460"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Partenaires de mise en œuvre</a:t>
            </a:r>
          </a:p>
        </p:txBody>
      </p:sp>
      <p:sp>
        <p:nvSpPr>
          <p:cNvPr id="149" name="TextBox 148">
            <a:extLst>
              <a:ext uri="{FF2B5EF4-FFF2-40B4-BE49-F238E27FC236}">
                <a16:creationId xmlns:a16="http://schemas.microsoft.com/office/drawing/2014/main" id="{DE85B11E-4E6D-4006-994F-BD281C165745}"/>
              </a:ext>
            </a:extLst>
          </p:cNvPr>
          <p:cNvSpPr txBox="1">
            <a:spLocks/>
          </p:cNvSpPr>
          <p:nvPr/>
        </p:nvSpPr>
        <p:spPr>
          <a:xfrm>
            <a:off x="6999611" y="5465400"/>
            <a:ext cx="2543460"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États membres</a:t>
            </a:r>
          </a:p>
        </p:txBody>
      </p:sp>
      <p:sp>
        <p:nvSpPr>
          <p:cNvPr id="150" name="TextBox 149">
            <a:extLst>
              <a:ext uri="{FF2B5EF4-FFF2-40B4-BE49-F238E27FC236}">
                <a16:creationId xmlns:a16="http://schemas.microsoft.com/office/drawing/2014/main" id="{B073509C-F474-464C-AC27-581C28F52E53}"/>
              </a:ext>
            </a:extLst>
          </p:cNvPr>
          <p:cNvSpPr txBox="1">
            <a:spLocks/>
          </p:cNvSpPr>
          <p:nvPr/>
        </p:nvSpPr>
        <p:spPr>
          <a:xfrm>
            <a:off x="6999611" y="5858918"/>
            <a:ext cx="2543460"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Population africaine</a:t>
            </a:r>
          </a:p>
        </p:txBody>
      </p:sp>
      <p:sp>
        <p:nvSpPr>
          <p:cNvPr id="169" name="TextBox 168">
            <a:extLst>
              <a:ext uri="{FF2B5EF4-FFF2-40B4-BE49-F238E27FC236}">
                <a16:creationId xmlns:a16="http://schemas.microsoft.com/office/drawing/2014/main" id="{A9C9D324-B789-4B30-B2EE-75043A3A3B3B}"/>
              </a:ext>
            </a:extLst>
          </p:cNvPr>
          <p:cNvSpPr txBox="1">
            <a:spLocks/>
          </p:cNvSpPr>
          <p:nvPr/>
        </p:nvSpPr>
        <p:spPr>
          <a:xfrm>
            <a:off x="654926" y="2095975"/>
            <a:ext cx="4965585" cy="83099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auto" latinLnBrk="0" hangingPunct="1">
              <a:lnSpc>
                <a:spcPct val="100000"/>
              </a:lnSpc>
              <a:spcBef>
                <a:spcPts val="0"/>
              </a:spcBef>
              <a:spcAft>
                <a:spcPts val="600"/>
              </a:spcAft>
              <a:buClr>
                <a:srgbClr val="002960"/>
              </a:buClr>
              <a:buSzPct val="100000"/>
              <a:buFontTx/>
              <a:buNone/>
              <a:tabLst/>
              <a:defRPr/>
            </a:pPr>
            <a:r>
              <a:rPr kumimoji="0" lang="en-ZA" sz="1800" b="0" i="0" u="none" strike="noStrike" kern="1200" cap="none" spc="0" normalizeH="0" baseline="0" noProof="0" dirty="0">
                <a:ln>
                  <a:noFill/>
                </a:ln>
                <a:solidFill>
                  <a:srgbClr val="000000"/>
                </a:solidFill>
                <a:effectLst/>
                <a:uLnTx/>
                <a:uFillTx/>
                <a:latin typeface="Arial"/>
                <a:ea typeface="+mn-ea"/>
                <a:cs typeface="+mn-cs"/>
              </a:rPr>
              <a:t>Nous nous trouvons à un moment crucial d’opportunité pour</a:t>
            </a:r>
            <a:r>
              <a:rPr kumimoji="0" lang="en-ZA" sz="1800" b="1" i="0" u="none" strike="noStrike" kern="1200" cap="none" spc="0" normalizeH="0" baseline="0" noProof="0" dirty="0">
                <a:ln>
                  <a:noFill/>
                </a:ln>
                <a:solidFill>
                  <a:srgbClr val="000000"/>
                </a:solidFill>
                <a:effectLst/>
                <a:uLnTx/>
                <a:uFillTx/>
                <a:latin typeface="Arial"/>
                <a:ea typeface="+mn-ea"/>
                <a:cs typeface="+mn-cs"/>
              </a:rPr>
              <a:t>fixer un nouveau cap pour la sécurité de la santé publique</a:t>
            </a:r>
            <a:r>
              <a:rPr kumimoji="0" lang="en-ZA" sz="1800" b="0" i="0" u="none" strike="noStrike" kern="1200" cap="none" spc="0" normalizeH="0" baseline="0" noProof="0" dirty="0">
                <a:ln>
                  <a:noFill/>
                </a:ln>
                <a:solidFill>
                  <a:srgbClr val="000000"/>
                </a:solidFill>
                <a:effectLst/>
                <a:uLnTx/>
                <a:uFillTx/>
                <a:latin typeface="Arial"/>
                <a:ea typeface="+mn-ea"/>
                <a:cs typeface="+mn-cs"/>
              </a:rPr>
              <a:t>sur le continent</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2" name="TextBox 171">
            <a:extLst>
              <a:ext uri="{FF2B5EF4-FFF2-40B4-BE49-F238E27FC236}">
                <a16:creationId xmlns:a16="http://schemas.microsoft.com/office/drawing/2014/main" id="{6EA57EFA-E37E-4B9A-A1FE-8E557906C93C}"/>
              </a:ext>
            </a:extLst>
          </p:cNvPr>
          <p:cNvSpPr txBox="1">
            <a:spLocks/>
          </p:cNvSpPr>
          <p:nvPr/>
        </p:nvSpPr>
        <p:spPr>
          <a:xfrm>
            <a:off x="654926" y="3434448"/>
            <a:ext cx="4965585" cy="110799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auto" latinLnBrk="0" hangingPunct="1">
              <a:lnSpc>
                <a:spcPct val="100000"/>
              </a:lnSpc>
              <a:spcBef>
                <a:spcPts val="0"/>
              </a:spcBef>
              <a:spcAft>
                <a:spcPts val="600"/>
              </a:spcAft>
              <a:buClr>
                <a:srgbClr val="002960"/>
              </a:buClr>
              <a:buSzPct val="100000"/>
              <a:buFontTx/>
              <a:buNone/>
              <a:tabLst/>
              <a:defRPr/>
            </a:pPr>
            <a:r>
              <a:rPr kumimoji="0" lang="en-ZA" sz="1800" b="0" i="0" u="none" strike="noStrike" kern="1200" cap="none" spc="0" normalizeH="0" baseline="0" noProof="0" dirty="0">
                <a:ln>
                  <a:noFill/>
                </a:ln>
                <a:solidFill>
                  <a:srgbClr val="000000"/>
                </a:solidFill>
                <a:effectLst/>
                <a:uLnTx/>
                <a:uFillTx/>
                <a:latin typeface="Arial"/>
                <a:ea typeface="+mn-ea"/>
                <a:cs typeface="+mn-cs"/>
              </a:rPr>
              <a:t>Les investissements dans les systèmes de santé publique par le biais de ce programme pourraient transformer leurs performances et leur résilience</a:t>
            </a:r>
            <a:r>
              <a:rPr kumimoji="0" lang="en-ZA" sz="1800" b="1" i="0" u="none" strike="noStrike" kern="1200" cap="none" spc="0" normalizeH="0" baseline="0" noProof="0" dirty="0">
                <a:ln>
                  <a:noFill/>
                </a:ln>
                <a:solidFill>
                  <a:srgbClr val="000000"/>
                </a:solidFill>
                <a:effectLst/>
                <a:uLnTx/>
                <a:uFillTx/>
                <a:latin typeface="Arial"/>
                <a:ea typeface="+mn-ea"/>
                <a:cs typeface="+mn-cs"/>
              </a:rPr>
              <a:t>au-delà de la pandémie actuelle</a:t>
            </a:r>
            <a:r>
              <a:rPr kumimoji="0" lang="en-ZA" sz="1800" b="0" i="0" u="none" strike="noStrike" kern="1200" cap="none" spc="0" normalizeH="0" baseline="0" noProof="0" dirty="0">
                <a:ln>
                  <a:noFill/>
                </a:ln>
                <a:solidFill>
                  <a:srgbClr val="000000"/>
                </a:solidFill>
                <a:effectLst/>
                <a:uLnTx/>
                <a:uFillTx/>
                <a:latin typeface="Arial"/>
                <a:ea typeface="+mn-ea"/>
                <a:cs typeface="+mn-cs"/>
              </a:rPr>
              <a:t>…</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8" name="Slide Number">
            <a:extLst>
              <a:ext uri="{FF2B5EF4-FFF2-40B4-BE49-F238E27FC236}">
                <a16:creationId xmlns:a16="http://schemas.microsoft.com/office/drawing/2014/main" id="{07EFF174-A413-490C-AC6D-C9EAD2DA56DD}"/>
              </a:ext>
            </a:extLst>
          </p:cNvPr>
          <p:cNvSpPr>
            <a:spLocks noChangeArrowheads="1"/>
          </p:cNvSpPr>
          <p:nvPr>
            <p:custDataLst>
              <p:tags r:id="rId3"/>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marL="0" marR="0" lvl="0" indent="0" algn="ct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7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610744"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pSp>
        <p:nvGrpSpPr>
          <p:cNvPr id="170" name="Group 4">
            <a:extLst>
              <a:ext uri="{FF2B5EF4-FFF2-40B4-BE49-F238E27FC236}">
                <a16:creationId xmlns:a16="http://schemas.microsoft.com/office/drawing/2014/main" id="{B2F8F5BC-9F55-4D49-9343-A0A51F42C80B}"/>
              </a:ext>
            </a:extLst>
          </p:cNvPr>
          <p:cNvGrpSpPr>
            <a:grpSpLocks noChangeAspect="1"/>
          </p:cNvGrpSpPr>
          <p:nvPr/>
        </p:nvGrpSpPr>
        <p:grpSpPr bwMode="ltGray">
          <a:xfrm>
            <a:off x="11320824" y="6417372"/>
            <a:ext cx="394856" cy="373880"/>
            <a:chOff x="-240" y="2757"/>
            <a:chExt cx="960" cy="909"/>
          </a:xfrm>
        </p:grpSpPr>
        <p:sp>
          <p:nvSpPr>
            <p:cNvPr id="171" name="Freeform 5">
              <a:extLst>
                <a:ext uri="{FF2B5EF4-FFF2-40B4-BE49-F238E27FC236}">
                  <a16:creationId xmlns:a16="http://schemas.microsoft.com/office/drawing/2014/main" id="{E2C2878D-0DCA-4E42-9B6E-C6B94190FE3D}"/>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5" name="Rectangle 6">
              <a:extLst>
                <a:ext uri="{FF2B5EF4-FFF2-40B4-BE49-F238E27FC236}">
                  <a16:creationId xmlns:a16="http://schemas.microsoft.com/office/drawing/2014/main" id="{80E2E48C-1414-4B2D-A179-205D18ADFA8A}"/>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 name="Freeform 7">
              <a:extLst>
                <a:ext uri="{FF2B5EF4-FFF2-40B4-BE49-F238E27FC236}">
                  <a16:creationId xmlns:a16="http://schemas.microsoft.com/office/drawing/2014/main" id="{87D0FB5A-B6AB-478C-86E3-49ADBD057CD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7" name="Freeform 8">
              <a:extLst>
                <a:ext uri="{FF2B5EF4-FFF2-40B4-BE49-F238E27FC236}">
                  <a16:creationId xmlns:a16="http://schemas.microsoft.com/office/drawing/2014/main" id="{2FB5CDF7-1AAC-45EB-AB81-665FE6746F3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8" name="Freeform 9">
              <a:extLst>
                <a:ext uri="{FF2B5EF4-FFF2-40B4-BE49-F238E27FC236}">
                  <a16:creationId xmlns:a16="http://schemas.microsoft.com/office/drawing/2014/main" id="{FAD3FCEC-A806-4666-913B-484C0BC76F8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80" name="TextBox 179">
            <a:extLst>
              <a:ext uri="{FF2B5EF4-FFF2-40B4-BE49-F238E27FC236}">
                <a16:creationId xmlns:a16="http://schemas.microsoft.com/office/drawing/2014/main" id="{D7AE3910-DF74-4BBE-AAC0-2044D69E780D}"/>
              </a:ext>
            </a:extLst>
          </p:cNvPr>
          <p:cNvSpPr txBox="1">
            <a:spLocks/>
          </p:cNvSpPr>
          <p:nvPr/>
        </p:nvSpPr>
        <p:spPr>
          <a:xfrm>
            <a:off x="654926" y="5046379"/>
            <a:ext cx="4965585" cy="55399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auto" latinLnBrk="0" hangingPunct="1">
              <a:lnSpc>
                <a:spcPct val="100000"/>
              </a:lnSpc>
              <a:spcBef>
                <a:spcPts val="0"/>
              </a:spcBef>
              <a:spcAft>
                <a:spcPts val="600"/>
              </a:spcAft>
              <a:buClr>
                <a:srgbClr val="002960"/>
              </a:buClr>
              <a:buSzPct val="100000"/>
              <a:buFontTx/>
              <a:buNone/>
              <a:tabLst/>
              <a:defRPr/>
            </a:pPr>
            <a:r>
              <a:rPr kumimoji="0" lang="en-ZA" sz="1800" b="0" i="0" u="none" strike="noStrike" kern="1200" cap="none" spc="0" normalizeH="0" baseline="0" noProof="0" dirty="0">
                <a:ln>
                  <a:noFill/>
                </a:ln>
                <a:solidFill>
                  <a:srgbClr val="000000"/>
                </a:solidFill>
                <a:effectLst/>
                <a:uLnTx/>
                <a:uFillTx/>
                <a:latin typeface="Arial"/>
                <a:ea typeface="+mn-ea"/>
                <a:cs typeface="+mn-cs"/>
              </a:rPr>
              <a:t>…permettant de meilleurs services de soins de santé pour les</a:t>
            </a:r>
            <a:r>
              <a:rPr kumimoji="0" lang="en-ZA" sz="1800" b="1" i="0" u="none" strike="noStrike" kern="1200" cap="none" spc="0" normalizeH="0" baseline="0" noProof="0" dirty="0">
                <a:ln>
                  <a:noFill/>
                </a:ln>
                <a:solidFill>
                  <a:srgbClr val="000000"/>
                </a:solidFill>
                <a:effectLst/>
                <a:uLnTx/>
                <a:uFillTx/>
                <a:latin typeface="Arial"/>
                <a:ea typeface="+mn-ea"/>
                <a:cs typeface="+mn-cs"/>
              </a:rPr>
              <a:t>1,3 milliard de personnes</a:t>
            </a:r>
            <a:r>
              <a:rPr kumimoji="0" lang="en-ZA" sz="1800" b="0" i="0" u="none" strike="noStrike" kern="1200" cap="none" spc="0" normalizeH="0" baseline="0" noProof="0" dirty="0">
                <a:ln>
                  <a:noFill/>
                </a:ln>
                <a:solidFill>
                  <a:srgbClr val="000000"/>
                </a:solidFill>
                <a:effectLst/>
                <a:uLnTx/>
                <a:uFillTx/>
                <a:latin typeface="Arial"/>
                <a:ea typeface="+mn-ea"/>
                <a:cs typeface="+mn-cs"/>
              </a:rPr>
              <a:t>sur le continent</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0" name="LineContentSeparatorDefault 30">
            <a:extLst>
              <a:ext uri="{FF2B5EF4-FFF2-40B4-BE49-F238E27FC236}">
                <a16:creationId xmlns:a16="http://schemas.microsoft.com/office/drawing/2014/main" id="{0FE20DB7-2709-4F6F-93D3-0B329033DBA0}"/>
              </a:ext>
            </a:extLst>
          </p:cNvPr>
          <p:cNvCxnSpPr>
            <a:cxnSpLocks/>
          </p:cNvCxnSpPr>
          <p:nvPr>
            <p:custDataLst>
              <p:tags r:id="rId4"/>
            </p:custDataLst>
          </p:nvPr>
        </p:nvCxnSpPr>
        <p:spPr>
          <a:xfrm>
            <a:off x="612394" y="3174397"/>
            <a:ext cx="4965585" cy="0"/>
          </a:xfrm>
          <a:prstGeom prst="straightConnector1">
            <a:avLst/>
          </a:prstGeom>
          <a:ln w="6350" cap="flat">
            <a:solidFill>
              <a:srgbClr val="BBA66D"/>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3" name="LineContentSeparatorDefault 30">
            <a:extLst>
              <a:ext uri="{FF2B5EF4-FFF2-40B4-BE49-F238E27FC236}">
                <a16:creationId xmlns:a16="http://schemas.microsoft.com/office/drawing/2014/main" id="{D70FECC0-0DFD-4001-A313-F63789468BE9}"/>
              </a:ext>
            </a:extLst>
          </p:cNvPr>
          <p:cNvCxnSpPr>
            <a:cxnSpLocks/>
          </p:cNvCxnSpPr>
          <p:nvPr>
            <p:custDataLst>
              <p:tags r:id="rId5"/>
            </p:custDataLst>
          </p:nvPr>
        </p:nvCxnSpPr>
        <p:spPr>
          <a:xfrm>
            <a:off x="654926" y="4828001"/>
            <a:ext cx="4965585" cy="0"/>
          </a:xfrm>
          <a:prstGeom prst="straightConnector1">
            <a:avLst/>
          </a:prstGeom>
          <a:ln w="6350" cap="flat">
            <a:solidFill>
              <a:srgbClr val="BBA66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9869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1-08-02 08:32 PM"/>
  <p:tag name="DSS_ID" val="96f83b6b-8542-402f-967b-1e905b728c12"/>
  <p:tag name="TSCLIENT" val="True"/>
  <p:tag name="ICONENCLOSURE" val="False"/>
  <p:tag name="ICONLINEFILL" val="Color [A=255, R=255, G=255, B=255]"/>
  <p:tag name="ICONLINEFILLTHEME" val="Background 1"/>
  <p:tag name="THINKCELLPRESENTATIONDONOTDELETE" val="&lt;?xml version=&quot;1.0&quot; encoding=&quot;UTF-16&quot; standalone=&quot;yes&quot;?&gt;&lt;root reqver=&quot;27037&quot;&gt;&lt;version val=&quot;3309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0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0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1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1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6.xml><?xml version="1.0" encoding="utf-8"?>
<p:tagLst xmlns:a="http://schemas.openxmlformats.org/drawingml/2006/main" xmlns:r="http://schemas.openxmlformats.org/officeDocument/2006/relationships" xmlns:p="http://schemas.openxmlformats.org/presentationml/2006/main">
  <p:tag name="SHAPENAME" val="5. Source"/>
</p:tagLst>
</file>

<file path=ppt/tags/tag10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2.xml><?xml version="1.0" encoding="utf-8"?>
<p:tagLst xmlns:a="http://schemas.openxmlformats.org/drawingml/2006/main" xmlns:r="http://schemas.openxmlformats.org/officeDocument/2006/relationships" xmlns:p="http://schemas.openxmlformats.org/presentationml/2006/main">
  <p:tag name="NAME" val="ACET"/>
</p:tagLst>
</file>

<file path=ppt/tags/tag10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4.xml><?xml version="1.0" encoding="utf-8"?>
<p:tagLst xmlns:a="http://schemas.openxmlformats.org/drawingml/2006/main" xmlns:r="http://schemas.openxmlformats.org/officeDocument/2006/relationships" xmlns:p="http://schemas.openxmlformats.org/presentationml/2006/main">
  <p:tag name="NAME" val="Moon"/>
</p:tagLst>
</file>

<file path=ppt/tags/tag1025.xml><?xml version="1.0" encoding="utf-8"?>
<p:tagLst xmlns:a="http://schemas.openxmlformats.org/drawingml/2006/main" xmlns:r="http://schemas.openxmlformats.org/officeDocument/2006/relationships" xmlns:p="http://schemas.openxmlformats.org/presentationml/2006/main">
  <p:tag name="NAME" val="Moon"/>
</p:tagLst>
</file>

<file path=ppt/tags/tag1026.xml><?xml version="1.0" encoding="utf-8"?>
<p:tagLst xmlns:a="http://schemas.openxmlformats.org/drawingml/2006/main" xmlns:r="http://schemas.openxmlformats.org/officeDocument/2006/relationships" xmlns:p="http://schemas.openxmlformats.org/presentationml/2006/main">
  <p:tag name="NAME" val="Moon"/>
</p:tagLst>
</file>

<file path=ppt/tags/tag1027.xml><?xml version="1.0" encoding="utf-8"?>
<p:tagLst xmlns:a="http://schemas.openxmlformats.org/drawingml/2006/main" xmlns:r="http://schemas.openxmlformats.org/officeDocument/2006/relationships" xmlns:p="http://schemas.openxmlformats.org/presentationml/2006/main">
  <p:tag name="NAME" val="Moon"/>
</p:tagLst>
</file>

<file path=ppt/tags/tag1028.xml><?xml version="1.0" encoding="utf-8"?>
<p:tagLst xmlns:a="http://schemas.openxmlformats.org/drawingml/2006/main" xmlns:r="http://schemas.openxmlformats.org/officeDocument/2006/relationships" xmlns:p="http://schemas.openxmlformats.org/presentationml/2006/main">
  <p:tag name="NAME" val="Moon"/>
</p:tagLst>
</file>

<file path=ppt/tags/tag1029.xml><?xml version="1.0" encoding="utf-8"?>
<p:tagLst xmlns:a="http://schemas.openxmlformats.org/drawingml/2006/main" xmlns:r="http://schemas.openxmlformats.org/officeDocument/2006/relationships" xmlns:p="http://schemas.openxmlformats.org/presentationml/2006/main">
  <p:tag name="ANGLE" val="5"/>
</p:tagLst>
</file>

<file path=ppt/tags/tag10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30.xml><?xml version="1.0" encoding="utf-8"?>
<p:tagLst xmlns:a="http://schemas.openxmlformats.org/drawingml/2006/main" xmlns:r="http://schemas.openxmlformats.org/officeDocument/2006/relationships" xmlns:p="http://schemas.openxmlformats.org/presentationml/2006/main">
  <p:tag name="ANGLE" val="5"/>
</p:tagLst>
</file>

<file path=ppt/tags/tag1031.xml><?xml version="1.0" encoding="utf-8"?>
<p:tagLst xmlns:a="http://schemas.openxmlformats.org/drawingml/2006/main" xmlns:r="http://schemas.openxmlformats.org/officeDocument/2006/relationships" xmlns:p="http://schemas.openxmlformats.org/presentationml/2006/main">
  <p:tag name="ANGLE" val="4"/>
</p:tagLst>
</file>

<file path=ppt/tags/tag1032.xml><?xml version="1.0" encoding="utf-8"?>
<p:tagLst xmlns:a="http://schemas.openxmlformats.org/drawingml/2006/main" xmlns:r="http://schemas.openxmlformats.org/officeDocument/2006/relationships" xmlns:p="http://schemas.openxmlformats.org/presentationml/2006/main">
  <p:tag name="ANGLE" val="4"/>
</p:tagLst>
</file>

<file path=ppt/tags/tag1033.xml><?xml version="1.0" encoding="utf-8"?>
<p:tagLst xmlns:a="http://schemas.openxmlformats.org/drawingml/2006/main" xmlns:r="http://schemas.openxmlformats.org/officeDocument/2006/relationships" xmlns:p="http://schemas.openxmlformats.org/presentationml/2006/main">
  <p:tag name="ANGLE" val="3"/>
</p:tagLst>
</file>

<file path=ppt/tags/tag1034.xml><?xml version="1.0" encoding="utf-8"?>
<p:tagLst xmlns:a="http://schemas.openxmlformats.org/drawingml/2006/main" xmlns:r="http://schemas.openxmlformats.org/officeDocument/2006/relationships" xmlns:p="http://schemas.openxmlformats.org/presentationml/2006/main">
  <p:tag name="ANGLE" val="3"/>
</p:tagLst>
</file>

<file path=ppt/tags/tag1035.xml><?xml version="1.0" encoding="utf-8"?>
<p:tagLst xmlns:a="http://schemas.openxmlformats.org/drawingml/2006/main" xmlns:r="http://schemas.openxmlformats.org/officeDocument/2006/relationships" xmlns:p="http://schemas.openxmlformats.org/presentationml/2006/main">
  <p:tag name="ANGLE" val="2"/>
</p:tagLst>
</file>

<file path=ppt/tags/tag1036.xml><?xml version="1.0" encoding="utf-8"?>
<p:tagLst xmlns:a="http://schemas.openxmlformats.org/drawingml/2006/main" xmlns:r="http://schemas.openxmlformats.org/officeDocument/2006/relationships" xmlns:p="http://schemas.openxmlformats.org/presentationml/2006/main">
  <p:tag name="ANGLE" val="2"/>
</p:tagLst>
</file>

<file path=ppt/tags/tag1037.xml><?xml version="1.0" encoding="utf-8"?>
<p:tagLst xmlns:a="http://schemas.openxmlformats.org/drawingml/2006/main" xmlns:r="http://schemas.openxmlformats.org/officeDocument/2006/relationships" xmlns:p="http://schemas.openxmlformats.org/presentationml/2006/main">
  <p:tag name="ANGLE" val="1"/>
</p:tagLst>
</file>

<file path=ppt/tags/tag1038.xml><?xml version="1.0" encoding="utf-8"?>
<p:tagLst xmlns:a="http://schemas.openxmlformats.org/drawingml/2006/main" xmlns:r="http://schemas.openxmlformats.org/officeDocument/2006/relationships" xmlns:p="http://schemas.openxmlformats.org/presentationml/2006/main">
  <p:tag name="ANGLE" val="1"/>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42.xml><?xml version="1.0" encoding="utf-8"?>
<p:tagLst xmlns:a="http://schemas.openxmlformats.org/drawingml/2006/main" xmlns:r="http://schemas.openxmlformats.org/officeDocument/2006/relationships" xmlns:p="http://schemas.openxmlformats.org/presentationml/2006/main">
  <p:tag name="SHAPENAME" val="Title"/>
</p:tagLst>
</file>

<file path=ppt/tags/tag1043.xml><?xml version="1.0" encoding="utf-8"?>
<p:tagLst xmlns:a="http://schemas.openxmlformats.org/drawingml/2006/main" xmlns:r="http://schemas.openxmlformats.org/officeDocument/2006/relationships" xmlns:p="http://schemas.openxmlformats.org/presentationml/2006/main">
  <p:tag name="SHAPENAME" val="Subtitle"/>
</p:tagLst>
</file>

<file path=ppt/tags/tag10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4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48.xml><?xml version="1.0" encoding="utf-8"?>
<p:tagLst xmlns:a="http://schemas.openxmlformats.org/drawingml/2006/main" xmlns:r="http://schemas.openxmlformats.org/officeDocument/2006/relationships" xmlns:p="http://schemas.openxmlformats.org/presentationml/2006/main">
  <p:tag name="SHAPENAME" val="Title"/>
</p:tagLst>
</file>

<file path=ppt/tags/tag1049.xml><?xml version="1.0" encoding="utf-8"?>
<p:tagLst xmlns:a="http://schemas.openxmlformats.org/drawingml/2006/main" xmlns:r="http://schemas.openxmlformats.org/officeDocument/2006/relationships" xmlns:p="http://schemas.openxmlformats.org/presentationml/2006/main">
  <p:tag name="SHAPENAME" val="Subtitl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5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54.xml><?xml version="1.0" encoding="utf-8"?>
<p:tagLst xmlns:a="http://schemas.openxmlformats.org/drawingml/2006/main" xmlns:r="http://schemas.openxmlformats.org/officeDocument/2006/relationships" xmlns:p="http://schemas.openxmlformats.org/presentationml/2006/main">
  <p:tag name="SHAPENAME" val="Title"/>
</p:tagLst>
</file>

<file path=ppt/tags/tag1055.xml><?xml version="1.0" encoding="utf-8"?>
<p:tagLst xmlns:a="http://schemas.openxmlformats.org/drawingml/2006/main" xmlns:r="http://schemas.openxmlformats.org/officeDocument/2006/relationships" xmlns:p="http://schemas.openxmlformats.org/presentationml/2006/main">
  <p:tag name="SHAPENAME" val="Subtitle"/>
</p:tagLst>
</file>

<file path=ppt/tags/tag105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60.xml><?xml version="1.0" encoding="utf-8"?>
<p:tagLst xmlns:a="http://schemas.openxmlformats.org/drawingml/2006/main" xmlns:r="http://schemas.openxmlformats.org/officeDocument/2006/relationships" xmlns:p="http://schemas.openxmlformats.org/presentationml/2006/main">
  <p:tag name="SHAPENAME" val="5. Source"/>
</p:tagLst>
</file>

<file path=ppt/tags/tag10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7.xml><?xml version="1.0" encoding="utf-8"?>
<p:tagLst xmlns:a="http://schemas.openxmlformats.org/drawingml/2006/main" xmlns:r="http://schemas.openxmlformats.org/officeDocument/2006/relationships" xmlns:p="http://schemas.openxmlformats.org/presentationml/2006/main">
  <p:tag name="SHAPENAME" val="5. Source"/>
</p:tagLst>
</file>

<file path=ppt/tags/tag10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0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3.xml><?xml version="1.0" encoding="utf-8"?>
<p:tagLst xmlns:a="http://schemas.openxmlformats.org/drawingml/2006/main" xmlns:r="http://schemas.openxmlformats.org/officeDocument/2006/relationships" xmlns:p="http://schemas.openxmlformats.org/presentationml/2006/main">
  <p:tag name="SHAPENAME" val="5. Source"/>
</p:tagLst>
</file>

<file path=ppt/tags/tag10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0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9.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0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4.xml><?xml version="1.0" encoding="utf-8"?>
<p:tagLst xmlns:a="http://schemas.openxmlformats.org/drawingml/2006/main" xmlns:r="http://schemas.openxmlformats.org/officeDocument/2006/relationships" xmlns:p="http://schemas.openxmlformats.org/presentationml/2006/main">
  <p:tag name="SHAPENAME" val="5. Source"/>
</p:tagLst>
</file>

<file path=ppt/tags/tag10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0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1.xml><?xml version="1.0" encoding="utf-8"?>
<p:tagLst xmlns:a="http://schemas.openxmlformats.org/drawingml/2006/main" xmlns:r="http://schemas.openxmlformats.org/officeDocument/2006/relationships" xmlns:p="http://schemas.openxmlformats.org/presentationml/2006/main">
  <p:tag name="SHAPENAME" val="5. Sourc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0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1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1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1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42.xml><?xml version="1.0" encoding="utf-8"?>
<p:tagLst xmlns:a="http://schemas.openxmlformats.org/drawingml/2006/main" xmlns:r="http://schemas.openxmlformats.org/officeDocument/2006/relationships" xmlns:p="http://schemas.openxmlformats.org/presentationml/2006/main">
  <p:tag name="SHAPENAME" val="5. Source"/>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5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11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7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7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7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3.xml><?xml version="1.0" encoding="utf-8"?>
<p:tagLst xmlns:a="http://schemas.openxmlformats.org/drawingml/2006/main" xmlns:r="http://schemas.openxmlformats.org/officeDocument/2006/relationships" xmlns:p="http://schemas.openxmlformats.org/presentationml/2006/main">
  <p:tag name="NAME" val="Logo"/>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9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5.xml><?xml version="1.0" encoding="utf-8"?>
<p:tagLst xmlns:a="http://schemas.openxmlformats.org/drawingml/2006/main" xmlns:r="http://schemas.openxmlformats.org/officeDocument/2006/relationships" xmlns:p="http://schemas.openxmlformats.org/presentationml/2006/main">
  <p:tag name="NAME" val="ACET"/>
</p:tagLst>
</file>

<file path=ppt/tags/tag1196.xml><?xml version="1.0" encoding="utf-8"?>
<p:tagLst xmlns:a="http://schemas.openxmlformats.org/drawingml/2006/main" xmlns:r="http://schemas.openxmlformats.org/officeDocument/2006/relationships" xmlns:p="http://schemas.openxmlformats.org/presentationml/2006/main">
  <p:tag name="NAME" val="Moon"/>
</p:tagLst>
</file>

<file path=ppt/tags/tag1197.xml><?xml version="1.0" encoding="utf-8"?>
<p:tagLst xmlns:a="http://schemas.openxmlformats.org/drawingml/2006/main" xmlns:r="http://schemas.openxmlformats.org/officeDocument/2006/relationships" xmlns:p="http://schemas.openxmlformats.org/presentationml/2006/main">
  <p:tag name="NAME" val="Moon"/>
</p:tagLst>
</file>

<file path=ppt/tags/tag1198.xml><?xml version="1.0" encoding="utf-8"?>
<p:tagLst xmlns:a="http://schemas.openxmlformats.org/drawingml/2006/main" xmlns:r="http://schemas.openxmlformats.org/officeDocument/2006/relationships" xmlns:p="http://schemas.openxmlformats.org/presentationml/2006/main">
  <p:tag name="NAME" val="Moon"/>
</p:tagLst>
</file>

<file path=ppt/tags/tag119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200.xml><?xml version="1.0" encoding="utf-8"?>
<p:tagLst xmlns:a="http://schemas.openxmlformats.org/drawingml/2006/main" xmlns:r="http://schemas.openxmlformats.org/officeDocument/2006/relationships" xmlns:p="http://schemas.openxmlformats.org/presentationml/2006/main">
  <p:tag name="NAME" val="Moon"/>
</p:tagLst>
</file>

<file path=ppt/tags/tag1201.xml><?xml version="1.0" encoding="utf-8"?>
<p:tagLst xmlns:a="http://schemas.openxmlformats.org/drawingml/2006/main" xmlns:r="http://schemas.openxmlformats.org/officeDocument/2006/relationships" xmlns:p="http://schemas.openxmlformats.org/presentationml/2006/main">
  <p:tag name="ANGLE" val="5"/>
</p:tagLst>
</file>

<file path=ppt/tags/tag1202.xml><?xml version="1.0" encoding="utf-8"?>
<p:tagLst xmlns:a="http://schemas.openxmlformats.org/drawingml/2006/main" xmlns:r="http://schemas.openxmlformats.org/officeDocument/2006/relationships" xmlns:p="http://schemas.openxmlformats.org/presentationml/2006/main">
  <p:tag name="ANGLE" val="5"/>
</p:tagLst>
</file>

<file path=ppt/tags/tag1203.xml><?xml version="1.0" encoding="utf-8"?>
<p:tagLst xmlns:a="http://schemas.openxmlformats.org/drawingml/2006/main" xmlns:r="http://schemas.openxmlformats.org/officeDocument/2006/relationships" xmlns:p="http://schemas.openxmlformats.org/presentationml/2006/main">
  <p:tag name="ANGLE" val="4"/>
</p:tagLst>
</file>

<file path=ppt/tags/tag1204.xml><?xml version="1.0" encoding="utf-8"?>
<p:tagLst xmlns:a="http://schemas.openxmlformats.org/drawingml/2006/main" xmlns:r="http://schemas.openxmlformats.org/officeDocument/2006/relationships" xmlns:p="http://schemas.openxmlformats.org/presentationml/2006/main">
  <p:tag name="ANGLE" val="4"/>
</p:tagLst>
</file>

<file path=ppt/tags/tag1205.xml><?xml version="1.0" encoding="utf-8"?>
<p:tagLst xmlns:a="http://schemas.openxmlformats.org/drawingml/2006/main" xmlns:r="http://schemas.openxmlformats.org/officeDocument/2006/relationships" xmlns:p="http://schemas.openxmlformats.org/presentationml/2006/main">
  <p:tag name="ANGLE" val="3"/>
</p:tagLst>
</file>

<file path=ppt/tags/tag1206.xml><?xml version="1.0" encoding="utf-8"?>
<p:tagLst xmlns:a="http://schemas.openxmlformats.org/drawingml/2006/main" xmlns:r="http://schemas.openxmlformats.org/officeDocument/2006/relationships" xmlns:p="http://schemas.openxmlformats.org/presentationml/2006/main">
  <p:tag name="ANGLE" val="3"/>
</p:tagLst>
</file>

<file path=ppt/tags/tag1207.xml><?xml version="1.0" encoding="utf-8"?>
<p:tagLst xmlns:a="http://schemas.openxmlformats.org/drawingml/2006/main" xmlns:r="http://schemas.openxmlformats.org/officeDocument/2006/relationships" xmlns:p="http://schemas.openxmlformats.org/presentationml/2006/main">
  <p:tag name="ANGLE" val="2"/>
</p:tagLst>
</file>

<file path=ppt/tags/tag1208.xml><?xml version="1.0" encoding="utf-8"?>
<p:tagLst xmlns:a="http://schemas.openxmlformats.org/drawingml/2006/main" xmlns:r="http://schemas.openxmlformats.org/officeDocument/2006/relationships" xmlns:p="http://schemas.openxmlformats.org/presentationml/2006/main">
  <p:tag name="ANGLE" val="2"/>
</p:tagLst>
</file>

<file path=ppt/tags/tag1209.xml><?xml version="1.0" encoding="utf-8"?>
<p:tagLst xmlns:a="http://schemas.openxmlformats.org/drawingml/2006/main" xmlns:r="http://schemas.openxmlformats.org/officeDocument/2006/relationships" xmlns:p="http://schemas.openxmlformats.org/presentationml/2006/main">
  <p:tag name="ANGLE" val="1"/>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0.xml><?xml version="1.0" encoding="utf-8"?>
<p:tagLst xmlns:a="http://schemas.openxmlformats.org/drawingml/2006/main" xmlns:r="http://schemas.openxmlformats.org/officeDocument/2006/relationships" xmlns:p="http://schemas.openxmlformats.org/presentationml/2006/main">
  <p:tag name="ANGLE" val="1"/>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1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14.xml><?xml version="1.0" encoding="utf-8"?>
<p:tagLst xmlns:a="http://schemas.openxmlformats.org/drawingml/2006/main" xmlns:r="http://schemas.openxmlformats.org/officeDocument/2006/relationships" xmlns:p="http://schemas.openxmlformats.org/presentationml/2006/main">
  <p:tag name="SHAPENAME" val="Title"/>
</p:tagLst>
</file>

<file path=ppt/tags/tag1215.xml><?xml version="1.0" encoding="utf-8"?>
<p:tagLst xmlns:a="http://schemas.openxmlformats.org/drawingml/2006/main" xmlns:r="http://schemas.openxmlformats.org/officeDocument/2006/relationships" xmlns:p="http://schemas.openxmlformats.org/presentationml/2006/main">
  <p:tag name="SHAPENAME" val="Subtitle"/>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Grid"/>
</p:tagLst>
</file>

<file path=ppt/tags/tag1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3.xml><?xml version="1.0" encoding="utf-8"?>
<p:tagLst xmlns:a="http://schemas.openxmlformats.org/drawingml/2006/main" xmlns:r="http://schemas.openxmlformats.org/officeDocument/2006/relationships" xmlns:p="http://schemas.openxmlformats.org/presentationml/2006/main">
  <p:tag name="SHAPENAME" val="5. Source"/>
</p:tagLst>
</file>

<file path=ppt/tags/tag12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NAME" val="ACET"/>
</p:tagLst>
</file>

<file path=ppt/tags/tag1240.xml><?xml version="1.0" encoding="utf-8"?>
<p:tagLst xmlns:a="http://schemas.openxmlformats.org/drawingml/2006/main" xmlns:r="http://schemas.openxmlformats.org/officeDocument/2006/relationships" xmlns:p="http://schemas.openxmlformats.org/presentationml/2006/main">
  <p:tag name="SHAPENAME" val="5. Source"/>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2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7.xml><?xml version="1.0" encoding="utf-8"?>
<p:tagLst xmlns:a="http://schemas.openxmlformats.org/drawingml/2006/main" xmlns:r="http://schemas.openxmlformats.org/officeDocument/2006/relationships" xmlns:p="http://schemas.openxmlformats.org/presentationml/2006/main">
  <p:tag name="SHAPENAME" val="5. Source"/>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5.xml><?xml version="1.0" encoding="utf-8"?>
<p:tagLst xmlns:a="http://schemas.openxmlformats.org/drawingml/2006/main" xmlns:r="http://schemas.openxmlformats.org/officeDocument/2006/relationships" xmlns:p="http://schemas.openxmlformats.org/presentationml/2006/main">
  <p:tag name="SHAPENAME" val="5. Source"/>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3.xml><?xml version="1.0" encoding="utf-8"?>
<p:tagLst xmlns:a="http://schemas.openxmlformats.org/drawingml/2006/main" xmlns:r="http://schemas.openxmlformats.org/officeDocument/2006/relationships" xmlns:p="http://schemas.openxmlformats.org/presentationml/2006/main">
  <p:tag name="SHAPENAME" val="5. Source"/>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2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1.xml><?xml version="1.0" encoding="utf-8"?>
<p:tagLst xmlns:a="http://schemas.openxmlformats.org/drawingml/2006/main" xmlns:r="http://schemas.openxmlformats.org/officeDocument/2006/relationships" xmlns:p="http://schemas.openxmlformats.org/presentationml/2006/main">
  <p:tag name="SHAPENAME" val="5. Source"/>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9.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3.xml><?xml version="1.0" encoding="utf-8"?>
<p:tagLst xmlns:a="http://schemas.openxmlformats.org/drawingml/2006/main" xmlns:r="http://schemas.openxmlformats.org/officeDocument/2006/relationships" xmlns:p="http://schemas.openxmlformats.org/presentationml/2006/main">
  <p:tag name="SHAPENAME" val="5. Source"/>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7.xml><?xml version="1.0" encoding="utf-8"?>
<p:tagLst xmlns:a="http://schemas.openxmlformats.org/drawingml/2006/main" xmlns:r="http://schemas.openxmlformats.org/officeDocument/2006/relationships" xmlns:p="http://schemas.openxmlformats.org/presentationml/2006/main">
  <p:tag name="SHAPENAME" val="5. Source"/>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3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0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0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06.xml><?xml version="1.0" encoding="utf-8"?>
<p:tagLst xmlns:a="http://schemas.openxmlformats.org/drawingml/2006/main" xmlns:r="http://schemas.openxmlformats.org/officeDocument/2006/relationships" xmlns:p="http://schemas.openxmlformats.org/presentationml/2006/main">
  <p:tag name="SHAPENAME" val="5. Source"/>
</p:tagLst>
</file>

<file path=ppt/tags/tag1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xml><?xml version="1.0" encoding="utf-8"?>
<p:tagLst xmlns:a="http://schemas.openxmlformats.org/drawingml/2006/main" xmlns:r="http://schemas.openxmlformats.org/officeDocument/2006/relationships" xmlns:p="http://schemas.openxmlformats.org/presentationml/2006/main">
  <p:tag name="ANGLE" val="5"/>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3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3.xml><?xml version="1.0" encoding="utf-8"?>
<p:tagLst xmlns:a="http://schemas.openxmlformats.org/drawingml/2006/main" xmlns:r="http://schemas.openxmlformats.org/officeDocument/2006/relationships" xmlns:p="http://schemas.openxmlformats.org/presentationml/2006/main">
  <p:tag name="SHAPENAME" val="Grid"/>
</p:tagLst>
</file>

<file path=ppt/tags/tag131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15.xml><?xml version="1.0" encoding="utf-8"?>
<p:tagLst xmlns:a="http://schemas.openxmlformats.org/drawingml/2006/main" xmlns:r="http://schemas.openxmlformats.org/officeDocument/2006/relationships" xmlns:p="http://schemas.openxmlformats.org/presentationml/2006/main">
  <p:tag name="NAME" val="ACET"/>
</p:tagLst>
</file>

<file path=ppt/tags/tag1316.xml><?xml version="1.0" encoding="utf-8"?>
<p:tagLst xmlns:a="http://schemas.openxmlformats.org/drawingml/2006/main" xmlns:r="http://schemas.openxmlformats.org/officeDocument/2006/relationships" xmlns:p="http://schemas.openxmlformats.org/presentationml/2006/main">
  <p:tag name="NAME" val="Moon"/>
</p:tagLst>
</file>

<file path=ppt/tags/tag1317.xml><?xml version="1.0" encoding="utf-8"?>
<p:tagLst xmlns:a="http://schemas.openxmlformats.org/drawingml/2006/main" xmlns:r="http://schemas.openxmlformats.org/officeDocument/2006/relationships" xmlns:p="http://schemas.openxmlformats.org/presentationml/2006/main">
  <p:tag name="NAME" val="Moon"/>
</p:tagLst>
</file>

<file path=ppt/tags/tag1318.xml><?xml version="1.0" encoding="utf-8"?>
<p:tagLst xmlns:a="http://schemas.openxmlformats.org/drawingml/2006/main" xmlns:r="http://schemas.openxmlformats.org/officeDocument/2006/relationships" xmlns:p="http://schemas.openxmlformats.org/presentationml/2006/main">
  <p:tag name="NAME" val="Moon"/>
</p:tagLst>
</file>

<file path=ppt/tags/tag1319.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ANGLE" val="5"/>
</p:tagLst>
</file>

<file path=ppt/tags/tag1320.xml><?xml version="1.0" encoding="utf-8"?>
<p:tagLst xmlns:a="http://schemas.openxmlformats.org/drawingml/2006/main" xmlns:r="http://schemas.openxmlformats.org/officeDocument/2006/relationships" xmlns:p="http://schemas.openxmlformats.org/presentationml/2006/main">
  <p:tag name="NAME" val="Moon"/>
</p:tagLst>
</file>

<file path=ppt/tags/tag1321.xml><?xml version="1.0" encoding="utf-8"?>
<p:tagLst xmlns:a="http://schemas.openxmlformats.org/drawingml/2006/main" xmlns:r="http://schemas.openxmlformats.org/officeDocument/2006/relationships" xmlns:p="http://schemas.openxmlformats.org/presentationml/2006/main">
  <p:tag name="ANGLE" val="5"/>
</p:tagLst>
</file>

<file path=ppt/tags/tag1322.xml><?xml version="1.0" encoding="utf-8"?>
<p:tagLst xmlns:a="http://schemas.openxmlformats.org/drawingml/2006/main" xmlns:r="http://schemas.openxmlformats.org/officeDocument/2006/relationships" xmlns:p="http://schemas.openxmlformats.org/presentationml/2006/main">
  <p:tag name="ANGLE" val="5"/>
</p:tagLst>
</file>

<file path=ppt/tags/tag1323.xml><?xml version="1.0" encoding="utf-8"?>
<p:tagLst xmlns:a="http://schemas.openxmlformats.org/drawingml/2006/main" xmlns:r="http://schemas.openxmlformats.org/officeDocument/2006/relationships" xmlns:p="http://schemas.openxmlformats.org/presentationml/2006/main">
  <p:tag name="ANGLE" val="4"/>
</p:tagLst>
</file>

<file path=ppt/tags/tag1324.xml><?xml version="1.0" encoding="utf-8"?>
<p:tagLst xmlns:a="http://schemas.openxmlformats.org/drawingml/2006/main" xmlns:r="http://schemas.openxmlformats.org/officeDocument/2006/relationships" xmlns:p="http://schemas.openxmlformats.org/presentationml/2006/main">
  <p:tag name="ANGLE" val="4"/>
</p:tagLst>
</file>

<file path=ppt/tags/tag1325.xml><?xml version="1.0" encoding="utf-8"?>
<p:tagLst xmlns:a="http://schemas.openxmlformats.org/drawingml/2006/main" xmlns:r="http://schemas.openxmlformats.org/officeDocument/2006/relationships" xmlns:p="http://schemas.openxmlformats.org/presentationml/2006/main">
  <p:tag name="ANGLE" val="3"/>
</p:tagLst>
</file>

<file path=ppt/tags/tag1326.xml><?xml version="1.0" encoding="utf-8"?>
<p:tagLst xmlns:a="http://schemas.openxmlformats.org/drawingml/2006/main" xmlns:r="http://schemas.openxmlformats.org/officeDocument/2006/relationships" xmlns:p="http://schemas.openxmlformats.org/presentationml/2006/main">
  <p:tag name="ANGLE" val="3"/>
</p:tagLst>
</file>

<file path=ppt/tags/tag1327.xml><?xml version="1.0" encoding="utf-8"?>
<p:tagLst xmlns:a="http://schemas.openxmlformats.org/drawingml/2006/main" xmlns:r="http://schemas.openxmlformats.org/officeDocument/2006/relationships" xmlns:p="http://schemas.openxmlformats.org/presentationml/2006/main">
  <p:tag name="ANGLE" val="2"/>
</p:tagLst>
</file>

<file path=ppt/tags/tag1328.xml><?xml version="1.0" encoding="utf-8"?>
<p:tagLst xmlns:a="http://schemas.openxmlformats.org/drawingml/2006/main" xmlns:r="http://schemas.openxmlformats.org/officeDocument/2006/relationships" xmlns:p="http://schemas.openxmlformats.org/presentationml/2006/main">
  <p:tag name="ANGLE" val="2"/>
</p:tagLst>
</file>

<file path=ppt/tags/tag1329.xml><?xml version="1.0" encoding="utf-8"?>
<p:tagLst xmlns:a="http://schemas.openxmlformats.org/drawingml/2006/main" xmlns:r="http://schemas.openxmlformats.org/officeDocument/2006/relationships" xmlns:p="http://schemas.openxmlformats.org/presentationml/2006/main">
  <p:tag name="ANGLE" val="1"/>
</p:tagLst>
</file>

<file path=ppt/tags/tag133.xml><?xml version="1.0" encoding="utf-8"?>
<p:tagLst xmlns:a="http://schemas.openxmlformats.org/drawingml/2006/main" xmlns:r="http://schemas.openxmlformats.org/officeDocument/2006/relationships" xmlns:p="http://schemas.openxmlformats.org/presentationml/2006/main">
  <p:tag name="ANGLE" val="4"/>
</p:tagLst>
</file>

<file path=ppt/tags/tag1330.xml><?xml version="1.0" encoding="utf-8"?>
<p:tagLst xmlns:a="http://schemas.openxmlformats.org/drawingml/2006/main" xmlns:r="http://schemas.openxmlformats.org/officeDocument/2006/relationships" xmlns:p="http://schemas.openxmlformats.org/presentationml/2006/main">
  <p:tag name="ANGLE" val="1"/>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33.xml><?xml version="1.0" encoding="utf-8"?>
<p:tagLst xmlns:a="http://schemas.openxmlformats.org/drawingml/2006/main" xmlns:r="http://schemas.openxmlformats.org/officeDocument/2006/relationships" xmlns:p="http://schemas.openxmlformats.org/presentationml/2006/main">
  <p:tag name="SHAPENAME" val="Title"/>
</p:tagLst>
</file>

<file path=ppt/tags/tag1334.xml><?xml version="1.0" encoding="utf-8"?>
<p:tagLst xmlns:a="http://schemas.openxmlformats.org/drawingml/2006/main" xmlns:r="http://schemas.openxmlformats.org/officeDocument/2006/relationships" xmlns:p="http://schemas.openxmlformats.org/presentationml/2006/main">
  <p:tag name="SHAPENAME" val="Subtitle"/>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ANGLE" val="4"/>
</p:tagLst>
</file>

<file path=ppt/tags/tag1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1.xml><?xml version="1.0" encoding="utf-8"?>
<p:tagLst xmlns:a="http://schemas.openxmlformats.org/drawingml/2006/main" xmlns:r="http://schemas.openxmlformats.org/officeDocument/2006/relationships" xmlns:p="http://schemas.openxmlformats.org/presentationml/2006/main">
  <p:tag name="SHAPENAME" val="5. Source"/>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3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7.xml><?xml version="1.0" encoding="utf-8"?>
<p:tagLst xmlns:a="http://schemas.openxmlformats.org/drawingml/2006/main" xmlns:r="http://schemas.openxmlformats.org/officeDocument/2006/relationships" xmlns:p="http://schemas.openxmlformats.org/presentationml/2006/main">
  <p:tag name="SHAPENAME" val="5. Source"/>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35.xml><?xml version="1.0" encoding="utf-8"?>
<p:tagLst xmlns:a="http://schemas.openxmlformats.org/drawingml/2006/main" xmlns:r="http://schemas.openxmlformats.org/officeDocument/2006/relationships" xmlns:p="http://schemas.openxmlformats.org/presentationml/2006/main">
  <p:tag name="ANGLE" val="3"/>
</p:tagLst>
</file>

<file path=ppt/tags/tag1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3.xml><?xml version="1.0" encoding="utf-8"?>
<p:tagLst xmlns:a="http://schemas.openxmlformats.org/drawingml/2006/main" xmlns:r="http://schemas.openxmlformats.org/officeDocument/2006/relationships" xmlns:p="http://schemas.openxmlformats.org/presentationml/2006/main">
  <p:tag name="SHAPENAME" val="5. Source"/>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9.xml><?xml version="1.0" encoding="utf-8"?>
<p:tagLst xmlns:a="http://schemas.openxmlformats.org/drawingml/2006/main" xmlns:r="http://schemas.openxmlformats.org/officeDocument/2006/relationships" xmlns:p="http://schemas.openxmlformats.org/presentationml/2006/main">
  <p:tag name="SHAPENAME" val="5. Source"/>
</p:tagLst>
</file>

<file path=ppt/tags/tag136.xml><?xml version="1.0" encoding="utf-8"?>
<p:tagLst xmlns:a="http://schemas.openxmlformats.org/drawingml/2006/main" xmlns:r="http://schemas.openxmlformats.org/officeDocument/2006/relationships" xmlns:p="http://schemas.openxmlformats.org/presentationml/2006/main">
  <p:tag name="ANGLE" val="3"/>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6.xml><?xml version="1.0" encoding="utf-8"?>
<p:tagLst xmlns:a="http://schemas.openxmlformats.org/drawingml/2006/main" xmlns:r="http://schemas.openxmlformats.org/officeDocument/2006/relationships" xmlns:p="http://schemas.openxmlformats.org/presentationml/2006/main">
  <p:tag name="SHAPENAME" val="5. Source"/>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36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7.xml><?xml version="1.0" encoding="utf-8"?>
<p:tagLst xmlns:a="http://schemas.openxmlformats.org/drawingml/2006/main" xmlns:r="http://schemas.openxmlformats.org/officeDocument/2006/relationships" xmlns:p="http://schemas.openxmlformats.org/presentationml/2006/main">
  <p:tag name="ANGLE" val="2"/>
</p:tagLst>
</file>

<file path=ppt/tags/tag1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2.xml><?xml version="1.0" encoding="utf-8"?>
<p:tagLst xmlns:a="http://schemas.openxmlformats.org/drawingml/2006/main" xmlns:r="http://schemas.openxmlformats.org/officeDocument/2006/relationships" xmlns:p="http://schemas.openxmlformats.org/presentationml/2006/main">
  <p:tag name="SHAPENAME" val="5. Source"/>
</p:tagLst>
</file>

<file path=ppt/tags/tag13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37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xml><?xml version="1.0" encoding="utf-8"?>
<p:tagLst xmlns:a="http://schemas.openxmlformats.org/drawingml/2006/main" xmlns:r="http://schemas.openxmlformats.org/officeDocument/2006/relationships" xmlns:p="http://schemas.openxmlformats.org/presentationml/2006/main">
  <p:tag name="ANGLE" val="2"/>
</p:tagLst>
</file>

<file path=ppt/tags/tag1380.xml><?xml version="1.0" encoding="utf-8"?>
<p:tagLst xmlns:a="http://schemas.openxmlformats.org/drawingml/2006/main" xmlns:r="http://schemas.openxmlformats.org/officeDocument/2006/relationships" xmlns:p="http://schemas.openxmlformats.org/presentationml/2006/main">
  <p:tag name="SHAPENAME" val="5. Source"/>
</p:tagLst>
</file>

<file path=ppt/tags/tag13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38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8.xml><?xml version="1.0" encoding="utf-8"?>
<p:tagLst xmlns:a="http://schemas.openxmlformats.org/drawingml/2006/main" xmlns:r="http://schemas.openxmlformats.org/officeDocument/2006/relationships" xmlns:p="http://schemas.openxmlformats.org/presentationml/2006/main">
  <p:tag name="SHAPENAME" val="5. Source"/>
</p:tagLst>
</file>

<file path=ppt/tags/tag13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ANGLE" val="1"/>
</p:tagLst>
</file>

<file path=ppt/tags/tag13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3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6.xml><?xml version="1.0" encoding="utf-8"?>
<p:tagLst xmlns:a="http://schemas.openxmlformats.org/drawingml/2006/main" xmlns:r="http://schemas.openxmlformats.org/officeDocument/2006/relationships" xmlns:p="http://schemas.openxmlformats.org/presentationml/2006/main">
  <p:tag name="SHAPENAME" val="5. Source"/>
</p:tagLst>
</file>

<file path=ppt/tags/tag1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ANGLE" val="1"/>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4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4.xml><?xml version="1.0" encoding="utf-8"?>
<p:tagLst xmlns:a="http://schemas.openxmlformats.org/drawingml/2006/main" xmlns:r="http://schemas.openxmlformats.org/officeDocument/2006/relationships" xmlns:p="http://schemas.openxmlformats.org/presentationml/2006/main">
  <p:tag name="SHAPENAME" val="5. Source"/>
</p:tagLst>
</file>

<file path=ppt/tags/tag14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40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4.xml><?xml version="1.0" encoding="utf-8"?>
<p:tagLst xmlns:a="http://schemas.openxmlformats.org/drawingml/2006/main" xmlns:r="http://schemas.openxmlformats.org/officeDocument/2006/relationships" xmlns:p="http://schemas.openxmlformats.org/presentationml/2006/main">
  <p:tag name="SHAPENAME" val="5. Source"/>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41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2.xml><?xml version="1.0" encoding="utf-8"?>
<p:tagLst xmlns:a="http://schemas.openxmlformats.org/drawingml/2006/main" xmlns:r="http://schemas.openxmlformats.org/officeDocument/2006/relationships" xmlns:p="http://schemas.openxmlformats.org/presentationml/2006/main">
  <p:tag name="SHAPENAME" val="5. Source"/>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4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SHAPENAME" val="Title"/>
</p:tagLst>
</file>

<file path=ppt/tags/tag1430.xml><?xml version="1.0" encoding="utf-8"?>
<p:tagLst xmlns:a="http://schemas.openxmlformats.org/drawingml/2006/main" xmlns:r="http://schemas.openxmlformats.org/officeDocument/2006/relationships" xmlns:p="http://schemas.openxmlformats.org/presentationml/2006/main">
  <p:tag name="SHAPENAME" val="5. Source"/>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43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8.xml><?xml version="1.0" encoding="utf-8"?>
<p:tagLst xmlns:a="http://schemas.openxmlformats.org/drawingml/2006/main" xmlns:r="http://schemas.openxmlformats.org/officeDocument/2006/relationships" xmlns:p="http://schemas.openxmlformats.org/presentationml/2006/main">
  <p:tag name="SHAPENAME" val="5. Source"/>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SHAPENAME" val="Subtitle"/>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7.xml><?xml version="1.0" encoding="utf-8"?>
<p:tagLst xmlns:a="http://schemas.openxmlformats.org/drawingml/2006/main" xmlns:r="http://schemas.openxmlformats.org/officeDocument/2006/relationships" xmlns:p="http://schemas.openxmlformats.org/presentationml/2006/main">
  <p:tag name="SHAPENAME" val="5. Source"/>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6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67.xml><?xml version="1.0" encoding="utf-8"?>
<p:tagLst xmlns:a="http://schemas.openxmlformats.org/drawingml/2006/main" xmlns:r="http://schemas.openxmlformats.org/officeDocument/2006/relationships" xmlns:p="http://schemas.openxmlformats.org/presentationml/2006/main">
  <p:tag name="SHAPENAME" val="5. Source"/>
</p:tagLst>
</file>

<file path=ppt/tags/tag14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4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47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5.xml><?xml version="1.0" encoding="utf-8"?>
<p:tagLst xmlns:a="http://schemas.openxmlformats.org/drawingml/2006/main" xmlns:r="http://schemas.openxmlformats.org/officeDocument/2006/relationships" xmlns:p="http://schemas.openxmlformats.org/presentationml/2006/main">
  <p:tag name="NAME" val="ACET"/>
</p:tagLst>
</file>

<file path=ppt/tags/tag14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77.xml><?xml version="1.0" encoding="utf-8"?>
<p:tagLst xmlns:a="http://schemas.openxmlformats.org/drawingml/2006/main" xmlns:r="http://schemas.openxmlformats.org/officeDocument/2006/relationships" xmlns:p="http://schemas.openxmlformats.org/presentationml/2006/main">
  <p:tag name="NAME" val="Moon"/>
</p:tagLst>
</file>

<file path=ppt/tags/tag1478.xml><?xml version="1.0" encoding="utf-8"?>
<p:tagLst xmlns:a="http://schemas.openxmlformats.org/drawingml/2006/main" xmlns:r="http://schemas.openxmlformats.org/officeDocument/2006/relationships" xmlns:p="http://schemas.openxmlformats.org/presentationml/2006/main">
  <p:tag name="NAME" val="Moon"/>
</p:tagLst>
</file>

<file path=ppt/tags/tag1479.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0.xml><?xml version="1.0" encoding="utf-8"?>
<p:tagLst xmlns:a="http://schemas.openxmlformats.org/drawingml/2006/main" xmlns:r="http://schemas.openxmlformats.org/officeDocument/2006/relationships" xmlns:p="http://schemas.openxmlformats.org/presentationml/2006/main">
  <p:tag name="NAME" val="Moon"/>
</p:tagLst>
</file>

<file path=ppt/tags/tag1481.xml><?xml version="1.0" encoding="utf-8"?>
<p:tagLst xmlns:a="http://schemas.openxmlformats.org/drawingml/2006/main" xmlns:r="http://schemas.openxmlformats.org/officeDocument/2006/relationships" xmlns:p="http://schemas.openxmlformats.org/presentationml/2006/main">
  <p:tag name="NAME" val="Moon"/>
</p:tagLst>
</file>

<file path=ppt/tags/tag1482.xml><?xml version="1.0" encoding="utf-8"?>
<p:tagLst xmlns:a="http://schemas.openxmlformats.org/drawingml/2006/main" xmlns:r="http://schemas.openxmlformats.org/officeDocument/2006/relationships" xmlns:p="http://schemas.openxmlformats.org/presentationml/2006/main">
  <p:tag name="ANGLE" val="5"/>
</p:tagLst>
</file>

<file path=ppt/tags/tag1483.xml><?xml version="1.0" encoding="utf-8"?>
<p:tagLst xmlns:a="http://schemas.openxmlformats.org/drawingml/2006/main" xmlns:r="http://schemas.openxmlformats.org/officeDocument/2006/relationships" xmlns:p="http://schemas.openxmlformats.org/presentationml/2006/main">
  <p:tag name="ANGLE" val="5"/>
</p:tagLst>
</file>

<file path=ppt/tags/tag1484.xml><?xml version="1.0" encoding="utf-8"?>
<p:tagLst xmlns:a="http://schemas.openxmlformats.org/drawingml/2006/main" xmlns:r="http://schemas.openxmlformats.org/officeDocument/2006/relationships" xmlns:p="http://schemas.openxmlformats.org/presentationml/2006/main">
  <p:tag name="ANGLE" val="4"/>
</p:tagLst>
</file>

<file path=ppt/tags/tag1485.xml><?xml version="1.0" encoding="utf-8"?>
<p:tagLst xmlns:a="http://schemas.openxmlformats.org/drawingml/2006/main" xmlns:r="http://schemas.openxmlformats.org/officeDocument/2006/relationships" xmlns:p="http://schemas.openxmlformats.org/presentationml/2006/main">
  <p:tag name="ANGLE" val="4"/>
</p:tagLst>
</file>

<file path=ppt/tags/tag1486.xml><?xml version="1.0" encoding="utf-8"?>
<p:tagLst xmlns:a="http://schemas.openxmlformats.org/drawingml/2006/main" xmlns:r="http://schemas.openxmlformats.org/officeDocument/2006/relationships" xmlns:p="http://schemas.openxmlformats.org/presentationml/2006/main">
  <p:tag name="ANGLE" val="3"/>
</p:tagLst>
</file>

<file path=ppt/tags/tag1487.xml><?xml version="1.0" encoding="utf-8"?>
<p:tagLst xmlns:a="http://schemas.openxmlformats.org/drawingml/2006/main" xmlns:r="http://schemas.openxmlformats.org/officeDocument/2006/relationships" xmlns:p="http://schemas.openxmlformats.org/presentationml/2006/main">
  <p:tag name="ANGLE" val="3"/>
</p:tagLst>
</file>

<file path=ppt/tags/tag1488.xml><?xml version="1.0" encoding="utf-8"?>
<p:tagLst xmlns:a="http://schemas.openxmlformats.org/drawingml/2006/main" xmlns:r="http://schemas.openxmlformats.org/officeDocument/2006/relationships" xmlns:p="http://schemas.openxmlformats.org/presentationml/2006/main">
  <p:tag name="ANGLE" val="2"/>
</p:tagLst>
</file>

<file path=ppt/tags/tag1489.xml><?xml version="1.0" encoding="utf-8"?>
<p:tagLst xmlns:a="http://schemas.openxmlformats.org/drawingml/2006/main" xmlns:r="http://schemas.openxmlformats.org/officeDocument/2006/relationships" xmlns:p="http://schemas.openxmlformats.org/presentationml/2006/main">
  <p:tag name="ANGLE" val="2"/>
</p:tagLst>
</file>

<file path=ppt/tags/tag1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0.xml><?xml version="1.0" encoding="utf-8"?>
<p:tagLst xmlns:a="http://schemas.openxmlformats.org/drawingml/2006/main" xmlns:r="http://schemas.openxmlformats.org/officeDocument/2006/relationships" xmlns:p="http://schemas.openxmlformats.org/presentationml/2006/main">
  <p:tag name="ANGLE" val="1"/>
</p:tagLst>
</file>

<file path=ppt/tags/tag1491.xml><?xml version="1.0" encoding="utf-8"?>
<p:tagLst xmlns:a="http://schemas.openxmlformats.org/drawingml/2006/main" xmlns:r="http://schemas.openxmlformats.org/officeDocument/2006/relationships" xmlns:p="http://schemas.openxmlformats.org/presentationml/2006/main">
  <p:tag name="ANGLE" val="1"/>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9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95.xml><?xml version="1.0" encoding="utf-8"?>
<p:tagLst xmlns:a="http://schemas.openxmlformats.org/drawingml/2006/main" xmlns:r="http://schemas.openxmlformats.org/officeDocument/2006/relationships" xmlns:p="http://schemas.openxmlformats.org/presentationml/2006/main">
  <p:tag name="SHAPENAME" val="Title"/>
</p:tagLst>
</file>

<file path=ppt/tags/tag1496.xml><?xml version="1.0" encoding="utf-8"?>
<p:tagLst xmlns:a="http://schemas.openxmlformats.org/drawingml/2006/main" xmlns:r="http://schemas.openxmlformats.org/officeDocument/2006/relationships" xmlns:p="http://schemas.openxmlformats.org/presentationml/2006/main">
  <p:tag name="SHAPENAME" val="Subtitle"/>
</p:tagLst>
</file>

<file path=ppt/tags/tag149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01.xml><?xml version="1.0" encoding="utf-8"?>
<p:tagLst xmlns:a="http://schemas.openxmlformats.org/drawingml/2006/main" xmlns:r="http://schemas.openxmlformats.org/officeDocument/2006/relationships" xmlns:p="http://schemas.openxmlformats.org/presentationml/2006/main">
  <p:tag name="SHAPENAME" val="5. Source"/>
</p:tagLst>
</file>

<file path=ppt/tags/tag15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5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5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6.xml><?xml version="1.0" encoding="utf-8"?>
<p:tagLst xmlns:a="http://schemas.openxmlformats.org/drawingml/2006/main" xmlns:r="http://schemas.openxmlformats.org/officeDocument/2006/relationships" xmlns:p="http://schemas.openxmlformats.org/presentationml/2006/main">
  <p:tag name="SHAPENAME" val="5. Source"/>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5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2.xml><?xml version="1.0" encoding="utf-8"?>
<p:tagLst xmlns:a="http://schemas.openxmlformats.org/drawingml/2006/main" xmlns:r="http://schemas.openxmlformats.org/officeDocument/2006/relationships" xmlns:p="http://schemas.openxmlformats.org/presentationml/2006/main">
  <p:tag name="SHAPENAME" val="5. Source"/>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5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9.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5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38.xml><?xml version="1.0" encoding="utf-8"?>
<p:tagLst xmlns:a="http://schemas.openxmlformats.org/drawingml/2006/main" xmlns:r="http://schemas.openxmlformats.org/officeDocument/2006/relationships" xmlns:p="http://schemas.openxmlformats.org/presentationml/2006/main">
  <p:tag name="SHAPENAME" val="5. Source"/>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5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47.xml><?xml version="1.0" encoding="utf-8"?>
<p:tagLst xmlns:a="http://schemas.openxmlformats.org/drawingml/2006/main" xmlns:r="http://schemas.openxmlformats.org/officeDocument/2006/relationships" xmlns:p="http://schemas.openxmlformats.org/presentationml/2006/main">
  <p:tag name="SHAPENAME" val="5. Source"/>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5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6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74.xml><?xml version="1.0" encoding="utf-8"?>
<p:tagLst xmlns:a="http://schemas.openxmlformats.org/drawingml/2006/main" xmlns:r="http://schemas.openxmlformats.org/officeDocument/2006/relationships" xmlns:p="http://schemas.openxmlformats.org/presentationml/2006/main">
  <p:tag name="SHAPENAME" val="5. Source"/>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5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81.xml><?xml version="1.0" encoding="utf-8"?>
<p:tagLst xmlns:a="http://schemas.openxmlformats.org/drawingml/2006/main" xmlns:r="http://schemas.openxmlformats.org/officeDocument/2006/relationships" xmlns:p="http://schemas.openxmlformats.org/presentationml/2006/main">
  <p:tag name="SHAPENAME" val="5. Source"/>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86.xml><?xml version="1.0" encoding="utf-8"?>
<p:tagLst xmlns:a="http://schemas.openxmlformats.org/drawingml/2006/main" xmlns:r="http://schemas.openxmlformats.org/officeDocument/2006/relationships" xmlns:p="http://schemas.openxmlformats.org/presentationml/2006/main">
  <p:tag name="SHAPENAME" val="5. Source"/>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0.xml><?xml version="1.0" encoding="utf-8"?>
<p:tagLst xmlns:a="http://schemas.openxmlformats.org/drawingml/2006/main" xmlns:r="http://schemas.openxmlformats.org/officeDocument/2006/relationships" xmlns:p="http://schemas.openxmlformats.org/presentationml/2006/main">
  <p:tag name="NAME" val="Sticky"/>
</p:tagLst>
</file>

<file path=ppt/tags/tag15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2.xml><?xml version="1.0" encoding="utf-8"?>
<p:tagLst xmlns:a="http://schemas.openxmlformats.org/drawingml/2006/main" xmlns:r="http://schemas.openxmlformats.org/officeDocument/2006/relationships" xmlns:p="http://schemas.openxmlformats.org/presentationml/2006/main">
  <p:tag name="NAME" val="CustomIcon"/>
</p:tagLst>
</file>

<file path=ppt/tags/tag1593.xml><?xml version="1.0" encoding="utf-8"?>
<p:tagLst xmlns:a="http://schemas.openxmlformats.org/drawingml/2006/main" xmlns:r="http://schemas.openxmlformats.org/officeDocument/2006/relationships" xmlns:p="http://schemas.openxmlformats.org/presentationml/2006/main">
  <p:tag name="NAME" val="CustomIcon"/>
</p:tagLst>
</file>

<file path=ppt/tags/tag1594.xml><?xml version="1.0" encoding="utf-8"?>
<p:tagLst xmlns:a="http://schemas.openxmlformats.org/drawingml/2006/main" xmlns:r="http://schemas.openxmlformats.org/officeDocument/2006/relationships" xmlns:p="http://schemas.openxmlformats.org/presentationml/2006/main">
  <p:tag name="NAME" val="CustomIcon"/>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7.xml><?xml version="1.0" encoding="utf-8"?>
<p:tagLst xmlns:a="http://schemas.openxmlformats.org/drawingml/2006/main" xmlns:r="http://schemas.openxmlformats.org/officeDocument/2006/relationships" xmlns:p="http://schemas.openxmlformats.org/presentationml/2006/main">
  <p:tag name="NAME" val="CustomIcon"/>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600.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1.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2.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3.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4.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5.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6.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7.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qjK9iC78fYgNWpqh6jBwtQ"/>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2.xml><?xml version="1.0" encoding="utf-8"?>
<p:tagLst xmlns:a="http://schemas.openxmlformats.org/drawingml/2006/main" xmlns:r="http://schemas.openxmlformats.org/officeDocument/2006/relationships" xmlns:p="http://schemas.openxmlformats.org/presentationml/2006/main">
  <p:tag name="NAME" val="CustomIcon"/>
</p:tagLst>
</file>

<file path=ppt/tags/tag1613.xml><?xml version="1.0" encoding="utf-8"?>
<p:tagLst xmlns:a="http://schemas.openxmlformats.org/drawingml/2006/main" xmlns:r="http://schemas.openxmlformats.org/officeDocument/2006/relationships" xmlns:p="http://schemas.openxmlformats.org/presentationml/2006/main">
  <p:tag name="NAME" val="CustomIcon"/>
</p:tagLst>
</file>

<file path=ppt/tags/tag1614.xml><?xml version="1.0" encoding="utf-8"?>
<p:tagLst xmlns:a="http://schemas.openxmlformats.org/drawingml/2006/main" xmlns:r="http://schemas.openxmlformats.org/officeDocument/2006/relationships" xmlns:p="http://schemas.openxmlformats.org/presentationml/2006/main">
  <p:tag name="NAME" val="CustomIcon"/>
</p:tagLst>
</file>

<file path=ppt/tags/tag1615.xml><?xml version="1.0" encoding="utf-8"?>
<p:tagLst xmlns:a="http://schemas.openxmlformats.org/drawingml/2006/main" xmlns:r="http://schemas.openxmlformats.org/officeDocument/2006/relationships" xmlns:p="http://schemas.openxmlformats.org/presentationml/2006/main">
  <p:tag name="NAME" val="CustomIcon"/>
</p:tagLst>
</file>

<file path=ppt/tags/tag1616.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617.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23.xml><?xml version="1.0" encoding="utf-8"?>
<p:tagLst xmlns:a="http://schemas.openxmlformats.org/drawingml/2006/main" xmlns:r="http://schemas.openxmlformats.org/officeDocument/2006/relationships" xmlns:p="http://schemas.openxmlformats.org/presentationml/2006/main">
  <p:tag name="NAME" val="CustomIcon"/>
</p:tagLst>
</file>

<file path=ppt/tags/tag1624.xml><?xml version="1.0" encoding="utf-8"?>
<p:tagLst xmlns:a="http://schemas.openxmlformats.org/drawingml/2006/main" xmlns:r="http://schemas.openxmlformats.org/officeDocument/2006/relationships" xmlns:p="http://schemas.openxmlformats.org/presentationml/2006/main">
  <p:tag name="NAME" val="CustomIcon"/>
</p:tagLst>
</file>

<file path=ppt/tags/tag1625.xml><?xml version="1.0" encoding="utf-8"?>
<p:tagLst xmlns:a="http://schemas.openxmlformats.org/drawingml/2006/main" xmlns:r="http://schemas.openxmlformats.org/officeDocument/2006/relationships" xmlns:p="http://schemas.openxmlformats.org/presentationml/2006/main">
  <p:tag name="NAME" val="CustomIcon"/>
</p:tagLst>
</file>

<file path=ppt/tags/tag1626.xml><?xml version="1.0" encoding="utf-8"?>
<p:tagLst xmlns:a="http://schemas.openxmlformats.org/drawingml/2006/main" xmlns:r="http://schemas.openxmlformats.org/officeDocument/2006/relationships" xmlns:p="http://schemas.openxmlformats.org/presentationml/2006/main">
  <p:tag name="NAME" val="CustomIcon"/>
</p:tagLst>
</file>

<file path=ppt/tags/tag162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2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2.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33.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34.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35.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36.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37.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38.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39.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40.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41.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4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4.xml><?xml version="1.0" encoding="utf-8"?>
<p:tagLst xmlns:a="http://schemas.openxmlformats.org/drawingml/2006/main" xmlns:r="http://schemas.openxmlformats.org/officeDocument/2006/relationships" xmlns:p="http://schemas.openxmlformats.org/presentationml/2006/main">
  <p:tag name="NAME" val="CustomIcon"/>
</p:tagLst>
</file>

<file path=ppt/tags/tag1645.xml><?xml version="1.0" encoding="utf-8"?>
<p:tagLst xmlns:a="http://schemas.openxmlformats.org/drawingml/2006/main" xmlns:r="http://schemas.openxmlformats.org/officeDocument/2006/relationships" xmlns:p="http://schemas.openxmlformats.org/presentationml/2006/main">
  <p:tag name="NAME" val="CustomIcon"/>
</p:tagLst>
</file>

<file path=ppt/tags/tag1646.xml><?xml version="1.0" encoding="utf-8"?>
<p:tagLst xmlns:a="http://schemas.openxmlformats.org/drawingml/2006/main" xmlns:r="http://schemas.openxmlformats.org/officeDocument/2006/relationships" xmlns:p="http://schemas.openxmlformats.org/presentationml/2006/main">
  <p:tag name="NAME" val="CustomIcon"/>
</p:tagLst>
</file>

<file path=ppt/tags/tag1647.xml><?xml version="1.0" encoding="utf-8"?>
<p:tagLst xmlns:a="http://schemas.openxmlformats.org/drawingml/2006/main" xmlns:r="http://schemas.openxmlformats.org/officeDocument/2006/relationships" xmlns:p="http://schemas.openxmlformats.org/presentationml/2006/main">
  <p:tag name="NAME" val="CustomIcon"/>
</p:tagLst>
</file>

<file path=ppt/tags/tag1648.xml><?xml version="1.0" encoding="utf-8"?>
<p:tagLst xmlns:a="http://schemas.openxmlformats.org/drawingml/2006/main" xmlns:r="http://schemas.openxmlformats.org/officeDocument/2006/relationships" xmlns:p="http://schemas.openxmlformats.org/presentationml/2006/main">
  <p:tag name="NAME" val="CustomIcon"/>
</p:tagLst>
</file>

<file path=ppt/tags/tag1649.xml><?xml version="1.0" encoding="utf-8"?>
<p:tagLst xmlns:a="http://schemas.openxmlformats.org/drawingml/2006/main" xmlns:r="http://schemas.openxmlformats.org/officeDocument/2006/relationships" xmlns:p="http://schemas.openxmlformats.org/presentationml/2006/main">
  <p:tag name="NAME" val="CustomIcon"/>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0.xml><?xml version="1.0" encoding="utf-8"?>
<p:tagLst xmlns:a="http://schemas.openxmlformats.org/drawingml/2006/main" xmlns:r="http://schemas.openxmlformats.org/officeDocument/2006/relationships" xmlns:p="http://schemas.openxmlformats.org/presentationml/2006/main">
  <p:tag name="NAME" val="CustomIcon"/>
</p:tagLst>
</file>

<file path=ppt/tags/tag1651.xml><?xml version="1.0" encoding="utf-8"?>
<p:tagLst xmlns:a="http://schemas.openxmlformats.org/drawingml/2006/main" xmlns:r="http://schemas.openxmlformats.org/officeDocument/2006/relationships" xmlns:p="http://schemas.openxmlformats.org/presentationml/2006/main">
  <p:tag name="NAME" val="CustomIcon"/>
</p:tagLst>
</file>

<file path=ppt/tags/tag1652.xml><?xml version="1.0" encoding="utf-8"?>
<p:tagLst xmlns:a="http://schemas.openxmlformats.org/drawingml/2006/main" xmlns:r="http://schemas.openxmlformats.org/officeDocument/2006/relationships" xmlns:p="http://schemas.openxmlformats.org/presentationml/2006/main">
  <p:tag name="NAME" val="CustomIcon"/>
</p:tagLst>
</file>

<file path=ppt/tags/tag1653.xml><?xml version="1.0" encoding="utf-8"?>
<p:tagLst xmlns:a="http://schemas.openxmlformats.org/drawingml/2006/main" xmlns:r="http://schemas.openxmlformats.org/officeDocument/2006/relationships" xmlns:p="http://schemas.openxmlformats.org/presentationml/2006/main">
  <p:tag name="NAME" val="CustomIcon"/>
</p:tagLst>
</file>

<file path=ppt/tags/tag1654.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655.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66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661.xml><?xml version="1.0" encoding="utf-8"?>
<p:tagLst xmlns:a="http://schemas.openxmlformats.org/drawingml/2006/main" xmlns:r="http://schemas.openxmlformats.org/officeDocument/2006/relationships" xmlns:p="http://schemas.openxmlformats.org/presentationml/2006/main">
  <p:tag name="NAME" val="CustomIcon"/>
</p:tagLst>
</file>

<file path=ppt/tags/tag1662.xml><?xml version="1.0" encoding="utf-8"?>
<p:tagLst xmlns:a="http://schemas.openxmlformats.org/drawingml/2006/main" xmlns:r="http://schemas.openxmlformats.org/officeDocument/2006/relationships" xmlns:p="http://schemas.openxmlformats.org/presentationml/2006/main">
  <p:tag name="NAME" val="CustomIcon"/>
</p:tagLst>
</file>

<file path=ppt/tags/tag1663.xml><?xml version="1.0" encoding="utf-8"?>
<p:tagLst xmlns:a="http://schemas.openxmlformats.org/drawingml/2006/main" xmlns:r="http://schemas.openxmlformats.org/officeDocument/2006/relationships" xmlns:p="http://schemas.openxmlformats.org/presentationml/2006/main">
  <p:tag name="NAME" val="CustomIcon"/>
</p:tagLst>
</file>

<file path=ppt/tags/tag1664.xml><?xml version="1.0" encoding="utf-8"?>
<p:tagLst xmlns:a="http://schemas.openxmlformats.org/drawingml/2006/main" xmlns:r="http://schemas.openxmlformats.org/officeDocument/2006/relationships" xmlns:p="http://schemas.openxmlformats.org/presentationml/2006/main">
  <p:tag name="NAME" val="CustomIcon"/>
</p:tagLst>
</file>

<file path=ppt/tags/tag1665.xml><?xml version="1.0" encoding="utf-8"?>
<p:tagLst xmlns:a="http://schemas.openxmlformats.org/drawingml/2006/main" xmlns:r="http://schemas.openxmlformats.org/officeDocument/2006/relationships" xmlns:p="http://schemas.openxmlformats.org/presentationml/2006/main">
  <p:tag name="NAME" val="CustomIcon"/>
</p:tagLst>
</file>

<file path=ppt/tags/tag1666.xml><?xml version="1.0" encoding="utf-8"?>
<p:tagLst xmlns:a="http://schemas.openxmlformats.org/drawingml/2006/main" xmlns:r="http://schemas.openxmlformats.org/officeDocument/2006/relationships" xmlns:p="http://schemas.openxmlformats.org/presentationml/2006/main">
  <p:tag name="NAME" val="CustomIcon"/>
</p:tagLst>
</file>

<file path=ppt/tags/tag1667.xml><?xml version="1.0" encoding="utf-8"?>
<p:tagLst xmlns:a="http://schemas.openxmlformats.org/drawingml/2006/main" xmlns:r="http://schemas.openxmlformats.org/officeDocument/2006/relationships" xmlns:p="http://schemas.openxmlformats.org/presentationml/2006/main">
  <p:tag name="NAME" val="CustomIcon"/>
</p:tagLst>
</file>

<file path=ppt/tags/tag1668.xml><?xml version="1.0" encoding="utf-8"?>
<p:tagLst xmlns:a="http://schemas.openxmlformats.org/drawingml/2006/main" xmlns:r="http://schemas.openxmlformats.org/officeDocument/2006/relationships" xmlns:p="http://schemas.openxmlformats.org/presentationml/2006/main">
  <p:tag name="NAME" val="CustomIcon"/>
</p:tagLst>
</file>

<file path=ppt/tags/tag1669.xml><?xml version="1.0" encoding="utf-8"?>
<p:tagLst xmlns:a="http://schemas.openxmlformats.org/drawingml/2006/main" xmlns:r="http://schemas.openxmlformats.org/officeDocument/2006/relationships" xmlns:p="http://schemas.openxmlformats.org/presentationml/2006/main">
  <p:tag name="NAME" val="CustomIcon"/>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0.xml><?xml version="1.0" encoding="utf-8"?>
<p:tagLst xmlns:a="http://schemas.openxmlformats.org/drawingml/2006/main" xmlns:r="http://schemas.openxmlformats.org/officeDocument/2006/relationships" xmlns:p="http://schemas.openxmlformats.org/presentationml/2006/main">
  <p:tag name="NAME" val="CustomIcon"/>
</p:tagLst>
</file>

<file path=ppt/tags/tag1671.xml><?xml version="1.0" encoding="utf-8"?>
<p:tagLst xmlns:a="http://schemas.openxmlformats.org/drawingml/2006/main" xmlns:r="http://schemas.openxmlformats.org/officeDocument/2006/relationships" xmlns:p="http://schemas.openxmlformats.org/presentationml/2006/main">
  <p:tag name="NAME" val="CustomIcon"/>
</p:tagLst>
</file>

<file path=ppt/tags/tag1672.xml><?xml version="1.0" encoding="utf-8"?>
<p:tagLst xmlns:a="http://schemas.openxmlformats.org/drawingml/2006/main" xmlns:r="http://schemas.openxmlformats.org/officeDocument/2006/relationships" xmlns:p="http://schemas.openxmlformats.org/presentationml/2006/main">
  <p:tag name="NAME" val="CustomIcon"/>
</p:tagLst>
</file>

<file path=ppt/tags/tag1673.xml><?xml version="1.0" encoding="utf-8"?>
<p:tagLst xmlns:a="http://schemas.openxmlformats.org/drawingml/2006/main" xmlns:r="http://schemas.openxmlformats.org/officeDocument/2006/relationships" xmlns:p="http://schemas.openxmlformats.org/presentationml/2006/main">
  <p:tag name="NAME" val="CustomIcon"/>
</p:tagLst>
</file>

<file path=ppt/tags/tag1674.xml><?xml version="1.0" encoding="utf-8"?>
<p:tagLst xmlns:a="http://schemas.openxmlformats.org/drawingml/2006/main" xmlns:r="http://schemas.openxmlformats.org/officeDocument/2006/relationships" xmlns:p="http://schemas.openxmlformats.org/presentationml/2006/main">
  <p:tag name="NAME" val="CustomIcon"/>
</p:tagLst>
</file>

<file path=ppt/tags/tag1675.xml><?xml version="1.0" encoding="utf-8"?>
<p:tagLst xmlns:a="http://schemas.openxmlformats.org/drawingml/2006/main" xmlns:r="http://schemas.openxmlformats.org/officeDocument/2006/relationships" xmlns:p="http://schemas.openxmlformats.org/presentationml/2006/main">
  <p:tag name="NAME" val="CustomIcon"/>
</p:tagLst>
</file>

<file path=ppt/tags/tag1676.xml><?xml version="1.0" encoding="utf-8"?>
<p:tagLst xmlns:a="http://schemas.openxmlformats.org/drawingml/2006/main" xmlns:r="http://schemas.openxmlformats.org/officeDocument/2006/relationships" xmlns:p="http://schemas.openxmlformats.org/presentationml/2006/main">
  <p:tag name="NAME" val="CustomIcon"/>
</p:tagLst>
</file>

<file path=ppt/tags/tag1677.xml><?xml version="1.0" encoding="utf-8"?>
<p:tagLst xmlns:a="http://schemas.openxmlformats.org/drawingml/2006/main" xmlns:r="http://schemas.openxmlformats.org/officeDocument/2006/relationships" xmlns:p="http://schemas.openxmlformats.org/presentationml/2006/main">
  <p:tag name="NAME" val="CustomIcon"/>
</p:tagLst>
</file>

<file path=ppt/tags/tag1678.xml><?xml version="1.0" encoding="utf-8"?>
<p:tagLst xmlns:a="http://schemas.openxmlformats.org/drawingml/2006/main" xmlns:r="http://schemas.openxmlformats.org/officeDocument/2006/relationships" xmlns:p="http://schemas.openxmlformats.org/presentationml/2006/main">
  <p:tag name="NAME" val="CustomIcon"/>
</p:tagLst>
</file>

<file path=ppt/tags/tag1679.xml><?xml version="1.0" encoding="utf-8"?>
<p:tagLst xmlns:a="http://schemas.openxmlformats.org/drawingml/2006/main" xmlns:r="http://schemas.openxmlformats.org/officeDocument/2006/relationships" xmlns:p="http://schemas.openxmlformats.org/presentationml/2006/main">
  <p:tag name="NAME" val="CustomIcon"/>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0.xml><?xml version="1.0" encoding="utf-8"?>
<p:tagLst xmlns:a="http://schemas.openxmlformats.org/drawingml/2006/main" xmlns:r="http://schemas.openxmlformats.org/officeDocument/2006/relationships" xmlns:p="http://schemas.openxmlformats.org/presentationml/2006/main">
  <p:tag name="NAME" val="CustomIcon"/>
</p:tagLst>
</file>

<file path=ppt/tags/tag1681.xml><?xml version="1.0" encoding="utf-8"?>
<p:tagLst xmlns:a="http://schemas.openxmlformats.org/drawingml/2006/main" xmlns:r="http://schemas.openxmlformats.org/officeDocument/2006/relationships" xmlns:p="http://schemas.openxmlformats.org/presentationml/2006/main">
  <p:tag name="NAME" val="CustomIcon"/>
</p:tagLst>
</file>

<file path=ppt/tags/tag1682.xml><?xml version="1.0" encoding="utf-8"?>
<p:tagLst xmlns:a="http://schemas.openxmlformats.org/drawingml/2006/main" xmlns:r="http://schemas.openxmlformats.org/officeDocument/2006/relationships" xmlns:p="http://schemas.openxmlformats.org/presentationml/2006/main">
  <p:tag name="NAME" val="CustomIcon"/>
</p:tagLst>
</file>

<file path=ppt/tags/tag1683.xml><?xml version="1.0" encoding="utf-8"?>
<p:tagLst xmlns:a="http://schemas.openxmlformats.org/drawingml/2006/main" xmlns:r="http://schemas.openxmlformats.org/officeDocument/2006/relationships" xmlns:p="http://schemas.openxmlformats.org/presentationml/2006/main">
  <p:tag name="NAME" val="CustomIcon"/>
</p:tagLst>
</file>

<file path=ppt/tags/tag1684.xml><?xml version="1.0" encoding="utf-8"?>
<p:tagLst xmlns:a="http://schemas.openxmlformats.org/drawingml/2006/main" xmlns:r="http://schemas.openxmlformats.org/officeDocument/2006/relationships" xmlns:p="http://schemas.openxmlformats.org/presentationml/2006/main">
  <p:tag name="NAME" val="CustomIcon"/>
</p:tagLst>
</file>

<file path=ppt/tags/tag1685.xml><?xml version="1.0" encoding="utf-8"?>
<p:tagLst xmlns:a="http://schemas.openxmlformats.org/drawingml/2006/main" xmlns:r="http://schemas.openxmlformats.org/officeDocument/2006/relationships" xmlns:p="http://schemas.openxmlformats.org/presentationml/2006/main">
  <p:tag name="NAME" val="CustomIcon"/>
</p:tagLst>
</file>

<file path=ppt/tags/tag1686.xml><?xml version="1.0" encoding="utf-8"?>
<p:tagLst xmlns:a="http://schemas.openxmlformats.org/drawingml/2006/main" xmlns:r="http://schemas.openxmlformats.org/officeDocument/2006/relationships" xmlns:p="http://schemas.openxmlformats.org/presentationml/2006/main">
  <p:tag name="NAME" val="CustomIcon"/>
</p:tagLst>
</file>

<file path=ppt/tags/tag1687.xml><?xml version="1.0" encoding="utf-8"?>
<p:tagLst xmlns:a="http://schemas.openxmlformats.org/drawingml/2006/main" xmlns:r="http://schemas.openxmlformats.org/officeDocument/2006/relationships" xmlns:p="http://schemas.openxmlformats.org/presentationml/2006/main">
  <p:tag name="NAME" val="CustomIcon"/>
</p:tagLst>
</file>

<file path=ppt/tags/tag1688.xml><?xml version="1.0" encoding="utf-8"?>
<p:tagLst xmlns:a="http://schemas.openxmlformats.org/drawingml/2006/main" xmlns:r="http://schemas.openxmlformats.org/officeDocument/2006/relationships" xmlns:p="http://schemas.openxmlformats.org/presentationml/2006/main">
  <p:tag name="NAME" val="CustomIcon"/>
</p:tagLst>
</file>

<file path=ppt/tags/tag1689.xml><?xml version="1.0" encoding="utf-8"?>
<p:tagLst xmlns:a="http://schemas.openxmlformats.org/drawingml/2006/main" xmlns:r="http://schemas.openxmlformats.org/officeDocument/2006/relationships" xmlns:p="http://schemas.openxmlformats.org/presentationml/2006/main">
  <p:tag name="NAME" val="CustomIcon"/>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0.xml><?xml version="1.0" encoding="utf-8"?>
<p:tagLst xmlns:a="http://schemas.openxmlformats.org/drawingml/2006/main" xmlns:r="http://schemas.openxmlformats.org/officeDocument/2006/relationships" xmlns:p="http://schemas.openxmlformats.org/presentationml/2006/main">
  <p:tag name="NAME" val="CustomIcon"/>
</p:tagLst>
</file>

<file path=ppt/tags/tag1691.xml><?xml version="1.0" encoding="utf-8"?>
<p:tagLst xmlns:a="http://schemas.openxmlformats.org/drawingml/2006/main" xmlns:r="http://schemas.openxmlformats.org/officeDocument/2006/relationships" xmlns:p="http://schemas.openxmlformats.org/presentationml/2006/main">
  <p:tag name="NAME" val="CustomIcon"/>
</p:tagLst>
</file>

<file path=ppt/tags/tag1692.xml><?xml version="1.0" encoding="utf-8"?>
<p:tagLst xmlns:a="http://schemas.openxmlformats.org/drawingml/2006/main" xmlns:r="http://schemas.openxmlformats.org/officeDocument/2006/relationships" xmlns:p="http://schemas.openxmlformats.org/presentationml/2006/main">
  <p:tag name="NAME" val="CustomIcon"/>
</p:tagLst>
</file>

<file path=ppt/tags/tag1693.xml><?xml version="1.0" encoding="utf-8"?>
<p:tagLst xmlns:a="http://schemas.openxmlformats.org/drawingml/2006/main" xmlns:r="http://schemas.openxmlformats.org/officeDocument/2006/relationships" xmlns:p="http://schemas.openxmlformats.org/presentationml/2006/main">
  <p:tag name="NAME" val="CustomIcon"/>
</p:tagLst>
</file>

<file path=ppt/tags/tag1694.xml><?xml version="1.0" encoding="utf-8"?>
<p:tagLst xmlns:a="http://schemas.openxmlformats.org/drawingml/2006/main" xmlns:r="http://schemas.openxmlformats.org/officeDocument/2006/relationships" xmlns:p="http://schemas.openxmlformats.org/presentationml/2006/main">
  <p:tag name="NAME" val="CustomIcon"/>
</p:tagLst>
</file>

<file path=ppt/tags/tag1695.xml><?xml version="1.0" encoding="utf-8"?>
<p:tagLst xmlns:a="http://schemas.openxmlformats.org/drawingml/2006/main" xmlns:r="http://schemas.openxmlformats.org/officeDocument/2006/relationships" xmlns:p="http://schemas.openxmlformats.org/presentationml/2006/main">
  <p:tag name="NAME" val="CustomIcon"/>
</p:tagLst>
</file>

<file path=ppt/tags/tag1696.xml><?xml version="1.0" encoding="utf-8"?>
<p:tagLst xmlns:a="http://schemas.openxmlformats.org/drawingml/2006/main" xmlns:r="http://schemas.openxmlformats.org/officeDocument/2006/relationships" xmlns:p="http://schemas.openxmlformats.org/presentationml/2006/main">
  <p:tag name="NAME" val="CustomIcon"/>
</p:tagLst>
</file>

<file path=ppt/tags/tag1697.xml><?xml version="1.0" encoding="utf-8"?>
<p:tagLst xmlns:a="http://schemas.openxmlformats.org/drawingml/2006/main" xmlns:r="http://schemas.openxmlformats.org/officeDocument/2006/relationships" xmlns:p="http://schemas.openxmlformats.org/presentationml/2006/main">
  <p:tag name="NAME" val="CustomIcon"/>
</p:tagLst>
</file>

<file path=ppt/tags/tag1698.xml><?xml version="1.0" encoding="utf-8"?>
<p:tagLst xmlns:a="http://schemas.openxmlformats.org/drawingml/2006/main" xmlns:r="http://schemas.openxmlformats.org/officeDocument/2006/relationships" xmlns:p="http://schemas.openxmlformats.org/presentationml/2006/main">
  <p:tag name="NAME" val="CustomIcon"/>
</p:tagLst>
</file>

<file path=ppt/tags/tag1699.xml><?xml version="1.0" encoding="utf-8"?>
<p:tagLst xmlns:a="http://schemas.openxmlformats.org/drawingml/2006/main" xmlns:r="http://schemas.openxmlformats.org/officeDocument/2006/relationships" xmlns:p="http://schemas.openxmlformats.org/presentationml/2006/main">
  <p:tag name="NAME" val="CustomIcon"/>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00.xml><?xml version="1.0" encoding="utf-8"?>
<p:tagLst xmlns:a="http://schemas.openxmlformats.org/drawingml/2006/main" xmlns:r="http://schemas.openxmlformats.org/officeDocument/2006/relationships" xmlns:p="http://schemas.openxmlformats.org/presentationml/2006/main">
  <p:tag name="NAME" val="CustomIcon"/>
</p:tagLst>
</file>

<file path=ppt/tags/tag1701.xml><?xml version="1.0" encoding="utf-8"?>
<p:tagLst xmlns:a="http://schemas.openxmlformats.org/drawingml/2006/main" xmlns:r="http://schemas.openxmlformats.org/officeDocument/2006/relationships" xmlns:p="http://schemas.openxmlformats.org/presentationml/2006/main">
  <p:tag name="NAME" val="CustomIcon"/>
</p:tagLst>
</file>

<file path=ppt/tags/tag1702.xml><?xml version="1.0" encoding="utf-8"?>
<p:tagLst xmlns:a="http://schemas.openxmlformats.org/drawingml/2006/main" xmlns:r="http://schemas.openxmlformats.org/officeDocument/2006/relationships" xmlns:p="http://schemas.openxmlformats.org/presentationml/2006/main">
  <p:tag name="NAME" val="CustomIcon"/>
</p:tagLst>
</file>

<file path=ppt/tags/tag1703.xml><?xml version="1.0" encoding="utf-8"?>
<p:tagLst xmlns:a="http://schemas.openxmlformats.org/drawingml/2006/main" xmlns:r="http://schemas.openxmlformats.org/officeDocument/2006/relationships" xmlns:p="http://schemas.openxmlformats.org/presentationml/2006/main">
  <p:tag name="NAME" val="CustomIcon"/>
</p:tagLst>
</file>

<file path=ppt/tags/tag1704.xml><?xml version="1.0" encoding="utf-8"?>
<p:tagLst xmlns:a="http://schemas.openxmlformats.org/drawingml/2006/main" xmlns:r="http://schemas.openxmlformats.org/officeDocument/2006/relationships" xmlns:p="http://schemas.openxmlformats.org/presentationml/2006/main">
  <p:tag name="NAME" val="CustomIcon"/>
</p:tagLst>
</file>

<file path=ppt/tags/tag1705.xml><?xml version="1.0" encoding="utf-8"?>
<p:tagLst xmlns:a="http://schemas.openxmlformats.org/drawingml/2006/main" xmlns:r="http://schemas.openxmlformats.org/officeDocument/2006/relationships" xmlns:p="http://schemas.openxmlformats.org/presentationml/2006/main">
  <p:tag name="NAME" val="CustomIcon"/>
</p:tagLst>
</file>

<file path=ppt/tags/tag1706.xml><?xml version="1.0" encoding="utf-8"?>
<p:tagLst xmlns:a="http://schemas.openxmlformats.org/drawingml/2006/main" xmlns:r="http://schemas.openxmlformats.org/officeDocument/2006/relationships" xmlns:p="http://schemas.openxmlformats.org/presentationml/2006/main">
  <p:tag name="NAME" val="CustomIcon"/>
</p:tagLst>
</file>

<file path=ppt/tags/tag1707.xml><?xml version="1.0" encoding="utf-8"?>
<p:tagLst xmlns:a="http://schemas.openxmlformats.org/drawingml/2006/main" xmlns:r="http://schemas.openxmlformats.org/officeDocument/2006/relationships" xmlns:p="http://schemas.openxmlformats.org/presentationml/2006/main">
  <p:tag name="NAME" val="CustomIcon"/>
</p:tagLst>
</file>

<file path=ppt/tags/tag1708.xml><?xml version="1.0" encoding="utf-8"?>
<p:tagLst xmlns:a="http://schemas.openxmlformats.org/drawingml/2006/main" xmlns:r="http://schemas.openxmlformats.org/officeDocument/2006/relationships" xmlns:p="http://schemas.openxmlformats.org/presentationml/2006/main">
  <p:tag name="NAME" val="CustomIcon"/>
</p:tagLst>
</file>

<file path=ppt/tags/tag1709.xml><?xml version="1.0" encoding="utf-8"?>
<p:tagLst xmlns:a="http://schemas.openxmlformats.org/drawingml/2006/main" xmlns:r="http://schemas.openxmlformats.org/officeDocument/2006/relationships" xmlns:p="http://schemas.openxmlformats.org/presentationml/2006/main">
  <p:tag name="NAME" val="CustomIcon"/>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0.xml><?xml version="1.0" encoding="utf-8"?>
<p:tagLst xmlns:a="http://schemas.openxmlformats.org/drawingml/2006/main" xmlns:r="http://schemas.openxmlformats.org/officeDocument/2006/relationships" xmlns:p="http://schemas.openxmlformats.org/presentationml/2006/main">
  <p:tag name="NAME" val="CustomIcon"/>
</p:tagLst>
</file>

<file path=ppt/tags/tag1711.xml><?xml version="1.0" encoding="utf-8"?>
<p:tagLst xmlns:a="http://schemas.openxmlformats.org/drawingml/2006/main" xmlns:r="http://schemas.openxmlformats.org/officeDocument/2006/relationships" xmlns:p="http://schemas.openxmlformats.org/presentationml/2006/main">
  <p:tag name="NAME" val="CustomIcon"/>
</p:tagLst>
</file>

<file path=ppt/tags/tag1712.xml><?xml version="1.0" encoding="utf-8"?>
<p:tagLst xmlns:a="http://schemas.openxmlformats.org/drawingml/2006/main" xmlns:r="http://schemas.openxmlformats.org/officeDocument/2006/relationships" xmlns:p="http://schemas.openxmlformats.org/presentationml/2006/main">
  <p:tag name="NAME" val="CustomIcon"/>
</p:tagLst>
</file>

<file path=ppt/tags/tag1713.xml><?xml version="1.0" encoding="utf-8"?>
<p:tagLst xmlns:a="http://schemas.openxmlformats.org/drawingml/2006/main" xmlns:r="http://schemas.openxmlformats.org/officeDocument/2006/relationships" xmlns:p="http://schemas.openxmlformats.org/presentationml/2006/main">
  <p:tag name="NAME" val="CustomIcon"/>
</p:tagLst>
</file>

<file path=ppt/tags/tag1714.xml><?xml version="1.0" encoding="utf-8"?>
<p:tagLst xmlns:a="http://schemas.openxmlformats.org/drawingml/2006/main" xmlns:r="http://schemas.openxmlformats.org/officeDocument/2006/relationships" xmlns:p="http://schemas.openxmlformats.org/presentationml/2006/main">
  <p:tag name="NAME" val="CustomIcon"/>
</p:tagLst>
</file>

<file path=ppt/tags/tag1715.xml><?xml version="1.0" encoding="utf-8"?>
<p:tagLst xmlns:a="http://schemas.openxmlformats.org/drawingml/2006/main" xmlns:r="http://schemas.openxmlformats.org/officeDocument/2006/relationships" xmlns:p="http://schemas.openxmlformats.org/presentationml/2006/main">
  <p:tag name="NAME" val="CustomIcon"/>
</p:tagLst>
</file>

<file path=ppt/tags/tag1716.xml><?xml version="1.0" encoding="utf-8"?>
<p:tagLst xmlns:a="http://schemas.openxmlformats.org/drawingml/2006/main" xmlns:r="http://schemas.openxmlformats.org/officeDocument/2006/relationships" xmlns:p="http://schemas.openxmlformats.org/presentationml/2006/main">
  <p:tag name="NAME" val="CustomIcon"/>
</p:tagLst>
</file>

<file path=ppt/tags/tag1717.xml><?xml version="1.0" encoding="utf-8"?>
<p:tagLst xmlns:a="http://schemas.openxmlformats.org/drawingml/2006/main" xmlns:r="http://schemas.openxmlformats.org/officeDocument/2006/relationships" xmlns:p="http://schemas.openxmlformats.org/presentationml/2006/main">
  <p:tag name="NAME" val="CustomIcon"/>
</p:tagLst>
</file>

<file path=ppt/tags/tag1718.xml><?xml version="1.0" encoding="utf-8"?>
<p:tagLst xmlns:a="http://schemas.openxmlformats.org/drawingml/2006/main" xmlns:r="http://schemas.openxmlformats.org/officeDocument/2006/relationships" xmlns:p="http://schemas.openxmlformats.org/presentationml/2006/main">
  <p:tag name="NAME" val="CustomIcon"/>
</p:tagLst>
</file>

<file path=ppt/tags/tag1719.xml><?xml version="1.0" encoding="utf-8"?>
<p:tagLst xmlns:a="http://schemas.openxmlformats.org/drawingml/2006/main" xmlns:r="http://schemas.openxmlformats.org/officeDocument/2006/relationships" xmlns:p="http://schemas.openxmlformats.org/presentationml/2006/main">
  <p:tag name="NAME" val="CustomIcon"/>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720.xml><?xml version="1.0" encoding="utf-8"?>
<p:tagLst xmlns:a="http://schemas.openxmlformats.org/drawingml/2006/main" xmlns:r="http://schemas.openxmlformats.org/officeDocument/2006/relationships" xmlns:p="http://schemas.openxmlformats.org/presentationml/2006/main">
  <p:tag name="NAME" val="CustomIcon"/>
</p:tagLst>
</file>

<file path=ppt/tags/tag1721.xml><?xml version="1.0" encoding="utf-8"?>
<p:tagLst xmlns:a="http://schemas.openxmlformats.org/drawingml/2006/main" xmlns:r="http://schemas.openxmlformats.org/officeDocument/2006/relationships" xmlns:p="http://schemas.openxmlformats.org/presentationml/2006/main">
  <p:tag name="NAME" val="CustomIcon"/>
</p:tagLst>
</file>

<file path=ppt/tags/tag1722.xml><?xml version="1.0" encoding="utf-8"?>
<p:tagLst xmlns:a="http://schemas.openxmlformats.org/drawingml/2006/main" xmlns:r="http://schemas.openxmlformats.org/officeDocument/2006/relationships" xmlns:p="http://schemas.openxmlformats.org/presentationml/2006/main">
  <p:tag name="NAME" val="CustomIcon"/>
</p:tagLst>
</file>

<file path=ppt/tags/tag1723.xml><?xml version="1.0" encoding="utf-8"?>
<p:tagLst xmlns:a="http://schemas.openxmlformats.org/drawingml/2006/main" xmlns:r="http://schemas.openxmlformats.org/officeDocument/2006/relationships" xmlns:p="http://schemas.openxmlformats.org/presentationml/2006/main">
  <p:tag name="NAME" val="CustomIcon"/>
</p:tagLst>
</file>

<file path=ppt/tags/tag1724.xml><?xml version="1.0" encoding="utf-8"?>
<p:tagLst xmlns:a="http://schemas.openxmlformats.org/drawingml/2006/main" xmlns:r="http://schemas.openxmlformats.org/officeDocument/2006/relationships" xmlns:p="http://schemas.openxmlformats.org/presentationml/2006/main">
  <p:tag name="NAME" val="CustomIcon"/>
</p:tagLst>
</file>

<file path=ppt/tags/tag1725.xml><?xml version="1.0" encoding="utf-8"?>
<p:tagLst xmlns:a="http://schemas.openxmlformats.org/drawingml/2006/main" xmlns:r="http://schemas.openxmlformats.org/officeDocument/2006/relationships" xmlns:p="http://schemas.openxmlformats.org/presentationml/2006/main">
  <p:tag name="NAME" val="CustomIcon"/>
</p:tagLst>
</file>

<file path=ppt/tags/tag1726.xml><?xml version="1.0" encoding="utf-8"?>
<p:tagLst xmlns:a="http://schemas.openxmlformats.org/drawingml/2006/main" xmlns:r="http://schemas.openxmlformats.org/officeDocument/2006/relationships" xmlns:p="http://schemas.openxmlformats.org/presentationml/2006/main">
  <p:tag name="NAME" val="CustomIcon"/>
</p:tagLst>
</file>

<file path=ppt/tags/tag1727.xml><?xml version="1.0" encoding="utf-8"?>
<p:tagLst xmlns:a="http://schemas.openxmlformats.org/drawingml/2006/main" xmlns:r="http://schemas.openxmlformats.org/officeDocument/2006/relationships" xmlns:p="http://schemas.openxmlformats.org/presentationml/2006/main">
  <p:tag name="NAME" val="CustomIcon"/>
</p:tagLst>
</file>

<file path=ppt/tags/tag1728.xml><?xml version="1.0" encoding="utf-8"?>
<p:tagLst xmlns:a="http://schemas.openxmlformats.org/drawingml/2006/main" xmlns:r="http://schemas.openxmlformats.org/officeDocument/2006/relationships" xmlns:p="http://schemas.openxmlformats.org/presentationml/2006/main">
  <p:tag name="NAME" val="CustomIcon"/>
</p:tagLst>
</file>

<file path=ppt/tags/tag1729.xml><?xml version="1.0" encoding="utf-8"?>
<p:tagLst xmlns:a="http://schemas.openxmlformats.org/drawingml/2006/main" xmlns:r="http://schemas.openxmlformats.org/officeDocument/2006/relationships" xmlns:p="http://schemas.openxmlformats.org/presentationml/2006/main">
  <p:tag name="NAME" val="CustomIcon"/>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0.xml><?xml version="1.0" encoding="utf-8"?>
<p:tagLst xmlns:a="http://schemas.openxmlformats.org/drawingml/2006/main" xmlns:r="http://schemas.openxmlformats.org/officeDocument/2006/relationships" xmlns:p="http://schemas.openxmlformats.org/presentationml/2006/main">
  <p:tag name="NAME" val="CustomIcon"/>
</p:tagLst>
</file>

<file path=ppt/tags/tag1731.xml><?xml version="1.0" encoding="utf-8"?>
<p:tagLst xmlns:a="http://schemas.openxmlformats.org/drawingml/2006/main" xmlns:r="http://schemas.openxmlformats.org/officeDocument/2006/relationships" xmlns:p="http://schemas.openxmlformats.org/presentationml/2006/main">
  <p:tag name="NAME" val="CustomIcon"/>
</p:tagLst>
</file>

<file path=ppt/tags/tag1732.xml><?xml version="1.0" encoding="utf-8"?>
<p:tagLst xmlns:a="http://schemas.openxmlformats.org/drawingml/2006/main" xmlns:r="http://schemas.openxmlformats.org/officeDocument/2006/relationships" xmlns:p="http://schemas.openxmlformats.org/presentationml/2006/main">
  <p:tag name="NAME" val="CustomIcon"/>
</p:tagLst>
</file>

<file path=ppt/tags/tag1733.xml><?xml version="1.0" encoding="utf-8"?>
<p:tagLst xmlns:a="http://schemas.openxmlformats.org/drawingml/2006/main" xmlns:r="http://schemas.openxmlformats.org/officeDocument/2006/relationships" xmlns:p="http://schemas.openxmlformats.org/presentationml/2006/main">
  <p:tag name="NAME" val="CustomIcon"/>
</p:tagLst>
</file>

<file path=ppt/tags/tag1734.xml><?xml version="1.0" encoding="utf-8"?>
<p:tagLst xmlns:a="http://schemas.openxmlformats.org/drawingml/2006/main" xmlns:r="http://schemas.openxmlformats.org/officeDocument/2006/relationships" xmlns:p="http://schemas.openxmlformats.org/presentationml/2006/main">
  <p:tag name="NAME" val="CustomIcon"/>
</p:tagLst>
</file>

<file path=ppt/tags/tag1735.xml><?xml version="1.0" encoding="utf-8"?>
<p:tagLst xmlns:a="http://schemas.openxmlformats.org/drawingml/2006/main" xmlns:r="http://schemas.openxmlformats.org/officeDocument/2006/relationships" xmlns:p="http://schemas.openxmlformats.org/presentationml/2006/main">
  <p:tag name="NAME" val="CustomIcon"/>
</p:tagLst>
</file>

<file path=ppt/tags/tag1736.xml><?xml version="1.0" encoding="utf-8"?>
<p:tagLst xmlns:a="http://schemas.openxmlformats.org/drawingml/2006/main" xmlns:r="http://schemas.openxmlformats.org/officeDocument/2006/relationships" xmlns:p="http://schemas.openxmlformats.org/presentationml/2006/main">
  <p:tag name="NAME" val="CustomIcon"/>
</p:tagLst>
</file>

<file path=ppt/tags/tag1737.xml><?xml version="1.0" encoding="utf-8"?>
<p:tagLst xmlns:a="http://schemas.openxmlformats.org/drawingml/2006/main" xmlns:r="http://schemas.openxmlformats.org/officeDocument/2006/relationships" xmlns:p="http://schemas.openxmlformats.org/presentationml/2006/main">
  <p:tag name="NAME" val="CustomIcon"/>
</p:tagLst>
</file>

<file path=ppt/tags/tag1738.xml><?xml version="1.0" encoding="utf-8"?>
<p:tagLst xmlns:a="http://schemas.openxmlformats.org/drawingml/2006/main" xmlns:r="http://schemas.openxmlformats.org/officeDocument/2006/relationships" xmlns:p="http://schemas.openxmlformats.org/presentationml/2006/main">
  <p:tag name="NAME" val="CustomIcon"/>
</p:tagLst>
</file>

<file path=ppt/tags/tag1739.xml><?xml version="1.0" encoding="utf-8"?>
<p:tagLst xmlns:a="http://schemas.openxmlformats.org/drawingml/2006/main" xmlns:r="http://schemas.openxmlformats.org/officeDocument/2006/relationships" xmlns:p="http://schemas.openxmlformats.org/presentationml/2006/main">
  <p:tag name="NAME" val="CustomIcon"/>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0.xml><?xml version="1.0" encoding="utf-8"?>
<p:tagLst xmlns:a="http://schemas.openxmlformats.org/drawingml/2006/main" xmlns:r="http://schemas.openxmlformats.org/officeDocument/2006/relationships" xmlns:p="http://schemas.openxmlformats.org/presentationml/2006/main">
  <p:tag name="NAME" val="CustomIcon"/>
</p:tagLst>
</file>

<file path=ppt/tags/tag1741.xml><?xml version="1.0" encoding="utf-8"?>
<p:tagLst xmlns:a="http://schemas.openxmlformats.org/drawingml/2006/main" xmlns:r="http://schemas.openxmlformats.org/officeDocument/2006/relationships" xmlns:p="http://schemas.openxmlformats.org/presentationml/2006/main">
  <p:tag name="NAME" val="CustomIcon"/>
</p:tagLst>
</file>

<file path=ppt/tags/tag1742.xml><?xml version="1.0" encoding="utf-8"?>
<p:tagLst xmlns:a="http://schemas.openxmlformats.org/drawingml/2006/main" xmlns:r="http://schemas.openxmlformats.org/officeDocument/2006/relationships" xmlns:p="http://schemas.openxmlformats.org/presentationml/2006/main">
  <p:tag name="NAME" val="CustomIcon"/>
</p:tagLst>
</file>

<file path=ppt/tags/tag1743.xml><?xml version="1.0" encoding="utf-8"?>
<p:tagLst xmlns:a="http://schemas.openxmlformats.org/drawingml/2006/main" xmlns:r="http://schemas.openxmlformats.org/officeDocument/2006/relationships" xmlns:p="http://schemas.openxmlformats.org/presentationml/2006/main">
  <p:tag name="NAME" val="CustomIcon"/>
</p:tagLst>
</file>

<file path=ppt/tags/tag1744.xml><?xml version="1.0" encoding="utf-8"?>
<p:tagLst xmlns:a="http://schemas.openxmlformats.org/drawingml/2006/main" xmlns:r="http://schemas.openxmlformats.org/officeDocument/2006/relationships" xmlns:p="http://schemas.openxmlformats.org/presentationml/2006/main">
  <p:tag name="NAME" val="CustomIcon"/>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8.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749.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0.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751.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752.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753.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754.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59.xml><?xml version="1.0" encoding="utf-8"?>
<p:tagLst xmlns:a="http://schemas.openxmlformats.org/drawingml/2006/main" xmlns:r="http://schemas.openxmlformats.org/officeDocument/2006/relationships" xmlns:p="http://schemas.openxmlformats.org/presentationml/2006/main">
  <p:tag name="NAME" val="TrackerNumBlue"/>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0.xml><?xml version="1.0" encoding="utf-8"?>
<p:tagLst xmlns:a="http://schemas.openxmlformats.org/drawingml/2006/main" xmlns:r="http://schemas.openxmlformats.org/officeDocument/2006/relationships" xmlns:p="http://schemas.openxmlformats.org/presentationml/2006/main">
  <p:tag name="NAME" val="TrackerNumBlue"/>
</p:tagLst>
</file>

<file path=ppt/tags/tag17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65.xml><?xml version="1.0" encoding="utf-8"?>
<p:tagLst xmlns:a="http://schemas.openxmlformats.org/drawingml/2006/main" xmlns:r="http://schemas.openxmlformats.org/officeDocument/2006/relationships" xmlns:p="http://schemas.openxmlformats.org/presentationml/2006/main">
  <p:tag name="NAME" val="TrackerNumBlue"/>
</p:tagLst>
</file>

<file path=ppt/tags/tag1766.xml><?xml version="1.0" encoding="utf-8"?>
<p:tagLst xmlns:a="http://schemas.openxmlformats.org/drawingml/2006/main" xmlns:r="http://schemas.openxmlformats.org/officeDocument/2006/relationships" xmlns:p="http://schemas.openxmlformats.org/presentationml/2006/main">
  <p:tag name="NAME" val="TrackerNumBlue"/>
</p:tagLst>
</file>

<file path=ppt/tags/tag1767.xml><?xml version="1.0" encoding="utf-8"?>
<p:tagLst xmlns:a="http://schemas.openxmlformats.org/drawingml/2006/main" xmlns:r="http://schemas.openxmlformats.org/officeDocument/2006/relationships" xmlns:p="http://schemas.openxmlformats.org/presentationml/2006/main">
  <p:tag name="NAME" val="TrackerNumBlue"/>
</p:tagLst>
</file>

<file path=ppt/tags/tag1768.xml><?xml version="1.0" encoding="utf-8"?>
<p:tagLst xmlns:a="http://schemas.openxmlformats.org/drawingml/2006/main" xmlns:r="http://schemas.openxmlformats.org/officeDocument/2006/relationships" xmlns:p="http://schemas.openxmlformats.org/presentationml/2006/main">
  <p:tag name="NAME" val="TrackerNumBlue"/>
</p:tagLst>
</file>

<file path=ppt/tags/tag1769.xml><?xml version="1.0" encoding="utf-8"?>
<p:tagLst xmlns:a="http://schemas.openxmlformats.org/drawingml/2006/main" xmlns:r="http://schemas.openxmlformats.org/officeDocument/2006/relationships" xmlns:p="http://schemas.openxmlformats.org/presentationml/2006/main">
  <p:tag name="NAME" val="TrackerNumBlue"/>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70.xml><?xml version="1.0" encoding="utf-8"?>
<p:tagLst xmlns:a="http://schemas.openxmlformats.org/drawingml/2006/main" xmlns:r="http://schemas.openxmlformats.org/officeDocument/2006/relationships" xmlns:p="http://schemas.openxmlformats.org/presentationml/2006/main">
  <p:tag name="NAME" val="TrackerNumBlue"/>
</p:tagLst>
</file>

<file path=ppt/tags/tag1771.xml><?xml version="1.0" encoding="utf-8"?>
<p:tagLst xmlns:a="http://schemas.openxmlformats.org/drawingml/2006/main" xmlns:r="http://schemas.openxmlformats.org/officeDocument/2006/relationships" xmlns:p="http://schemas.openxmlformats.org/presentationml/2006/main">
  <p:tag name="NAME" val="TrackerNumBlue"/>
</p:tagLst>
</file>

<file path=ppt/tags/tag17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73.xml><?xml version="1.0" encoding="utf-8"?>
<p:tagLst xmlns:a="http://schemas.openxmlformats.org/drawingml/2006/main" xmlns:r="http://schemas.openxmlformats.org/officeDocument/2006/relationships" xmlns:p="http://schemas.openxmlformats.org/presentationml/2006/main">
  <p:tag name="NAME" val="TrackerNumBlue"/>
</p:tagLst>
</file>

<file path=ppt/tags/tag1774.xml><?xml version="1.0" encoding="utf-8"?>
<p:tagLst xmlns:a="http://schemas.openxmlformats.org/drawingml/2006/main" xmlns:r="http://schemas.openxmlformats.org/officeDocument/2006/relationships" xmlns:p="http://schemas.openxmlformats.org/presentationml/2006/main">
  <p:tag name="NAME" val="TrackerNumBlue"/>
</p:tagLst>
</file>

<file path=ppt/tags/tag1775.xml><?xml version="1.0" encoding="utf-8"?>
<p:tagLst xmlns:a="http://schemas.openxmlformats.org/drawingml/2006/main" xmlns:r="http://schemas.openxmlformats.org/officeDocument/2006/relationships" xmlns:p="http://schemas.openxmlformats.org/presentationml/2006/main">
  <p:tag name="NAME" val="TrackerNumBlue"/>
</p:tagLst>
</file>

<file path=ppt/tags/tag1776.xml><?xml version="1.0" encoding="utf-8"?>
<p:tagLst xmlns:a="http://schemas.openxmlformats.org/drawingml/2006/main" xmlns:r="http://schemas.openxmlformats.org/officeDocument/2006/relationships" xmlns:p="http://schemas.openxmlformats.org/presentationml/2006/main">
  <p:tag name="NAME" val="TrackerNumBlue"/>
</p:tagLst>
</file>

<file path=ppt/tags/tag1777.xml><?xml version="1.0" encoding="utf-8"?>
<p:tagLst xmlns:a="http://schemas.openxmlformats.org/drawingml/2006/main" xmlns:r="http://schemas.openxmlformats.org/officeDocument/2006/relationships" xmlns:p="http://schemas.openxmlformats.org/presentationml/2006/main">
  <p:tag name="NAME" val="TrackerNumBlue"/>
</p:tagLst>
</file>

<file path=ppt/tags/tag1778.xml><?xml version="1.0" encoding="utf-8"?>
<p:tagLst xmlns:a="http://schemas.openxmlformats.org/drawingml/2006/main" xmlns:r="http://schemas.openxmlformats.org/officeDocument/2006/relationships" xmlns:p="http://schemas.openxmlformats.org/presentationml/2006/main">
  <p:tag name="NAME" val="TrackerNumBlue"/>
</p:tagLst>
</file>

<file path=ppt/tags/tag1779.xml><?xml version="1.0" encoding="utf-8"?>
<p:tagLst xmlns:a="http://schemas.openxmlformats.org/drawingml/2006/main" xmlns:r="http://schemas.openxmlformats.org/officeDocument/2006/relationships" xmlns:p="http://schemas.openxmlformats.org/presentationml/2006/main">
  <p:tag name="NAME" val="TrackerNumBlu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0.xml><?xml version="1.0" encoding="utf-8"?>
<p:tagLst xmlns:a="http://schemas.openxmlformats.org/drawingml/2006/main" xmlns:r="http://schemas.openxmlformats.org/officeDocument/2006/relationships" xmlns:p="http://schemas.openxmlformats.org/presentationml/2006/main">
  <p:tag name="NAME" val="TrackerNumBlue"/>
</p:tagLst>
</file>

<file path=ppt/tags/tag17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82.xml><?xml version="1.0" encoding="utf-8"?>
<p:tagLst xmlns:a="http://schemas.openxmlformats.org/drawingml/2006/main" xmlns:r="http://schemas.openxmlformats.org/officeDocument/2006/relationships" xmlns:p="http://schemas.openxmlformats.org/presentationml/2006/main">
  <p:tag name="NAME" val="TrackerNumBlue"/>
</p:tagLst>
</file>

<file path=ppt/tags/tag1783.xml><?xml version="1.0" encoding="utf-8"?>
<p:tagLst xmlns:a="http://schemas.openxmlformats.org/drawingml/2006/main" xmlns:r="http://schemas.openxmlformats.org/officeDocument/2006/relationships" xmlns:p="http://schemas.openxmlformats.org/presentationml/2006/main">
  <p:tag name="NAME" val="TrackerNumBlue"/>
</p:tagLst>
</file>

<file path=ppt/tags/tag1784.xml><?xml version="1.0" encoding="utf-8"?>
<p:tagLst xmlns:a="http://schemas.openxmlformats.org/drawingml/2006/main" xmlns:r="http://schemas.openxmlformats.org/officeDocument/2006/relationships" xmlns:p="http://schemas.openxmlformats.org/presentationml/2006/main">
  <p:tag name="NAME" val="TrackerNumBlue"/>
</p:tagLst>
</file>

<file path=ppt/tags/tag1785.xml><?xml version="1.0" encoding="utf-8"?>
<p:tagLst xmlns:a="http://schemas.openxmlformats.org/drawingml/2006/main" xmlns:r="http://schemas.openxmlformats.org/officeDocument/2006/relationships" xmlns:p="http://schemas.openxmlformats.org/presentationml/2006/main">
  <p:tag name="NAME" val="TrackerNumBlue"/>
</p:tagLst>
</file>

<file path=ppt/tags/tag1786.xml><?xml version="1.0" encoding="utf-8"?>
<p:tagLst xmlns:a="http://schemas.openxmlformats.org/drawingml/2006/main" xmlns:r="http://schemas.openxmlformats.org/officeDocument/2006/relationships" xmlns:p="http://schemas.openxmlformats.org/presentationml/2006/main">
  <p:tag name="NAME" val="TrackerNumBlue"/>
</p:tagLst>
</file>

<file path=ppt/tags/tag1787.xml><?xml version="1.0" encoding="utf-8"?>
<p:tagLst xmlns:a="http://schemas.openxmlformats.org/drawingml/2006/main" xmlns:r="http://schemas.openxmlformats.org/officeDocument/2006/relationships" xmlns:p="http://schemas.openxmlformats.org/presentationml/2006/main">
  <p:tag name="NAME" val="TrackerNumBlue"/>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7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1.xml><?xml version="1.0" encoding="utf-8"?>
<p:tagLst xmlns:a="http://schemas.openxmlformats.org/drawingml/2006/main" xmlns:r="http://schemas.openxmlformats.org/officeDocument/2006/relationships" xmlns:p="http://schemas.openxmlformats.org/presentationml/2006/main">
  <p:tag name="NAME" val="CustomIcon"/>
</p:tagLst>
</file>

<file path=ppt/tags/tag1792.xml><?xml version="1.0" encoding="utf-8"?>
<p:tagLst xmlns:a="http://schemas.openxmlformats.org/drawingml/2006/main" xmlns:r="http://schemas.openxmlformats.org/officeDocument/2006/relationships" xmlns:p="http://schemas.openxmlformats.org/presentationml/2006/main">
  <p:tag name="NAME" val="CustomIcon"/>
</p:tagLst>
</file>

<file path=ppt/tags/tag1793.xml><?xml version="1.0" encoding="utf-8"?>
<p:tagLst xmlns:a="http://schemas.openxmlformats.org/drawingml/2006/main" xmlns:r="http://schemas.openxmlformats.org/officeDocument/2006/relationships" xmlns:p="http://schemas.openxmlformats.org/presentationml/2006/main">
  <p:tag name="NAME" val="CustomIcon"/>
</p:tagLst>
</file>

<file path=ppt/tags/tag1794.xml><?xml version="1.0" encoding="utf-8"?>
<p:tagLst xmlns:a="http://schemas.openxmlformats.org/drawingml/2006/main" xmlns:r="http://schemas.openxmlformats.org/officeDocument/2006/relationships" xmlns:p="http://schemas.openxmlformats.org/presentationml/2006/main">
  <p:tag name="NAME" val="CustomIcon"/>
</p:tagLst>
</file>

<file path=ppt/tags/tag1795.xml><?xml version="1.0" encoding="utf-8"?>
<p:tagLst xmlns:a="http://schemas.openxmlformats.org/drawingml/2006/main" xmlns:r="http://schemas.openxmlformats.org/officeDocument/2006/relationships" xmlns:p="http://schemas.openxmlformats.org/presentationml/2006/main">
  <p:tag name="NAME" val="CustomIcon"/>
</p:tagLst>
</file>

<file path=ppt/tags/tag1796.xml><?xml version="1.0" encoding="utf-8"?>
<p:tagLst xmlns:a="http://schemas.openxmlformats.org/drawingml/2006/main" xmlns:r="http://schemas.openxmlformats.org/officeDocument/2006/relationships" xmlns:p="http://schemas.openxmlformats.org/presentationml/2006/main">
  <p:tag name="NAME" val="CustomIcon"/>
</p:tagLst>
</file>

<file path=ppt/tags/tag1797.xml><?xml version="1.0" encoding="utf-8"?>
<p:tagLst xmlns:a="http://schemas.openxmlformats.org/drawingml/2006/main" xmlns:r="http://schemas.openxmlformats.org/officeDocument/2006/relationships" xmlns:p="http://schemas.openxmlformats.org/presentationml/2006/main">
  <p:tag name="NAME" val="CustomIcon"/>
</p:tagLst>
</file>

<file path=ppt/tags/tag17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01.xml><?xml version="1.0" encoding="utf-8"?>
<p:tagLst xmlns:a="http://schemas.openxmlformats.org/drawingml/2006/main" xmlns:r="http://schemas.openxmlformats.org/officeDocument/2006/relationships" xmlns:p="http://schemas.openxmlformats.org/presentationml/2006/main">
  <p:tag name="SHAPENAME" val="5. Source"/>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8UvJ7m4NZEyATSWYVYGrOA"/>
</p:tagLst>
</file>

<file path=ppt/tags/tag1803.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45"/>
  <p:tag name="TOP" val="110"/>
  <p:tag name="HEIGHT" val="37.14283"/>
  <p:tag name="WIDTH" val="202.5"/>
</p:tagLst>
</file>

<file path=ppt/tags/tag1804.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45"/>
  <p:tag name="TOP" val="452.8571"/>
  <p:tag name="HEIGHT" val="37.14283"/>
  <p:tag name="WIDTH" val="202.5"/>
</p:tagLst>
</file>

<file path=ppt/tags/tag1805.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45"/>
  <p:tag name="TOP" val="452.8571"/>
  <p:tag name="HEIGHT" val="37.14283"/>
  <p:tag name="WIDTH" val="202.5"/>
</p:tagLst>
</file>

<file path=ppt/tags/tag1806.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45"/>
  <p:tag name="TOP" val="338.5714"/>
  <p:tag name="HEIGHT" val="37.14283"/>
  <p:tag name="WIDTH" val="202.5"/>
</p:tagLst>
</file>

<file path=ppt/tags/tag1807.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45"/>
  <p:tag name="TOP" val="395.7143"/>
  <p:tag name="HEIGHT" val="37.14283"/>
  <p:tag name="WIDTH" val="202.5"/>
</p:tagLst>
</file>

<file path=ppt/tags/tag1808.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45"/>
  <p:tag name="TOP" val="110"/>
  <p:tag name="HEIGHT" val="37.14283"/>
  <p:tag name="WIDTH" val="202.5"/>
</p:tagLst>
</file>

<file path=ppt/tags/tag1809.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45"/>
  <p:tag name="TOP" val="452.8571"/>
  <p:tag name="HEIGHT" val="37.14283"/>
  <p:tag name="WIDTH" val="202.5"/>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0.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45"/>
  <p:tag name="TOP" val="452.8571"/>
  <p:tag name="HEIGHT" val="37.14283"/>
  <p:tag name="WIDTH" val="202.5"/>
</p:tagLst>
</file>

<file path=ppt/tags/tag1811.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45"/>
  <p:tag name="TOP" val="452.8571"/>
  <p:tag name="HEIGHT" val="37.14283"/>
  <p:tag name="WIDTH" val="202.5"/>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tLK9oVh8vsN_o4hR3ADW_Yw"/>
</p:tagLst>
</file>

<file path=ppt/tags/tag18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4.xml><?xml version="1.0" encoding="utf-8"?>
<p:tagLst xmlns:a="http://schemas.openxmlformats.org/drawingml/2006/main" xmlns:r="http://schemas.openxmlformats.org/officeDocument/2006/relationships" xmlns:p="http://schemas.openxmlformats.org/presentationml/2006/main">
  <p:tag name="RESIZE" val="Yes"/>
  <p:tag name="SHAPENAME" val="2. Slide Title"/>
</p:tagLst>
</file>

<file path=ppt/tags/tag1815.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16.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17.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18.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19.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0.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21.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22.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23.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24.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25.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26.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27.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28.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29.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30.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31.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32.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33.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34.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35.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36.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37.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38.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39.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0.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41.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42.xml><?xml version="1.0" encoding="utf-8"?>
<p:tagLst xmlns:a="http://schemas.openxmlformats.org/drawingml/2006/main" xmlns:r="http://schemas.openxmlformats.org/officeDocument/2006/relationships" xmlns:p="http://schemas.openxmlformats.org/presentationml/2006/main">
  <p:tag name="MTTABLE" val="Cell"/>
  <p:tag name="MTNUMBER" val="0,757868263292065"/>
  <p:tag name="LEFT" val="45"/>
  <p:tag name="TOP" val="135"/>
  <p:tag name="HEIGHT" val="5"/>
  <p:tag name="WIDTH" val="870"/>
</p:tagLst>
</file>

<file path=ppt/tags/tag1843.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712.5"/>
  <p:tag name="TOP" val="452.8571"/>
  <p:tag name="HEIGHT" val="37.14283"/>
  <p:tag name="WIDTH" val="202.5"/>
</p:tagLst>
</file>

<file path=ppt/tags/tag1844.xml><?xml version="1.0" encoding="utf-8"?>
<p:tagLst xmlns:a="http://schemas.openxmlformats.org/drawingml/2006/main" xmlns:r="http://schemas.openxmlformats.org/officeDocument/2006/relationships" xmlns:p="http://schemas.openxmlformats.org/presentationml/2006/main">
  <p:tag name="NAME" val="CustomIcon"/>
</p:tagLst>
</file>

<file path=ppt/tags/tag1845.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712.5"/>
  <p:tag name="TOP" val="452.8571"/>
  <p:tag name="HEIGHT" val="37.14283"/>
  <p:tag name="WIDTH" val="202.5"/>
</p:tagLst>
</file>

<file path=ppt/tags/tag1846.xml><?xml version="1.0" encoding="utf-8"?>
<p:tagLst xmlns:a="http://schemas.openxmlformats.org/drawingml/2006/main" xmlns:r="http://schemas.openxmlformats.org/officeDocument/2006/relationships" xmlns:p="http://schemas.openxmlformats.org/presentationml/2006/main">
  <p:tag name="NAME" val="CustomIcon"/>
</p:tagLst>
</file>

<file path=ppt/tags/tag1847.xml><?xml version="1.0" encoding="utf-8"?>
<p:tagLst xmlns:a="http://schemas.openxmlformats.org/drawingml/2006/main" xmlns:r="http://schemas.openxmlformats.org/officeDocument/2006/relationships" xmlns:p="http://schemas.openxmlformats.org/presentationml/2006/main">
  <p:tag name="NAME" val="CustomIcon"/>
</p:tagLst>
</file>

<file path=ppt/tags/tag1848.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712.5"/>
  <p:tag name="TOP" val="452.8571"/>
  <p:tag name="HEIGHT" val="37.14283"/>
  <p:tag name="WIDTH" val="202.5"/>
</p:tagLst>
</file>

<file path=ppt/tags/tag1849.xml><?xml version="1.0" encoding="utf-8"?>
<p:tagLst xmlns:a="http://schemas.openxmlformats.org/drawingml/2006/main" xmlns:r="http://schemas.openxmlformats.org/officeDocument/2006/relationships" xmlns:p="http://schemas.openxmlformats.org/presentationml/2006/main">
  <p:tag name="NAME" val="CustomIcon"/>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0.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712.5"/>
  <p:tag name="TOP" val="452.8571"/>
  <p:tag name="HEIGHT" val="37.14283"/>
  <p:tag name="WIDTH" val="202.5"/>
</p:tagLst>
</file>

<file path=ppt/tags/tag1851.xml><?xml version="1.0" encoding="utf-8"?>
<p:tagLst xmlns:a="http://schemas.openxmlformats.org/drawingml/2006/main" xmlns:r="http://schemas.openxmlformats.org/officeDocument/2006/relationships" xmlns:p="http://schemas.openxmlformats.org/presentationml/2006/main">
  <p:tag name="NAME" val="CustomIcon"/>
</p:tagLst>
</file>

<file path=ppt/tags/tag1852.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712.5"/>
  <p:tag name="TOP" val="452.8571"/>
  <p:tag name="HEIGHT" val="37.14283"/>
  <p:tag name="WIDTH" val="202.5"/>
</p:tagLst>
</file>

<file path=ppt/tags/tag1853.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712.5"/>
  <p:tag name="TOP" val="110"/>
  <p:tag name="HEIGHT" val="37.14283"/>
  <p:tag name="WIDTH" val="202.5"/>
</p:tagLst>
</file>

<file path=ppt/tags/tag1854.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712.5"/>
  <p:tag name="TOP" val="338.5714"/>
  <p:tag name="HEIGHT" val="37.14283"/>
  <p:tag name="WIDTH" val="202.5"/>
</p:tagLst>
</file>

<file path=ppt/tags/tag1855.xml><?xml version="1.0" encoding="utf-8"?>
<p:tagLst xmlns:a="http://schemas.openxmlformats.org/drawingml/2006/main" xmlns:r="http://schemas.openxmlformats.org/officeDocument/2006/relationships" xmlns:p="http://schemas.openxmlformats.org/presentationml/2006/main">
  <p:tag name="NAME" val="CustomIcon"/>
</p:tagLst>
</file>

<file path=ppt/tags/tag1856.xml><?xml version="1.0" encoding="utf-8"?>
<p:tagLst xmlns:a="http://schemas.openxmlformats.org/drawingml/2006/main" xmlns:r="http://schemas.openxmlformats.org/officeDocument/2006/relationships" xmlns:p="http://schemas.openxmlformats.org/presentationml/2006/main">
  <p:tag name="NAME" val="CustomIcon"/>
</p:tagLst>
</file>

<file path=ppt/tags/tag1857.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712.5"/>
  <p:tag name="TOP" val="110"/>
  <p:tag name="HEIGHT" val="37.14283"/>
  <p:tag name="WIDTH" val="202.5"/>
</p:tagLst>
</file>

<file path=ppt/tags/tag1858.xml><?xml version="1.0" encoding="utf-8"?>
<p:tagLst xmlns:a="http://schemas.openxmlformats.org/drawingml/2006/main" xmlns:r="http://schemas.openxmlformats.org/officeDocument/2006/relationships" xmlns:p="http://schemas.openxmlformats.org/presentationml/2006/main">
  <p:tag name="MTTABLE" val="Cell"/>
  <p:tag name="MTNUMBER" val="0,10305618499548"/>
  <p:tag name="LEFT" val="712.5"/>
  <p:tag name="TOP" val="395.7143"/>
  <p:tag name="HEIGHT" val="37.14283"/>
  <p:tag name="WIDTH" val="202.5"/>
</p:tagLst>
</file>

<file path=ppt/tags/tag1859.xml><?xml version="1.0" encoding="utf-8"?>
<p:tagLst xmlns:a="http://schemas.openxmlformats.org/drawingml/2006/main" xmlns:r="http://schemas.openxmlformats.org/officeDocument/2006/relationships" xmlns:p="http://schemas.openxmlformats.org/presentationml/2006/main">
  <p:tag name="NAME" val="CustomIcon"/>
</p:tagLst>
</file>

<file path=ppt/tags/tag18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6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861.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862.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863.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8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9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2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1.xml><?xml version="1.0" encoding="utf-8"?>
<p:tagLst xmlns:a="http://schemas.openxmlformats.org/drawingml/2006/main" xmlns:r="http://schemas.openxmlformats.org/officeDocument/2006/relationships" xmlns:p="http://schemas.openxmlformats.org/presentationml/2006/main">
  <p:tag name="SHAPENAME" val="5. Sourc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3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SHAPENAME" val="5. Sourc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66.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xml><?xml version="1.0" encoding="utf-8"?>
<p:tagLst xmlns:a="http://schemas.openxmlformats.org/drawingml/2006/main" xmlns:r="http://schemas.openxmlformats.org/officeDocument/2006/relationships" xmlns:p="http://schemas.openxmlformats.org/presentationml/2006/main">
  <p:tag name="NAME" val="ACET"/>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NAME" val="Moon"/>
</p:tagLst>
</file>

<file path=ppt/tags/tag273.xml><?xml version="1.0" encoding="utf-8"?>
<p:tagLst xmlns:a="http://schemas.openxmlformats.org/drawingml/2006/main" xmlns:r="http://schemas.openxmlformats.org/officeDocument/2006/relationships" xmlns:p="http://schemas.openxmlformats.org/presentationml/2006/main">
  <p:tag name="NAME" val="Moon"/>
</p:tagLst>
</file>

<file path=ppt/tags/tag274.xml><?xml version="1.0" encoding="utf-8"?>
<p:tagLst xmlns:a="http://schemas.openxmlformats.org/drawingml/2006/main" xmlns:r="http://schemas.openxmlformats.org/officeDocument/2006/relationships" xmlns:p="http://schemas.openxmlformats.org/presentationml/2006/main">
  <p:tag name="ANGLE" val="5"/>
</p:tagLst>
</file>

<file path=ppt/tags/tag275.xml><?xml version="1.0" encoding="utf-8"?>
<p:tagLst xmlns:a="http://schemas.openxmlformats.org/drawingml/2006/main" xmlns:r="http://schemas.openxmlformats.org/officeDocument/2006/relationships" xmlns:p="http://schemas.openxmlformats.org/presentationml/2006/main">
  <p:tag name="ANGLE" val="5"/>
</p:tagLst>
</file>

<file path=ppt/tags/tag276.xml><?xml version="1.0" encoding="utf-8"?>
<p:tagLst xmlns:a="http://schemas.openxmlformats.org/drawingml/2006/main" xmlns:r="http://schemas.openxmlformats.org/officeDocument/2006/relationships" xmlns:p="http://schemas.openxmlformats.org/presentationml/2006/main">
  <p:tag name="ANGLE" val="4"/>
</p:tagLst>
</file>

<file path=ppt/tags/tag277.xml><?xml version="1.0" encoding="utf-8"?>
<p:tagLst xmlns:a="http://schemas.openxmlformats.org/drawingml/2006/main" xmlns:r="http://schemas.openxmlformats.org/officeDocument/2006/relationships" xmlns:p="http://schemas.openxmlformats.org/presentationml/2006/main">
  <p:tag name="ANGLE" val="4"/>
</p:tagLst>
</file>

<file path=ppt/tags/tag278.xml><?xml version="1.0" encoding="utf-8"?>
<p:tagLst xmlns:a="http://schemas.openxmlformats.org/drawingml/2006/main" xmlns:r="http://schemas.openxmlformats.org/officeDocument/2006/relationships" xmlns:p="http://schemas.openxmlformats.org/presentationml/2006/main">
  <p:tag name="ANGLE" val="3"/>
</p:tagLst>
</file>

<file path=ppt/tags/tag279.xml><?xml version="1.0" encoding="utf-8"?>
<p:tagLst xmlns:a="http://schemas.openxmlformats.org/drawingml/2006/main" xmlns:r="http://schemas.openxmlformats.org/officeDocument/2006/relationships" xmlns:p="http://schemas.openxmlformats.org/presentationml/2006/main">
  <p:tag name="ANGLE" val="3"/>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0.xml><?xml version="1.0" encoding="utf-8"?>
<p:tagLst xmlns:a="http://schemas.openxmlformats.org/drawingml/2006/main" xmlns:r="http://schemas.openxmlformats.org/officeDocument/2006/relationships" xmlns:p="http://schemas.openxmlformats.org/presentationml/2006/main">
  <p:tag name="ANGLE" val="2"/>
</p:tagLst>
</file>

<file path=ppt/tags/tag281.xml><?xml version="1.0" encoding="utf-8"?>
<p:tagLst xmlns:a="http://schemas.openxmlformats.org/drawingml/2006/main" xmlns:r="http://schemas.openxmlformats.org/officeDocument/2006/relationships" xmlns:p="http://schemas.openxmlformats.org/presentationml/2006/main">
  <p:tag name="ANGLE" val="2"/>
</p:tagLst>
</file>

<file path=ppt/tags/tag282.xml><?xml version="1.0" encoding="utf-8"?>
<p:tagLst xmlns:a="http://schemas.openxmlformats.org/drawingml/2006/main" xmlns:r="http://schemas.openxmlformats.org/officeDocument/2006/relationships" xmlns:p="http://schemas.openxmlformats.org/presentationml/2006/main">
  <p:tag name="ANGLE" val="1"/>
</p:tagLst>
</file>

<file path=ppt/tags/tag283.xml><?xml version="1.0" encoding="utf-8"?>
<p:tagLst xmlns:a="http://schemas.openxmlformats.org/drawingml/2006/main" xmlns:r="http://schemas.openxmlformats.org/officeDocument/2006/relationships" xmlns:p="http://schemas.openxmlformats.org/presentationml/2006/main">
  <p:tag name="ANGLE" val="1"/>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7.xml><?xml version="1.0" encoding="utf-8"?>
<p:tagLst xmlns:a="http://schemas.openxmlformats.org/drawingml/2006/main" xmlns:r="http://schemas.openxmlformats.org/officeDocument/2006/relationships" xmlns:p="http://schemas.openxmlformats.org/presentationml/2006/main">
  <p:tag name="SHAPENAME" val="Title"/>
</p:tagLst>
</file>

<file path=ppt/tags/tag288.xml><?xml version="1.0" encoding="utf-8"?>
<p:tagLst xmlns:a="http://schemas.openxmlformats.org/drawingml/2006/main" xmlns:r="http://schemas.openxmlformats.org/officeDocument/2006/relationships" xmlns:p="http://schemas.openxmlformats.org/presentationml/2006/main">
  <p:tag name="SHAPENAME" val="Subtitl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SHAPENAME" val="5. Sourc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2.xml><?xml version="1.0" encoding="utf-8"?>
<p:tagLst xmlns:a="http://schemas.openxmlformats.org/drawingml/2006/main" xmlns:r="http://schemas.openxmlformats.org/officeDocument/2006/relationships" xmlns:p="http://schemas.openxmlformats.org/presentationml/2006/main">
  <p:tag name="SHAPENAME" val="5. Sourc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SHAPENAME" val="5. Sourc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6.xml><?xml version="1.0" encoding="utf-8"?>
<p:tagLst xmlns:a="http://schemas.openxmlformats.org/drawingml/2006/main" xmlns:r="http://schemas.openxmlformats.org/officeDocument/2006/relationships" xmlns:p="http://schemas.openxmlformats.org/presentationml/2006/main">
  <p:tag name="SHAPENAME" val="5. Sourc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70.xml><?xml version="1.0" encoding="utf-8"?>
<p:tagLst xmlns:a="http://schemas.openxmlformats.org/drawingml/2006/main" xmlns:r="http://schemas.openxmlformats.org/officeDocument/2006/relationships" xmlns:p="http://schemas.openxmlformats.org/presentationml/2006/main">
  <p:tag name="SHAPENAME" val="5. Sourc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NAME" val="Logo"/>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6.xml><?xml version="1.0" encoding="utf-8"?>
<p:tagLst xmlns:a="http://schemas.openxmlformats.org/drawingml/2006/main" xmlns:r="http://schemas.openxmlformats.org/officeDocument/2006/relationships" xmlns:p="http://schemas.openxmlformats.org/presentationml/2006/main">
  <p:tag name="SHAPENAME" val="5. Source"/>
</p:tagLst>
</file>

<file path=ppt/tags/tag3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8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NAME" val="ACET"/>
</p:tagLst>
</file>

<file path=ppt/tags/tag38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86.xml><?xml version="1.0" encoding="utf-8"?>
<p:tagLst xmlns:a="http://schemas.openxmlformats.org/drawingml/2006/main" xmlns:r="http://schemas.openxmlformats.org/officeDocument/2006/relationships" xmlns:p="http://schemas.openxmlformats.org/presentationml/2006/main">
  <p:tag name="NAME" val="Moon"/>
</p:tagLst>
</file>

<file path=ppt/tags/tag387.xml><?xml version="1.0" encoding="utf-8"?>
<p:tagLst xmlns:a="http://schemas.openxmlformats.org/drawingml/2006/main" xmlns:r="http://schemas.openxmlformats.org/officeDocument/2006/relationships" xmlns:p="http://schemas.openxmlformats.org/presentationml/2006/main">
  <p:tag name="NAME" val="Moon"/>
</p:tagLst>
</file>

<file path=ppt/tags/tag388.xml><?xml version="1.0" encoding="utf-8"?>
<p:tagLst xmlns:a="http://schemas.openxmlformats.org/drawingml/2006/main" xmlns:r="http://schemas.openxmlformats.org/officeDocument/2006/relationships" xmlns:p="http://schemas.openxmlformats.org/presentationml/2006/main">
  <p:tag name="NAME" val="Moon"/>
</p:tagLst>
</file>

<file path=ppt/tags/tag389.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NAME" val="Moon"/>
</p:tagLst>
</file>

<file path=ppt/tags/tag391.xml><?xml version="1.0" encoding="utf-8"?>
<p:tagLst xmlns:a="http://schemas.openxmlformats.org/drawingml/2006/main" xmlns:r="http://schemas.openxmlformats.org/officeDocument/2006/relationships" xmlns:p="http://schemas.openxmlformats.org/presentationml/2006/main">
  <p:tag name="ANGLE" val="5"/>
</p:tagLst>
</file>

<file path=ppt/tags/tag392.xml><?xml version="1.0" encoding="utf-8"?>
<p:tagLst xmlns:a="http://schemas.openxmlformats.org/drawingml/2006/main" xmlns:r="http://schemas.openxmlformats.org/officeDocument/2006/relationships" xmlns:p="http://schemas.openxmlformats.org/presentationml/2006/main">
  <p:tag name="ANGLE" val="5"/>
</p:tagLst>
</file>

<file path=ppt/tags/tag393.xml><?xml version="1.0" encoding="utf-8"?>
<p:tagLst xmlns:a="http://schemas.openxmlformats.org/drawingml/2006/main" xmlns:r="http://schemas.openxmlformats.org/officeDocument/2006/relationships" xmlns:p="http://schemas.openxmlformats.org/presentationml/2006/main">
  <p:tag name="ANGLE" val="4"/>
</p:tagLst>
</file>

<file path=ppt/tags/tag394.xml><?xml version="1.0" encoding="utf-8"?>
<p:tagLst xmlns:a="http://schemas.openxmlformats.org/drawingml/2006/main" xmlns:r="http://schemas.openxmlformats.org/officeDocument/2006/relationships" xmlns:p="http://schemas.openxmlformats.org/presentationml/2006/main">
  <p:tag name="ANGLE" val="4"/>
</p:tagLst>
</file>

<file path=ppt/tags/tag395.xml><?xml version="1.0" encoding="utf-8"?>
<p:tagLst xmlns:a="http://schemas.openxmlformats.org/drawingml/2006/main" xmlns:r="http://schemas.openxmlformats.org/officeDocument/2006/relationships" xmlns:p="http://schemas.openxmlformats.org/presentationml/2006/main">
  <p:tag name="ANGLE" val="3"/>
</p:tagLst>
</file>

<file path=ppt/tags/tag396.xml><?xml version="1.0" encoding="utf-8"?>
<p:tagLst xmlns:a="http://schemas.openxmlformats.org/drawingml/2006/main" xmlns:r="http://schemas.openxmlformats.org/officeDocument/2006/relationships" xmlns:p="http://schemas.openxmlformats.org/presentationml/2006/main">
  <p:tag name="ANGLE" val="3"/>
</p:tagLst>
</file>

<file path=ppt/tags/tag397.xml><?xml version="1.0" encoding="utf-8"?>
<p:tagLst xmlns:a="http://schemas.openxmlformats.org/drawingml/2006/main" xmlns:r="http://schemas.openxmlformats.org/officeDocument/2006/relationships" xmlns:p="http://schemas.openxmlformats.org/presentationml/2006/main">
  <p:tag name="ANGLE" val="2"/>
</p:tagLst>
</file>

<file path=ppt/tags/tag398.xml><?xml version="1.0" encoding="utf-8"?>
<p:tagLst xmlns:a="http://schemas.openxmlformats.org/drawingml/2006/main" xmlns:r="http://schemas.openxmlformats.org/officeDocument/2006/relationships" xmlns:p="http://schemas.openxmlformats.org/presentationml/2006/main">
  <p:tag name="ANGLE" val="2"/>
</p:tagLst>
</file>

<file path=ppt/tags/tag399.xml><?xml version="1.0" encoding="utf-8"?>
<p:tagLst xmlns:a="http://schemas.openxmlformats.org/drawingml/2006/main" xmlns:r="http://schemas.openxmlformats.org/officeDocument/2006/relationships" xmlns:p="http://schemas.openxmlformats.org/presentationml/2006/main">
  <p:tag name="ANGLE" val="1"/>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ANGLE" val="1"/>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0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04.xml><?xml version="1.0" encoding="utf-8"?>
<p:tagLst xmlns:a="http://schemas.openxmlformats.org/drawingml/2006/main" xmlns:r="http://schemas.openxmlformats.org/officeDocument/2006/relationships" xmlns:p="http://schemas.openxmlformats.org/presentationml/2006/main">
  <p:tag name="SHAPENAME" val="Title"/>
</p:tagLst>
</file>

<file path=ppt/tags/tag405.xml><?xml version="1.0" encoding="utf-8"?>
<p:tagLst xmlns:a="http://schemas.openxmlformats.org/drawingml/2006/main" xmlns:r="http://schemas.openxmlformats.org/officeDocument/2006/relationships" xmlns:p="http://schemas.openxmlformats.org/presentationml/2006/main">
  <p:tag name="SHAPENAME" val="Subtitle"/>
</p:tagLst>
</file>

<file path=ppt/tags/tag40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10.xml><?xml version="1.0" encoding="utf-8"?>
<p:tagLst xmlns:a="http://schemas.openxmlformats.org/drawingml/2006/main" xmlns:r="http://schemas.openxmlformats.org/officeDocument/2006/relationships" xmlns:p="http://schemas.openxmlformats.org/presentationml/2006/main">
  <p:tag name="SHAPENAME" val="5. Source"/>
</p:tagLst>
</file>

<file path=ppt/tags/tag4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8.xml><?xml version="1.0" encoding="utf-8"?>
<p:tagLst xmlns:a="http://schemas.openxmlformats.org/drawingml/2006/main" xmlns:r="http://schemas.openxmlformats.org/officeDocument/2006/relationships" xmlns:p="http://schemas.openxmlformats.org/presentationml/2006/main">
  <p:tag name="SHAPENAME" val="5. Source"/>
</p:tagLst>
</file>

<file path=ppt/tags/tag4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4.xml><?xml version="1.0" encoding="utf-8"?>
<p:tagLst xmlns:a="http://schemas.openxmlformats.org/drawingml/2006/main" xmlns:r="http://schemas.openxmlformats.org/officeDocument/2006/relationships" xmlns:p="http://schemas.openxmlformats.org/presentationml/2006/main">
  <p:tag name="SHAPENAME" val="5. Source"/>
</p:tagLst>
</file>

<file path=ppt/tags/tag4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1.xml><?xml version="1.0" encoding="utf-8"?>
<p:tagLst xmlns:a="http://schemas.openxmlformats.org/drawingml/2006/main" xmlns:r="http://schemas.openxmlformats.org/officeDocument/2006/relationships" xmlns:p="http://schemas.openxmlformats.org/presentationml/2006/main">
  <p:tag name="SHAPENAME" val="5. Sourc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47.xml><?xml version="1.0" encoding="utf-8"?>
<p:tagLst xmlns:a="http://schemas.openxmlformats.org/drawingml/2006/main" xmlns:r="http://schemas.openxmlformats.org/officeDocument/2006/relationships" xmlns:p="http://schemas.openxmlformats.org/presentationml/2006/main">
  <p:tag name="SHAPENAME" val="5. Sourc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56.xml><?xml version="1.0" encoding="utf-8"?>
<p:tagLst xmlns:a="http://schemas.openxmlformats.org/drawingml/2006/main" xmlns:r="http://schemas.openxmlformats.org/officeDocument/2006/relationships" xmlns:p="http://schemas.openxmlformats.org/presentationml/2006/main">
  <p:tag name="SHAPENAME" val="5. Sourc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5.xml><?xml version="1.0" encoding="utf-8"?>
<p:tagLst xmlns:a="http://schemas.openxmlformats.org/drawingml/2006/main" xmlns:r="http://schemas.openxmlformats.org/officeDocument/2006/relationships" xmlns:p="http://schemas.openxmlformats.org/presentationml/2006/main">
  <p:tag name="SHAPENAME" val="5. Sourc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74.xml><?xml version="1.0" encoding="utf-8"?>
<p:tagLst xmlns:a="http://schemas.openxmlformats.org/drawingml/2006/main" xmlns:r="http://schemas.openxmlformats.org/officeDocument/2006/relationships" xmlns:p="http://schemas.openxmlformats.org/presentationml/2006/main">
  <p:tag name="SHAPENAME" val="5. Sourc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83.xml><?xml version="1.0" encoding="utf-8"?>
<p:tagLst xmlns:a="http://schemas.openxmlformats.org/drawingml/2006/main" xmlns:r="http://schemas.openxmlformats.org/officeDocument/2006/relationships" xmlns:p="http://schemas.openxmlformats.org/presentationml/2006/main">
  <p:tag name="SHAPENAME" val="5. Sourc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4.xml><?xml version="1.0" encoding="utf-8"?>
<p:tagLst xmlns:a="http://schemas.openxmlformats.org/drawingml/2006/main" xmlns:r="http://schemas.openxmlformats.org/officeDocument/2006/relationships" xmlns:p="http://schemas.openxmlformats.org/presentationml/2006/main">
  <p:tag name="SHAPENAME" val="5. Sourc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9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05.xml><?xml version="1.0" encoding="utf-8"?>
<p:tagLst xmlns:a="http://schemas.openxmlformats.org/drawingml/2006/main" xmlns:r="http://schemas.openxmlformats.org/officeDocument/2006/relationships" xmlns:p="http://schemas.openxmlformats.org/presentationml/2006/main">
  <p:tag name="SHAPENAME" val="5. Sourc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SHAPENAME" val="5. Source"/>
</p:tagLst>
</file>

<file path=ppt/tags/tag5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5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8.xml><?xml version="1.0" encoding="utf-8"?>
<p:tagLst xmlns:a="http://schemas.openxmlformats.org/drawingml/2006/main" xmlns:r="http://schemas.openxmlformats.org/officeDocument/2006/relationships" xmlns:p="http://schemas.openxmlformats.org/presentationml/2006/main">
  <p:tag name="SHAPENAME" val="5. Source"/>
</p:tagLst>
</file>

<file path=ppt/tags/tag5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5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6.xml><?xml version="1.0" encoding="utf-8"?>
<p:tagLst xmlns:a="http://schemas.openxmlformats.org/drawingml/2006/main" xmlns:r="http://schemas.openxmlformats.org/officeDocument/2006/relationships" xmlns:p="http://schemas.openxmlformats.org/presentationml/2006/main">
  <p:tag name="SHAPENAME" val="5. Sourc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1.xml><?xml version="1.0" encoding="utf-8"?>
<p:tagLst xmlns:a="http://schemas.openxmlformats.org/drawingml/2006/main" xmlns:r="http://schemas.openxmlformats.org/officeDocument/2006/relationships" xmlns:p="http://schemas.openxmlformats.org/presentationml/2006/main">
  <p:tag name="NAME" val="ACET"/>
</p:tagLst>
</file>

<file path=ppt/tags/tag532.xml><?xml version="1.0" encoding="utf-8"?>
<p:tagLst xmlns:a="http://schemas.openxmlformats.org/drawingml/2006/main" xmlns:r="http://schemas.openxmlformats.org/officeDocument/2006/relationships" xmlns:p="http://schemas.openxmlformats.org/presentationml/2006/main">
  <p:tag name="NAME" val="Moon"/>
</p:tagLst>
</file>

<file path=ppt/tags/tag533.xml><?xml version="1.0" encoding="utf-8"?>
<p:tagLst xmlns:a="http://schemas.openxmlformats.org/drawingml/2006/main" xmlns:r="http://schemas.openxmlformats.org/officeDocument/2006/relationships" xmlns:p="http://schemas.openxmlformats.org/presentationml/2006/main">
  <p:tag name="NAME" val="Moon"/>
</p:tagLst>
</file>

<file path=ppt/tags/tag534.xml><?xml version="1.0" encoding="utf-8"?>
<p:tagLst xmlns:a="http://schemas.openxmlformats.org/drawingml/2006/main" xmlns:r="http://schemas.openxmlformats.org/officeDocument/2006/relationships" xmlns:p="http://schemas.openxmlformats.org/presentationml/2006/main">
  <p:tag name="NAME" val="Moon"/>
</p:tagLst>
</file>

<file path=ppt/tags/tag535.xml><?xml version="1.0" encoding="utf-8"?>
<p:tagLst xmlns:a="http://schemas.openxmlformats.org/drawingml/2006/main" xmlns:r="http://schemas.openxmlformats.org/officeDocument/2006/relationships" xmlns:p="http://schemas.openxmlformats.org/presentationml/2006/main">
  <p:tag name="NAME" val="Moon"/>
</p:tagLst>
</file>

<file path=ppt/tags/tag536.xml><?xml version="1.0" encoding="utf-8"?>
<p:tagLst xmlns:a="http://schemas.openxmlformats.org/drawingml/2006/main" xmlns:r="http://schemas.openxmlformats.org/officeDocument/2006/relationships" xmlns:p="http://schemas.openxmlformats.org/presentationml/2006/main">
  <p:tag name="NAME" val="Moon"/>
</p:tagLst>
</file>

<file path=ppt/tags/tag537.xml><?xml version="1.0" encoding="utf-8"?>
<p:tagLst xmlns:a="http://schemas.openxmlformats.org/drawingml/2006/main" xmlns:r="http://schemas.openxmlformats.org/officeDocument/2006/relationships" xmlns:p="http://schemas.openxmlformats.org/presentationml/2006/main">
  <p:tag name="ANGLE" val="5"/>
</p:tagLst>
</file>

<file path=ppt/tags/tag538.xml><?xml version="1.0" encoding="utf-8"?>
<p:tagLst xmlns:a="http://schemas.openxmlformats.org/drawingml/2006/main" xmlns:r="http://schemas.openxmlformats.org/officeDocument/2006/relationships" xmlns:p="http://schemas.openxmlformats.org/presentationml/2006/main">
  <p:tag name="ANGLE" val="5"/>
</p:tagLst>
</file>

<file path=ppt/tags/tag539.xml><?xml version="1.0" encoding="utf-8"?>
<p:tagLst xmlns:a="http://schemas.openxmlformats.org/drawingml/2006/main" xmlns:r="http://schemas.openxmlformats.org/officeDocument/2006/relationships" xmlns:p="http://schemas.openxmlformats.org/presentationml/2006/main">
  <p:tag name="ANGLE" val="4"/>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ANGLE" val="4"/>
</p:tagLst>
</file>

<file path=ppt/tags/tag541.xml><?xml version="1.0" encoding="utf-8"?>
<p:tagLst xmlns:a="http://schemas.openxmlformats.org/drawingml/2006/main" xmlns:r="http://schemas.openxmlformats.org/officeDocument/2006/relationships" xmlns:p="http://schemas.openxmlformats.org/presentationml/2006/main">
  <p:tag name="ANGLE" val="3"/>
</p:tagLst>
</file>

<file path=ppt/tags/tag542.xml><?xml version="1.0" encoding="utf-8"?>
<p:tagLst xmlns:a="http://schemas.openxmlformats.org/drawingml/2006/main" xmlns:r="http://schemas.openxmlformats.org/officeDocument/2006/relationships" xmlns:p="http://schemas.openxmlformats.org/presentationml/2006/main">
  <p:tag name="ANGLE" val="3"/>
</p:tagLst>
</file>

<file path=ppt/tags/tag543.xml><?xml version="1.0" encoding="utf-8"?>
<p:tagLst xmlns:a="http://schemas.openxmlformats.org/drawingml/2006/main" xmlns:r="http://schemas.openxmlformats.org/officeDocument/2006/relationships" xmlns:p="http://schemas.openxmlformats.org/presentationml/2006/main">
  <p:tag name="ANGLE" val="2"/>
</p:tagLst>
</file>

<file path=ppt/tags/tag544.xml><?xml version="1.0" encoding="utf-8"?>
<p:tagLst xmlns:a="http://schemas.openxmlformats.org/drawingml/2006/main" xmlns:r="http://schemas.openxmlformats.org/officeDocument/2006/relationships" xmlns:p="http://schemas.openxmlformats.org/presentationml/2006/main">
  <p:tag name="ANGLE" val="2"/>
</p:tagLst>
</file>

<file path=ppt/tags/tag545.xml><?xml version="1.0" encoding="utf-8"?>
<p:tagLst xmlns:a="http://schemas.openxmlformats.org/drawingml/2006/main" xmlns:r="http://schemas.openxmlformats.org/officeDocument/2006/relationships" xmlns:p="http://schemas.openxmlformats.org/presentationml/2006/main">
  <p:tag name="ANGLE" val="1"/>
</p:tagLst>
</file>

<file path=ppt/tags/tag546.xml><?xml version="1.0" encoding="utf-8"?>
<p:tagLst xmlns:a="http://schemas.openxmlformats.org/drawingml/2006/main" xmlns:r="http://schemas.openxmlformats.org/officeDocument/2006/relationships" xmlns:p="http://schemas.openxmlformats.org/presentationml/2006/main">
  <p:tag name="ANGLE" val="1"/>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4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50.xml><?xml version="1.0" encoding="utf-8"?>
<p:tagLst xmlns:a="http://schemas.openxmlformats.org/drawingml/2006/main" xmlns:r="http://schemas.openxmlformats.org/officeDocument/2006/relationships" xmlns:p="http://schemas.openxmlformats.org/presentationml/2006/main">
  <p:tag name="SHAPENAME" val="Title"/>
</p:tagLst>
</file>

<file path=ppt/tags/tag551.xml><?xml version="1.0" encoding="utf-8"?>
<p:tagLst xmlns:a="http://schemas.openxmlformats.org/drawingml/2006/main" xmlns:r="http://schemas.openxmlformats.org/officeDocument/2006/relationships" xmlns:p="http://schemas.openxmlformats.org/presentationml/2006/main">
  <p:tag name="SHAPENAME" val="Subtitl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3.xml><?xml version="1.0" encoding="utf-8"?>
<p:tagLst xmlns:a="http://schemas.openxmlformats.org/drawingml/2006/main" xmlns:r="http://schemas.openxmlformats.org/officeDocument/2006/relationships" xmlns:p="http://schemas.openxmlformats.org/presentationml/2006/main">
  <p:tag name="SHAPENAME" val="5. Source"/>
</p:tagLst>
</file>

<file path=ppt/tags/tag5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9.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6.xml><?xml version="1.0" encoding="utf-8"?>
<p:tagLst xmlns:a="http://schemas.openxmlformats.org/drawingml/2006/main" xmlns:r="http://schemas.openxmlformats.org/officeDocument/2006/relationships" xmlns:p="http://schemas.openxmlformats.org/presentationml/2006/main">
  <p:tag name="SHAPENAME" val="5. Sourc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3.xml><?xml version="1.0" encoding="utf-8"?>
<p:tagLst xmlns:a="http://schemas.openxmlformats.org/drawingml/2006/main" xmlns:r="http://schemas.openxmlformats.org/officeDocument/2006/relationships" xmlns:p="http://schemas.openxmlformats.org/presentationml/2006/main">
  <p:tag name="SHAPENAME" val="5. Sourc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1.xml><?xml version="1.0" encoding="utf-8"?>
<p:tagLst xmlns:a="http://schemas.openxmlformats.org/drawingml/2006/main" xmlns:r="http://schemas.openxmlformats.org/officeDocument/2006/relationships" xmlns:p="http://schemas.openxmlformats.org/presentationml/2006/main">
  <p:tag name="SHAPENAME" val="5. Sourc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7.xml><?xml version="1.0" encoding="utf-8"?>
<p:tagLst xmlns:a="http://schemas.openxmlformats.org/drawingml/2006/main" xmlns:r="http://schemas.openxmlformats.org/officeDocument/2006/relationships" xmlns:p="http://schemas.openxmlformats.org/presentationml/2006/main">
  <p:tag name="SHAPENAME" val="5. Sourc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5.xml><?xml version="1.0" encoding="utf-8"?>
<p:tagLst xmlns:a="http://schemas.openxmlformats.org/drawingml/2006/main" xmlns:r="http://schemas.openxmlformats.org/officeDocument/2006/relationships" xmlns:p="http://schemas.openxmlformats.org/presentationml/2006/main">
  <p:tag name="SHAPENAME" val="5. Sourc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3.xml><?xml version="1.0" encoding="utf-8"?>
<p:tagLst xmlns:a="http://schemas.openxmlformats.org/drawingml/2006/main" xmlns:r="http://schemas.openxmlformats.org/officeDocument/2006/relationships" xmlns:p="http://schemas.openxmlformats.org/presentationml/2006/main">
  <p:tag name="SHAPENAME" val="5. Sourc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9.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3.xml><?xml version="1.0" encoding="utf-8"?>
<p:tagLst xmlns:a="http://schemas.openxmlformats.org/drawingml/2006/main" xmlns:r="http://schemas.openxmlformats.org/officeDocument/2006/relationships" xmlns:p="http://schemas.openxmlformats.org/presentationml/2006/main">
  <p:tag name="SHAPENAME" val="5. Sourc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6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2.xml><?xml version="1.0" encoding="utf-8"?>
<p:tagLst xmlns:a="http://schemas.openxmlformats.org/drawingml/2006/main" xmlns:r="http://schemas.openxmlformats.org/officeDocument/2006/relationships" xmlns:p="http://schemas.openxmlformats.org/presentationml/2006/main">
  <p:tag name="SHAPENAME" val="5. Sourc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6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7.xml><?xml version="1.0" encoding="utf-8"?>
<p:tagLst xmlns:a="http://schemas.openxmlformats.org/drawingml/2006/main" xmlns:r="http://schemas.openxmlformats.org/officeDocument/2006/relationships" xmlns:p="http://schemas.openxmlformats.org/presentationml/2006/main">
  <p:tag name="NAME" val="ACET"/>
</p:tagLst>
</file>

<file path=ppt/tags/tag648.xml><?xml version="1.0" encoding="utf-8"?>
<p:tagLst xmlns:a="http://schemas.openxmlformats.org/drawingml/2006/main" xmlns:r="http://schemas.openxmlformats.org/officeDocument/2006/relationships" xmlns:p="http://schemas.openxmlformats.org/presentationml/2006/main">
  <p:tag name="NAME" val="Moon"/>
</p:tagLst>
</file>

<file path=ppt/tags/tag649.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NAME" val="Moon"/>
</p:tagLst>
</file>

<file path=ppt/tags/tag651.xml><?xml version="1.0" encoding="utf-8"?>
<p:tagLst xmlns:a="http://schemas.openxmlformats.org/drawingml/2006/main" xmlns:r="http://schemas.openxmlformats.org/officeDocument/2006/relationships" xmlns:p="http://schemas.openxmlformats.org/presentationml/2006/main">
  <p:tag name="NAME" val="Moon"/>
</p:tagLst>
</file>

<file path=ppt/tags/tag652.xml><?xml version="1.0" encoding="utf-8"?>
<p:tagLst xmlns:a="http://schemas.openxmlformats.org/drawingml/2006/main" xmlns:r="http://schemas.openxmlformats.org/officeDocument/2006/relationships" xmlns:p="http://schemas.openxmlformats.org/presentationml/2006/main">
  <p:tag name="NAME" val="Moon"/>
</p:tagLst>
</file>

<file path=ppt/tags/tag653.xml><?xml version="1.0" encoding="utf-8"?>
<p:tagLst xmlns:a="http://schemas.openxmlformats.org/drawingml/2006/main" xmlns:r="http://schemas.openxmlformats.org/officeDocument/2006/relationships" xmlns:p="http://schemas.openxmlformats.org/presentationml/2006/main">
  <p:tag name="ANGLE" val="5"/>
</p:tagLst>
</file>

<file path=ppt/tags/tag654.xml><?xml version="1.0" encoding="utf-8"?>
<p:tagLst xmlns:a="http://schemas.openxmlformats.org/drawingml/2006/main" xmlns:r="http://schemas.openxmlformats.org/officeDocument/2006/relationships" xmlns:p="http://schemas.openxmlformats.org/presentationml/2006/main">
  <p:tag name="ANGLE" val="5"/>
</p:tagLst>
</file>

<file path=ppt/tags/tag655.xml><?xml version="1.0" encoding="utf-8"?>
<p:tagLst xmlns:a="http://schemas.openxmlformats.org/drawingml/2006/main" xmlns:r="http://schemas.openxmlformats.org/officeDocument/2006/relationships" xmlns:p="http://schemas.openxmlformats.org/presentationml/2006/main">
  <p:tag name="ANGLE" val="4"/>
</p:tagLst>
</file>

<file path=ppt/tags/tag656.xml><?xml version="1.0" encoding="utf-8"?>
<p:tagLst xmlns:a="http://schemas.openxmlformats.org/drawingml/2006/main" xmlns:r="http://schemas.openxmlformats.org/officeDocument/2006/relationships" xmlns:p="http://schemas.openxmlformats.org/presentationml/2006/main">
  <p:tag name="ANGLE" val="4"/>
</p:tagLst>
</file>

<file path=ppt/tags/tag657.xml><?xml version="1.0" encoding="utf-8"?>
<p:tagLst xmlns:a="http://schemas.openxmlformats.org/drawingml/2006/main" xmlns:r="http://schemas.openxmlformats.org/officeDocument/2006/relationships" xmlns:p="http://schemas.openxmlformats.org/presentationml/2006/main">
  <p:tag name="ANGLE" val="3"/>
</p:tagLst>
</file>

<file path=ppt/tags/tag658.xml><?xml version="1.0" encoding="utf-8"?>
<p:tagLst xmlns:a="http://schemas.openxmlformats.org/drawingml/2006/main" xmlns:r="http://schemas.openxmlformats.org/officeDocument/2006/relationships" xmlns:p="http://schemas.openxmlformats.org/presentationml/2006/main">
  <p:tag name="ANGLE" val="3"/>
</p:tagLst>
</file>

<file path=ppt/tags/tag659.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0.xml><?xml version="1.0" encoding="utf-8"?>
<p:tagLst xmlns:a="http://schemas.openxmlformats.org/drawingml/2006/main" xmlns:r="http://schemas.openxmlformats.org/officeDocument/2006/relationships" xmlns:p="http://schemas.openxmlformats.org/presentationml/2006/main">
  <p:tag name="ANGLE" val="2"/>
</p:tagLst>
</file>

<file path=ppt/tags/tag661.xml><?xml version="1.0" encoding="utf-8"?>
<p:tagLst xmlns:a="http://schemas.openxmlformats.org/drawingml/2006/main" xmlns:r="http://schemas.openxmlformats.org/officeDocument/2006/relationships" xmlns:p="http://schemas.openxmlformats.org/presentationml/2006/main">
  <p:tag name="ANGLE" val="1"/>
</p:tagLst>
</file>

<file path=ppt/tags/tag662.xml><?xml version="1.0" encoding="utf-8"?>
<p:tagLst xmlns:a="http://schemas.openxmlformats.org/drawingml/2006/main" xmlns:r="http://schemas.openxmlformats.org/officeDocument/2006/relationships" xmlns:p="http://schemas.openxmlformats.org/presentationml/2006/main">
  <p:tag name="ANGLE" val="1"/>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66.xml><?xml version="1.0" encoding="utf-8"?>
<p:tagLst xmlns:a="http://schemas.openxmlformats.org/drawingml/2006/main" xmlns:r="http://schemas.openxmlformats.org/officeDocument/2006/relationships" xmlns:p="http://schemas.openxmlformats.org/presentationml/2006/main">
  <p:tag name="SHAPENAME" val="Title"/>
</p:tagLst>
</file>

<file path=ppt/tags/tag667.xml><?xml version="1.0" encoding="utf-8"?>
<p:tagLst xmlns:a="http://schemas.openxmlformats.org/drawingml/2006/main" xmlns:r="http://schemas.openxmlformats.org/officeDocument/2006/relationships" xmlns:p="http://schemas.openxmlformats.org/presentationml/2006/main">
  <p:tag name="SHAPENAME" val="Subtitl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1.xml><?xml version="1.0" encoding="utf-8"?>
<p:tagLst xmlns:a="http://schemas.openxmlformats.org/drawingml/2006/main" xmlns:r="http://schemas.openxmlformats.org/officeDocument/2006/relationships" xmlns:p="http://schemas.openxmlformats.org/presentationml/2006/main">
  <p:tag name="SHAPENAME" val="5. Source"/>
</p:tagLst>
</file>

<file path=ppt/tags/tag6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8.xml><?xml version="1.0" encoding="utf-8"?>
<p:tagLst xmlns:a="http://schemas.openxmlformats.org/drawingml/2006/main" xmlns:r="http://schemas.openxmlformats.org/officeDocument/2006/relationships" xmlns:p="http://schemas.openxmlformats.org/presentationml/2006/main">
  <p:tag name="SHAPENAME" val="5. Source"/>
</p:tagLst>
</file>

<file path=ppt/tags/tag6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6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5.xml><?xml version="1.0" encoding="utf-8"?>
<p:tagLst xmlns:a="http://schemas.openxmlformats.org/drawingml/2006/main" xmlns:r="http://schemas.openxmlformats.org/officeDocument/2006/relationships" xmlns:p="http://schemas.openxmlformats.org/presentationml/2006/main">
  <p:tag name="SHAPENAME" val="5. Source"/>
</p:tagLst>
</file>

<file path=ppt/tags/tag6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6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1.xml><?xml version="1.0" encoding="utf-8"?>
<p:tagLst xmlns:a="http://schemas.openxmlformats.org/drawingml/2006/main" xmlns:r="http://schemas.openxmlformats.org/officeDocument/2006/relationships" xmlns:p="http://schemas.openxmlformats.org/presentationml/2006/main">
  <p:tag name="SHAPENAME" val="5. Source"/>
</p:tagLst>
</file>

<file path=ppt/tags/tag6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8.xml><?xml version="1.0" encoding="utf-8"?>
<p:tagLst xmlns:a="http://schemas.openxmlformats.org/drawingml/2006/main" xmlns:r="http://schemas.openxmlformats.org/officeDocument/2006/relationships" xmlns:p="http://schemas.openxmlformats.org/presentationml/2006/main">
  <p:tag name="SHAPENAME" val="5. Sourc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5.xml><?xml version="1.0" encoding="utf-8"?>
<p:tagLst xmlns:a="http://schemas.openxmlformats.org/drawingml/2006/main" xmlns:r="http://schemas.openxmlformats.org/officeDocument/2006/relationships" xmlns:p="http://schemas.openxmlformats.org/presentationml/2006/main">
  <p:tag name="SHAPENAME" val="5. Sourc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3.xml><?xml version="1.0" encoding="utf-8"?>
<p:tagLst xmlns:a="http://schemas.openxmlformats.org/drawingml/2006/main" xmlns:r="http://schemas.openxmlformats.org/officeDocument/2006/relationships" xmlns:p="http://schemas.openxmlformats.org/presentationml/2006/main">
  <p:tag name="SHAPENAME" val="5. Sourc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1.xml><?xml version="1.0" encoding="utf-8"?>
<p:tagLst xmlns:a="http://schemas.openxmlformats.org/drawingml/2006/main" xmlns:r="http://schemas.openxmlformats.org/officeDocument/2006/relationships" xmlns:p="http://schemas.openxmlformats.org/presentationml/2006/main">
  <p:tag name="SHAPENAME" val="5. Sourc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9.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7.xml><?xml version="1.0" encoding="utf-8"?>
<p:tagLst xmlns:a="http://schemas.openxmlformats.org/drawingml/2006/main" xmlns:r="http://schemas.openxmlformats.org/officeDocument/2006/relationships" xmlns:p="http://schemas.openxmlformats.org/presentationml/2006/main">
  <p:tag name="SHAPENAME" val="5. Sourc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5.xml><?xml version="1.0" encoding="utf-8"?>
<p:tagLst xmlns:a="http://schemas.openxmlformats.org/drawingml/2006/main" xmlns:r="http://schemas.openxmlformats.org/officeDocument/2006/relationships" xmlns:p="http://schemas.openxmlformats.org/presentationml/2006/main">
  <p:tag name="SHAPENAME" val="5. Sourc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1.xml><?xml version="1.0" encoding="utf-8"?>
<p:tagLst xmlns:a="http://schemas.openxmlformats.org/drawingml/2006/main" xmlns:r="http://schemas.openxmlformats.org/officeDocument/2006/relationships" xmlns:p="http://schemas.openxmlformats.org/presentationml/2006/main">
  <p:tag name="SHAPENAME" val="5. Sourc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5.xml><?xml version="1.0" encoding="utf-8"?>
<p:tagLst xmlns:a="http://schemas.openxmlformats.org/drawingml/2006/main" xmlns:r="http://schemas.openxmlformats.org/officeDocument/2006/relationships" xmlns:p="http://schemas.openxmlformats.org/presentationml/2006/main">
  <p:tag name="SHAPENAME" val="5. Sourc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759.xml><?xml version="1.0" encoding="utf-8"?>
<p:tagLst xmlns:a="http://schemas.openxmlformats.org/drawingml/2006/main" xmlns:r="http://schemas.openxmlformats.org/officeDocument/2006/relationships" xmlns:p="http://schemas.openxmlformats.org/presentationml/2006/main">
  <p:tag name="SHAPENAME" val="4. Footnote"/>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1.xml><?xml version="1.0" encoding="utf-8"?>
<p:tagLst xmlns:a="http://schemas.openxmlformats.org/drawingml/2006/main" xmlns:r="http://schemas.openxmlformats.org/officeDocument/2006/relationships" xmlns:p="http://schemas.openxmlformats.org/presentationml/2006/main">
  <p:tag name="NAME" val="ACET"/>
</p:tagLst>
</file>

<file path=ppt/tags/tag762.xml><?xml version="1.0" encoding="utf-8"?>
<p:tagLst xmlns:a="http://schemas.openxmlformats.org/drawingml/2006/main" xmlns:r="http://schemas.openxmlformats.org/officeDocument/2006/relationships" xmlns:p="http://schemas.openxmlformats.org/presentationml/2006/main">
  <p:tag name="NAME" val="Moon"/>
</p:tagLst>
</file>

<file path=ppt/tags/tag763.xml><?xml version="1.0" encoding="utf-8"?>
<p:tagLst xmlns:a="http://schemas.openxmlformats.org/drawingml/2006/main" xmlns:r="http://schemas.openxmlformats.org/officeDocument/2006/relationships" xmlns:p="http://schemas.openxmlformats.org/presentationml/2006/main">
  <p:tag name="NAME" val="Moon"/>
</p:tagLst>
</file>

<file path=ppt/tags/tag764.xml><?xml version="1.0" encoding="utf-8"?>
<p:tagLst xmlns:a="http://schemas.openxmlformats.org/drawingml/2006/main" xmlns:r="http://schemas.openxmlformats.org/officeDocument/2006/relationships" xmlns:p="http://schemas.openxmlformats.org/presentationml/2006/main">
  <p:tag name="NAME" val="Moon"/>
</p:tagLst>
</file>

<file path=ppt/tags/tag765.xml><?xml version="1.0" encoding="utf-8"?>
<p:tagLst xmlns:a="http://schemas.openxmlformats.org/drawingml/2006/main" xmlns:r="http://schemas.openxmlformats.org/officeDocument/2006/relationships" xmlns:p="http://schemas.openxmlformats.org/presentationml/2006/main">
  <p:tag name="NAME" val="Moon"/>
</p:tagLst>
</file>

<file path=ppt/tags/tag766.xml><?xml version="1.0" encoding="utf-8"?>
<p:tagLst xmlns:a="http://schemas.openxmlformats.org/drawingml/2006/main" xmlns:r="http://schemas.openxmlformats.org/officeDocument/2006/relationships" xmlns:p="http://schemas.openxmlformats.org/presentationml/2006/main">
  <p:tag name="NAME" val="Moon"/>
</p:tagLst>
</file>

<file path=ppt/tags/tag767.xml><?xml version="1.0" encoding="utf-8"?>
<p:tagLst xmlns:a="http://schemas.openxmlformats.org/drawingml/2006/main" xmlns:r="http://schemas.openxmlformats.org/officeDocument/2006/relationships" xmlns:p="http://schemas.openxmlformats.org/presentationml/2006/main">
  <p:tag name="ANGLE" val="5"/>
</p:tagLst>
</file>

<file path=ppt/tags/tag768.xml><?xml version="1.0" encoding="utf-8"?>
<p:tagLst xmlns:a="http://schemas.openxmlformats.org/drawingml/2006/main" xmlns:r="http://schemas.openxmlformats.org/officeDocument/2006/relationships" xmlns:p="http://schemas.openxmlformats.org/presentationml/2006/main">
  <p:tag name="ANGLE" val="5"/>
</p:tagLst>
</file>

<file path=ppt/tags/tag769.xml><?xml version="1.0" encoding="utf-8"?>
<p:tagLst xmlns:a="http://schemas.openxmlformats.org/drawingml/2006/main" xmlns:r="http://schemas.openxmlformats.org/officeDocument/2006/relationships" xmlns:p="http://schemas.openxmlformats.org/presentationml/2006/main">
  <p:tag name="ANGLE" val="4"/>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70.xml><?xml version="1.0" encoding="utf-8"?>
<p:tagLst xmlns:a="http://schemas.openxmlformats.org/drawingml/2006/main" xmlns:r="http://schemas.openxmlformats.org/officeDocument/2006/relationships" xmlns:p="http://schemas.openxmlformats.org/presentationml/2006/main">
  <p:tag name="ANGLE" val="4"/>
</p:tagLst>
</file>

<file path=ppt/tags/tag771.xml><?xml version="1.0" encoding="utf-8"?>
<p:tagLst xmlns:a="http://schemas.openxmlformats.org/drawingml/2006/main" xmlns:r="http://schemas.openxmlformats.org/officeDocument/2006/relationships" xmlns:p="http://schemas.openxmlformats.org/presentationml/2006/main">
  <p:tag name="ANGLE" val="3"/>
</p:tagLst>
</file>

<file path=ppt/tags/tag772.xml><?xml version="1.0" encoding="utf-8"?>
<p:tagLst xmlns:a="http://schemas.openxmlformats.org/drawingml/2006/main" xmlns:r="http://schemas.openxmlformats.org/officeDocument/2006/relationships" xmlns:p="http://schemas.openxmlformats.org/presentationml/2006/main">
  <p:tag name="ANGLE" val="3"/>
</p:tagLst>
</file>

<file path=ppt/tags/tag773.xml><?xml version="1.0" encoding="utf-8"?>
<p:tagLst xmlns:a="http://schemas.openxmlformats.org/drawingml/2006/main" xmlns:r="http://schemas.openxmlformats.org/officeDocument/2006/relationships" xmlns:p="http://schemas.openxmlformats.org/presentationml/2006/main">
  <p:tag name="ANGLE" val="2"/>
</p:tagLst>
</file>

<file path=ppt/tags/tag774.xml><?xml version="1.0" encoding="utf-8"?>
<p:tagLst xmlns:a="http://schemas.openxmlformats.org/drawingml/2006/main" xmlns:r="http://schemas.openxmlformats.org/officeDocument/2006/relationships" xmlns:p="http://schemas.openxmlformats.org/presentationml/2006/main">
  <p:tag name="ANGLE" val="2"/>
</p:tagLst>
</file>

<file path=ppt/tags/tag775.xml><?xml version="1.0" encoding="utf-8"?>
<p:tagLst xmlns:a="http://schemas.openxmlformats.org/drawingml/2006/main" xmlns:r="http://schemas.openxmlformats.org/officeDocument/2006/relationships" xmlns:p="http://schemas.openxmlformats.org/presentationml/2006/main">
  <p:tag name="ANGLE" val="1"/>
</p:tagLst>
</file>

<file path=ppt/tags/tag776.xml><?xml version="1.0" encoding="utf-8"?>
<p:tagLst xmlns:a="http://schemas.openxmlformats.org/drawingml/2006/main" xmlns:r="http://schemas.openxmlformats.org/officeDocument/2006/relationships" xmlns:p="http://schemas.openxmlformats.org/presentationml/2006/main">
  <p:tag name="ANGLE" val="1"/>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SHAPENAME" val="Title"/>
</p:tagLst>
</file>

<file path=ppt/tags/tag781.xml><?xml version="1.0" encoding="utf-8"?>
<p:tagLst xmlns:a="http://schemas.openxmlformats.org/drawingml/2006/main" xmlns:r="http://schemas.openxmlformats.org/officeDocument/2006/relationships" xmlns:p="http://schemas.openxmlformats.org/presentationml/2006/main">
  <p:tag name="SHAPENAME" val="Subtitl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5.xml><?xml version="1.0" encoding="utf-8"?>
<p:tagLst xmlns:a="http://schemas.openxmlformats.org/drawingml/2006/main" xmlns:r="http://schemas.openxmlformats.org/officeDocument/2006/relationships" xmlns:p="http://schemas.openxmlformats.org/presentationml/2006/main">
  <p:tag name="SHAPENAME" val="5. Source"/>
</p:tagLst>
</file>

<file path=ppt/tags/tag7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2.xml><?xml version="1.0" encoding="utf-8"?>
<p:tagLst xmlns:a="http://schemas.openxmlformats.org/drawingml/2006/main" xmlns:r="http://schemas.openxmlformats.org/officeDocument/2006/relationships" xmlns:p="http://schemas.openxmlformats.org/presentationml/2006/main">
  <p:tag name="SHAPENAME" val="5. Source"/>
</p:tagLst>
</file>

<file path=ppt/tags/tag7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8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5.xml><?xml version="1.0" encoding="utf-8"?>
<p:tagLst xmlns:a="http://schemas.openxmlformats.org/drawingml/2006/main" xmlns:r="http://schemas.openxmlformats.org/officeDocument/2006/relationships" xmlns:p="http://schemas.openxmlformats.org/presentationml/2006/main">
  <p:tag name="SHAPENAME" val="5. Source"/>
</p:tagLst>
</file>

<file path=ppt/tags/tag8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8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2.xml><?xml version="1.0" encoding="utf-8"?>
<p:tagLst xmlns:a="http://schemas.openxmlformats.org/drawingml/2006/main" xmlns:r="http://schemas.openxmlformats.org/officeDocument/2006/relationships" xmlns:p="http://schemas.openxmlformats.org/presentationml/2006/main">
  <p:tag name="SHAPENAME" val="5. Sourc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8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9.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7.xml><?xml version="1.0" encoding="utf-8"?>
<p:tagLst xmlns:a="http://schemas.openxmlformats.org/drawingml/2006/main" xmlns:r="http://schemas.openxmlformats.org/officeDocument/2006/relationships" xmlns:p="http://schemas.openxmlformats.org/presentationml/2006/main">
  <p:tag name="SHAPENAME" val="5. Sourc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5.xml><?xml version="1.0" encoding="utf-8"?>
<p:tagLst xmlns:a="http://schemas.openxmlformats.org/drawingml/2006/main" xmlns:r="http://schemas.openxmlformats.org/officeDocument/2006/relationships" xmlns:p="http://schemas.openxmlformats.org/presentationml/2006/main">
  <p:tag name="SHAPENAME" val="5. Sourc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3.xml><?xml version="1.0" encoding="utf-8"?>
<p:tagLst xmlns:a="http://schemas.openxmlformats.org/drawingml/2006/main" xmlns:r="http://schemas.openxmlformats.org/officeDocument/2006/relationships" xmlns:p="http://schemas.openxmlformats.org/presentationml/2006/main">
  <p:tag name="SHAPENAME" val="5. Sourc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1.xml><?xml version="1.0" encoding="utf-8"?>
<p:tagLst xmlns:a="http://schemas.openxmlformats.org/drawingml/2006/main" xmlns:r="http://schemas.openxmlformats.org/officeDocument/2006/relationships" xmlns:p="http://schemas.openxmlformats.org/presentationml/2006/main">
  <p:tag name="SHAPENAME" val="5. Sourc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9.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8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5.xml><?xml version="1.0" encoding="utf-8"?>
<p:tagLst xmlns:a="http://schemas.openxmlformats.org/drawingml/2006/main" xmlns:r="http://schemas.openxmlformats.org/officeDocument/2006/relationships" xmlns:p="http://schemas.openxmlformats.org/presentationml/2006/main">
  <p:tag name="SHAPENAME" val="5. Sourc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9.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7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2.xml><?xml version="1.0" encoding="utf-8"?>
<p:tagLst xmlns:a="http://schemas.openxmlformats.org/drawingml/2006/main" xmlns:r="http://schemas.openxmlformats.org/officeDocument/2006/relationships" xmlns:p="http://schemas.openxmlformats.org/presentationml/2006/main">
  <p:tag name="SHAPENAME" val="5. Source"/>
</p:tagLst>
</file>

<file path=ppt/tags/tag8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8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0.xml><?xml version="1.0" encoding="utf-8"?>
<p:tagLst xmlns:a="http://schemas.openxmlformats.org/drawingml/2006/main" xmlns:r="http://schemas.openxmlformats.org/officeDocument/2006/relationships" xmlns:p="http://schemas.openxmlformats.org/presentationml/2006/main">
  <p:tag name="SHAPENAME" val="5. Sourc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893.xml><?xml version="1.0" encoding="utf-8"?>
<p:tagLst xmlns:a="http://schemas.openxmlformats.org/drawingml/2006/main" xmlns:r="http://schemas.openxmlformats.org/officeDocument/2006/relationships" xmlns:p="http://schemas.openxmlformats.org/presentationml/2006/main">
  <p:tag name="SHAPENAME" val="4. Footnote"/>
</p:tagLst>
</file>

<file path=ppt/tags/tag8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5.xml><?xml version="1.0" encoding="utf-8"?>
<p:tagLst xmlns:a="http://schemas.openxmlformats.org/drawingml/2006/main" xmlns:r="http://schemas.openxmlformats.org/officeDocument/2006/relationships" xmlns:p="http://schemas.openxmlformats.org/presentationml/2006/main">
  <p:tag name="NAME" val="ACET"/>
</p:tagLst>
</file>

<file path=ppt/tags/tag896.xml><?xml version="1.0" encoding="utf-8"?>
<p:tagLst xmlns:a="http://schemas.openxmlformats.org/drawingml/2006/main" xmlns:r="http://schemas.openxmlformats.org/officeDocument/2006/relationships" xmlns:p="http://schemas.openxmlformats.org/presentationml/2006/main">
  <p:tag name="NAME" val="Moon"/>
</p:tagLst>
</file>

<file path=ppt/tags/tag897.xml><?xml version="1.0" encoding="utf-8"?>
<p:tagLst xmlns:a="http://schemas.openxmlformats.org/drawingml/2006/main" xmlns:r="http://schemas.openxmlformats.org/officeDocument/2006/relationships" xmlns:p="http://schemas.openxmlformats.org/presentationml/2006/main">
  <p:tag name="NAME" val="Moon"/>
</p:tagLst>
</file>

<file path=ppt/tags/tag898.xml><?xml version="1.0" encoding="utf-8"?>
<p:tagLst xmlns:a="http://schemas.openxmlformats.org/drawingml/2006/main" xmlns:r="http://schemas.openxmlformats.org/officeDocument/2006/relationships" xmlns:p="http://schemas.openxmlformats.org/presentationml/2006/main">
  <p:tag name="NAME" val="Moon"/>
</p:tagLst>
</file>

<file path=ppt/tags/tag89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00.xml><?xml version="1.0" encoding="utf-8"?>
<p:tagLst xmlns:a="http://schemas.openxmlformats.org/drawingml/2006/main" xmlns:r="http://schemas.openxmlformats.org/officeDocument/2006/relationships" xmlns:p="http://schemas.openxmlformats.org/presentationml/2006/main">
  <p:tag name="NAME" val="Moon"/>
</p:tagLst>
</file>

<file path=ppt/tags/tag901.xml><?xml version="1.0" encoding="utf-8"?>
<p:tagLst xmlns:a="http://schemas.openxmlformats.org/drawingml/2006/main" xmlns:r="http://schemas.openxmlformats.org/officeDocument/2006/relationships" xmlns:p="http://schemas.openxmlformats.org/presentationml/2006/main">
  <p:tag name="ANGLE" val="5"/>
</p:tagLst>
</file>

<file path=ppt/tags/tag902.xml><?xml version="1.0" encoding="utf-8"?>
<p:tagLst xmlns:a="http://schemas.openxmlformats.org/drawingml/2006/main" xmlns:r="http://schemas.openxmlformats.org/officeDocument/2006/relationships" xmlns:p="http://schemas.openxmlformats.org/presentationml/2006/main">
  <p:tag name="ANGLE" val="5"/>
</p:tagLst>
</file>

<file path=ppt/tags/tag903.xml><?xml version="1.0" encoding="utf-8"?>
<p:tagLst xmlns:a="http://schemas.openxmlformats.org/drawingml/2006/main" xmlns:r="http://schemas.openxmlformats.org/officeDocument/2006/relationships" xmlns:p="http://schemas.openxmlformats.org/presentationml/2006/main">
  <p:tag name="ANGLE" val="4"/>
</p:tagLst>
</file>

<file path=ppt/tags/tag904.xml><?xml version="1.0" encoding="utf-8"?>
<p:tagLst xmlns:a="http://schemas.openxmlformats.org/drawingml/2006/main" xmlns:r="http://schemas.openxmlformats.org/officeDocument/2006/relationships" xmlns:p="http://schemas.openxmlformats.org/presentationml/2006/main">
  <p:tag name="ANGLE" val="4"/>
</p:tagLst>
</file>

<file path=ppt/tags/tag905.xml><?xml version="1.0" encoding="utf-8"?>
<p:tagLst xmlns:a="http://schemas.openxmlformats.org/drawingml/2006/main" xmlns:r="http://schemas.openxmlformats.org/officeDocument/2006/relationships" xmlns:p="http://schemas.openxmlformats.org/presentationml/2006/main">
  <p:tag name="ANGLE" val="3"/>
</p:tagLst>
</file>

<file path=ppt/tags/tag906.xml><?xml version="1.0" encoding="utf-8"?>
<p:tagLst xmlns:a="http://schemas.openxmlformats.org/drawingml/2006/main" xmlns:r="http://schemas.openxmlformats.org/officeDocument/2006/relationships" xmlns:p="http://schemas.openxmlformats.org/presentationml/2006/main">
  <p:tag name="ANGLE" val="3"/>
</p:tagLst>
</file>

<file path=ppt/tags/tag907.xml><?xml version="1.0" encoding="utf-8"?>
<p:tagLst xmlns:a="http://schemas.openxmlformats.org/drawingml/2006/main" xmlns:r="http://schemas.openxmlformats.org/officeDocument/2006/relationships" xmlns:p="http://schemas.openxmlformats.org/presentationml/2006/main">
  <p:tag name="ANGLE" val="2"/>
</p:tagLst>
</file>

<file path=ppt/tags/tag908.xml><?xml version="1.0" encoding="utf-8"?>
<p:tagLst xmlns:a="http://schemas.openxmlformats.org/drawingml/2006/main" xmlns:r="http://schemas.openxmlformats.org/officeDocument/2006/relationships" xmlns:p="http://schemas.openxmlformats.org/presentationml/2006/main">
  <p:tag name="ANGLE" val="2"/>
</p:tagLst>
</file>

<file path=ppt/tags/tag909.xml><?xml version="1.0" encoding="utf-8"?>
<p:tagLst xmlns:a="http://schemas.openxmlformats.org/drawingml/2006/main" xmlns:r="http://schemas.openxmlformats.org/officeDocument/2006/relationships" xmlns:p="http://schemas.openxmlformats.org/presentationml/2006/main">
  <p:tag name="ANGLE" val="1"/>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0.xml><?xml version="1.0" encoding="utf-8"?>
<p:tagLst xmlns:a="http://schemas.openxmlformats.org/drawingml/2006/main" xmlns:r="http://schemas.openxmlformats.org/officeDocument/2006/relationships" xmlns:p="http://schemas.openxmlformats.org/presentationml/2006/main">
  <p:tag name="ANGLE" val="1"/>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91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14.xml><?xml version="1.0" encoding="utf-8"?>
<p:tagLst xmlns:a="http://schemas.openxmlformats.org/drawingml/2006/main" xmlns:r="http://schemas.openxmlformats.org/officeDocument/2006/relationships" xmlns:p="http://schemas.openxmlformats.org/presentationml/2006/main">
  <p:tag name="SHAPENAME" val="Title"/>
</p:tagLst>
</file>

<file path=ppt/tags/tag915.xml><?xml version="1.0" encoding="utf-8"?>
<p:tagLst xmlns:a="http://schemas.openxmlformats.org/drawingml/2006/main" xmlns:r="http://schemas.openxmlformats.org/officeDocument/2006/relationships" xmlns:p="http://schemas.openxmlformats.org/presentationml/2006/main">
  <p:tag name="SHAPENAME" val="Subtitl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9.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6.xml><?xml version="1.0" encoding="utf-8"?>
<p:tagLst xmlns:a="http://schemas.openxmlformats.org/drawingml/2006/main" xmlns:r="http://schemas.openxmlformats.org/officeDocument/2006/relationships" xmlns:p="http://schemas.openxmlformats.org/presentationml/2006/main">
  <p:tag name="SHAPENAME" val="5. Source"/>
</p:tagLst>
</file>

<file path=ppt/tags/tag9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9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3.xml><?xml version="1.0" encoding="utf-8"?>
<p:tagLst xmlns:a="http://schemas.openxmlformats.org/drawingml/2006/main" xmlns:r="http://schemas.openxmlformats.org/officeDocument/2006/relationships" xmlns:p="http://schemas.openxmlformats.org/presentationml/2006/main">
  <p:tag name="SHAPENAME" val="5. Source"/>
</p:tagLst>
</file>

<file path=ppt/tags/tag9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9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9.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9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6.xml><?xml version="1.0" encoding="utf-8"?>
<p:tagLst xmlns:a="http://schemas.openxmlformats.org/drawingml/2006/main" xmlns:r="http://schemas.openxmlformats.org/officeDocument/2006/relationships" xmlns:p="http://schemas.openxmlformats.org/presentationml/2006/main">
  <p:tag name="SHAPENAME" val="5. Sourc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9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3.xml><?xml version="1.0" encoding="utf-8"?>
<p:tagLst xmlns:a="http://schemas.openxmlformats.org/drawingml/2006/main" xmlns:r="http://schemas.openxmlformats.org/officeDocument/2006/relationships" xmlns:p="http://schemas.openxmlformats.org/presentationml/2006/main">
  <p:tag name="SHAPENAME" val="5. Sourc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9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1.xml><?xml version="1.0" encoding="utf-8"?>
<p:tagLst xmlns:a="http://schemas.openxmlformats.org/drawingml/2006/main" xmlns:r="http://schemas.openxmlformats.org/officeDocument/2006/relationships" xmlns:p="http://schemas.openxmlformats.org/presentationml/2006/main">
  <p:tag name="SHAPENAME" val="5. Sourc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9.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7.xml><?xml version="1.0" encoding="utf-8"?>
<p:tagLst xmlns:a="http://schemas.openxmlformats.org/drawingml/2006/main" xmlns:r="http://schemas.openxmlformats.org/officeDocument/2006/relationships" xmlns:p="http://schemas.openxmlformats.org/presentationml/2006/main">
  <p:tag name="SHAPENAME" val="5. Sourc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5.xml><?xml version="1.0" encoding="utf-8"?>
<p:tagLst xmlns:a="http://schemas.openxmlformats.org/drawingml/2006/main" xmlns:r="http://schemas.openxmlformats.org/officeDocument/2006/relationships" xmlns:p="http://schemas.openxmlformats.org/presentationml/2006/main">
  <p:tag name="SHAPENAME" val="5. Sourc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3.xml><?xml version="1.0" encoding="utf-8"?>
<p:tagLst xmlns:a="http://schemas.openxmlformats.org/drawingml/2006/main" xmlns:r="http://schemas.openxmlformats.org/officeDocument/2006/relationships" xmlns:p="http://schemas.openxmlformats.org/presentationml/2006/main">
  <p:tag name="SHAPENAME" val="5. Sourc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Final SLL template_vf.potx" id="{52A040C0-6279-4472-A65A-1214428B25BD}" vid="{779328EC-7B86-4111-9234-FC4D63FFD180}"/>
    </a:ext>
  </a:extLst>
</a:theme>
</file>

<file path=ppt/theme/theme10.xml><?xml version="1.0" encoding="utf-8"?>
<a:theme xmlns:a="http://schemas.openxmlformats.org/drawingml/2006/main" name="8_White">
  <a:themeElements>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Final SLL template_vf1.potx" id="{B1A97987-94F1-4198-AFE7-5808C956E6E4}" vid="{EE05EE53-1F1F-44A2-A883-26330900EA57}"/>
    </a:ext>
  </a:extLst>
</a:theme>
</file>

<file path=ppt/theme/theme11.xml><?xml version="1.0" encoding="utf-8"?>
<a:theme xmlns:a="http://schemas.openxmlformats.org/drawingml/2006/main" name="1_Contrast">
  <a:themeElements>
    <a:clrScheme name="Scheme2">
      <a:dk1>
        <a:srgbClr val="FFFFFF"/>
      </a:dk1>
      <a:lt1>
        <a:srgbClr val="54595F"/>
      </a:lt1>
      <a:dk2>
        <a:srgbClr val="000000"/>
      </a:dk2>
      <a:lt2>
        <a:srgbClr val="000000"/>
      </a:lt2>
      <a:accent1>
        <a:srgbClr val="FFFFFF"/>
      </a:accent1>
      <a:accent2>
        <a:srgbClr val="119A48"/>
      </a:accent2>
      <a:accent3>
        <a:srgbClr val="C3A366"/>
      </a:accent3>
      <a:accent4>
        <a:srgbClr val="911C39"/>
      </a:accent4>
      <a:accent5>
        <a:srgbClr val="D1D1D1"/>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54595F"/>
        </a:lt1>
        <a:dk2>
          <a:srgbClr val="000000"/>
        </a:dk2>
        <a:lt2>
          <a:srgbClr val="000000"/>
        </a:lt2>
        <a:accent1>
          <a:srgbClr val="FFFFFF"/>
        </a:accent1>
        <a:accent2>
          <a:srgbClr val="119A48"/>
        </a:accent2>
        <a:accent3>
          <a:srgbClr val="C3A366"/>
        </a:accent3>
        <a:accent4>
          <a:srgbClr val="911C39"/>
        </a:accent4>
        <a:accent5>
          <a:srgbClr val="D1D1D1"/>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Final SLL template_vf1.potx" id="{B1A97987-94F1-4198-AFE7-5808C956E6E4}" vid="{A214D343-9961-41AB-B36D-6B66C60A21BC}"/>
    </a:ext>
  </a:extLst>
</a:theme>
</file>

<file path=ppt/theme/theme12.xml><?xml version="1.0" encoding="utf-8"?>
<a:theme xmlns:a="http://schemas.openxmlformats.org/drawingml/2006/main" name="9_White">
  <a:themeElements>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Final SLL template_vf.potx" id="{52A040C0-6279-4472-A65A-1214428B25BD}" vid="{779328EC-7B86-4111-9234-FC4D63FFD180}"/>
    </a:ext>
  </a:extLst>
</a:theme>
</file>

<file path=ppt/theme/theme1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rast">
  <a:themeElements>
    <a:clrScheme name="Scheme2">
      <a:dk1>
        <a:srgbClr val="FFFFFF"/>
      </a:dk1>
      <a:lt1>
        <a:srgbClr val="54595F"/>
      </a:lt1>
      <a:dk2>
        <a:srgbClr val="000000"/>
      </a:dk2>
      <a:lt2>
        <a:srgbClr val="000000"/>
      </a:lt2>
      <a:accent1>
        <a:srgbClr val="FFFFFF"/>
      </a:accent1>
      <a:accent2>
        <a:srgbClr val="119A48"/>
      </a:accent2>
      <a:accent3>
        <a:srgbClr val="C3A366"/>
      </a:accent3>
      <a:accent4>
        <a:srgbClr val="911C39"/>
      </a:accent4>
      <a:accent5>
        <a:srgbClr val="D1D1D1"/>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54595F"/>
        </a:lt1>
        <a:dk2>
          <a:srgbClr val="000000"/>
        </a:dk2>
        <a:lt2>
          <a:srgbClr val="000000"/>
        </a:lt2>
        <a:accent1>
          <a:srgbClr val="FFFFFF"/>
        </a:accent1>
        <a:accent2>
          <a:srgbClr val="119A48"/>
        </a:accent2>
        <a:accent3>
          <a:srgbClr val="C3A366"/>
        </a:accent3>
        <a:accent4>
          <a:srgbClr val="911C39"/>
        </a:accent4>
        <a:accent5>
          <a:srgbClr val="D1D1D1"/>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Final SLL template_vf.potx" id="{52A040C0-6279-4472-A65A-1214428B25BD}" vid="{002E69B1-2810-4D0F-BA77-BCAF1CA14D2B}"/>
    </a:ext>
  </a:extLst>
</a:theme>
</file>

<file path=ppt/theme/theme3.xml><?xml version="1.0" encoding="utf-8"?>
<a:theme xmlns:a="http://schemas.openxmlformats.org/drawingml/2006/main" name="2_White">
  <a:themeElements>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Final SLL template_vf1.potx" id="{B1A97987-94F1-4198-AFE7-5808C956E6E4}" vid="{EE05EE53-1F1F-44A2-A883-26330900EA57}"/>
    </a:ext>
  </a:extLst>
</a:theme>
</file>

<file path=ppt/theme/theme4.xml><?xml version="1.0" encoding="utf-8"?>
<a:theme xmlns:a="http://schemas.openxmlformats.org/drawingml/2006/main" name="1_White">
  <a:themeElements>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0406SU_OFF_V1.potx" id="{997E8B5C-E9D5-4AF8-A5D2-BA0262643171}" vid="{79FB3518-C703-48D1-A2EA-A0F3237ACB80}"/>
    </a:ext>
  </a:extLst>
</a:theme>
</file>

<file path=ppt/theme/theme5.xml><?xml version="1.0" encoding="utf-8"?>
<a:theme xmlns:a="http://schemas.openxmlformats.org/drawingml/2006/main" name="3_White">
  <a:themeElements>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Final SLL template_vf1.potx" id="{B1A97987-94F1-4198-AFE7-5808C956E6E4}" vid="{EE05EE53-1F1F-44A2-A883-26330900EA57}"/>
    </a:ext>
  </a:extLst>
</a:theme>
</file>

<file path=ppt/theme/theme6.xml><?xml version="1.0" encoding="utf-8"?>
<a:theme xmlns:a="http://schemas.openxmlformats.org/drawingml/2006/main" name="7_White">
  <a:themeElements>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Final SLL template_vf1.potx" id="{B1A97987-94F1-4198-AFE7-5808C956E6E4}" vid="{EE05EE53-1F1F-44A2-A883-26330900EA57}"/>
    </a:ext>
  </a:extLst>
</a:theme>
</file>

<file path=ppt/theme/theme7.xml><?xml version="1.0" encoding="utf-8"?>
<a:theme xmlns:a="http://schemas.openxmlformats.org/drawingml/2006/main" name="4_White">
  <a:themeElements>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Final SLL template_vf1.potx" id="{B1A97987-94F1-4198-AFE7-5808C956E6E4}" vid="{EE05EE53-1F1F-44A2-A883-26330900EA57}"/>
    </a:ext>
  </a:extLst>
</a:theme>
</file>

<file path=ppt/theme/theme8.xml><?xml version="1.0" encoding="utf-8"?>
<a:theme xmlns:a="http://schemas.openxmlformats.org/drawingml/2006/main" name="6_White">
  <a:themeElements>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Final SLL template_vf1.potx" id="{B1A97987-94F1-4198-AFE7-5808C956E6E4}" vid="{EE05EE53-1F1F-44A2-A883-26330900EA57}"/>
    </a:ext>
  </a:extLst>
</a:theme>
</file>

<file path=ppt/theme/theme9.xml><?xml version="1.0" encoding="utf-8"?>
<a:theme xmlns:a="http://schemas.openxmlformats.org/drawingml/2006/main" name="5_White">
  <a:themeElements>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0406SU_OFF_V1.potx" id="{997E8B5C-E9D5-4AF8-A5D2-BA0262643171}" vid="{79FB3518-C703-48D1-A2EA-A0F3237ACB8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340bcb44-5813-4177-93bb-5804f97f0a18" xsi:nil="true"/>
    <_ip_UnifiedCompliancePolicyProperties xmlns="http://schemas.microsoft.com/sharepoint/v3" xsi:nil="true"/>
    <lcf76f155ced4ddcb4097134ff3c332f xmlns="59182550-24ca-486f-9b91-544f39c6b83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E5BEE4C4D57F749B0C77DE94481666A" ma:contentTypeVersion="18" ma:contentTypeDescription="Create a new document." ma:contentTypeScope="" ma:versionID="879538ff7599a56ea5e9163b37414df1">
  <xsd:schema xmlns:xsd="http://www.w3.org/2001/XMLSchema" xmlns:xs="http://www.w3.org/2001/XMLSchema" xmlns:p="http://schemas.microsoft.com/office/2006/metadata/properties" xmlns:ns1="http://schemas.microsoft.com/sharepoint/v3" xmlns:ns2="59182550-24ca-486f-9b91-544f39c6b836" xmlns:ns3="8053ca2c-91fb-4e18-865b-204f7dea5f3b" xmlns:ns4="340bcb44-5813-4177-93bb-5804f97f0a18" targetNamespace="http://schemas.microsoft.com/office/2006/metadata/properties" ma:root="true" ma:fieldsID="cb7cde9b7cbb908e9e0c41c601421325" ns1:_="" ns2:_="" ns3:_="" ns4:_="">
    <xsd:import namespace="http://schemas.microsoft.com/sharepoint/v3"/>
    <xsd:import namespace="59182550-24ca-486f-9b91-544f39c6b836"/>
    <xsd:import namespace="8053ca2c-91fb-4e18-865b-204f7dea5f3b"/>
    <xsd:import namespace="340bcb44-5813-4177-93bb-5804f97f0a1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9182550-24ca-486f-9b91-544f39c6b8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30516516-9f84-49d5-8e0d-7366614ad12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053ca2c-91fb-4e18-865b-204f7dea5f3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0bcb44-5813-4177-93bb-5804f97f0a18"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63c433a9-b7d1-4946-a006-cecdc351aaaf}" ma:internalName="TaxCatchAll" ma:showField="CatchAllData" ma:web="8053ca2c-91fb-4e18-865b-204f7dea5f3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B748E44-E4AA-4DAA-8A84-550E987981C2}">
  <ds:schemaRefs>
    <ds:schemaRef ds:uri="http://schemas.microsoft.com/sharepoint/v3/contenttype/forms"/>
  </ds:schemaRefs>
</ds:datastoreItem>
</file>

<file path=customXml/itemProps2.xml><?xml version="1.0" encoding="utf-8"?>
<ds:datastoreItem xmlns:ds="http://schemas.openxmlformats.org/officeDocument/2006/customXml" ds:itemID="{AE67576C-C3FD-4691-A57C-03E440EB7522}">
  <ds:schemaRefs>
    <ds:schemaRef ds:uri="http://schemas.openxmlformats.org/package/2006/metadata/core-properties"/>
    <ds:schemaRef ds:uri="http://purl.org/dc/elements/1.1/"/>
    <ds:schemaRef ds:uri="340bcb44-5813-4177-93bb-5804f97f0a18"/>
    <ds:schemaRef ds:uri="http://purl.org/dc/dcmitype/"/>
    <ds:schemaRef ds:uri="http://www.w3.org/XML/1998/namespace"/>
    <ds:schemaRef ds:uri="http://schemas.microsoft.com/office/2006/documentManagement/types"/>
    <ds:schemaRef ds:uri="http://schemas.microsoft.com/sharepoint/v3"/>
    <ds:schemaRef ds:uri="59182550-24ca-486f-9b91-544f39c6b836"/>
    <ds:schemaRef ds:uri="http://schemas.microsoft.com/office/infopath/2007/PartnerControls"/>
    <ds:schemaRef ds:uri="8053ca2c-91fb-4e18-865b-204f7dea5f3b"/>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001E94E8-CFD5-447F-B34C-7D3840D68F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9182550-24ca-486f-9b91-544f39c6b836"/>
    <ds:schemaRef ds:uri="8053ca2c-91fb-4e18-865b-204f7dea5f3b"/>
    <ds:schemaRef ds:uri="340bcb44-5813-4177-93bb-5804f97f0a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inal SLL template_vf</Template>
  <TotalTime>7252</TotalTime>
  <Words>3778</Words>
  <Application>Microsoft Office PowerPoint</Application>
  <PresentationFormat>Widescreen</PresentationFormat>
  <Paragraphs>497</Paragraphs>
  <Slides>25</Slides>
  <Notes>5</Notes>
  <HiddenSlides>0</HiddenSlides>
  <MMClips>0</MMClips>
  <ScaleCrop>false</ScaleCrop>
  <HeadingPairs>
    <vt:vector size="8" baseType="variant">
      <vt:variant>
        <vt:lpstr>Fonts Used</vt:lpstr>
      </vt:variant>
      <vt:variant>
        <vt:i4>7</vt:i4>
      </vt:variant>
      <vt:variant>
        <vt:lpstr>Theme</vt:lpstr>
      </vt:variant>
      <vt:variant>
        <vt:i4>12</vt:i4>
      </vt:variant>
      <vt:variant>
        <vt:lpstr>Embedded OLE Servers</vt:lpstr>
      </vt:variant>
      <vt:variant>
        <vt:i4>1</vt:i4>
      </vt:variant>
      <vt:variant>
        <vt:lpstr>Slide Titles</vt:lpstr>
      </vt:variant>
      <vt:variant>
        <vt:i4>25</vt:i4>
      </vt:variant>
    </vt:vector>
  </HeadingPairs>
  <TitlesOfParts>
    <vt:vector size="45" baseType="lpstr">
      <vt:lpstr>Arial</vt:lpstr>
      <vt:lpstr>Georgia</vt:lpstr>
      <vt:lpstr>Segoe UI</vt:lpstr>
      <vt:lpstr>Source Sans Pro</vt:lpstr>
      <vt:lpstr>Theinhardt Pan Light</vt:lpstr>
      <vt:lpstr>Times New Roman</vt:lpstr>
      <vt:lpstr>Wingdings</vt:lpstr>
      <vt:lpstr>White</vt:lpstr>
      <vt:lpstr>Contrast</vt:lpstr>
      <vt:lpstr>2_White</vt:lpstr>
      <vt:lpstr>1_White</vt:lpstr>
      <vt:lpstr>3_White</vt:lpstr>
      <vt:lpstr>7_White</vt:lpstr>
      <vt:lpstr>4_White</vt:lpstr>
      <vt:lpstr>6_White</vt:lpstr>
      <vt:lpstr>5_White</vt:lpstr>
      <vt:lpstr>8_White</vt:lpstr>
      <vt:lpstr>1_Contrast</vt:lpstr>
      <vt:lpstr>9_White</vt:lpstr>
      <vt:lpstr>think-cell Slide</vt:lpstr>
      <vt:lpstr>  </vt:lpstr>
      <vt:lpstr>PowerPoint Presentation</vt:lpstr>
      <vt:lpstr>Africa CDC est une institution de l'Union africaine</vt:lpstr>
      <vt:lpstr>Le travail d'Africa CDC repose sur un ensemble clair de huit objectifs</vt:lpstr>
      <vt:lpstr>Notre travail au CDC Afrique est guidé par la nécessité d'un nouvel ordre de santé publique pour l'Afrique</vt:lpstr>
      <vt:lpstr>PowerPoint Presentation</vt:lpstr>
      <vt:lpstr>Saving Lives and Livelihoods (SLL) est une initiative sans précédent visant à permettre la vaccination contre la COVID-19 et à renforcer les systèmes de santé en Afrique</vt:lpstr>
      <vt:lpstr>SLL, en partenariat avec les partenaires de mise en œuvre,fournit aux États membres de l’UA un soutien supplémentaire dans10 domaines d'assistance</vt:lpstr>
      <vt:lpstr>. …et mettre en œuvre le plus grand programme de vaccination de l’histoire de l’Afrique</vt:lpstr>
      <vt:lpstr>Un tel programme de transformation nous oblige à respecter en permanence les sept principes directeurs du Programme.</vt:lpstr>
      <vt:lpstr>Il existe plusieurs partenaires qui peuvent être classés par zone de support, couverture géographique et type</vt:lpstr>
      <vt:lpstr>Dynamique des acteurs du programme SLL</vt:lpstr>
      <vt:lpstr>Le programme SLL est composé des 4 équipes suivantes</vt:lpstr>
      <vt:lpstr>Aperçu : Mise à jour des progrès du pays</vt:lpstr>
      <vt:lpstr>Africa CDC et la Fondation Mastercard se sont alignés sur quatre objectifs et un certain nombre de sous-objectifs</vt:lpstr>
      <vt:lpstr>PowerPoint Presentation</vt:lpstr>
      <vt:lpstr>Objectif A : Terminer le travail – Protéger les groupes prioritaires</vt:lpstr>
      <vt:lpstr>Objectif A : Terminer le travail – Protéger les groupes prioritaires</vt:lpstr>
      <vt:lpstr>Objectif A : Terminer le travail – Protéger les groupes prioritaires</vt:lpstr>
      <vt:lpstr>Objectif A : Terminer le travail – Protéger les groupes prioritaires</vt:lpstr>
      <vt:lpstr>Objectif A : Terminer le travail – Protéger les groupes prioritaires</vt:lpstr>
      <vt:lpstr>Objectif A : Terminer le travail – Protéger les groupes prioritaires</vt:lpstr>
      <vt:lpstr>Objectif A : Terminer le travail – Protéger les groupes prioritaires</vt:lpstr>
      <vt:lpstr>Objectif B : Intégrer la gestion du Covid-19 dans la vaccination de routine</vt:lpstr>
      <vt:lpstr>Objectif C : Se préparer à la prochaine pandémi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Arial 44 pt,  bold top-aligned)</dc:title>
  <dc:subject/>
  <dc:creator>Anand ST</dc:creator>
  <cp:keywords/>
  <dc:description/>
  <cp:lastModifiedBy>Benedict Nguimbis</cp:lastModifiedBy>
  <cp:revision>422</cp:revision>
  <dcterms:created xsi:type="dcterms:W3CDTF">2021-08-24T08:41:55Z</dcterms:created>
  <dcterms:modified xsi:type="dcterms:W3CDTF">2024-09-10T09:24:5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LastEdited">
    <vt:lpwstr>2021-08-02 08:32 PM</vt:lpwstr>
  </property>
  <property fmtid="{D5CDD505-2E9C-101B-9397-08002B2CF9AE}" pid="3" name="ContentTypeId">
    <vt:lpwstr>0x010100AE5BEE4C4D57F749B0C77DE94481666A</vt:lpwstr>
  </property>
</Properties>
</file>